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3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4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5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6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7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8.xml" ContentType="application/vnd.openxmlformats-officedocument.presentationml.notesSl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9.xml" ContentType="application/vnd.openxmlformats-officedocument.presentationml.notesSlid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notesSlides/notesSlide10.xml" ContentType="application/vnd.openxmlformats-officedocument.presentationml.notesSlid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notesSlides/notesSlide11.xml" ContentType="application/vnd.openxmlformats-officedocument.presentationml.notesSlid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notesSlides/notesSlide12.xml" ContentType="application/vnd.openxmlformats-officedocument.presentationml.notesSlid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notesSlides/notesSlide13.xml" ContentType="application/vnd.openxmlformats-officedocument.presentationml.notesSlid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notesSlides/notesSlide14.xml" ContentType="application/vnd.openxmlformats-officedocument.presentationml.notesSlide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notesSlides/notesSlide15.xml" ContentType="application/vnd.openxmlformats-officedocument.presentationml.notesSlide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notesSlides/notesSlide16.xml" ContentType="application/vnd.openxmlformats-officedocument.presentationml.notesSlide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notesSlides/notesSlide17.xml" ContentType="application/vnd.openxmlformats-officedocument.presentationml.notesSlide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notesSlides/notesSlide18.xml" ContentType="application/vnd.openxmlformats-officedocument.presentationml.notesSlide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notesSlides/notesSlide19.xml" ContentType="application/vnd.openxmlformats-officedocument.presentationml.notesSlide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drawings/drawing2.xml" ContentType="application/vnd.openxmlformats-officedocument.drawingml.chartshape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notesSlides/notesSlide24.xml" ContentType="application/vnd.openxmlformats-officedocument.presentationml.notesSlide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notesSlides/notesSlide25.xml" ContentType="application/vnd.openxmlformats-officedocument.presentationml.notesSlide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notesSlides/notesSlide26.xml" ContentType="application/vnd.openxmlformats-officedocument.presentationml.notesSlide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notesSlides/notesSlide27.xml" ContentType="application/vnd.openxmlformats-officedocument.presentationml.notesSlide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notesSlides/notesSlide28.xml" ContentType="application/vnd.openxmlformats-officedocument.presentationml.notesSlide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notesSlides/notesSlide29.xml" ContentType="application/vnd.openxmlformats-officedocument.presentationml.notesSlide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notesSlides/notesSlide30.xml" ContentType="application/vnd.openxmlformats-officedocument.presentationml.notesSlide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notesSlides/notesSlide31.xml" ContentType="application/vnd.openxmlformats-officedocument.presentationml.notesSlide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notesSlides/notesSlide32.xml" ContentType="application/vnd.openxmlformats-officedocument.presentationml.notesSlide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notesSlides/notesSlide39.xml" ContentType="application/vnd.openxmlformats-officedocument.presentationml.notesSlide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tags/tag589.xml" ContentType="application/vnd.openxmlformats-officedocument.presentationml.tags+xml"/>
  <Override PartName="/ppt/notesSlides/notesSlide4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44"/>
  </p:notesMasterIdLst>
  <p:handoutMasterIdLst>
    <p:handoutMasterId r:id="rId45"/>
  </p:handoutMasterIdLst>
  <p:sldIdLst>
    <p:sldId id="265" r:id="rId2"/>
    <p:sldId id="355" r:id="rId3"/>
    <p:sldId id="313" r:id="rId4"/>
    <p:sldId id="394" r:id="rId5"/>
    <p:sldId id="396" r:id="rId6"/>
    <p:sldId id="398" r:id="rId7"/>
    <p:sldId id="397" r:id="rId8"/>
    <p:sldId id="359" r:id="rId9"/>
    <p:sldId id="316" r:id="rId10"/>
    <p:sldId id="317" r:id="rId11"/>
    <p:sldId id="318" r:id="rId12"/>
    <p:sldId id="360" r:id="rId13"/>
    <p:sldId id="384" r:id="rId14"/>
    <p:sldId id="320" r:id="rId15"/>
    <p:sldId id="363" r:id="rId16"/>
    <p:sldId id="364" r:id="rId17"/>
    <p:sldId id="366" r:id="rId18"/>
    <p:sldId id="367" r:id="rId19"/>
    <p:sldId id="368" r:id="rId20"/>
    <p:sldId id="369" r:id="rId21"/>
    <p:sldId id="370" r:id="rId22"/>
    <p:sldId id="371" r:id="rId23"/>
    <p:sldId id="372" r:id="rId24"/>
    <p:sldId id="361" r:id="rId25"/>
    <p:sldId id="386" r:id="rId26"/>
    <p:sldId id="387" r:id="rId27"/>
    <p:sldId id="390" r:id="rId28"/>
    <p:sldId id="392" r:id="rId29"/>
    <p:sldId id="399" r:id="rId30"/>
    <p:sldId id="393" r:id="rId31"/>
    <p:sldId id="389" r:id="rId32"/>
    <p:sldId id="333" r:id="rId33"/>
    <p:sldId id="362" r:id="rId34"/>
    <p:sldId id="260" r:id="rId35"/>
    <p:sldId id="375" r:id="rId36"/>
    <p:sldId id="346" r:id="rId37"/>
    <p:sldId id="350" r:id="rId38"/>
    <p:sldId id="330" r:id="rId39"/>
    <p:sldId id="348" r:id="rId40"/>
    <p:sldId id="353" r:id="rId41"/>
    <p:sldId id="311" r:id="rId42"/>
    <p:sldId id="310" r:id="rId43"/>
  </p:sldIdLst>
  <p:sldSz cx="9144000" cy="6858000" type="screen4x3"/>
  <p:notesSz cx="7035800" cy="9321800"/>
  <p:custDataLst>
    <p:tags r:id="rId4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4ABD"/>
    <a:srgbClr val="DDDDDD"/>
    <a:srgbClr val="CCCCCC"/>
    <a:srgbClr val="666666"/>
    <a:srgbClr val="003366"/>
    <a:srgbClr val="E10040"/>
    <a:srgbClr val="002A6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90" d="100"/>
          <a:sy n="90" d="100"/>
        </p:scale>
        <p:origin x="-594" y="-390"/>
      </p:cViewPr>
      <p:guideLst>
        <p:guide orient="horz" pos="2160"/>
        <p:guide orient="horz" pos="4032"/>
        <p:guide orient="horz" pos="1554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331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gs" Target="tags/tag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Book1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oleObject" Target="file:///C:\Users\User\Documents\entrepreneurship\backup%20for%20survival%20and%20success%20charts.xlsx" TargetMode="External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4874258364763207"/>
          <c:y val="0.14077407506724204"/>
          <c:w val="0.81017431644573923"/>
          <c:h val="0.72514598213923021"/>
        </c:manualLayout>
      </c:layout>
      <c:barChart>
        <c:barDir val="col"/>
        <c:grouping val="stacked"/>
        <c:varyColors val="0"/>
        <c:ser>
          <c:idx val="0"/>
          <c:order val="0"/>
          <c:spPr>
            <a:ln>
              <a:solidFill>
                <a:schemeClr val="tx1"/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2">
                  <a:lumMod val="75000"/>
                </a:schemeClr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invertIfNegative val="0"/>
            <c:bubble3D val="0"/>
            <c:spPr>
              <a:solidFill>
                <a:schemeClr val="tx2">
                  <a:lumMod val="75000"/>
                </a:schemeClr>
              </a:solidFill>
              <a:ln>
                <a:solidFill>
                  <a:schemeClr val="tx1"/>
                </a:solidFill>
              </a:ln>
            </c:spPr>
          </c:dPt>
          <c:cat>
            <c:strRef>
              <c:f>Sheet1!$A$8:$B$8</c:f>
              <c:strCache>
                <c:ptCount val="2"/>
                <c:pt idx="0">
                  <c:v>Non-participants</c:v>
                </c:pt>
                <c:pt idx="1">
                  <c:v>Participants</c:v>
                </c:pt>
              </c:strCache>
            </c:strRef>
          </c:cat>
          <c:val>
            <c:numRef>
              <c:f>Sheet1!$A$9:$B$9</c:f>
              <c:numCache>
                <c:formatCode>0%</c:formatCode>
                <c:ptCount val="2"/>
                <c:pt idx="0" formatCode="#,##0%_);\(#,##0%\)">
                  <c:v>0.3040000000000001</c:v>
                </c:pt>
                <c:pt idx="1">
                  <c:v>0.3000000000000001</c:v>
                </c:pt>
              </c:numCache>
            </c:numRef>
          </c:val>
        </c:ser>
        <c:ser>
          <c:idx val="1"/>
          <c:order val="1"/>
          <c:spPr>
            <a:ln>
              <a:solidFill>
                <a:schemeClr val="tx1"/>
              </a:solidFill>
            </a:ln>
          </c:spPr>
          <c:invertIfNegative val="0"/>
          <c:cat>
            <c:strRef>
              <c:f>Sheet1!$A$8:$B$8</c:f>
              <c:strCache>
                <c:ptCount val="2"/>
                <c:pt idx="0">
                  <c:v>Non-participants</c:v>
                </c:pt>
                <c:pt idx="1">
                  <c:v>Participants</c:v>
                </c:pt>
              </c:strCache>
            </c:strRef>
          </c:cat>
          <c:val>
            <c:numRef>
              <c:f>Sheet1!$A$10:$B$10</c:f>
              <c:numCache>
                <c:formatCode>#,##0%_);\(#,##0%\)</c:formatCode>
                <c:ptCount val="2"/>
                <c:pt idx="1">
                  <c:v>0.13</c:v>
                </c:pt>
              </c:numCache>
            </c:numRef>
          </c:val>
        </c:ser>
        <c:ser>
          <c:idx val="2"/>
          <c:order val="2"/>
          <c:spPr>
            <a:ln>
              <a:solidFill>
                <a:schemeClr val="tx1"/>
              </a:solidFill>
            </a:ln>
          </c:spPr>
          <c:invertIfNegative val="0"/>
          <c:cat>
            <c:strRef>
              <c:f>Sheet1!$A$8:$B$8</c:f>
              <c:strCache>
                <c:ptCount val="2"/>
                <c:pt idx="0">
                  <c:v>Non-participants</c:v>
                </c:pt>
                <c:pt idx="1">
                  <c:v>Participants</c:v>
                </c:pt>
              </c:strCache>
            </c:strRef>
          </c:cat>
          <c:val>
            <c:numRef>
              <c:f>Sheet1!$A$11:$B$11</c:f>
              <c:numCache>
                <c:formatCode>#,##0%_);\(#,##0%\)</c:formatCode>
                <c:ptCount val="2"/>
                <c:pt idx="1">
                  <c:v>4.0000000000000015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8379392"/>
        <c:axId val="76729152"/>
      </c:barChart>
      <c:catAx>
        <c:axId val="8837939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>
                <a:latin typeface="Arial" pitchFamily="34" charset="0"/>
                <a:cs typeface="Arial" pitchFamily="34" charset="0"/>
              </a:defRPr>
            </a:pPr>
            <a:endParaRPr lang="en-US"/>
          </a:p>
        </c:txPr>
        <c:crossAx val="76729152"/>
        <c:crosses val="autoZero"/>
        <c:auto val="1"/>
        <c:lblAlgn val="ctr"/>
        <c:lblOffset val="100"/>
        <c:noMultiLvlLbl val="0"/>
      </c:catAx>
      <c:valAx>
        <c:axId val="76729152"/>
        <c:scaling>
          <c:orientation val="minMax"/>
        </c:scaling>
        <c:delete val="0"/>
        <c:axPos val="l"/>
        <c:numFmt formatCode="#,##0%_);\(#,##0%\)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Arial" pitchFamily="34" charset="0"/>
                <a:cs typeface="Arial" pitchFamily="34" charset="0"/>
              </a:defRPr>
            </a:pPr>
            <a:endParaRPr lang="en-US"/>
          </a:p>
        </c:txPr>
        <c:crossAx val="88379392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8502641378713111"/>
          <c:y val="0.12566070194821491"/>
          <c:w val="0.71356929001911618"/>
          <c:h val="0.82293880226566019"/>
        </c:manualLayout>
      </c:layout>
      <c:barChart>
        <c:barDir val="col"/>
        <c:grouping val="stacked"/>
        <c:varyColors val="0"/>
        <c:ser>
          <c:idx val="0"/>
          <c:order val="0"/>
          <c:invertIfNegative val="0"/>
          <c:cat>
            <c:strRef>
              <c:f>Sheet1!$A$16:$B$16</c:f>
              <c:strCache>
                <c:ptCount val="2"/>
                <c:pt idx="0">
                  <c:v>Non-participants</c:v>
                </c:pt>
                <c:pt idx="1">
                  <c:v>Participants</c:v>
                </c:pt>
              </c:strCache>
            </c:strRef>
          </c:cat>
          <c:val>
            <c:numRef>
              <c:f>Sheet1!$A$15:$B$15</c:f>
              <c:numCache>
                <c:formatCode>General</c:formatCode>
                <c:ptCount val="2"/>
                <c:pt idx="0">
                  <c:v>0</c:v>
                </c:pt>
              </c:numCache>
            </c:numRef>
          </c:val>
        </c:ser>
        <c:ser>
          <c:idx val="1"/>
          <c:order val="1"/>
          <c:spPr>
            <a:solidFill>
              <a:schemeClr val="tx2">
                <a:lumMod val="75000"/>
              </a:schemeClr>
            </a:solidFill>
            <a:ln>
              <a:solidFill>
                <a:prstClr val="black"/>
              </a:solidFill>
            </a:ln>
          </c:spPr>
          <c:invertIfNegative val="0"/>
          <c:cat>
            <c:strRef>
              <c:f>Sheet1!$A$16:$B$16</c:f>
              <c:strCache>
                <c:ptCount val="2"/>
                <c:pt idx="0">
                  <c:v>Non-participants</c:v>
                </c:pt>
                <c:pt idx="1">
                  <c:v>Participants</c:v>
                </c:pt>
              </c:strCache>
            </c:strRef>
          </c:cat>
          <c:val>
            <c:numRef>
              <c:f>Sheet1!$A$17:$B$17</c:f>
              <c:numCache>
                <c:formatCode>0%</c:formatCode>
                <c:ptCount val="2"/>
                <c:pt idx="0" formatCode="#,##0%_);\(#,##0%\)">
                  <c:v>0.5</c:v>
                </c:pt>
                <c:pt idx="1">
                  <c:v>0.5</c:v>
                </c:pt>
              </c:numCache>
            </c:numRef>
          </c:val>
        </c:ser>
        <c:ser>
          <c:idx val="2"/>
          <c:order val="2"/>
          <c:spPr>
            <a:solidFill>
              <a:schemeClr val="accent2"/>
            </a:solidFill>
            <a:ln>
              <a:solidFill>
                <a:prstClr val="black"/>
              </a:solidFill>
            </a:ln>
          </c:spPr>
          <c:invertIfNegative val="0"/>
          <c:cat>
            <c:strRef>
              <c:f>Sheet1!$A$16:$B$16</c:f>
              <c:strCache>
                <c:ptCount val="2"/>
                <c:pt idx="0">
                  <c:v>Non-participants</c:v>
                </c:pt>
                <c:pt idx="1">
                  <c:v>Participants</c:v>
                </c:pt>
              </c:strCache>
            </c:strRef>
          </c:cat>
          <c:val>
            <c:numRef>
              <c:f>Sheet1!$A$18:$B$18</c:f>
              <c:numCache>
                <c:formatCode>#,##0%_);\(#,##0%\)</c:formatCode>
                <c:ptCount val="2"/>
                <c:pt idx="1">
                  <c:v>0.3650000000000001</c:v>
                </c:pt>
              </c:numCache>
            </c:numRef>
          </c:val>
        </c:ser>
        <c:ser>
          <c:idx val="3"/>
          <c:order val="3"/>
          <c:spPr>
            <a:solidFill>
              <a:schemeClr val="accent3"/>
            </a:solidFill>
            <a:ln>
              <a:solidFill>
                <a:prstClr val="black"/>
              </a:solidFill>
            </a:ln>
          </c:spPr>
          <c:invertIfNegative val="0"/>
          <c:cat>
            <c:strRef>
              <c:f>Sheet1!$A$16:$B$16</c:f>
              <c:strCache>
                <c:ptCount val="2"/>
                <c:pt idx="0">
                  <c:v>Non-participants</c:v>
                </c:pt>
                <c:pt idx="1">
                  <c:v>Participants</c:v>
                </c:pt>
              </c:strCache>
            </c:strRef>
          </c:cat>
          <c:val>
            <c:numRef>
              <c:f>Sheet1!$A$19:$B$19</c:f>
              <c:numCache>
                <c:formatCode>#,##0%_);\(#,##0%\)</c:formatCode>
                <c:ptCount val="2"/>
                <c:pt idx="1">
                  <c:v>-0.275000000000000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8379904"/>
        <c:axId val="76731456"/>
      </c:barChart>
      <c:catAx>
        <c:axId val="88379904"/>
        <c:scaling>
          <c:orientation val="minMax"/>
        </c:scaling>
        <c:delete val="0"/>
        <c:axPos val="b"/>
        <c:majorTickMark val="out"/>
        <c:minorTickMark val="none"/>
        <c:tickLblPos val="nextTo"/>
        <c:crossAx val="76731456"/>
        <c:crosses val="autoZero"/>
        <c:auto val="1"/>
        <c:lblAlgn val="ctr"/>
        <c:lblOffset val="100"/>
        <c:noMultiLvlLbl val="0"/>
      </c:catAx>
      <c:valAx>
        <c:axId val="76731456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crossAx val="88379904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  <c:userShapes r:id="rId3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9.v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27.emf"/><Relationship Id="rId1" Type="http://schemas.openxmlformats.org/officeDocument/2006/relationships/image" Target="NULL"/><Relationship Id="rId4" Type="http://schemas.openxmlformats.org/officeDocument/2006/relationships/image" Target="../media/image2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image" Target="NULL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3641</cdr:x>
      <cdr:y>0.02167</cdr:y>
    </cdr:from>
    <cdr:to>
      <cdr:x>0.56623</cdr:x>
      <cdr:y>0.1114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04748" y="66674"/>
          <a:ext cx="1524026" cy="2762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000" i="1">
              <a:latin typeface="Arial" pitchFamily="34" charset="0"/>
              <a:cs typeface="Arial" pitchFamily="34" charset="0"/>
            </a:rPr>
            <a:t>(%</a:t>
          </a:r>
          <a:r>
            <a:rPr lang="en-US" sz="1000" i="1" baseline="0">
              <a:latin typeface="Arial" pitchFamily="34" charset="0"/>
              <a:cs typeface="Arial" pitchFamily="34" charset="0"/>
            </a:rPr>
            <a:t> of participants</a:t>
          </a:r>
          <a:r>
            <a:rPr lang="en-US" sz="1100" i="1" baseline="0">
              <a:latin typeface="Arial" pitchFamily="34" charset="0"/>
              <a:cs typeface="Arial" pitchFamily="34" charset="0"/>
            </a:rPr>
            <a:t>)</a:t>
          </a:r>
          <a:endParaRPr lang="en-US" sz="1100" i="1"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4106</cdr:x>
      <cdr:y>0.2322</cdr:y>
    </cdr:from>
    <cdr:to>
      <cdr:x>0.67568</cdr:x>
      <cdr:y>0.36532</cdr:y>
    </cdr:to>
    <cdr:sp macro="" textlink="">
      <cdr:nvSpPr>
        <cdr:cNvPr id="4" name="Straight Arrow Connector 3"/>
        <cdr:cNvSpPr/>
      </cdr:nvSpPr>
      <cdr:spPr>
        <a:xfrm xmlns:a="http://schemas.openxmlformats.org/drawingml/2006/main" flipV="1">
          <a:off x="1157633" y="714374"/>
          <a:ext cx="747366" cy="409575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ysClr val="windowText" lastClr="000000"/>
          </a:solidFill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31457</cdr:x>
      <cdr:y>0.19505</cdr:y>
    </cdr:from>
    <cdr:to>
      <cdr:x>0.63907</cdr:x>
      <cdr:y>0.3096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904874" y="600075"/>
          <a:ext cx="933450" cy="3524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/>
        </a:p>
      </cdr:txBody>
    </cdr:sp>
  </cdr:relSizeAnchor>
  <cdr:relSizeAnchor xmlns:cdr="http://schemas.openxmlformats.org/drawingml/2006/chartDrawing">
    <cdr:from>
      <cdr:x>0.1706</cdr:x>
      <cdr:y>0.2236</cdr:y>
    </cdr:from>
    <cdr:to>
      <cdr:x>0.75706</cdr:x>
      <cdr:y>0.31339</cdr:y>
    </cdr:to>
    <cdr:sp macro="" textlink="">
      <cdr:nvSpPr>
        <cdr:cNvPr id="6" name="TextBox 1"/>
        <cdr:cNvSpPr txBox="1"/>
      </cdr:nvSpPr>
      <cdr:spPr>
        <a:xfrm xmlns:a="http://schemas.openxmlformats.org/drawingml/2006/main" rot="19704251">
          <a:off x="480994" y="687930"/>
          <a:ext cx="1653451" cy="2762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000" b="1" i="0">
              <a:latin typeface="Arial" pitchFamily="34" charset="0"/>
              <a:cs typeface="Arial" pitchFamily="34" charset="0"/>
            </a:rPr>
            <a:t>Impact of training: 13pp</a:t>
          </a:r>
          <a:endParaRPr lang="en-US" sz="1100" b="1" i="0">
            <a:latin typeface="Arial" pitchFamily="34" charset="0"/>
            <a:cs typeface="Arial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1509</cdr:x>
      <cdr:y>0.02219</cdr:y>
    </cdr:from>
    <cdr:to>
      <cdr:x>0.56087</cdr:x>
      <cdr:y>0.0925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40823" y="72118"/>
          <a:ext cx="1476375" cy="2286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000" b="0" i="1"/>
            <a:t>(% of </a:t>
          </a:r>
          <a:r>
            <a:rPr lang="en-US" sz="1000" b="0" i="1">
              <a:latin typeface="Arial" pitchFamily="34" charset="0"/>
              <a:cs typeface="Arial" pitchFamily="34" charset="0"/>
            </a:rPr>
            <a:t>participants</a:t>
          </a:r>
          <a:r>
            <a:rPr lang="en-US" sz="1100" b="0" i="1"/>
            <a:t>)</a:t>
          </a:r>
        </a:p>
      </cdr:txBody>
    </cdr:sp>
  </cdr:relSizeAnchor>
  <cdr:relSizeAnchor xmlns:cdr="http://schemas.openxmlformats.org/drawingml/2006/chartDrawing">
    <cdr:from>
      <cdr:x>0.37425</cdr:x>
      <cdr:y>0.21566</cdr:y>
    </cdr:from>
    <cdr:to>
      <cdr:x>0.62072</cdr:x>
      <cdr:y>0.38275</cdr:y>
    </cdr:to>
    <cdr:sp macro="" textlink="">
      <cdr:nvSpPr>
        <cdr:cNvPr id="4" name="Straight Arrow Connector 3"/>
        <cdr:cNvSpPr/>
      </cdr:nvSpPr>
      <cdr:spPr>
        <a:xfrm xmlns:a="http://schemas.openxmlformats.org/drawingml/2006/main" rot="5400000" flipH="1" flipV="1">
          <a:off x="1074285" y="638855"/>
          <a:ext cx="542925" cy="666750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ysClr val="windowText" lastClr="000000"/>
          </a:solidFill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22284</cdr:x>
      <cdr:y>0.1629</cdr:y>
    </cdr:from>
    <cdr:to>
      <cdr:x>0.83199</cdr:x>
      <cdr:y>0.25377</cdr:y>
    </cdr:to>
    <cdr:sp macro="" textlink="">
      <cdr:nvSpPr>
        <cdr:cNvPr id="5" name="TextBox 4"/>
        <cdr:cNvSpPr txBox="1"/>
      </cdr:nvSpPr>
      <cdr:spPr>
        <a:xfrm xmlns:a="http://schemas.openxmlformats.org/drawingml/2006/main" rot="19405375">
          <a:off x="602798" y="529318"/>
          <a:ext cx="1647825" cy="2952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100" b="1"/>
            <a:t>Impact </a:t>
          </a:r>
          <a:r>
            <a:rPr lang="en-US" sz="1000" b="1">
              <a:latin typeface="Arial" pitchFamily="34" charset="0"/>
              <a:cs typeface="Arial" pitchFamily="34" charset="0"/>
            </a:rPr>
            <a:t>of</a:t>
          </a:r>
          <a:r>
            <a:rPr lang="en-US" sz="1100" b="1"/>
            <a:t> BPC: 37pp</a:t>
          </a:r>
          <a:r>
            <a:rPr lang="en-US" sz="1100" b="1" baseline="0"/>
            <a:t> </a:t>
          </a:r>
          <a:endParaRPr lang="en-US" sz="1100" b="1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48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Times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493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62400" y="0"/>
            <a:ext cx="3048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Times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493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39200"/>
            <a:ext cx="3048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Times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493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62400" y="8839200"/>
            <a:ext cx="3048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Times" charset="0"/>
              </a:defRPr>
            </a:lvl1pPr>
          </a:lstStyle>
          <a:p>
            <a:pPr>
              <a:defRPr/>
            </a:pPr>
            <a:fld id="{E0D43789-DA3D-40F5-A4D3-0BD4690B81F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05207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48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Times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90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62400" y="0"/>
            <a:ext cx="3048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Times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710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68400" y="685800"/>
            <a:ext cx="4673600" cy="35052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90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419600"/>
            <a:ext cx="5181600" cy="419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290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39200"/>
            <a:ext cx="3048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Times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90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62400" y="8839200"/>
            <a:ext cx="3048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Times" charset="0"/>
              </a:defRPr>
            </a:lvl1pPr>
          </a:lstStyle>
          <a:p>
            <a:pPr>
              <a:defRPr/>
            </a:pPr>
            <a:fld id="{AF828587-3560-4063-8274-BC7A7787319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293621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4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fld id="{6CE1CFB8-7533-49A3-B9E1-58C96F5ED3AE}" type="slidenum">
              <a:rPr lang="en-US" sz="1200" smtClean="0">
                <a:latin typeface="Times" charset="0"/>
              </a:rPr>
              <a:pPr/>
              <a:t>0</a:t>
            </a:fld>
            <a:endParaRPr lang="en-US" sz="1200" smtClean="0">
              <a:latin typeface="Times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7"/>
          <p:cNvSpPr txBox="1">
            <a:spLocks noGrp="1" noChangeArrowheads="1"/>
          </p:cNvSpPr>
          <p:nvPr/>
        </p:nvSpPr>
        <p:spPr bwMode="auto">
          <a:xfrm>
            <a:off x="3986213" y="8855075"/>
            <a:ext cx="3049587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167" tIns="46584" rIns="93167" bIns="46584" anchor="b"/>
          <a:lstStyle>
            <a:lvl1pPr defTabSz="93186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3186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3186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3186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3186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/>
            <a:fld id="{E1E6D8F0-15EC-4C4C-B10A-46A5104406E6}" type="slidenum">
              <a:rPr lang="en-US" sz="1200"/>
              <a:pPr algn="r"/>
              <a:t>9</a:t>
            </a:fld>
            <a:endParaRPr lang="en-US" sz="1200"/>
          </a:p>
        </p:txBody>
      </p:sp>
      <p:sp>
        <p:nvSpPr>
          <p:cNvPr id="573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7450" y="700088"/>
            <a:ext cx="4660900" cy="3495675"/>
          </a:xfrm>
          <a:solidFill>
            <a:srgbClr val="FFFFFF"/>
          </a:solidFill>
          <a:ln/>
        </p:spPr>
      </p:sp>
      <p:sp>
        <p:nvSpPr>
          <p:cNvPr id="573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8213" y="4427538"/>
            <a:ext cx="5159375" cy="4194175"/>
          </a:xfrm>
          <a:solidFill>
            <a:srgbClr val="FFFFFF"/>
          </a:solidFill>
          <a:ln>
            <a:solidFill>
              <a:srgbClr val="000000"/>
            </a:solidFill>
          </a:ln>
        </p:spPr>
        <p:txBody>
          <a:bodyPr lIns="93167" tIns="46584" rIns="93167" bIns="46584">
            <a:spAutoFit/>
          </a:bodyPr>
          <a:lstStyle/>
          <a:p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12925" y="1200150"/>
            <a:ext cx="10617200" cy="7962900"/>
          </a:xfrm>
          <a:ln/>
        </p:spPr>
      </p:sp>
      <p:sp>
        <p:nvSpPr>
          <p:cNvPr id="583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41375" y="346075"/>
            <a:ext cx="5994400" cy="30638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7"/>
          <p:cNvSpPr txBox="1">
            <a:spLocks noGrp="1" noChangeArrowheads="1"/>
          </p:cNvSpPr>
          <p:nvPr/>
        </p:nvSpPr>
        <p:spPr bwMode="auto">
          <a:xfrm>
            <a:off x="6402388" y="9023350"/>
            <a:ext cx="558800" cy="17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AC4FB8E8-73F3-4128-B87F-A46B6D577A52}" type="slidenum">
              <a:rPr lang="en-US" sz="1200"/>
              <a:pPr algn="r" eaLnBrk="1" hangingPunct="1"/>
              <a:t>11</a:t>
            </a:fld>
            <a:endParaRPr lang="en-US" sz="1200"/>
          </a:p>
        </p:txBody>
      </p:sp>
      <p:sp>
        <p:nvSpPr>
          <p:cNvPr id="593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12925" y="1201738"/>
            <a:ext cx="10614025" cy="7959725"/>
          </a:xfrm>
          <a:solidFill>
            <a:srgbClr val="FFFFFF"/>
          </a:solidFill>
          <a:ln/>
        </p:spPr>
      </p:sp>
      <p:sp>
        <p:nvSpPr>
          <p:cNvPr id="593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5150" y="333375"/>
            <a:ext cx="4157663" cy="155575"/>
          </a:xfrm>
          <a:solidFill>
            <a:srgbClr val="FFFFFF"/>
          </a:solidFill>
          <a:ln>
            <a:solidFill>
              <a:srgbClr val="000000"/>
            </a:solidFill>
          </a:ln>
        </p:spPr>
        <p:txBody>
          <a:bodyPr lIns="0" tIns="0" rIns="0" bIns="0">
            <a:spAutoFit/>
          </a:bodyPr>
          <a:lstStyle/>
          <a:p>
            <a:pPr eaLnBrk="1" hangingPunct="1"/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790700" y="1200150"/>
            <a:ext cx="10617200" cy="7962900"/>
          </a:xfrm>
          <a:ln/>
        </p:spPr>
      </p:sp>
      <p:sp>
        <p:nvSpPr>
          <p:cNvPr id="604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90575" y="328613"/>
            <a:ext cx="5454650" cy="3206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  <p:sp>
        <p:nvSpPr>
          <p:cNvPr id="60420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834188" y="50800"/>
            <a:ext cx="153987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/>
            <a:r>
              <a:rPr lang="en-US" sz="600" i="1"/>
              <a:t>INIT</a:t>
            </a:r>
          </a:p>
        </p:txBody>
      </p:sp>
      <p:sp>
        <p:nvSpPr>
          <p:cNvPr id="60421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790575" y="1473200"/>
            <a:ext cx="54546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12925" y="1200150"/>
            <a:ext cx="10617200" cy="7962900"/>
          </a:xfrm>
          <a:ln/>
        </p:spPr>
      </p:sp>
      <p:sp>
        <p:nvSpPr>
          <p:cNvPr id="614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41375" y="346075"/>
            <a:ext cx="5994400" cy="30638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7"/>
          <p:cNvSpPr txBox="1">
            <a:spLocks noGrp="1" noChangeArrowheads="1"/>
          </p:cNvSpPr>
          <p:nvPr/>
        </p:nvSpPr>
        <p:spPr bwMode="auto">
          <a:xfrm>
            <a:off x="3986213" y="8855075"/>
            <a:ext cx="3049587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42" tIns="48322" rIns="96642" bIns="48322" anchor="b"/>
          <a:lstStyle>
            <a:lvl1pPr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/>
            <a:fld id="{8DC56017-CE1D-4190-8E73-FBBA22DFBD75}" type="slidenum">
              <a:rPr lang="en-US" sz="1200"/>
              <a:pPr algn="r"/>
              <a:t>14</a:t>
            </a:fld>
            <a:endParaRPr lang="en-US" sz="1200"/>
          </a:p>
        </p:txBody>
      </p:sp>
      <p:sp>
        <p:nvSpPr>
          <p:cNvPr id="62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7450" y="698500"/>
            <a:ext cx="4660900" cy="3495675"/>
          </a:xfrm>
          <a:ln/>
        </p:spPr>
      </p:sp>
      <p:sp>
        <p:nvSpPr>
          <p:cNvPr id="624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9800" y="4427538"/>
            <a:ext cx="5156200" cy="419576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42" tIns="48322" rIns="96642" bIns="48322">
            <a:spAutoFit/>
          </a:bodyPr>
          <a:lstStyle/>
          <a:p>
            <a:pPr eaLnBrk="1" hangingPunct="1"/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7"/>
          <p:cNvSpPr txBox="1">
            <a:spLocks noGrp="1" noChangeArrowheads="1"/>
          </p:cNvSpPr>
          <p:nvPr/>
        </p:nvSpPr>
        <p:spPr bwMode="auto">
          <a:xfrm>
            <a:off x="3986213" y="8855075"/>
            <a:ext cx="3049587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42" tIns="48322" rIns="96642" bIns="48322" anchor="b"/>
          <a:lstStyle>
            <a:lvl1pPr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/>
            <a:fld id="{171029DD-921D-4691-BAC1-A5A00AE85804}" type="slidenum">
              <a:rPr lang="en-US" sz="1200"/>
              <a:pPr algn="r"/>
              <a:t>15</a:t>
            </a:fld>
            <a:endParaRPr lang="en-US" sz="1200"/>
          </a:p>
        </p:txBody>
      </p:sp>
      <p:sp>
        <p:nvSpPr>
          <p:cNvPr id="634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7450" y="698500"/>
            <a:ext cx="4660900" cy="3495675"/>
          </a:xfrm>
          <a:ln/>
        </p:spPr>
      </p:sp>
      <p:sp>
        <p:nvSpPr>
          <p:cNvPr id="634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9800" y="4427538"/>
            <a:ext cx="5156200" cy="419576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42" tIns="48322" rIns="96642" bIns="48322">
            <a:spAutoFit/>
          </a:bodyPr>
          <a:lstStyle/>
          <a:p>
            <a:pPr eaLnBrk="1" hangingPunct="1"/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7"/>
          <p:cNvSpPr txBox="1">
            <a:spLocks noGrp="1" noChangeArrowheads="1"/>
          </p:cNvSpPr>
          <p:nvPr/>
        </p:nvSpPr>
        <p:spPr bwMode="auto">
          <a:xfrm>
            <a:off x="3986213" y="8855075"/>
            <a:ext cx="3049587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42" tIns="48322" rIns="96642" bIns="48322" anchor="b"/>
          <a:lstStyle>
            <a:lvl1pPr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/>
            <a:fld id="{392E48B2-8BCD-4754-9488-7232B0D66BF5}" type="slidenum">
              <a:rPr lang="en-US" sz="1200"/>
              <a:pPr algn="r"/>
              <a:t>16</a:t>
            </a:fld>
            <a:endParaRPr lang="en-US" sz="1200"/>
          </a:p>
        </p:txBody>
      </p:sp>
      <p:sp>
        <p:nvSpPr>
          <p:cNvPr id="645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7450" y="698500"/>
            <a:ext cx="4660900" cy="3495675"/>
          </a:xfrm>
          <a:ln/>
        </p:spPr>
      </p:sp>
      <p:sp>
        <p:nvSpPr>
          <p:cNvPr id="6451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9800" y="4427538"/>
            <a:ext cx="5156200" cy="419576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42" tIns="48322" rIns="96642" bIns="48322">
            <a:spAutoFit/>
          </a:bodyPr>
          <a:lstStyle/>
          <a:p>
            <a:pPr eaLnBrk="1" hangingPunct="1"/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7"/>
          <p:cNvSpPr txBox="1">
            <a:spLocks noGrp="1" noChangeArrowheads="1"/>
          </p:cNvSpPr>
          <p:nvPr/>
        </p:nvSpPr>
        <p:spPr bwMode="auto">
          <a:xfrm>
            <a:off x="3986213" y="8855075"/>
            <a:ext cx="3049587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42" tIns="48322" rIns="96642" bIns="48322" anchor="b"/>
          <a:lstStyle>
            <a:lvl1pPr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/>
            <a:fld id="{A72B94F9-9BBE-4E32-A320-E7A3C8E997F8}" type="slidenum">
              <a:rPr lang="en-US" sz="1200"/>
              <a:pPr algn="r"/>
              <a:t>17</a:t>
            </a:fld>
            <a:endParaRPr lang="en-US" sz="1200"/>
          </a:p>
        </p:txBody>
      </p:sp>
      <p:sp>
        <p:nvSpPr>
          <p:cNvPr id="655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7450" y="698500"/>
            <a:ext cx="4660900" cy="3495675"/>
          </a:xfrm>
          <a:ln/>
        </p:spPr>
      </p:sp>
      <p:sp>
        <p:nvSpPr>
          <p:cNvPr id="6554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9800" y="4427538"/>
            <a:ext cx="5156200" cy="419576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42" tIns="48322" rIns="96642" bIns="48322">
            <a:spAutoFit/>
          </a:bodyPr>
          <a:lstStyle/>
          <a:p>
            <a:pPr eaLnBrk="1" hangingPunct="1"/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 txBox="1">
            <a:spLocks noGrp="1" noChangeArrowheads="1"/>
          </p:cNvSpPr>
          <p:nvPr/>
        </p:nvSpPr>
        <p:spPr bwMode="auto">
          <a:xfrm>
            <a:off x="3986213" y="8855075"/>
            <a:ext cx="3049587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42" tIns="48322" rIns="96642" bIns="48322" anchor="b"/>
          <a:lstStyle>
            <a:lvl1pPr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/>
            <a:fld id="{A1945345-DF83-4A1B-BE93-57C2F0B0773F}" type="slidenum">
              <a:rPr lang="en-US" sz="1200"/>
              <a:pPr algn="r"/>
              <a:t>18</a:t>
            </a:fld>
            <a:endParaRPr lang="en-US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7450" y="698500"/>
            <a:ext cx="4660900" cy="3495675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9800" y="4427538"/>
            <a:ext cx="5156200" cy="419576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42" tIns="48322" rIns="96642" bIns="48322">
            <a:spAutoFit/>
          </a:bodyPr>
          <a:lstStyle/>
          <a:p>
            <a:pPr eaLnBrk="1" hangingPunct="1"/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 txBox="1">
            <a:spLocks noGrp="1" noChangeArrowheads="1"/>
          </p:cNvSpPr>
          <p:nvPr/>
        </p:nvSpPr>
        <p:spPr bwMode="auto">
          <a:xfrm>
            <a:off x="6402388" y="9023350"/>
            <a:ext cx="558800" cy="17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A6635AB6-ADF6-4BCF-9EE9-387E06845CC6}" type="slidenum">
              <a:rPr lang="en-US" sz="1200"/>
              <a:pPr algn="r" eaLnBrk="1" hangingPunct="1"/>
              <a:t>1</a:t>
            </a:fld>
            <a:endParaRPr lang="en-US" sz="1200"/>
          </a:p>
        </p:txBody>
      </p:sp>
      <p:sp>
        <p:nvSpPr>
          <p:cNvPr id="491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12925" y="1201738"/>
            <a:ext cx="10614025" cy="7959725"/>
          </a:xfrm>
          <a:solidFill>
            <a:srgbClr val="FFFFFF"/>
          </a:solidFill>
          <a:ln/>
        </p:spPr>
      </p:sp>
      <p:sp>
        <p:nvSpPr>
          <p:cNvPr id="491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5150" y="333375"/>
            <a:ext cx="4157663" cy="155575"/>
          </a:xfrm>
          <a:solidFill>
            <a:srgbClr val="FFFFFF"/>
          </a:solidFill>
          <a:ln>
            <a:solidFill>
              <a:srgbClr val="000000"/>
            </a:solidFill>
          </a:ln>
        </p:spPr>
        <p:txBody>
          <a:bodyPr lIns="0" tIns="0" rIns="0" bIns="0">
            <a:spAutoFit/>
          </a:bodyPr>
          <a:lstStyle/>
          <a:p>
            <a:pPr eaLnBrk="1" hangingPunct="1"/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7"/>
          <p:cNvSpPr txBox="1">
            <a:spLocks noGrp="1" noChangeArrowheads="1"/>
          </p:cNvSpPr>
          <p:nvPr/>
        </p:nvSpPr>
        <p:spPr bwMode="auto">
          <a:xfrm>
            <a:off x="3986213" y="8855075"/>
            <a:ext cx="3049587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42" tIns="48322" rIns="96642" bIns="48322" anchor="b"/>
          <a:lstStyle>
            <a:lvl1pPr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/>
            <a:fld id="{465063CE-8768-4488-9E8A-84C1D17F7011}" type="slidenum">
              <a:rPr lang="en-US" sz="1200"/>
              <a:pPr algn="r"/>
              <a:t>19</a:t>
            </a:fld>
            <a:endParaRPr lang="en-US" sz="1200"/>
          </a:p>
        </p:txBody>
      </p:sp>
      <p:sp>
        <p:nvSpPr>
          <p:cNvPr id="675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7450" y="698500"/>
            <a:ext cx="4660900" cy="3495675"/>
          </a:xfrm>
          <a:ln/>
        </p:spPr>
      </p:sp>
      <p:sp>
        <p:nvSpPr>
          <p:cNvPr id="675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9800" y="4427538"/>
            <a:ext cx="5156200" cy="419576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42" tIns="48322" rIns="96642" bIns="48322">
            <a:spAutoFit/>
          </a:bodyPr>
          <a:lstStyle/>
          <a:p>
            <a:pPr eaLnBrk="1" hangingPunct="1"/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7"/>
          <p:cNvSpPr txBox="1">
            <a:spLocks noGrp="1" noChangeArrowheads="1"/>
          </p:cNvSpPr>
          <p:nvPr/>
        </p:nvSpPr>
        <p:spPr bwMode="auto">
          <a:xfrm>
            <a:off x="3986213" y="8855075"/>
            <a:ext cx="3049587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42" tIns="48322" rIns="96642" bIns="48322" anchor="b"/>
          <a:lstStyle>
            <a:lvl1pPr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/>
            <a:fld id="{0C2340C0-410C-4CC3-8447-F519F4834504}" type="slidenum">
              <a:rPr lang="en-US" sz="1200"/>
              <a:pPr algn="r"/>
              <a:t>20</a:t>
            </a:fld>
            <a:endParaRPr lang="en-US" sz="1200"/>
          </a:p>
        </p:txBody>
      </p:sp>
      <p:sp>
        <p:nvSpPr>
          <p:cNvPr id="686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7450" y="698500"/>
            <a:ext cx="4660900" cy="3495675"/>
          </a:xfrm>
          <a:ln/>
        </p:spPr>
      </p:sp>
      <p:sp>
        <p:nvSpPr>
          <p:cNvPr id="686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9800" y="4427538"/>
            <a:ext cx="5156200" cy="419576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42" tIns="48322" rIns="96642" bIns="48322">
            <a:spAutoFit/>
          </a:bodyPr>
          <a:lstStyle/>
          <a:p>
            <a:pPr eaLnBrk="1" hangingPunct="1"/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7"/>
          <p:cNvSpPr txBox="1">
            <a:spLocks noGrp="1" noChangeArrowheads="1"/>
          </p:cNvSpPr>
          <p:nvPr/>
        </p:nvSpPr>
        <p:spPr bwMode="auto">
          <a:xfrm>
            <a:off x="3986213" y="8855075"/>
            <a:ext cx="3049587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42" tIns="48322" rIns="96642" bIns="48322" anchor="b"/>
          <a:lstStyle>
            <a:lvl1pPr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/>
            <a:fld id="{D0CB96DC-8D39-43A4-9FF9-D021EFFE7387}" type="slidenum">
              <a:rPr lang="en-US" sz="1200"/>
              <a:pPr algn="r"/>
              <a:t>21</a:t>
            </a:fld>
            <a:endParaRPr lang="en-US" sz="1200"/>
          </a:p>
        </p:txBody>
      </p:sp>
      <p:sp>
        <p:nvSpPr>
          <p:cNvPr id="696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7450" y="698500"/>
            <a:ext cx="4660900" cy="3495675"/>
          </a:xfrm>
          <a:ln/>
        </p:spPr>
      </p:sp>
      <p:sp>
        <p:nvSpPr>
          <p:cNvPr id="6963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9800" y="4427538"/>
            <a:ext cx="5156200" cy="419576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42" tIns="48322" rIns="96642" bIns="48322">
            <a:spAutoFit/>
          </a:bodyPr>
          <a:lstStyle/>
          <a:p>
            <a:pPr eaLnBrk="1" hangingPunct="1"/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7"/>
          <p:cNvSpPr txBox="1">
            <a:spLocks noGrp="1" noChangeArrowheads="1"/>
          </p:cNvSpPr>
          <p:nvPr/>
        </p:nvSpPr>
        <p:spPr bwMode="auto">
          <a:xfrm>
            <a:off x="3986213" y="8855075"/>
            <a:ext cx="3049587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42" tIns="48322" rIns="96642" bIns="48322" anchor="b"/>
          <a:lstStyle>
            <a:lvl1pPr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/>
            <a:fld id="{B2D4544E-237D-4045-87C9-A171AC4A68D6}" type="slidenum">
              <a:rPr lang="en-US" sz="1200"/>
              <a:pPr algn="r"/>
              <a:t>22</a:t>
            </a:fld>
            <a:endParaRPr lang="en-US" sz="1200"/>
          </a:p>
        </p:txBody>
      </p:sp>
      <p:sp>
        <p:nvSpPr>
          <p:cNvPr id="706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7450" y="698500"/>
            <a:ext cx="4660900" cy="3495675"/>
          </a:xfrm>
          <a:ln/>
        </p:spPr>
      </p:sp>
      <p:sp>
        <p:nvSpPr>
          <p:cNvPr id="7066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9800" y="4427538"/>
            <a:ext cx="5156200" cy="419576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42" tIns="48322" rIns="96642" bIns="48322">
            <a:spAutoFit/>
          </a:bodyPr>
          <a:lstStyle/>
          <a:p>
            <a:pPr eaLnBrk="1" hangingPunct="1"/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7"/>
          <p:cNvSpPr txBox="1">
            <a:spLocks noGrp="1" noChangeArrowheads="1"/>
          </p:cNvSpPr>
          <p:nvPr/>
        </p:nvSpPr>
        <p:spPr bwMode="auto">
          <a:xfrm>
            <a:off x="6402388" y="9023350"/>
            <a:ext cx="558800" cy="17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9B6DEC1A-E6D9-463A-8182-3BC2FA0348CA}" type="slidenum">
              <a:rPr lang="en-US" sz="1200"/>
              <a:pPr algn="r" eaLnBrk="1" hangingPunct="1"/>
              <a:t>23</a:t>
            </a:fld>
            <a:endParaRPr lang="en-US" sz="1200"/>
          </a:p>
        </p:txBody>
      </p:sp>
      <p:sp>
        <p:nvSpPr>
          <p:cNvPr id="716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12925" y="1201738"/>
            <a:ext cx="10614025" cy="7959725"/>
          </a:xfrm>
          <a:solidFill>
            <a:srgbClr val="FFFFFF"/>
          </a:solidFill>
          <a:ln/>
        </p:spPr>
      </p:sp>
      <p:sp>
        <p:nvSpPr>
          <p:cNvPr id="716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5150" y="333375"/>
            <a:ext cx="4157663" cy="155575"/>
          </a:xfrm>
          <a:solidFill>
            <a:srgbClr val="FFFFFF"/>
          </a:solidFill>
          <a:ln>
            <a:solidFill>
              <a:srgbClr val="000000"/>
            </a:solidFill>
          </a:ln>
        </p:spPr>
        <p:txBody>
          <a:bodyPr lIns="0" tIns="0" rIns="0" bIns="0">
            <a:spAutoFit/>
          </a:bodyPr>
          <a:lstStyle/>
          <a:p>
            <a:pPr eaLnBrk="1" hangingPunct="1"/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12925" y="1200150"/>
            <a:ext cx="10617200" cy="7962900"/>
          </a:xfrm>
          <a:ln/>
        </p:spPr>
      </p:sp>
      <p:sp>
        <p:nvSpPr>
          <p:cNvPr id="727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41375" y="346075"/>
            <a:ext cx="5994400" cy="30638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12925" y="1200150"/>
            <a:ext cx="10617200" cy="7962900"/>
          </a:xfrm>
          <a:ln/>
        </p:spPr>
      </p:sp>
      <p:sp>
        <p:nvSpPr>
          <p:cNvPr id="737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41375" y="346075"/>
            <a:ext cx="5994400" cy="30638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475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  <p:sp>
        <p:nvSpPr>
          <p:cNvPr id="7475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fld id="{15D1F739-2F7E-4236-B0DE-67E9D273B061}" type="slidenum">
              <a:rPr lang="en-US" sz="1200" smtClean="0">
                <a:latin typeface="Times" charset="0"/>
              </a:rPr>
              <a:pPr/>
              <a:t>26</a:t>
            </a:fld>
            <a:endParaRPr lang="en-US" sz="1200" smtClean="0">
              <a:latin typeface="Times" charset="0"/>
            </a:endParaR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12925" y="1200150"/>
            <a:ext cx="10617200" cy="7962900"/>
          </a:xfrm>
          <a:ln/>
        </p:spPr>
      </p:sp>
      <p:sp>
        <p:nvSpPr>
          <p:cNvPr id="7577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41375" y="346075"/>
            <a:ext cx="5994400" cy="30638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680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  <p:sp>
        <p:nvSpPr>
          <p:cNvPr id="7680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fld id="{FF17F149-649F-4A92-8181-2433CDDFC074}" type="slidenum">
              <a:rPr lang="en-US" sz="1200" smtClean="0">
                <a:latin typeface="Times" charset="0"/>
              </a:rPr>
              <a:pPr/>
              <a:t>28</a:t>
            </a:fld>
            <a:endParaRPr lang="en-US" sz="1200" smtClean="0">
              <a:latin typeface="Times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89038" y="700088"/>
            <a:ext cx="4657725" cy="3494087"/>
          </a:xfrm>
          <a:ln/>
        </p:spPr>
      </p:sp>
      <p:sp>
        <p:nvSpPr>
          <p:cNvPr id="50179" name="2 Marcador de notas"/>
          <p:cNvSpPr>
            <a:spLocks noGrp="1"/>
          </p:cNvSpPr>
          <p:nvPr>
            <p:ph type="body" idx="1"/>
          </p:nvPr>
        </p:nvSpPr>
        <p:spPr>
          <a:xfrm>
            <a:off x="703263" y="4427538"/>
            <a:ext cx="5629275" cy="41941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hangingPunct="1">
              <a:spcBef>
                <a:spcPct val="0"/>
              </a:spcBef>
            </a:pPr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  <p:sp>
        <p:nvSpPr>
          <p:cNvPr id="50180" name="3 Marcador de número de diapositiva"/>
          <p:cNvSpPr txBox="1">
            <a:spLocks noGrp="1"/>
          </p:cNvSpPr>
          <p:nvPr/>
        </p:nvSpPr>
        <p:spPr bwMode="auto">
          <a:xfrm>
            <a:off x="3984625" y="8855075"/>
            <a:ext cx="3049588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F53B9476-45A4-4E00-8F5E-D22227F0871C}" type="slidenum">
              <a:rPr lang="en-US" sz="1200">
                <a:latin typeface="Calibri" pitchFamily="34" charset="0"/>
              </a:rPr>
              <a:pPr algn="r" eaLnBrk="1" hangingPunct="1"/>
              <a:t>2</a:t>
            </a:fld>
            <a:endParaRPr lang="en-US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782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  <p:sp>
        <p:nvSpPr>
          <p:cNvPr id="7782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fld id="{623B3CFA-3501-4014-A9B2-9EA02D98EB3B}" type="slidenum">
              <a:rPr lang="en-US" sz="1200" smtClean="0">
                <a:latin typeface="Times" charset="0"/>
              </a:rPr>
              <a:pPr/>
              <a:t>29</a:t>
            </a:fld>
            <a:endParaRPr lang="en-US" sz="1200" smtClean="0">
              <a:latin typeface="Times" charset="0"/>
            </a:endParaRPr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-1812925" y="1200150"/>
            <a:ext cx="10617200" cy="7962900"/>
          </a:xfrm>
          <a:ln/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>
          <a:xfrm>
            <a:off x="841375" y="346075"/>
            <a:ext cx="5994400" cy="30638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6278563" y="8885238"/>
            <a:ext cx="55880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0C0569CA-60B6-468C-9469-2C9956F4C79D}" type="slidenum">
              <a:rPr lang="en-US" sz="1200"/>
              <a:pPr algn="r" eaLnBrk="1" hangingPunct="1"/>
              <a:t>30</a:t>
            </a:fld>
            <a:endParaRPr lang="en-US" sz="120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-1812925" y="1200150"/>
            <a:ext cx="10617200" cy="7962900"/>
          </a:xfrm>
          <a:ln/>
        </p:spPr>
      </p:sp>
      <p:sp>
        <p:nvSpPr>
          <p:cNvPr id="79875" name="Notes Placeholder 2"/>
          <p:cNvSpPr>
            <a:spLocks noGrp="1"/>
          </p:cNvSpPr>
          <p:nvPr>
            <p:ph type="body" idx="1"/>
          </p:nvPr>
        </p:nvSpPr>
        <p:spPr>
          <a:xfrm>
            <a:off x="841375" y="346075"/>
            <a:ext cx="5994400" cy="30638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  <p:sp>
        <p:nvSpPr>
          <p:cNvPr id="79876" name="Slide Number Placeholder 3"/>
          <p:cNvSpPr txBox="1">
            <a:spLocks noGrp="1"/>
          </p:cNvSpPr>
          <p:nvPr/>
        </p:nvSpPr>
        <p:spPr bwMode="auto">
          <a:xfrm>
            <a:off x="6278563" y="8885238"/>
            <a:ext cx="55880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BD3A6AA4-71D0-4809-8752-E1824DC2E201}" type="slidenum">
              <a:rPr lang="en-US" sz="1200"/>
              <a:pPr algn="r" eaLnBrk="1" hangingPunct="1"/>
              <a:t>31</a:t>
            </a:fld>
            <a:endParaRPr lang="en-US" sz="1200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7"/>
          <p:cNvSpPr txBox="1">
            <a:spLocks noGrp="1" noChangeArrowheads="1"/>
          </p:cNvSpPr>
          <p:nvPr/>
        </p:nvSpPr>
        <p:spPr bwMode="auto">
          <a:xfrm>
            <a:off x="6402388" y="9023350"/>
            <a:ext cx="558800" cy="17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BA5E6FC1-9D83-4DE7-A46C-255B535E1813}" type="slidenum">
              <a:rPr lang="en-US" sz="1200"/>
              <a:pPr algn="r" eaLnBrk="1" hangingPunct="1"/>
              <a:t>32</a:t>
            </a:fld>
            <a:endParaRPr lang="en-US" sz="1200"/>
          </a:p>
        </p:txBody>
      </p:sp>
      <p:sp>
        <p:nvSpPr>
          <p:cNvPr id="808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12925" y="1201738"/>
            <a:ext cx="10614025" cy="7959725"/>
          </a:xfrm>
          <a:solidFill>
            <a:srgbClr val="FFFFFF"/>
          </a:solidFill>
          <a:ln/>
        </p:spPr>
      </p:sp>
      <p:sp>
        <p:nvSpPr>
          <p:cNvPr id="809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5150" y="333375"/>
            <a:ext cx="4157663" cy="155575"/>
          </a:xfrm>
          <a:solidFill>
            <a:srgbClr val="FFFFFF"/>
          </a:solidFill>
          <a:ln>
            <a:solidFill>
              <a:srgbClr val="000000"/>
            </a:solidFill>
          </a:ln>
        </p:spPr>
        <p:txBody>
          <a:bodyPr lIns="0" tIns="0" rIns="0" bIns="0">
            <a:spAutoFit/>
          </a:bodyPr>
          <a:lstStyle/>
          <a:p>
            <a:pPr eaLnBrk="1" hangingPunct="1"/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192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  <p:sp>
        <p:nvSpPr>
          <p:cNvPr id="8192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fld id="{805EDBDE-CDFE-4B45-9030-F1B744990CDC}" type="slidenum">
              <a:rPr lang="en-US" sz="1200" smtClean="0">
                <a:latin typeface="Times" charset="0"/>
              </a:rPr>
              <a:pPr/>
              <a:t>33</a:t>
            </a:fld>
            <a:endParaRPr lang="en-US" sz="1200" smtClean="0">
              <a:latin typeface="Times" charset="0"/>
            </a:endParaRPr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Rectangle 7"/>
          <p:cNvSpPr txBox="1">
            <a:spLocks noGrp="1" noChangeArrowheads="1"/>
          </p:cNvSpPr>
          <p:nvPr/>
        </p:nvSpPr>
        <p:spPr bwMode="auto">
          <a:xfrm>
            <a:off x="3986213" y="8855075"/>
            <a:ext cx="3049587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42" tIns="48322" rIns="96642" bIns="48322" anchor="b"/>
          <a:lstStyle>
            <a:lvl1pPr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/>
            <a:fld id="{D3F652D0-0B1F-4616-A575-EAF02314B358}" type="slidenum">
              <a:rPr lang="en-US" sz="1200"/>
              <a:pPr algn="r"/>
              <a:t>34</a:t>
            </a:fld>
            <a:endParaRPr lang="en-US" sz="1200"/>
          </a:p>
        </p:txBody>
      </p:sp>
      <p:sp>
        <p:nvSpPr>
          <p:cNvPr id="829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7450" y="698500"/>
            <a:ext cx="4660900" cy="3495675"/>
          </a:xfrm>
          <a:ln/>
        </p:spPr>
      </p:sp>
      <p:sp>
        <p:nvSpPr>
          <p:cNvPr id="829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9800" y="4427538"/>
            <a:ext cx="5156200" cy="419576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42" tIns="48322" rIns="96642" bIns="48322">
            <a:spAutoFit/>
          </a:bodyPr>
          <a:lstStyle/>
          <a:p>
            <a:pPr eaLnBrk="1" hangingPunct="1"/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Rectangle 7"/>
          <p:cNvSpPr txBox="1">
            <a:spLocks noGrp="1" noChangeArrowheads="1"/>
          </p:cNvSpPr>
          <p:nvPr/>
        </p:nvSpPr>
        <p:spPr bwMode="auto">
          <a:xfrm>
            <a:off x="3986213" y="8855075"/>
            <a:ext cx="3049587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42" tIns="48322" rIns="96642" bIns="48322" anchor="b"/>
          <a:lstStyle>
            <a:lvl1pPr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/>
            <a:fld id="{C55823C0-4C47-40B9-B4B4-4E0C3817B3C2}" type="slidenum">
              <a:rPr lang="en-US" sz="1200"/>
              <a:pPr algn="r"/>
              <a:t>35</a:t>
            </a:fld>
            <a:endParaRPr lang="en-US" sz="1200"/>
          </a:p>
        </p:txBody>
      </p:sp>
      <p:sp>
        <p:nvSpPr>
          <p:cNvPr id="839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7450" y="698500"/>
            <a:ext cx="4660900" cy="3495675"/>
          </a:xfrm>
          <a:ln/>
        </p:spPr>
      </p:sp>
      <p:sp>
        <p:nvSpPr>
          <p:cNvPr id="839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9800" y="4427538"/>
            <a:ext cx="5156200" cy="419576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42" tIns="48322" rIns="96642" bIns="48322">
            <a:spAutoFit/>
          </a:bodyPr>
          <a:lstStyle/>
          <a:p>
            <a:pPr eaLnBrk="1" hangingPunct="1"/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7"/>
          <p:cNvSpPr txBox="1">
            <a:spLocks noGrp="1" noChangeArrowheads="1"/>
          </p:cNvSpPr>
          <p:nvPr/>
        </p:nvSpPr>
        <p:spPr bwMode="auto">
          <a:xfrm>
            <a:off x="3986213" y="8855075"/>
            <a:ext cx="3049587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42" tIns="48322" rIns="96642" bIns="48322" anchor="b"/>
          <a:lstStyle>
            <a:lvl1pPr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/>
            <a:fld id="{54DFD260-A726-46EE-9802-7DE2A896CC8C}" type="slidenum">
              <a:rPr lang="en-US" sz="1200"/>
              <a:pPr algn="r"/>
              <a:t>36</a:t>
            </a:fld>
            <a:endParaRPr lang="en-US" sz="1200"/>
          </a:p>
        </p:txBody>
      </p:sp>
      <p:sp>
        <p:nvSpPr>
          <p:cNvPr id="849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7450" y="698500"/>
            <a:ext cx="4660900" cy="3495675"/>
          </a:xfrm>
          <a:ln/>
        </p:spPr>
      </p:sp>
      <p:sp>
        <p:nvSpPr>
          <p:cNvPr id="849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9800" y="4427538"/>
            <a:ext cx="5156200" cy="419576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42" tIns="48322" rIns="96642" bIns="48322">
            <a:spAutoFit/>
          </a:bodyPr>
          <a:lstStyle/>
          <a:p>
            <a:pPr eaLnBrk="1" hangingPunct="1"/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Rectangle 7"/>
          <p:cNvSpPr txBox="1">
            <a:spLocks noGrp="1" noChangeArrowheads="1"/>
          </p:cNvSpPr>
          <p:nvPr/>
        </p:nvSpPr>
        <p:spPr bwMode="auto">
          <a:xfrm>
            <a:off x="3986213" y="8855075"/>
            <a:ext cx="3049587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42" tIns="48322" rIns="96642" bIns="48322" anchor="b"/>
          <a:lstStyle>
            <a:lvl1pPr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/>
            <a:fld id="{134200F7-CFE0-4343-96FA-68B813E6C69C}" type="slidenum">
              <a:rPr lang="en-US" sz="1200"/>
              <a:pPr algn="r"/>
              <a:t>37</a:t>
            </a:fld>
            <a:endParaRPr lang="en-US" sz="1200"/>
          </a:p>
        </p:txBody>
      </p:sp>
      <p:sp>
        <p:nvSpPr>
          <p:cNvPr id="860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7450" y="698500"/>
            <a:ext cx="4660900" cy="3495675"/>
          </a:xfrm>
          <a:ln/>
        </p:spPr>
      </p:sp>
      <p:sp>
        <p:nvSpPr>
          <p:cNvPr id="860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9800" y="4427538"/>
            <a:ext cx="5156200" cy="419576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42" tIns="48322" rIns="96642" bIns="48322">
            <a:spAutoFit/>
          </a:bodyPr>
          <a:lstStyle/>
          <a:p>
            <a:pPr eaLnBrk="1" hangingPunct="1"/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-1812925" y="1200150"/>
            <a:ext cx="10617200" cy="7962900"/>
          </a:xfrm>
          <a:ln/>
        </p:spPr>
      </p:sp>
      <p:sp>
        <p:nvSpPr>
          <p:cNvPr id="87043" name="Notes Placeholder 2"/>
          <p:cNvSpPr>
            <a:spLocks noGrp="1"/>
          </p:cNvSpPr>
          <p:nvPr>
            <p:ph type="body" idx="1"/>
          </p:nvPr>
        </p:nvSpPr>
        <p:spPr>
          <a:xfrm>
            <a:off x="841375" y="346075"/>
            <a:ext cx="5994400" cy="30638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  <p:sp>
        <p:nvSpPr>
          <p:cNvPr id="87044" name="Slide Number Placeholder 3"/>
          <p:cNvSpPr txBox="1">
            <a:spLocks noGrp="1"/>
          </p:cNvSpPr>
          <p:nvPr/>
        </p:nvSpPr>
        <p:spPr bwMode="auto">
          <a:xfrm>
            <a:off x="6278563" y="8885238"/>
            <a:ext cx="55880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EE3726D7-A7A7-4C07-8402-53C401A340B4}" type="slidenum">
              <a:rPr lang="en-US" sz="1200"/>
              <a:pPr algn="r" eaLnBrk="1" hangingPunct="1"/>
              <a:t>38</a:t>
            </a:fld>
            <a:endParaRPr lang="en-US" sz="120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69988" y="687388"/>
            <a:ext cx="4670425" cy="3503612"/>
          </a:xfrm>
          <a:ln/>
        </p:spPr>
      </p:sp>
      <p:sp>
        <p:nvSpPr>
          <p:cNvPr id="512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2813" y="4419600"/>
            <a:ext cx="5183187" cy="41910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550" tIns="47276" rIns="94550" bIns="47276">
            <a:spAutoFit/>
          </a:bodyPr>
          <a:lstStyle/>
          <a:p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12925" y="1200150"/>
            <a:ext cx="10617200" cy="7962900"/>
          </a:xfrm>
          <a:ln/>
        </p:spPr>
      </p:sp>
      <p:sp>
        <p:nvSpPr>
          <p:cNvPr id="880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41375" y="346075"/>
            <a:ext cx="5994400" cy="30638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12925" y="1200150"/>
            <a:ext cx="10617200" cy="7962900"/>
          </a:xfrm>
          <a:ln/>
        </p:spPr>
      </p:sp>
      <p:sp>
        <p:nvSpPr>
          <p:cNvPr id="890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41375" y="346075"/>
            <a:ext cx="5994400" cy="30638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endParaRPr lang="es-ES_tradnl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12925" y="1200150"/>
            <a:ext cx="10617200" cy="7962900"/>
          </a:xfrm>
          <a:ln/>
        </p:spPr>
      </p:sp>
      <p:sp>
        <p:nvSpPr>
          <p:cNvPr id="901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41375" y="346075"/>
            <a:ext cx="5994400" cy="30638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endParaRPr lang="es-ES_tradnl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69988" y="687388"/>
            <a:ext cx="4670425" cy="3503612"/>
          </a:xfrm>
          <a:ln/>
        </p:spPr>
      </p:sp>
      <p:sp>
        <p:nvSpPr>
          <p:cNvPr id="522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2813" y="4419600"/>
            <a:ext cx="5183187" cy="41910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550" tIns="47276" rIns="94550" bIns="47276">
            <a:spAutoFit/>
          </a:bodyPr>
          <a:lstStyle/>
          <a:p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69988" y="687388"/>
            <a:ext cx="4670425" cy="3503612"/>
          </a:xfrm>
          <a:ln/>
        </p:spPr>
      </p:sp>
      <p:sp>
        <p:nvSpPr>
          <p:cNvPr id="532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2813" y="4419600"/>
            <a:ext cx="5183187" cy="41910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550" tIns="47276" rIns="94550" bIns="47276">
            <a:spAutoFit/>
          </a:bodyPr>
          <a:lstStyle/>
          <a:p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69988" y="687388"/>
            <a:ext cx="4670425" cy="3503612"/>
          </a:xfrm>
          <a:ln/>
        </p:spPr>
      </p:sp>
      <p:sp>
        <p:nvSpPr>
          <p:cNvPr id="542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2813" y="4419600"/>
            <a:ext cx="5183187" cy="41910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550" tIns="47276" rIns="94550" bIns="47276">
            <a:spAutoFit/>
          </a:bodyPr>
          <a:lstStyle/>
          <a:p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 txBox="1">
            <a:spLocks noGrp="1" noChangeArrowheads="1"/>
          </p:cNvSpPr>
          <p:nvPr/>
        </p:nvSpPr>
        <p:spPr bwMode="auto">
          <a:xfrm>
            <a:off x="6402388" y="9023350"/>
            <a:ext cx="558800" cy="17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66788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6EB19DE1-D8D7-422E-BFDE-C0CFDE9C799F}" type="slidenum">
              <a:rPr lang="en-US" sz="1200"/>
              <a:pPr algn="r" eaLnBrk="1" hangingPunct="1"/>
              <a:t>7</a:t>
            </a:fld>
            <a:endParaRPr lang="en-US" sz="1200"/>
          </a:p>
        </p:txBody>
      </p:sp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12925" y="1201738"/>
            <a:ext cx="10614025" cy="7959725"/>
          </a:xfrm>
          <a:solidFill>
            <a:srgbClr val="FFFFFF"/>
          </a:solidFill>
          <a:ln/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5150" y="333375"/>
            <a:ext cx="4157663" cy="155575"/>
          </a:xfrm>
          <a:solidFill>
            <a:srgbClr val="FFFFFF"/>
          </a:solidFill>
          <a:ln>
            <a:solidFill>
              <a:srgbClr val="000000"/>
            </a:solidFill>
          </a:ln>
        </p:spPr>
        <p:txBody>
          <a:bodyPr lIns="0" tIns="0" rIns="0" bIns="0">
            <a:spAutoFit/>
          </a:bodyPr>
          <a:lstStyle/>
          <a:p>
            <a:pPr eaLnBrk="1" hangingPunct="1"/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7"/>
          <p:cNvSpPr txBox="1">
            <a:spLocks noGrp="1" noChangeArrowheads="1"/>
          </p:cNvSpPr>
          <p:nvPr/>
        </p:nvSpPr>
        <p:spPr bwMode="auto">
          <a:xfrm>
            <a:off x="3986213" y="8855075"/>
            <a:ext cx="3049587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167" tIns="46584" rIns="93167" bIns="46584" anchor="b"/>
          <a:lstStyle>
            <a:lvl1pPr defTabSz="93186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3186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3186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3186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3186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/>
            <a:fld id="{B84A6D93-FBB5-45AB-93B4-7341586C434A}" type="slidenum">
              <a:rPr lang="en-US" sz="1200"/>
              <a:pPr algn="r"/>
              <a:t>8</a:t>
            </a:fld>
            <a:endParaRPr lang="en-US" sz="1200"/>
          </a:p>
        </p:txBody>
      </p:sp>
      <p:sp>
        <p:nvSpPr>
          <p:cNvPr id="563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7450" y="700088"/>
            <a:ext cx="4660900" cy="3495675"/>
          </a:xfrm>
          <a:solidFill>
            <a:srgbClr val="FFFFFF"/>
          </a:solidFill>
          <a:ln/>
        </p:spPr>
      </p:sp>
      <p:sp>
        <p:nvSpPr>
          <p:cNvPr id="5632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8213" y="4427538"/>
            <a:ext cx="5159375" cy="4194175"/>
          </a:xfrm>
          <a:solidFill>
            <a:srgbClr val="FFFFFF"/>
          </a:solidFill>
          <a:ln>
            <a:solidFill>
              <a:srgbClr val="000000"/>
            </a:solidFill>
          </a:ln>
        </p:spPr>
        <p:txBody>
          <a:bodyPr lIns="93167" tIns="46584" rIns="93167" bIns="46584">
            <a:spAutoFit/>
          </a:bodyPr>
          <a:lstStyle/>
          <a:p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ChangeArrowheads="1"/>
          </p:cNvSpPr>
          <p:nvPr/>
        </p:nvSpPr>
        <p:spPr bwMode="auto">
          <a:xfrm>
            <a:off x="152400" y="1752600"/>
            <a:ext cx="8991600" cy="5105400"/>
          </a:xfrm>
          <a:prstGeom prst="rect">
            <a:avLst/>
          </a:prstGeom>
          <a:solidFill>
            <a:srgbClr val="DDDD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0" hangingPunct="0"/>
            <a:endParaRPr lang="en-US"/>
          </a:p>
        </p:txBody>
      </p:sp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0" y="1752600"/>
            <a:ext cx="9144000" cy="152400"/>
          </a:xfrm>
          <a:prstGeom prst="rect">
            <a:avLst/>
          </a:prstGeom>
          <a:solidFill>
            <a:srgbClr val="C2113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0" hangingPunct="0"/>
            <a:endParaRPr lang="en-US"/>
          </a:p>
        </p:txBody>
      </p:sp>
      <p:sp>
        <p:nvSpPr>
          <p:cNvPr id="6" name="Rectangle 9"/>
          <p:cNvSpPr>
            <a:spLocks noChangeArrowheads="1"/>
          </p:cNvSpPr>
          <p:nvPr/>
        </p:nvSpPr>
        <p:spPr bwMode="auto">
          <a:xfrm>
            <a:off x="0" y="1905000"/>
            <a:ext cx="152400" cy="4953000"/>
          </a:xfrm>
          <a:prstGeom prst="rect">
            <a:avLst/>
          </a:prstGeom>
          <a:solidFill>
            <a:srgbClr val="002A6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0" hangingPunct="0"/>
            <a:endParaRPr lang="en-US"/>
          </a:p>
        </p:txBody>
      </p:sp>
      <p:pic>
        <p:nvPicPr>
          <p:cNvPr id="7" name="Picture 2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3464"/>
          <a:stretch>
            <a:fillRect/>
          </a:stretch>
        </p:blipFill>
        <p:spPr bwMode="auto">
          <a:xfrm>
            <a:off x="455613" y="455613"/>
            <a:ext cx="3005137" cy="84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62000" y="2362200"/>
            <a:ext cx="7772400" cy="1143000"/>
          </a:xfrm>
        </p:spPr>
        <p:txBody>
          <a:bodyPr/>
          <a:lstStyle>
            <a:lvl1pPr algn="ctr"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7338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16EE9A-53BC-45BD-B51C-30FD1B25E87F}" type="slidenum">
              <a:rPr lang="en-US"/>
              <a:pPr>
                <a:defRPr/>
              </a:pPr>
              <a:t>‹#›</a:t>
            </a:fld>
            <a:r>
              <a:rPr lang="en-US"/>
              <a:t>a</a:t>
            </a:r>
          </a:p>
        </p:txBody>
      </p:sp>
    </p:spTree>
    <p:extLst>
      <p:ext uri="{BB962C8B-B14F-4D97-AF65-F5344CB8AC3E}">
        <p14:creationId xmlns:p14="http://schemas.microsoft.com/office/powerpoint/2010/main" val="13401655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425843-3BE1-461F-AFDE-F7F41B0E27F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16668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1447800"/>
            <a:ext cx="1943100" cy="46482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1447800"/>
            <a:ext cx="5676900" cy="46482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6BBAA9-2B67-485D-8F50-AB04016CDB8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47555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5"/>
          <p:cNvSpPr txBox="1">
            <a:spLocks noChangeArrowheads="1"/>
          </p:cNvSpPr>
          <p:nvPr/>
        </p:nvSpPr>
        <p:spPr bwMode="auto">
          <a:xfrm>
            <a:off x="685800" y="381000"/>
            <a:ext cx="7772400" cy="51911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defRPr/>
            </a:pPr>
            <a:r>
              <a:rPr lang="en-US" smtClean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E95099-8556-493F-8C7C-F18D0C2EE5B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28708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508F40-D5D9-433E-BB25-5FCE109D3EC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1192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0F7066-1409-4E84-9E3B-562A9C535A7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66816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209800"/>
            <a:ext cx="3810000" cy="3886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209800"/>
            <a:ext cx="3810000" cy="3886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4DC660-294F-4F5A-9580-BE9E7B5AA51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30126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6E0996-05A9-44E0-8981-F8560F85F1F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8328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085D29-6962-4EEF-99C9-1A291FD999C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02100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86F2DA-10A5-48FD-A431-BEF658DA89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5493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13DB36-8FBC-4269-B102-1B501E15A98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0390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EFFC9D-B310-42A2-A302-005D1C74D1F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38935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1447800"/>
            <a:ext cx="77724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2209800"/>
            <a:ext cx="7772400" cy="388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fld id="{FC9D0101-9C61-4C2C-ACDD-765F744E7CD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31" name="Rectangle 10"/>
          <p:cNvSpPr>
            <a:spLocks noChangeArrowheads="1"/>
          </p:cNvSpPr>
          <p:nvPr/>
        </p:nvSpPr>
        <p:spPr bwMode="auto">
          <a:xfrm>
            <a:off x="0" y="1066800"/>
            <a:ext cx="9144000" cy="152400"/>
          </a:xfrm>
          <a:prstGeom prst="rect">
            <a:avLst/>
          </a:prstGeom>
          <a:solidFill>
            <a:srgbClr val="C2113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0" hangingPunct="0"/>
            <a:endParaRPr lang="en-US"/>
          </a:p>
        </p:txBody>
      </p:sp>
      <p:sp>
        <p:nvSpPr>
          <p:cNvPr id="1032" name="Rectangle 11"/>
          <p:cNvSpPr>
            <a:spLocks noChangeArrowheads="1"/>
          </p:cNvSpPr>
          <p:nvPr/>
        </p:nvSpPr>
        <p:spPr bwMode="auto">
          <a:xfrm>
            <a:off x="0" y="1219200"/>
            <a:ext cx="152400" cy="5638800"/>
          </a:xfrm>
          <a:prstGeom prst="rect">
            <a:avLst/>
          </a:prstGeom>
          <a:solidFill>
            <a:srgbClr val="002A6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eaLnBrk="0" hangingPunct="0"/>
            <a:endParaRPr lang="en-US">
              <a:solidFill>
                <a:srgbClr val="002A6C"/>
              </a:solidFill>
              <a:latin typeface="Times" charset="0"/>
            </a:endParaRPr>
          </a:p>
        </p:txBody>
      </p:sp>
      <p:sp>
        <p:nvSpPr>
          <p:cNvPr id="1033" name="Rectangle 2"/>
          <p:cNvSpPr txBox="1">
            <a:spLocks noChangeArrowheads="1"/>
          </p:cNvSpPr>
          <p:nvPr/>
        </p:nvSpPr>
        <p:spPr bwMode="auto">
          <a:xfrm>
            <a:off x="685800" y="228600"/>
            <a:ext cx="7772400" cy="609600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>
              <a:defRPr/>
            </a:pPr>
            <a:endParaRPr lang="en-US" sz="2400" b="1" smtClean="0">
              <a:solidFill>
                <a:srgbClr val="1E4ABD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6" r:id="rId1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ＭＳ Ｐゴシック" charset="0"/>
          <a:cs typeface="Arial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charset="0"/>
          <a:cs typeface="Arial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Arial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Arial" charset="0"/>
          <a:cs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Arial" charset="0"/>
          <a:cs typeface="Arial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13" Type="http://schemas.openxmlformats.org/officeDocument/2006/relationships/tags" Target="../tags/tag127.xml"/><Relationship Id="rId18" Type="http://schemas.openxmlformats.org/officeDocument/2006/relationships/oleObject" Target="../embeddings/oleObject11.bin"/><Relationship Id="rId3" Type="http://schemas.openxmlformats.org/officeDocument/2006/relationships/tags" Target="../tags/tag117.xml"/><Relationship Id="rId21" Type="http://schemas.openxmlformats.org/officeDocument/2006/relationships/oleObject" Target="../embeddings/oleObject13.bin"/><Relationship Id="rId7" Type="http://schemas.openxmlformats.org/officeDocument/2006/relationships/tags" Target="../tags/tag121.xml"/><Relationship Id="rId12" Type="http://schemas.openxmlformats.org/officeDocument/2006/relationships/tags" Target="../tags/tag126.xml"/><Relationship Id="rId17" Type="http://schemas.openxmlformats.org/officeDocument/2006/relationships/notesSlide" Target="../notesSlides/notesSlide10.xml"/><Relationship Id="rId2" Type="http://schemas.openxmlformats.org/officeDocument/2006/relationships/tags" Target="../tags/tag116.xml"/><Relationship Id="rId16" Type="http://schemas.openxmlformats.org/officeDocument/2006/relationships/slideLayout" Target="../slideLayouts/slideLayout6.xml"/><Relationship Id="rId20" Type="http://schemas.openxmlformats.org/officeDocument/2006/relationships/image" Target="../media/image9.emf"/><Relationship Id="rId1" Type="http://schemas.openxmlformats.org/officeDocument/2006/relationships/vmlDrawing" Target="../drawings/vmlDrawing9.vml"/><Relationship Id="rId6" Type="http://schemas.openxmlformats.org/officeDocument/2006/relationships/tags" Target="../tags/tag120.xml"/><Relationship Id="rId11" Type="http://schemas.openxmlformats.org/officeDocument/2006/relationships/tags" Target="../tags/tag125.xml"/><Relationship Id="rId5" Type="http://schemas.openxmlformats.org/officeDocument/2006/relationships/tags" Target="../tags/tag119.xml"/><Relationship Id="rId15" Type="http://schemas.openxmlformats.org/officeDocument/2006/relationships/tags" Target="../tags/tag129.xml"/><Relationship Id="rId10" Type="http://schemas.openxmlformats.org/officeDocument/2006/relationships/tags" Target="../tags/tag124.xml"/><Relationship Id="rId19" Type="http://schemas.openxmlformats.org/officeDocument/2006/relationships/oleObject" Target="../embeddings/oleObject12.bin"/><Relationship Id="rId4" Type="http://schemas.openxmlformats.org/officeDocument/2006/relationships/tags" Target="../tags/tag118.xml"/><Relationship Id="rId9" Type="http://schemas.openxmlformats.org/officeDocument/2006/relationships/tags" Target="../tags/tag123.xml"/><Relationship Id="rId14" Type="http://schemas.openxmlformats.org/officeDocument/2006/relationships/tags" Target="../tags/tag128.xml"/><Relationship Id="rId22" Type="http://schemas.openxmlformats.org/officeDocument/2006/relationships/image" Target="../media/image10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36.xml"/><Relationship Id="rId13" Type="http://schemas.openxmlformats.org/officeDocument/2006/relationships/tags" Target="../tags/tag141.xml"/><Relationship Id="rId18" Type="http://schemas.openxmlformats.org/officeDocument/2006/relationships/tags" Target="../tags/tag146.xml"/><Relationship Id="rId26" Type="http://schemas.openxmlformats.org/officeDocument/2006/relationships/image" Target="../media/image14.jpeg"/><Relationship Id="rId3" Type="http://schemas.openxmlformats.org/officeDocument/2006/relationships/tags" Target="../tags/tag131.xml"/><Relationship Id="rId21" Type="http://schemas.openxmlformats.org/officeDocument/2006/relationships/notesSlide" Target="../notesSlides/notesSlide11.xml"/><Relationship Id="rId7" Type="http://schemas.openxmlformats.org/officeDocument/2006/relationships/tags" Target="../tags/tag135.xml"/><Relationship Id="rId12" Type="http://schemas.openxmlformats.org/officeDocument/2006/relationships/tags" Target="../tags/tag140.xml"/><Relationship Id="rId17" Type="http://schemas.openxmlformats.org/officeDocument/2006/relationships/tags" Target="../tags/tag145.xml"/><Relationship Id="rId25" Type="http://schemas.openxmlformats.org/officeDocument/2006/relationships/image" Target="../media/image13.jpeg"/><Relationship Id="rId2" Type="http://schemas.openxmlformats.org/officeDocument/2006/relationships/tags" Target="../tags/tag130.xml"/><Relationship Id="rId16" Type="http://schemas.openxmlformats.org/officeDocument/2006/relationships/tags" Target="../tags/tag144.xml"/><Relationship Id="rId20" Type="http://schemas.openxmlformats.org/officeDocument/2006/relationships/slideLayout" Target="../slideLayouts/slideLayout6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34.xml"/><Relationship Id="rId11" Type="http://schemas.openxmlformats.org/officeDocument/2006/relationships/tags" Target="../tags/tag139.xml"/><Relationship Id="rId24" Type="http://schemas.openxmlformats.org/officeDocument/2006/relationships/image" Target="../media/image12.png"/><Relationship Id="rId5" Type="http://schemas.openxmlformats.org/officeDocument/2006/relationships/tags" Target="../tags/tag133.xml"/><Relationship Id="rId15" Type="http://schemas.openxmlformats.org/officeDocument/2006/relationships/tags" Target="../tags/tag143.xml"/><Relationship Id="rId23" Type="http://schemas.openxmlformats.org/officeDocument/2006/relationships/image" Target="../media/image11.jpeg"/><Relationship Id="rId28" Type="http://schemas.openxmlformats.org/officeDocument/2006/relationships/image" Target="../media/image16.jpeg"/><Relationship Id="rId10" Type="http://schemas.openxmlformats.org/officeDocument/2006/relationships/tags" Target="../tags/tag138.xml"/><Relationship Id="rId19" Type="http://schemas.openxmlformats.org/officeDocument/2006/relationships/tags" Target="../tags/tag147.xml"/><Relationship Id="rId4" Type="http://schemas.openxmlformats.org/officeDocument/2006/relationships/tags" Target="../tags/tag132.xml"/><Relationship Id="rId9" Type="http://schemas.openxmlformats.org/officeDocument/2006/relationships/tags" Target="../tags/tag137.xml"/><Relationship Id="rId14" Type="http://schemas.openxmlformats.org/officeDocument/2006/relationships/tags" Target="../tags/tag142.xml"/><Relationship Id="rId22" Type="http://schemas.openxmlformats.org/officeDocument/2006/relationships/oleObject" Target="../embeddings/oleObject14.bin"/><Relationship Id="rId27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tags" Target="../tags/tag159.xml"/><Relationship Id="rId18" Type="http://schemas.openxmlformats.org/officeDocument/2006/relationships/slideLayout" Target="../slideLayouts/slideLayout6.xml"/><Relationship Id="rId3" Type="http://schemas.openxmlformats.org/officeDocument/2006/relationships/tags" Target="../tags/tag149.xml"/><Relationship Id="rId21" Type="http://schemas.openxmlformats.org/officeDocument/2006/relationships/image" Target="../media/image2.jpeg"/><Relationship Id="rId7" Type="http://schemas.openxmlformats.org/officeDocument/2006/relationships/tags" Target="../tags/tag153.xml"/><Relationship Id="rId12" Type="http://schemas.openxmlformats.org/officeDocument/2006/relationships/tags" Target="../tags/tag158.xml"/><Relationship Id="rId17" Type="http://schemas.openxmlformats.org/officeDocument/2006/relationships/tags" Target="../tags/tag163.xml"/><Relationship Id="rId2" Type="http://schemas.openxmlformats.org/officeDocument/2006/relationships/tags" Target="../tags/tag148.xml"/><Relationship Id="rId16" Type="http://schemas.openxmlformats.org/officeDocument/2006/relationships/tags" Target="../tags/tag162.xml"/><Relationship Id="rId20" Type="http://schemas.openxmlformats.org/officeDocument/2006/relationships/oleObject" Target="../embeddings/oleObject15.bin"/><Relationship Id="rId1" Type="http://schemas.openxmlformats.org/officeDocument/2006/relationships/vmlDrawing" Target="../drawings/vmlDrawing11.vml"/><Relationship Id="rId6" Type="http://schemas.openxmlformats.org/officeDocument/2006/relationships/tags" Target="../tags/tag152.xml"/><Relationship Id="rId11" Type="http://schemas.openxmlformats.org/officeDocument/2006/relationships/tags" Target="../tags/tag157.xml"/><Relationship Id="rId5" Type="http://schemas.openxmlformats.org/officeDocument/2006/relationships/tags" Target="../tags/tag151.xml"/><Relationship Id="rId15" Type="http://schemas.openxmlformats.org/officeDocument/2006/relationships/tags" Target="../tags/tag161.xml"/><Relationship Id="rId10" Type="http://schemas.openxmlformats.org/officeDocument/2006/relationships/tags" Target="../tags/tag156.xml"/><Relationship Id="rId19" Type="http://schemas.openxmlformats.org/officeDocument/2006/relationships/notesSlide" Target="../notesSlides/notesSlide12.xml"/><Relationship Id="rId4" Type="http://schemas.openxmlformats.org/officeDocument/2006/relationships/tags" Target="../tags/tag150.xml"/><Relationship Id="rId9" Type="http://schemas.openxmlformats.org/officeDocument/2006/relationships/tags" Target="../tags/tag155.xml"/><Relationship Id="rId14" Type="http://schemas.openxmlformats.org/officeDocument/2006/relationships/tags" Target="../tags/tag16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70.xml"/><Relationship Id="rId13" Type="http://schemas.openxmlformats.org/officeDocument/2006/relationships/tags" Target="../tags/tag175.xml"/><Relationship Id="rId18" Type="http://schemas.openxmlformats.org/officeDocument/2006/relationships/tags" Target="../tags/tag180.xml"/><Relationship Id="rId26" Type="http://schemas.openxmlformats.org/officeDocument/2006/relationships/tags" Target="../tags/tag188.xml"/><Relationship Id="rId3" Type="http://schemas.openxmlformats.org/officeDocument/2006/relationships/tags" Target="../tags/tag165.xml"/><Relationship Id="rId21" Type="http://schemas.openxmlformats.org/officeDocument/2006/relationships/tags" Target="../tags/tag183.xml"/><Relationship Id="rId7" Type="http://schemas.openxmlformats.org/officeDocument/2006/relationships/tags" Target="../tags/tag169.xml"/><Relationship Id="rId12" Type="http://schemas.openxmlformats.org/officeDocument/2006/relationships/tags" Target="../tags/tag174.xml"/><Relationship Id="rId17" Type="http://schemas.openxmlformats.org/officeDocument/2006/relationships/tags" Target="../tags/tag179.xml"/><Relationship Id="rId25" Type="http://schemas.openxmlformats.org/officeDocument/2006/relationships/tags" Target="../tags/tag187.xml"/><Relationship Id="rId2" Type="http://schemas.openxmlformats.org/officeDocument/2006/relationships/tags" Target="../tags/tag164.xml"/><Relationship Id="rId16" Type="http://schemas.openxmlformats.org/officeDocument/2006/relationships/tags" Target="../tags/tag178.xml"/><Relationship Id="rId20" Type="http://schemas.openxmlformats.org/officeDocument/2006/relationships/tags" Target="../tags/tag182.xml"/><Relationship Id="rId29" Type="http://schemas.openxmlformats.org/officeDocument/2006/relationships/slideLayout" Target="../slideLayouts/slideLayout6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68.xml"/><Relationship Id="rId11" Type="http://schemas.openxmlformats.org/officeDocument/2006/relationships/tags" Target="../tags/tag173.xml"/><Relationship Id="rId24" Type="http://schemas.openxmlformats.org/officeDocument/2006/relationships/tags" Target="../tags/tag186.xml"/><Relationship Id="rId5" Type="http://schemas.openxmlformats.org/officeDocument/2006/relationships/tags" Target="../tags/tag167.xml"/><Relationship Id="rId15" Type="http://schemas.openxmlformats.org/officeDocument/2006/relationships/tags" Target="../tags/tag177.xml"/><Relationship Id="rId23" Type="http://schemas.openxmlformats.org/officeDocument/2006/relationships/tags" Target="../tags/tag185.xml"/><Relationship Id="rId28" Type="http://schemas.openxmlformats.org/officeDocument/2006/relationships/tags" Target="../tags/tag190.xml"/><Relationship Id="rId10" Type="http://schemas.openxmlformats.org/officeDocument/2006/relationships/tags" Target="../tags/tag172.xml"/><Relationship Id="rId19" Type="http://schemas.openxmlformats.org/officeDocument/2006/relationships/tags" Target="../tags/tag181.xml"/><Relationship Id="rId31" Type="http://schemas.openxmlformats.org/officeDocument/2006/relationships/oleObject" Target="../embeddings/oleObject16.bin"/><Relationship Id="rId4" Type="http://schemas.openxmlformats.org/officeDocument/2006/relationships/tags" Target="../tags/tag166.xml"/><Relationship Id="rId9" Type="http://schemas.openxmlformats.org/officeDocument/2006/relationships/tags" Target="../tags/tag171.xml"/><Relationship Id="rId14" Type="http://schemas.openxmlformats.org/officeDocument/2006/relationships/tags" Target="../tags/tag176.xml"/><Relationship Id="rId22" Type="http://schemas.openxmlformats.org/officeDocument/2006/relationships/tags" Target="../tags/tag184.xml"/><Relationship Id="rId27" Type="http://schemas.openxmlformats.org/officeDocument/2006/relationships/tags" Target="../tags/tag189.xml"/><Relationship Id="rId30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205.xml"/><Relationship Id="rId18" Type="http://schemas.openxmlformats.org/officeDocument/2006/relationships/tags" Target="../tags/tag210.xml"/><Relationship Id="rId26" Type="http://schemas.openxmlformats.org/officeDocument/2006/relationships/tags" Target="../tags/tag218.xml"/><Relationship Id="rId21" Type="http://schemas.openxmlformats.org/officeDocument/2006/relationships/tags" Target="../tags/tag213.xml"/><Relationship Id="rId34" Type="http://schemas.openxmlformats.org/officeDocument/2006/relationships/tags" Target="../tags/tag226.xml"/><Relationship Id="rId7" Type="http://schemas.openxmlformats.org/officeDocument/2006/relationships/tags" Target="../tags/tag199.xml"/><Relationship Id="rId12" Type="http://schemas.openxmlformats.org/officeDocument/2006/relationships/tags" Target="../tags/tag204.xml"/><Relationship Id="rId17" Type="http://schemas.openxmlformats.org/officeDocument/2006/relationships/tags" Target="../tags/tag209.xml"/><Relationship Id="rId25" Type="http://schemas.openxmlformats.org/officeDocument/2006/relationships/tags" Target="../tags/tag217.xml"/><Relationship Id="rId33" Type="http://schemas.openxmlformats.org/officeDocument/2006/relationships/tags" Target="../tags/tag225.xml"/><Relationship Id="rId38" Type="http://schemas.openxmlformats.org/officeDocument/2006/relationships/notesSlide" Target="../notesSlides/notesSlide14.xml"/><Relationship Id="rId2" Type="http://schemas.openxmlformats.org/officeDocument/2006/relationships/tags" Target="../tags/tag194.xml"/><Relationship Id="rId16" Type="http://schemas.openxmlformats.org/officeDocument/2006/relationships/tags" Target="../tags/tag208.xml"/><Relationship Id="rId20" Type="http://schemas.openxmlformats.org/officeDocument/2006/relationships/tags" Target="../tags/tag212.xml"/><Relationship Id="rId29" Type="http://schemas.openxmlformats.org/officeDocument/2006/relationships/tags" Target="../tags/tag221.xml"/><Relationship Id="rId1" Type="http://schemas.openxmlformats.org/officeDocument/2006/relationships/tags" Target="../tags/tag193.xml"/><Relationship Id="rId6" Type="http://schemas.openxmlformats.org/officeDocument/2006/relationships/tags" Target="../tags/tag198.xml"/><Relationship Id="rId11" Type="http://schemas.openxmlformats.org/officeDocument/2006/relationships/tags" Target="../tags/tag203.xml"/><Relationship Id="rId24" Type="http://schemas.openxmlformats.org/officeDocument/2006/relationships/tags" Target="../tags/tag216.xml"/><Relationship Id="rId32" Type="http://schemas.openxmlformats.org/officeDocument/2006/relationships/tags" Target="../tags/tag224.xml"/><Relationship Id="rId37" Type="http://schemas.openxmlformats.org/officeDocument/2006/relationships/slideLayout" Target="../slideLayouts/slideLayout6.xml"/><Relationship Id="rId5" Type="http://schemas.openxmlformats.org/officeDocument/2006/relationships/tags" Target="../tags/tag197.xml"/><Relationship Id="rId15" Type="http://schemas.openxmlformats.org/officeDocument/2006/relationships/tags" Target="../tags/tag207.xml"/><Relationship Id="rId23" Type="http://schemas.openxmlformats.org/officeDocument/2006/relationships/tags" Target="../tags/tag215.xml"/><Relationship Id="rId28" Type="http://schemas.openxmlformats.org/officeDocument/2006/relationships/tags" Target="../tags/tag220.xml"/><Relationship Id="rId36" Type="http://schemas.openxmlformats.org/officeDocument/2006/relationships/tags" Target="../tags/tag228.xml"/><Relationship Id="rId10" Type="http://schemas.openxmlformats.org/officeDocument/2006/relationships/tags" Target="../tags/tag202.xml"/><Relationship Id="rId19" Type="http://schemas.openxmlformats.org/officeDocument/2006/relationships/tags" Target="../tags/tag211.xml"/><Relationship Id="rId31" Type="http://schemas.openxmlformats.org/officeDocument/2006/relationships/tags" Target="../tags/tag223.xml"/><Relationship Id="rId4" Type="http://schemas.openxmlformats.org/officeDocument/2006/relationships/tags" Target="../tags/tag196.xml"/><Relationship Id="rId9" Type="http://schemas.openxmlformats.org/officeDocument/2006/relationships/tags" Target="../tags/tag201.xml"/><Relationship Id="rId14" Type="http://schemas.openxmlformats.org/officeDocument/2006/relationships/tags" Target="../tags/tag206.xml"/><Relationship Id="rId22" Type="http://schemas.openxmlformats.org/officeDocument/2006/relationships/tags" Target="../tags/tag214.xml"/><Relationship Id="rId27" Type="http://schemas.openxmlformats.org/officeDocument/2006/relationships/tags" Target="../tags/tag219.xml"/><Relationship Id="rId30" Type="http://schemas.openxmlformats.org/officeDocument/2006/relationships/tags" Target="../tags/tag222.xml"/><Relationship Id="rId35" Type="http://schemas.openxmlformats.org/officeDocument/2006/relationships/tags" Target="../tags/tag227.xml"/><Relationship Id="rId8" Type="http://schemas.openxmlformats.org/officeDocument/2006/relationships/tags" Target="../tags/tag200.xml"/><Relationship Id="rId3" Type="http://schemas.openxmlformats.org/officeDocument/2006/relationships/tags" Target="../tags/tag19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236.xml"/><Relationship Id="rId13" Type="http://schemas.openxmlformats.org/officeDocument/2006/relationships/tags" Target="../tags/tag241.xml"/><Relationship Id="rId18" Type="http://schemas.openxmlformats.org/officeDocument/2006/relationships/tags" Target="../tags/tag246.xml"/><Relationship Id="rId3" Type="http://schemas.openxmlformats.org/officeDocument/2006/relationships/tags" Target="../tags/tag231.xml"/><Relationship Id="rId7" Type="http://schemas.openxmlformats.org/officeDocument/2006/relationships/tags" Target="../tags/tag235.xml"/><Relationship Id="rId12" Type="http://schemas.openxmlformats.org/officeDocument/2006/relationships/tags" Target="../tags/tag240.xml"/><Relationship Id="rId17" Type="http://schemas.openxmlformats.org/officeDocument/2006/relationships/tags" Target="../tags/tag245.xml"/><Relationship Id="rId2" Type="http://schemas.openxmlformats.org/officeDocument/2006/relationships/tags" Target="../tags/tag230.xml"/><Relationship Id="rId16" Type="http://schemas.openxmlformats.org/officeDocument/2006/relationships/tags" Target="../tags/tag244.xml"/><Relationship Id="rId20" Type="http://schemas.openxmlformats.org/officeDocument/2006/relationships/notesSlide" Target="../notesSlides/notesSlide15.xml"/><Relationship Id="rId1" Type="http://schemas.openxmlformats.org/officeDocument/2006/relationships/tags" Target="../tags/tag229.xml"/><Relationship Id="rId6" Type="http://schemas.openxmlformats.org/officeDocument/2006/relationships/tags" Target="../tags/tag234.xml"/><Relationship Id="rId11" Type="http://schemas.openxmlformats.org/officeDocument/2006/relationships/tags" Target="../tags/tag239.xml"/><Relationship Id="rId5" Type="http://schemas.openxmlformats.org/officeDocument/2006/relationships/tags" Target="../tags/tag233.xml"/><Relationship Id="rId15" Type="http://schemas.openxmlformats.org/officeDocument/2006/relationships/tags" Target="../tags/tag243.xml"/><Relationship Id="rId10" Type="http://schemas.openxmlformats.org/officeDocument/2006/relationships/tags" Target="../tags/tag238.xml"/><Relationship Id="rId19" Type="http://schemas.openxmlformats.org/officeDocument/2006/relationships/slideLayout" Target="../slideLayouts/slideLayout6.xml"/><Relationship Id="rId4" Type="http://schemas.openxmlformats.org/officeDocument/2006/relationships/tags" Target="../tags/tag232.xml"/><Relationship Id="rId9" Type="http://schemas.openxmlformats.org/officeDocument/2006/relationships/tags" Target="../tags/tag237.xml"/><Relationship Id="rId14" Type="http://schemas.openxmlformats.org/officeDocument/2006/relationships/tags" Target="../tags/tag24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249.xml"/><Relationship Id="rId7" Type="http://schemas.openxmlformats.org/officeDocument/2006/relationships/tags" Target="../tags/tag253.xml"/><Relationship Id="rId2" Type="http://schemas.openxmlformats.org/officeDocument/2006/relationships/tags" Target="../tags/tag248.xml"/><Relationship Id="rId1" Type="http://schemas.openxmlformats.org/officeDocument/2006/relationships/tags" Target="../tags/tag247.xml"/><Relationship Id="rId6" Type="http://schemas.openxmlformats.org/officeDocument/2006/relationships/tags" Target="../tags/tag252.xml"/><Relationship Id="rId5" Type="http://schemas.openxmlformats.org/officeDocument/2006/relationships/tags" Target="../tags/tag251.xml"/><Relationship Id="rId4" Type="http://schemas.openxmlformats.org/officeDocument/2006/relationships/tags" Target="../tags/tag250.xml"/><Relationship Id="rId9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260.xml"/><Relationship Id="rId13" Type="http://schemas.openxmlformats.org/officeDocument/2006/relationships/tags" Target="../tags/tag265.xml"/><Relationship Id="rId18" Type="http://schemas.openxmlformats.org/officeDocument/2006/relationships/notesSlide" Target="../notesSlides/notesSlide17.xml"/><Relationship Id="rId3" Type="http://schemas.openxmlformats.org/officeDocument/2006/relationships/tags" Target="../tags/tag255.xml"/><Relationship Id="rId7" Type="http://schemas.openxmlformats.org/officeDocument/2006/relationships/tags" Target="../tags/tag259.xml"/><Relationship Id="rId12" Type="http://schemas.openxmlformats.org/officeDocument/2006/relationships/tags" Target="../tags/tag264.xml"/><Relationship Id="rId17" Type="http://schemas.openxmlformats.org/officeDocument/2006/relationships/slideLayout" Target="../slideLayouts/slideLayout6.xml"/><Relationship Id="rId2" Type="http://schemas.openxmlformats.org/officeDocument/2006/relationships/tags" Target="../tags/tag254.xml"/><Relationship Id="rId16" Type="http://schemas.openxmlformats.org/officeDocument/2006/relationships/tags" Target="../tags/tag268.xml"/><Relationship Id="rId20" Type="http://schemas.openxmlformats.org/officeDocument/2006/relationships/image" Target="../media/image17.emf"/><Relationship Id="rId1" Type="http://schemas.openxmlformats.org/officeDocument/2006/relationships/vmlDrawing" Target="../drawings/vmlDrawing13.vml"/><Relationship Id="rId6" Type="http://schemas.openxmlformats.org/officeDocument/2006/relationships/tags" Target="../tags/tag258.xml"/><Relationship Id="rId11" Type="http://schemas.openxmlformats.org/officeDocument/2006/relationships/tags" Target="../tags/tag263.xml"/><Relationship Id="rId5" Type="http://schemas.openxmlformats.org/officeDocument/2006/relationships/tags" Target="../tags/tag257.xml"/><Relationship Id="rId15" Type="http://schemas.openxmlformats.org/officeDocument/2006/relationships/tags" Target="../tags/tag267.xml"/><Relationship Id="rId10" Type="http://schemas.openxmlformats.org/officeDocument/2006/relationships/tags" Target="../tags/tag262.xml"/><Relationship Id="rId19" Type="http://schemas.openxmlformats.org/officeDocument/2006/relationships/oleObject" Target="../embeddings/oleObject17.bin"/><Relationship Id="rId4" Type="http://schemas.openxmlformats.org/officeDocument/2006/relationships/tags" Target="../tags/tag256.xml"/><Relationship Id="rId9" Type="http://schemas.openxmlformats.org/officeDocument/2006/relationships/tags" Target="../tags/tag261.xml"/><Relationship Id="rId14" Type="http://schemas.openxmlformats.org/officeDocument/2006/relationships/tags" Target="../tags/tag26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275.xml"/><Relationship Id="rId13" Type="http://schemas.openxmlformats.org/officeDocument/2006/relationships/image" Target="../media/image19.png"/><Relationship Id="rId3" Type="http://schemas.openxmlformats.org/officeDocument/2006/relationships/tags" Target="../tags/tag270.xml"/><Relationship Id="rId7" Type="http://schemas.openxmlformats.org/officeDocument/2006/relationships/tags" Target="../tags/tag274.xml"/><Relationship Id="rId12" Type="http://schemas.openxmlformats.org/officeDocument/2006/relationships/image" Target="../media/image18.emf"/><Relationship Id="rId2" Type="http://schemas.openxmlformats.org/officeDocument/2006/relationships/tags" Target="../tags/tag269.xml"/><Relationship Id="rId1" Type="http://schemas.openxmlformats.org/officeDocument/2006/relationships/vmlDrawing" Target="../drawings/vmlDrawing14.vml"/><Relationship Id="rId6" Type="http://schemas.openxmlformats.org/officeDocument/2006/relationships/tags" Target="../tags/tag273.xml"/><Relationship Id="rId11" Type="http://schemas.openxmlformats.org/officeDocument/2006/relationships/oleObject" Target="../embeddings/oleObject18.bin"/><Relationship Id="rId5" Type="http://schemas.openxmlformats.org/officeDocument/2006/relationships/tags" Target="../tags/tag272.xml"/><Relationship Id="rId10" Type="http://schemas.openxmlformats.org/officeDocument/2006/relationships/notesSlide" Target="../notesSlides/notesSlide18.xml"/><Relationship Id="rId4" Type="http://schemas.openxmlformats.org/officeDocument/2006/relationships/tags" Target="../tags/tag271.xml"/><Relationship Id="rId9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282.xml"/><Relationship Id="rId13" Type="http://schemas.openxmlformats.org/officeDocument/2006/relationships/image" Target="../media/image20.emf"/><Relationship Id="rId3" Type="http://schemas.openxmlformats.org/officeDocument/2006/relationships/tags" Target="../tags/tag277.xml"/><Relationship Id="rId7" Type="http://schemas.openxmlformats.org/officeDocument/2006/relationships/tags" Target="../tags/tag281.xml"/><Relationship Id="rId12" Type="http://schemas.openxmlformats.org/officeDocument/2006/relationships/image" Target="../media/image19.png"/><Relationship Id="rId2" Type="http://schemas.openxmlformats.org/officeDocument/2006/relationships/tags" Target="../tags/tag276.xml"/><Relationship Id="rId1" Type="http://schemas.openxmlformats.org/officeDocument/2006/relationships/vmlDrawing" Target="../drawings/vmlDrawing15.vml"/><Relationship Id="rId6" Type="http://schemas.openxmlformats.org/officeDocument/2006/relationships/tags" Target="../tags/tag280.xml"/><Relationship Id="rId11" Type="http://schemas.openxmlformats.org/officeDocument/2006/relationships/oleObject" Target="../embeddings/oleObject19.bin"/><Relationship Id="rId5" Type="http://schemas.openxmlformats.org/officeDocument/2006/relationships/tags" Target="../tags/tag279.xml"/><Relationship Id="rId10" Type="http://schemas.openxmlformats.org/officeDocument/2006/relationships/notesSlide" Target="../notesSlides/notesSlide19.xml"/><Relationship Id="rId4" Type="http://schemas.openxmlformats.org/officeDocument/2006/relationships/tags" Target="../tags/tag278.xml"/><Relationship Id="rId9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image" Target="../media/image2.jpeg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oleObject" Target="../embeddings/oleObject1.bin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notesSlide" Target="../notesSlides/notesSlide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slideLayout" Target="../slideLayouts/slideLayout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289.xml"/><Relationship Id="rId13" Type="http://schemas.openxmlformats.org/officeDocument/2006/relationships/image" Target="../media/image19.png"/><Relationship Id="rId3" Type="http://schemas.openxmlformats.org/officeDocument/2006/relationships/tags" Target="../tags/tag284.xml"/><Relationship Id="rId7" Type="http://schemas.openxmlformats.org/officeDocument/2006/relationships/tags" Target="../tags/tag288.xml"/><Relationship Id="rId12" Type="http://schemas.openxmlformats.org/officeDocument/2006/relationships/oleObject" Target="../embeddings/oleObject20.bin"/><Relationship Id="rId2" Type="http://schemas.openxmlformats.org/officeDocument/2006/relationships/tags" Target="../tags/tag283.xml"/><Relationship Id="rId1" Type="http://schemas.openxmlformats.org/officeDocument/2006/relationships/vmlDrawing" Target="../drawings/vmlDrawing16.vml"/><Relationship Id="rId6" Type="http://schemas.openxmlformats.org/officeDocument/2006/relationships/tags" Target="../tags/tag287.xml"/><Relationship Id="rId11" Type="http://schemas.openxmlformats.org/officeDocument/2006/relationships/notesSlide" Target="../notesSlides/notesSlide20.xml"/><Relationship Id="rId5" Type="http://schemas.openxmlformats.org/officeDocument/2006/relationships/tags" Target="../tags/tag286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285.xml"/><Relationship Id="rId9" Type="http://schemas.openxmlformats.org/officeDocument/2006/relationships/tags" Target="../tags/tag290.xml"/><Relationship Id="rId14" Type="http://schemas.openxmlformats.org/officeDocument/2006/relationships/image" Target="../media/image2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3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5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297.xml"/><Relationship Id="rId13" Type="http://schemas.openxmlformats.org/officeDocument/2006/relationships/tags" Target="../tags/tag302.xml"/><Relationship Id="rId18" Type="http://schemas.openxmlformats.org/officeDocument/2006/relationships/slideLayout" Target="../slideLayouts/slideLayout6.xml"/><Relationship Id="rId3" Type="http://schemas.openxmlformats.org/officeDocument/2006/relationships/tags" Target="../tags/tag292.xml"/><Relationship Id="rId21" Type="http://schemas.openxmlformats.org/officeDocument/2006/relationships/image" Target="../media/image2.jpeg"/><Relationship Id="rId7" Type="http://schemas.openxmlformats.org/officeDocument/2006/relationships/tags" Target="../tags/tag296.xml"/><Relationship Id="rId12" Type="http://schemas.openxmlformats.org/officeDocument/2006/relationships/tags" Target="../tags/tag301.xml"/><Relationship Id="rId17" Type="http://schemas.openxmlformats.org/officeDocument/2006/relationships/tags" Target="../tags/tag306.xml"/><Relationship Id="rId2" Type="http://schemas.openxmlformats.org/officeDocument/2006/relationships/tags" Target="../tags/tag291.xml"/><Relationship Id="rId16" Type="http://schemas.openxmlformats.org/officeDocument/2006/relationships/tags" Target="../tags/tag305.xml"/><Relationship Id="rId20" Type="http://schemas.openxmlformats.org/officeDocument/2006/relationships/oleObject" Target="../embeddings/oleObject21.bin"/><Relationship Id="rId1" Type="http://schemas.openxmlformats.org/officeDocument/2006/relationships/vmlDrawing" Target="../drawings/vmlDrawing17.vml"/><Relationship Id="rId6" Type="http://schemas.openxmlformats.org/officeDocument/2006/relationships/tags" Target="../tags/tag295.xml"/><Relationship Id="rId11" Type="http://schemas.openxmlformats.org/officeDocument/2006/relationships/tags" Target="../tags/tag300.xml"/><Relationship Id="rId5" Type="http://schemas.openxmlformats.org/officeDocument/2006/relationships/tags" Target="../tags/tag294.xml"/><Relationship Id="rId15" Type="http://schemas.openxmlformats.org/officeDocument/2006/relationships/tags" Target="../tags/tag304.xml"/><Relationship Id="rId10" Type="http://schemas.openxmlformats.org/officeDocument/2006/relationships/tags" Target="../tags/tag299.xml"/><Relationship Id="rId19" Type="http://schemas.openxmlformats.org/officeDocument/2006/relationships/notesSlide" Target="../notesSlides/notesSlide24.xml"/><Relationship Id="rId4" Type="http://schemas.openxmlformats.org/officeDocument/2006/relationships/tags" Target="../tags/tag293.xml"/><Relationship Id="rId9" Type="http://schemas.openxmlformats.org/officeDocument/2006/relationships/tags" Target="../tags/tag298.xml"/><Relationship Id="rId14" Type="http://schemas.openxmlformats.org/officeDocument/2006/relationships/tags" Target="../tags/tag303.xml"/></Relationships>
</file>

<file path=ppt/slides/_rels/slide25.xml.rels><?xml version="1.0" encoding="UTF-8" standalone="yes"?>
<Relationships xmlns="http://schemas.openxmlformats.org/package/2006/relationships"><Relationship Id="rId13" Type="http://schemas.openxmlformats.org/officeDocument/2006/relationships/tags" Target="../tags/tag319.xml"/><Relationship Id="rId18" Type="http://schemas.openxmlformats.org/officeDocument/2006/relationships/tags" Target="../tags/tag324.xml"/><Relationship Id="rId26" Type="http://schemas.openxmlformats.org/officeDocument/2006/relationships/tags" Target="../tags/tag332.xml"/><Relationship Id="rId39" Type="http://schemas.openxmlformats.org/officeDocument/2006/relationships/tags" Target="../tags/tag345.xml"/><Relationship Id="rId21" Type="http://schemas.openxmlformats.org/officeDocument/2006/relationships/tags" Target="../tags/tag327.xml"/><Relationship Id="rId34" Type="http://schemas.openxmlformats.org/officeDocument/2006/relationships/tags" Target="../tags/tag340.xml"/><Relationship Id="rId42" Type="http://schemas.openxmlformats.org/officeDocument/2006/relationships/tags" Target="../tags/tag348.xml"/><Relationship Id="rId7" Type="http://schemas.openxmlformats.org/officeDocument/2006/relationships/tags" Target="../tags/tag313.xml"/><Relationship Id="rId2" Type="http://schemas.openxmlformats.org/officeDocument/2006/relationships/tags" Target="../tags/tag308.xml"/><Relationship Id="rId16" Type="http://schemas.openxmlformats.org/officeDocument/2006/relationships/tags" Target="../tags/tag322.xml"/><Relationship Id="rId29" Type="http://schemas.openxmlformats.org/officeDocument/2006/relationships/tags" Target="../tags/tag335.xml"/><Relationship Id="rId1" Type="http://schemas.openxmlformats.org/officeDocument/2006/relationships/tags" Target="../tags/tag307.xml"/><Relationship Id="rId6" Type="http://schemas.openxmlformats.org/officeDocument/2006/relationships/tags" Target="../tags/tag312.xml"/><Relationship Id="rId11" Type="http://schemas.openxmlformats.org/officeDocument/2006/relationships/tags" Target="../tags/tag317.xml"/><Relationship Id="rId24" Type="http://schemas.openxmlformats.org/officeDocument/2006/relationships/tags" Target="../tags/tag330.xml"/><Relationship Id="rId32" Type="http://schemas.openxmlformats.org/officeDocument/2006/relationships/tags" Target="../tags/tag338.xml"/><Relationship Id="rId37" Type="http://schemas.openxmlformats.org/officeDocument/2006/relationships/tags" Target="../tags/tag343.xml"/><Relationship Id="rId40" Type="http://schemas.openxmlformats.org/officeDocument/2006/relationships/tags" Target="../tags/tag346.xml"/><Relationship Id="rId45" Type="http://schemas.openxmlformats.org/officeDocument/2006/relationships/notesSlide" Target="../notesSlides/notesSlide25.xml"/><Relationship Id="rId5" Type="http://schemas.openxmlformats.org/officeDocument/2006/relationships/tags" Target="../tags/tag311.xml"/><Relationship Id="rId15" Type="http://schemas.openxmlformats.org/officeDocument/2006/relationships/tags" Target="../tags/tag321.xml"/><Relationship Id="rId23" Type="http://schemas.openxmlformats.org/officeDocument/2006/relationships/tags" Target="../tags/tag329.xml"/><Relationship Id="rId28" Type="http://schemas.openxmlformats.org/officeDocument/2006/relationships/tags" Target="../tags/tag334.xml"/><Relationship Id="rId36" Type="http://schemas.openxmlformats.org/officeDocument/2006/relationships/tags" Target="../tags/tag342.xml"/><Relationship Id="rId10" Type="http://schemas.openxmlformats.org/officeDocument/2006/relationships/tags" Target="../tags/tag316.xml"/><Relationship Id="rId19" Type="http://schemas.openxmlformats.org/officeDocument/2006/relationships/tags" Target="../tags/tag325.xml"/><Relationship Id="rId31" Type="http://schemas.openxmlformats.org/officeDocument/2006/relationships/tags" Target="../tags/tag337.xml"/><Relationship Id="rId44" Type="http://schemas.openxmlformats.org/officeDocument/2006/relationships/slideLayout" Target="../slideLayouts/slideLayout6.xml"/><Relationship Id="rId4" Type="http://schemas.openxmlformats.org/officeDocument/2006/relationships/tags" Target="../tags/tag310.xml"/><Relationship Id="rId9" Type="http://schemas.openxmlformats.org/officeDocument/2006/relationships/tags" Target="../tags/tag315.xml"/><Relationship Id="rId14" Type="http://schemas.openxmlformats.org/officeDocument/2006/relationships/tags" Target="../tags/tag320.xml"/><Relationship Id="rId22" Type="http://schemas.openxmlformats.org/officeDocument/2006/relationships/tags" Target="../tags/tag328.xml"/><Relationship Id="rId27" Type="http://schemas.openxmlformats.org/officeDocument/2006/relationships/tags" Target="../tags/tag333.xml"/><Relationship Id="rId30" Type="http://schemas.openxmlformats.org/officeDocument/2006/relationships/tags" Target="../tags/tag336.xml"/><Relationship Id="rId35" Type="http://schemas.openxmlformats.org/officeDocument/2006/relationships/tags" Target="../tags/tag341.xml"/><Relationship Id="rId43" Type="http://schemas.openxmlformats.org/officeDocument/2006/relationships/tags" Target="../tags/tag349.xml"/><Relationship Id="rId8" Type="http://schemas.openxmlformats.org/officeDocument/2006/relationships/tags" Target="../tags/tag314.xml"/><Relationship Id="rId3" Type="http://schemas.openxmlformats.org/officeDocument/2006/relationships/tags" Target="../tags/tag309.xml"/><Relationship Id="rId12" Type="http://schemas.openxmlformats.org/officeDocument/2006/relationships/tags" Target="../tags/tag318.xml"/><Relationship Id="rId17" Type="http://schemas.openxmlformats.org/officeDocument/2006/relationships/tags" Target="../tags/tag323.xml"/><Relationship Id="rId25" Type="http://schemas.openxmlformats.org/officeDocument/2006/relationships/tags" Target="../tags/tag331.xml"/><Relationship Id="rId33" Type="http://schemas.openxmlformats.org/officeDocument/2006/relationships/tags" Target="../tags/tag339.xml"/><Relationship Id="rId38" Type="http://schemas.openxmlformats.org/officeDocument/2006/relationships/tags" Target="../tags/tag344.xml"/><Relationship Id="rId20" Type="http://schemas.openxmlformats.org/officeDocument/2006/relationships/tags" Target="../tags/tag326.xml"/><Relationship Id="rId41" Type="http://schemas.openxmlformats.org/officeDocument/2006/relationships/tags" Target="../tags/tag347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357.xml"/><Relationship Id="rId13" Type="http://schemas.openxmlformats.org/officeDocument/2006/relationships/tags" Target="../tags/tag362.xml"/><Relationship Id="rId18" Type="http://schemas.openxmlformats.org/officeDocument/2006/relationships/tags" Target="../tags/tag367.xml"/><Relationship Id="rId26" Type="http://schemas.openxmlformats.org/officeDocument/2006/relationships/tags" Target="../tags/tag375.xml"/><Relationship Id="rId3" Type="http://schemas.openxmlformats.org/officeDocument/2006/relationships/tags" Target="../tags/tag352.xml"/><Relationship Id="rId21" Type="http://schemas.openxmlformats.org/officeDocument/2006/relationships/tags" Target="../tags/tag370.xml"/><Relationship Id="rId7" Type="http://schemas.openxmlformats.org/officeDocument/2006/relationships/tags" Target="../tags/tag356.xml"/><Relationship Id="rId12" Type="http://schemas.openxmlformats.org/officeDocument/2006/relationships/tags" Target="../tags/tag361.xml"/><Relationship Id="rId17" Type="http://schemas.openxmlformats.org/officeDocument/2006/relationships/tags" Target="../tags/tag366.xml"/><Relationship Id="rId25" Type="http://schemas.openxmlformats.org/officeDocument/2006/relationships/tags" Target="../tags/tag374.xml"/><Relationship Id="rId2" Type="http://schemas.openxmlformats.org/officeDocument/2006/relationships/tags" Target="../tags/tag351.xml"/><Relationship Id="rId16" Type="http://schemas.openxmlformats.org/officeDocument/2006/relationships/tags" Target="../tags/tag365.xml"/><Relationship Id="rId20" Type="http://schemas.openxmlformats.org/officeDocument/2006/relationships/tags" Target="../tags/tag369.xml"/><Relationship Id="rId29" Type="http://schemas.openxmlformats.org/officeDocument/2006/relationships/slideLayout" Target="../slideLayouts/slideLayout6.xml"/><Relationship Id="rId1" Type="http://schemas.openxmlformats.org/officeDocument/2006/relationships/tags" Target="../tags/tag350.xml"/><Relationship Id="rId6" Type="http://schemas.openxmlformats.org/officeDocument/2006/relationships/tags" Target="../tags/tag355.xml"/><Relationship Id="rId11" Type="http://schemas.openxmlformats.org/officeDocument/2006/relationships/tags" Target="../tags/tag360.xml"/><Relationship Id="rId24" Type="http://schemas.openxmlformats.org/officeDocument/2006/relationships/tags" Target="../tags/tag373.xml"/><Relationship Id="rId5" Type="http://schemas.openxmlformats.org/officeDocument/2006/relationships/tags" Target="../tags/tag354.xml"/><Relationship Id="rId15" Type="http://schemas.openxmlformats.org/officeDocument/2006/relationships/tags" Target="../tags/tag364.xml"/><Relationship Id="rId23" Type="http://schemas.openxmlformats.org/officeDocument/2006/relationships/tags" Target="../tags/tag372.xml"/><Relationship Id="rId28" Type="http://schemas.openxmlformats.org/officeDocument/2006/relationships/tags" Target="../tags/tag377.xml"/><Relationship Id="rId10" Type="http://schemas.openxmlformats.org/officeDocument/2006/relationships/tags" Target="../tags/tag359.xml"/><Relationship Id="rId19" Type="http://schemas.openxmlformats.org/officeDocument/2006/relationships/tags" Target="../tags/tag368.xml"/><Relationship Id="rId4" Type="http://schemas.openxmlformats.org/officeDocument/2006/relationships/tags" Target="../tags/tag353.xml"/><Relationship Id="rId9" Type="http://schemas.openxmlformats.org/officeDocument/2006/relationships/tags" Target="../tags/tag358.xml"/><Relationship Id="rId14" Type="http://schemas.openxmlformats.org/officeDocument/2006/relationships/tags" Target="../tags/tag363.xml"/><Relationship Id="rId22" Type="http://schemas.openxmlformats.org/officeDocument/2006/relationships/tags" Target="../tags/tag371.xml"/><Relationship Id="rId27" Type="http://schemas.openxmlformats.org/officeDocument/2006/relationships/tags" Target="../tags/tag376.xml"/><Relationship Id="rId30" Type="http://schemas.openxmlformats.org/officeDocument/2006/relationships/notesSlide" Target="../notesSlides/notesSlide26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385.xml"/><Relationship Id="rId13" Type="http://schemas.openxmlformats.org/officeDocument/2006/relationships/tags" Target="../tags/tag390.xml"/><Relationship Id="rId18" Type="http://schemas.openxmlformats.org/officeDocument/2006/relationships/tags" Target="../tags/tag395.xml"/><Relationship Id="rId3" Type="http://schemas.openxmlformats.org/officeDocument/2006/relationships/tags" Target="../tags/tag380.xml"/><Relationship Id="rId21" Type="http://schemas.openxmlformats.org/officeDocument/2006/relationships/tags" Target="../tags/tag398.xml"/><Relationship Id="rId7" Type="http://schemas.openxmlformats.org/officeDocument/2006/relationships/tags" Target="../tags/tag384.xml"/><Relationship Id="rId12" Type="http://schemas.openxmlformats.org/officeDocument/2006/relationships/tags" Target="../tags/tag389.xml"/><Relationship Id="rId17" Type="http://schemas.openxmlformats.org/officeDocument/2006/relationships/tags" Target="../tags/tag394.xml"/><Relationship Id="rId25" Type="http://schemas.openxmlformats.org/officeDocument/2006/relationships/notesSlide" Target="../notesSlides/notesSlide27.xml"/><Relationship Id="rId2" Type="http://schemas.openxmlformats.org/officeDocument/2006/relationships/tags" Target="../tags/tag379.xml"/><Relationship Id="rId16" Type="http://schemas.openxmlformats.org/officeDocument/2006/relationships/tags" Target="../tags/tag393.xml"/><Relationship Id="rId20" Type="http://schemas.openxmlformats.org/officeDocument/2006/relationships/tags" Target="../tags/tag397.xml"/><Relationship Id="rId1" Type="http://schemas.openxmlformats.org/officeDocument/2006/relationships/tags" Target="../tags/tag378.xml"/><Relationship Id="rId6" Type="http://schemas.openxmlformats.org/officeDocument/2006/relationships/tags" Target="../tags/tag383.xml"/><Relationship Id="rId11" Type="http://schemas.openxmlformats.org/officeDocument/2006/relationships/tags" Target="../tags/tag388.xml"/><Relationship Id="rId24" Type="http://schemas.openxmlformats.org/officeDocument/2006/relationships/slideLayout" Target="../slideLayouts/slideLayout6.xml"/><Relationship Id="rId5" Type="http://schemas.openxmlformats.org/officeDocument/2006/relationships/tags" Target="../tags/tag382.xml"/><Relationship Id="rId15" Type="http://schemas.openxmlformats.org/officeDocument/2006/relationships/tags" Target="../tags/tag392.xml"/><Relationship Id="rId23" Type="http://schemas.openxmlformats.org/officeDocument/2006/relationships/tags" Target="../tags/tag400.xml"/><Relationship Id="rId10" Type="http://schemas.openxmlformats.org/officeDocument/2006/relationships/tags" Target="../tags/tag387.xml"/><Relationship Id="rId19" Type="http://schemas.openxmlformats.org/officeDocument/2006/relationships/tags" Target="../tags/tag396.xml"/><Relationship Id="rId4" Type="http://schemas.openxmlformats.org/officeDocument/2006/relationships/tags" Target="../tags/tag381.xml"/><Relationship Id="rId9" Type="http://schemas.openxmlformats.org/officeDocument/2006/relationships/tags" Target="../tags/tag386.xml"/><Relationship Id="rId14" Type="http://schemas.openxmlformats.org/officeDocument/2006/relationships/tags" Target="../tags/tag391.xml"/><Relationship Id="rId22" Type="http://schemas.openxmlformats.org/officeDocument/2006/relationships/tags" Target="../tags/tag399.xml"/></Relationships>
</file>

<file path=ppt/slides/_rels/slide28.xml.rels><?xml version="1.0" encoding="UTF-8" standalone="yes"?>
<Relationships xmlns="http://schemas.openxmlformats.org/package/2006/relationships"><Relationship Id="rId13" Type="http://schemas.openxmlformats.org/officeDocument/2006/relationships/tags" Target="../tags/tag413.xml"/><Relationship Id="rId18" Type="http://schemas.openxmlformats.org/officeDocument/2006/relationships/tags" Target="../tags/tag418.xml"/><Relationship Id="rId26" Type="http://schemas.openxmlformats.org/officeDocument/2006/relationships/tags" Target="../tags/tag426.xml"/><Relationship Id="rId39" Type="http://schemas.openxmlformats.org/officeDocument/2006/relationships/tags" Target="../tags/tag439.xml"/><Relationship Id="rId21" Type="http://schemas.openxmlformats.org/officeDocument/2006/relationships/tags" Target="../tags/tag421.xml"/><Relationship Id="rId34" Type="http://schemas.openxmlformats.org/officeDocument/2006/relationships/tags" Target="../tags/tag434.xml"/><Relationship Id="rId42" Type="http://schemas.openxmlformats.org/officeDocument/2006/relationships/notesSlide" Target="../notesSlides/notesSlide28.xml"/><Relationship Id="rId7" Type="http://schemas.openxmlformats.org/officeDocument/2006/relationships/tags" Target="../tags/tag407.xml"/><Relationship Id="rId2" Type="http://schemas.openxmlformats.org/officeDocument/2006/relationships/tags" Target="../tags/tag402.xml"/><Relationship Id="rId16" Type="http://schemas.openxmlformats.org/officeDocument/2006/relationships/tags" Target="../tags/tag416.xml"/><Relationship Id="rId20" Type="http://schemas.openxmlformats.org/officeDocument/2006/relationships/tags" Target="../tags/tag420.xml"/><Relationship Id="rId29" Type="http://schemas.openxmlformats.org/officeDocument/2006/relationships/tags" Target="../tags/tag429.xml"/><Relationship Id="rId41" Type="http://schemas.openxmlformats.org/officeDocument/2006/relationships/slideLayout" Target="../slideLayouts/slideLayout6.xml"/><Relationship Id="rId1" Type="http://schemas.openxmlformats.org/officeDocument/2006/relationships/tags" Target="../tags/tag401.xml"/><Relationship Id="rId6" Type="http://schemas.openxmlformats.org/officeDocument/2006/relationships/tags" Target="../tags/tag406.xml"/><Relationship Id="rId11" Type="http://schemas.openxmlformats.org/officeDocument/2006/relationships/tags" Target="../tags/tag411.xml"/><Relationship Id="rId24" Type="http://schemas.openxmlformats.org/officeDocument/2006/relationships/tags" Target="../tags/tag424.xml"/><Relationship Id="rId32" Type="http://schemas.openxmlformats.org/officeDocument/2006/relationships/tags" Target="../tags/tag432.xml"/><Relationship Id="rId37" Type="http://schemas.openxmlformats.org/officeDocument/2006/relationships/tags" Target="../tags/tag437.xml"/><Relationship Id="rId40" Type="http://schemas.openxmlformats.org/officeDocument/2006/relationships/tags" Target="../tags/tag440.xml"/><Relationship Id="rId5" Type="http://schemas.openxmlformats.org/officeDocument/2006/relationships/tags" Target="../tags/tag405.xml"/><Relationship Id="rId15" Type="http://schemas.openxmlformats.org/officeDocument/2006/relationships/tags" Target="../tags/tag415.xml"/><Relationship Id="rId23" Type="http://schemas.openxmlformats.org/officeDocument/2006/relationships/tags" Target="../tags/tag423.xml"/><Relationship Id="rId28" Type="http://schemas.openxmlformats.org/officeDocument/2006/relationships/tags" Target="../tags/tag428.xml"/><Relationship Id="rId36" Type="http://schemas.openxmlformats.org/officeDocument/2006/relationships/tags" Target="../tags/tag436.xml"/><Relationship Id="rId10" Type="http://schemas.openxmlformats.org/officeDocument/2006/relationships/tags" Target="../tags/tag410.xml"/><Relationship Id="rId19" Type="http://schemas.openxmlformats.org/officeDocument/2006/relationships/tags" Target="../tags/tag419.xml"/><Relationship Id="rId31" Type="http://schemas.openxmlformats.org/officeDocument/2006/relationships/tags" Target="../tags/tag431.xml"/><Relationship Id="rId4" Type="http://schemas.openxmlformats.org/officeDocument/2006/relationships/tags" Target="../tags/tag404.xml"/><Relationship Id="rId9" Type="http://schemas.openxmlformats.org/officeDocument/2006/relationships/tags" Target="../tags/tag409.xml"/><Relationship Id="rId14" Type="http://schemas.openxmlformats.org/officeDocument/2006/relationships/tags" Target="../tags/tag414.xml"/><Relationship Id="rId22" Type="http://schemas.openxmlformats.org/officeDocument/2006/relationships/tags" Target="../tags/tag422.xml"/><Relationship Id="rId27" Type="http://schemas.openxmlformats.org/officeDocument/2006/relationships/tags" Target="../tags/tag427.xml"/><Relationship Id="rId30" Type="http://schemas.openxmlformats.org/officeDocument/2006/relationships/tags" Target="../tags/tag430.xml"/><Relationship Id="rId35" Type="http://schemas.openxmlformats.org/officeDocument/2006/relationships/tags" Target="../tags/tag435.xml"/><Relationship Id="rId8" Type="http://schemas.openxmlformats.org/officeDocument/2006/relationships/tags" Target="../tags/tag408.xml"/><Relationship Id="rId3" Type="http://schemas.openxmlformats.org/officeDocument/2006/relationships/tags" Target="../tags/tag403.xml"/><Relationship Id="rId12" Type="http://schemas.openxmlformats.org/officeDocument/2006/relationships/tags" Target="../tags/tag412.xml"/><Relationship Id="rId17" Type="http://schemas.openxmlformats.org/officeDocument/2006/relationships/tags" Target="../tags/tag417.xml"/><Relationship Id="rId25" Type="http://schemas.openxmlformats.org/officeDocument/2006/relationships/tags" Target="../tags/tag425.xml"/><Relationship Id="rId33" Type="http://schemas.openxmlformats.org/officeDocument/2006/relationships/tags" Target="../tags/tag433.xml"/><Relationship Id="rId38" Type="http://schemas.openxmlformats.org/officeDocument/2006/relationships/tags" Target="../tags/tag438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447.xml"/><Relationship Id="rId13" Type="http://schemas.openxmlformats.org/officeDocument/2006/relationships/tags" Target="../tags/tag452.xml"/><Relationship Id="rId18" Type="http://schemas.openxmlformats.org/officeDocument/2006/relationships/tags" Target="../tags/tag457.xml"/><Relationship Id="rId26" Type="http://schemas.openxmlformats.org/officeDocument/2006/relationships/notesSlide" Target="../notesSlides/notesSlide29.xml"/><Relationship Id="rId3" Type="http://schemas.openxmlformats.org/officeDocument/2006/relationships/tags" Target="../tags/tag442.xml"/><Relationship Id="rId21" Type="http://schemas.openxmlformats.org/officeDocument/2006/relationships/tags" Target="../tags/tag460.xml"/><Relationship Id="rId7" Type="http://schemas.openxmlformats.org/officeDocument/2006/relationships/tags" Target="../tags/tag446.xml"/><Relationship Id="rId12" Type="http://schemas.openxmlformats.org/officeDocument/2006/relationships/tags" Target="../tags/tag451.xml"/><Relationship Id="rId17" Type="http://schemas.openxmlformats.org/officeDocument/2006/relationships/tags" Target="../tags/tag456.xml"/><Relationship Id="rId25" Type="http://schemas.openxmlformats.org/officeDocument/2006/relationships/slideLayout" Target="../slideLayouts/slideLayout6.xml"/><Relationship Id="rId2" Type="http://schemas.openxmlformats.org/officeDocument/2006/relationships/tags" Target="../tags/tag441.xml"/><Relationship Id="rId16" Type="http://schemas.openxmlformats.org/officeDocument/2006/relationships/tags" Target="../tags/tag455.xml"/><Relationship Id="rId20" Type="http://schemas.openxmlformats.org/officeDocument/2006/relationships/tags" Target="../tags/tag459.xml"/><Relationship Id="rId1" Type="http://schemas.openxmlformats.org/officeDocument/2006/relationships/vmlDrawing" Target="../drawings/vmlDrawing18.vml"/><Relationship Id="rId6" Type="http://schemas.openxmlformats.org/officeDocument/2006/relationships/tags" Target="../tags/tag445.xml"/><Relationship Id="rId11" Type="http://schemas.openxmlformats.org/officeDocument/2006/relationships/tags" Target="../tags/tag450.xml"/><Relationship Id="rId24" Type="http://schemas.openxmlformats.org/officeDocument/2006/relationships/tags" Target="../tags/tag463.xml"/><Relationship Id="rId5" Type="http://schemas.openxmlformats.org/officeDocument/2006/relationships/tags" Target="../tags/tag444.xml"/><Relationship Id="rId15" Type="http://schemas.openxmlformats.org/officeDocument/2006/relationships/tags" Target="../tags/tag454.xml"/><Relationship Id="rId23" Type="http://schemas.openxmlformats.org/officeDocument/2006/relationships/tags" Target="../tags/tag462.xml"/><Relationship Id="rId28" Type="http://schemas.openxmlformats.org/officeDocument/2006/relationships/image" Target="../media/image26.emf"/><Relationship Id="rId10" Type="http://schemas.openxmlformats.org/officeDocument/2006/relationships/tags" Target="../tags/tag449.xml"/><Relationship Id="rId19" Type="http://schemas.openxmlformats.org/officeDocument/2006/relationships/tags" Target="../tags/tag458.xml"/><Relationship Id="rId4" Type="http://schemas.openxmlformats.org/officeDocument/2006/relationships/tags" Target="../tags/tag443.xml"/><Relationship Id="rId9" Type="http://schemas.openxmlformats.org/officeDocument/2006/relationships/tags" Target="../tags/tag448.xml"/><Relationship Id="rId14" Type="http://schemas.openxmlformats.org/officeDocument/2006/relationships/tags" Target="../tags/tag453.xml"/><Relationship Id="rId22" Type="http://schemas.openxmlformats.org/officeDocument/2006/relationships/tags" Target="../tags/tag461.xml"/><Relationship Id="rId27" Type="http://schemas.openxmlformats.org/officeDocument/2006/relationships/oleObject" Target="../embeddings/oleObject22.bin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34.xml"/><Relationship Id="rId18" Type="http://schemas.openxmlformats.org/officeDocument/2006/relationships/tags" Target="../tags/tag39.xml"/><Relationship Id="rId26" Type="http://schemas.openxmlformats.org/officeDocument/2006/relationships/tags" Target="../tags/tag47.xml"/><Relationship Id="rId39" Type="http://schemas.openxmlformats.org/officeDocument/2006/relationships/image" Target="../media/image4.png"/><Relationship Id="rId21" Type="http://schemas.openxmlformats.org/officeDocument/2006/relationships/tags" Target="../tags/tag42.xml"/><Relationship Id="rId34" Type="http://schemas.openxmlformats.org/officeDocument/2006/relationships/tags" Target="../tags/tag55.xml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6" Type="http://schemas.openxmlformats.org/officeDocument/2006/relationships/tags" Target="../tags/tag37.xml"/><Relationship Id="rId20" Type="http://schemas.openxmlformats.org/officeDocument/2006/relationships/tags" Target="../tags/tag41.xml"/><Relationship Id="rId29" Type="http://schemas.openxmlformats.org/officeDocument/2006/relationships/tags" Target="../tags/tag50.xml"/><Relationship Id="rId41" Type="http://schemas.openxmlformats.org/officeDocument/2006/relationships/image" Target="../media/image6.jpeg"/><Relationship Id="rId1" Type="http://schemas.openxmlformats.org/officeDocument/2006/relationships/vmlDrawing" Target="../drawings/vmlDrawing2.v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24" Type="http://schemas.openxmlformats.org/officeDocument/2006/relationships/tags" Target="../tags/tag45.xml"/><Relationship Id="rId32" Type="http://schemas.openxmlformats.org/officeDocument/2006/relationships/tags" Target="../tags/tag53.xml"/><Relationship Id="rId37" Type="http://schemas.openxmlformats.org/officeDocument/2006/relationships/oleObject" Target="../embeddings/oleObject2.bin"/><Relationship Id="rId40" Type="http://schemas.openxmlformats.org/officeDocument/2006/relationships/image" Target="../media/image5.png"/><Relationship Id="rId5" Type="http://schemas.openxmlformats.org/officeDocument/2006/relationships/tags" Target="../tags/tag26.xml"/><Relationship Id="rId15" Type="http://schemas.openxmlformats.org/officeDocument/2006/relationships/tags" Target="../tags/tag36.xml"/><Relationship Id="rId23" Type="http://schemas.openxmlformats.org/officeDocument/2006/relationships/tags" Target="../tags/tag44.xml"/><Relationship Id="rId28" Type="http://schemas.openxmlformats.org/officeDocument/2006/relationships/tags" Target="../tags/tag49.xml"/><Relationship Id="rId36" Type="http://schemas.openxmlformats.org/officeDocument/2006/relationships/notesSlide" Target="../notesSlides/notesSlide3.xml"/><Relationship Id="rId10" Type="http://schemas.openxmlformats.org/officeDocument/2006/relationships/tags" Target="../tags/tag31.xml"/><Relationship Id="rId19" Type="http://schemas.openxmlformats.org/officeDocument/2006/relationships/tags" Target="../tags/tag40.xml"/><Relationship Id="rId31" Type="http://schemas.openxmlformats.org/officeDocument/2006/relationships/tags" Target="../tags/tag52.xml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tags" Target="../tags/tag35.xml"/><Relationship Id="rId22" Type="http://schemas.openxmlformats.org/officeDocument/2006/relationships/tags" Target="../tags/tag43.xml"/><Relationship Id="rId27" Type="http://schemas.openxmlformats.org/officeDocument/2006/relationships/tags" Target="../tags/tag48.xml"/><Relationship Id="rId30" Type="http://schemas.openxmlformats.org/officeDocument/2006/relationships/tags" Target="../tags/tag51.xml"/><Relationship Id="rId35" Type="http://schemas.openxmlformats.org/officeDocument/2006/relationships/slideLayout" Target="../slideLayouts/slideLayout6.xml"/><Relationship Id="rId8" Type="http://schemas.openxmlformats.org/officeDocument/2006/relationships/tags" Target="../tags/tag29.xml"/><Relationship Id="rId3" Type="http://schemas.openxmlformats.org/officeDocument/2006/relationships/tags" Target="../tags/tag24.xml"/><Relationship Id="rId12" Type="http://schemas.openxmlformats.org/officeDocument/2006/relationships/tags" Target="../tags/tag33.xml"/><Relationship Id="rId17" Type="http://schemas.openxmlformats.org/officeDocument/2006/relationships/tags" Target="../tags/tag38.xml"/><Relationship Id="rId25" Type="http://schemas.openxmlformats.org/officeDocument/2006/relationships/tags" Target="../tags/tag46.xml"/><Relationship Id="rId33" Type="http://schemas.openxmlformats.org/officeDocument/2006/relationships/tags" Target="../tags/tag54.xml"/><Relationship Id="rId38" Type="http://schemas.openxmlformats.org/officeDocument/2006/relationships/image" Target="../media/image3.jpeg"/></Relationships>
</file>

<file path=ppt/slides/_rels/slide30.xml.rels><?xml version="1.0" encoding="UTF-8" standalone="yes"?>
<Relationships xmlns="http://schemas.openxmlformats.org/package/2006/relationships"><Relationship Id="rId13" Type="http://schemas.openxmlformats.org/officeDocument/2006/relationships/tags" Target="../tags/tag475.xml"/><Relationship Id="rId18" Type="http://schemas.openxmlformats.org/officeDocument/2006/relationships/tags" Target="../tags/tag480.xml"/><Relationship Id="rId26" Type="http://schemas.openxmlformats.org/officeDocument/2006/relationships/tags" Target="../tags/tag488.xml"/><Relationship Id="rId39" Type="http://schemas.openxmlformats.org/officeDocument/2006/relationships/oleObject" Target="../embeddings/oleObject26.bin"/><Relationship Id="rId21" Type="http://schemas.openxmlformats.org/officeDocument/2006/relationships/tags" Target="../tags/tag483.xml"/><Relationship Id="rId34" Type="http://schemas.openxmlformats.org/officeDocument/2006/relationships/oleObject" Target="../embeddings/oleObject23.bin"/><Relationship Id="rId7" Type="http://schemas.openxmlformats.org/officeDocument/2006/relationships/tags" Target="../tags/tag469.xml"/><Relationship Id="rId12" Type="http://schemas.openxmlformats.org/officeDocument/2006/relationships/tags" Target="../tags/tag474.xml"/><Relationship Id="rId17" Type="http://schemas.openxmlformats.org/officeDocument/2006/relationships/tags" Target="../tags/tag479.xml"/><Relationship Id="rId25" Type="http://schemas.openxmlformats.org/officeDocument/2006/relationships/tags" Target="../tags/tag487.xml"/><Relationship Id="rId33" Type="http://schemas.openxmlformats.org/officeDocument/2006/relationships/notesSlide" Target="../notesSlides/notesSlide30.xml"/><Relationship Id="rId38" Type="http://schemas.openxmlformats.org/officeDocument/2006/relationships/image" Target="../media/image28.emf"/><Relationship Id="rId2" Type="http://schemas.openxmlformats.org/officeDocument/2006/relationships/tags" Target="../tags/tag464.xml"/><Relationship Id="rId16" Type="http://schemas.openxmlformats.org/officeDocument/2006/relationships/tags" Target="../tags/tag478.xml"/><Relationship Id="rId20" Type="http://schemas.openxmlformats.org/officeDocument/2006/relationships/tags" Target="../tags/tag482.xml"/><Relationship Id="rId29" Type="http://schemas.openxmlformats.org/officeDocument/2006/relationships/tags" Target="../tags/tag491.xml"/><Relationship Id="rId1" Type="http://schemas.openxmlformats.org/officeDocument/2006/relationships/vmlDrawing" Target="../drawings/vmlDrawing19.vml"/><Relationship Id="rId6" Type="http://schemas.openxmlformats.org/officeDocument/2006/relationships/tags" Target="../tags/tag468.xml"/><Relationship Id="rId11" Type="http://schemas.openxmlformats.org/officeDocument/2006/relationships/tags" Target="../tags/tag473.xml"/><Relationship Id="rId24" Type="http://schemas.openxmlformats.org/officeDocument/2006/relationships/tags" Target="../tags/tag486.xml"/><Relationship Id="rId32" Type="http://schemas.openxmlformats.org/officeDocument/2006/relationships/slideLayout" Target="../slideLayouts/slideLayout6.xml"/><Relationship Id="rId37" Type="http://schemas.openxmlformats.org/officeDocument/2006/relationships/oleObject" Target="../embeddings/oleObject25.bin"/><Relationship Id="rId40" Type="http://schemas.openxmlformats.org/officeDocument/2006/relationships/image" Target="../media/image29.emf"/><Relationship Id="rId5" Type="http://schemas.openxmlformats.org/officeDocument/2006/relationships/tags" Target="../tags/tag467.xml"/><Relationship Id="rId15" Type="http://schemas.openxmlformats.org/officeDocument/2006/relationships/tags" Target="../tags/tag477.xml"/><Relationship Id="rId23" Type="http://schemas.openxmlformats.org/officeDocument/2006/relationships/tags" Target="../tags/tag485.xml"/><Relationship Id="rId28" Type="http://schemas.openxmlformats.org/officeDocument/2006/relationships/tags" Target="../tags/tag490.xml"/><Relationship Id="rId36" Type="http://schemas.openxmlformats.org/officeDocument/2006/relationships/image" Target="../media/image27.emf"/><Relationship Id="rId10" Type="http://schemas.openxmlformats.org/officeDocument/2006/relationships/tags" Target="../tags/tag472.xml"/><Relationship Id="rId19" Type="http://schemas.openxmlformats.org/officeDocument/2006/relationships/tags" Target="../tags/tag481.xml"/><Relationship Id="rId31" Type="http://schemas.openxmlformats.org/officeDocument/2006/relationships/tags" Target="../tags/tag493.xml"/><Relationship Id="rId4" Type="http://schemas.openxmlformats.org/officeDocument/2006/relationships/tags" Target="../tags/tag466.xml"/><Relationship Id="rId9" Type="http://schemas.openxmlformats.org/officeDocument/2006/relationships/tags" Target="../tags/tag471.xml"/><Relationship Id="rId14" Type="http://schemas.openxmlformats.org/officeDocument/2006/relationships/tags" Target="../tags/tag476.xml"/><Relationship Id="rId22" Type="http://schemas.openxmlformats.org/officeDocument/2006/relationships/tags" Target="../tags/tag484.xml"/><Relationship Id="rId27" Type="http://schemas.openxmlformats.org/officeDocument/2006/relationships/tags" Target="../tags/tag489.xml"/><Relationship Id="rId30" Type="http://schemas.openxmlformats.org/officeDocument/2006/relationships/tags" Target="../tags/tag492.xml"/><Relationship Id="rId35" Type="http://schemas.openxmlformats.org/officeDocument/2006/relationships/oleObject" Target="../embeddings/oleObject24.bin"/><Relationship Id="rId8" Type="http://schemas.openxmlformats.org/officeDocument/2006/relationships/tags" Target="../tags/tag470.xml"/><Relationship Id="rId3" Type="http://schemas.openxmlformats.org/officeDocument/2006/relationships/tags" Target="../tags/tag465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500.xml"/><Relationship Id="rId13" Type="http://schemas.openxmlformats.org/officeDocument/2006/relationships/tags" Target="../tags/tag505.xml"/><Relationship Id="rId18" Type="http://schemas.openxmlformats.org/officeDocument/2006/relationships/tags" Target="../tags/tag510.xml"/><Relationship Id="rId26" Type="http://schemas.openxmlformats.org/officeDocument/2006/relationships/slideLayout" Target="../slideLayouts/slideLayout6.xml"/><Relationship Id="rId3" Type="http://schemas.openxmlformats.org/officeDocument/2006/relationships/tags" Target="../tags/tag495.xml"/><Relationship Id="rId21" Type="http://schemas.openxmlformats.org/officeDocument/2006/relationships/tags" Target="../tags/tag513.xml"/><Relationship Id="rId7" Type="http://schemas.openxmlformats.org/officeDocument/2006/relationships/tags" Target="../tags/tag499.xml"/><Relationship Id="rId12" Type="http://schemas.openxmlformats.org/officeDocument/2006/relationships/tags" Target="../tags/tag504.xml"/><Relationship Id="rId17" Type="http://schemas.openxmlformats.org/officeDocument/2006/relationships/tags" Target="../tags/tag509.xml"/><Relationship Id="rId25" Type="http://schemas.openxmlformats.org/officeDocument/2006/relationships/tags" Target="../tags/tag517.xml"/><Relationship Id="rId2" Type="http://schemas.openxmlformats.org/officeDocument/2006/relationships/tags" Target="../tags/tag494.xml"/><Relationship Id="rId16" Type="http://schemas.openxmlformats.org/officeDocument/2006/relationships/tags" Target="../tags/tag508.xml"/><Relationship Id="rId20" Type="http://schemas.openxmlformats.org/officeDocument/2006/relationships/tags" Target="../tags/tag512.xml"/><Relationship Id="rId1" Type="http://schemas.openxmlformats.org/officeDocument/2006/relationships/vmlDrawing" Target="../drawings/vmlDrawing20.vml"/><Relationship Id="rId6" Type="http://schemas.openxmlformats.org/officeDocument/2006/relationships/tags" Target="../tags/tag498.xml"/><Relationship Id="rId11" Type="http://schemas.openxmlformats.org/officeDocument/2006/relationships/tags" Target="../tags/tag503.xml"/><Relationship Id="rId24" Type="http://schemas.openxmlformats.org/officeDocument/2006/relationships/tags" Target="../tags/tag516.xml"/><Relationship Id="rId5" Type="http://schemas.openxmlformats.org/officeDocument/2006/relationships/tags" Target="../tags/tag497.xml"/><Relationship Id="rId15" Type="http://schemas.openxmlformats.org/officeDocument/2006/relationships/tags" Target="../tags/tag507.xml"/><Relationship Id="rId23" Type="http://schemas.openxmlformats.org/officeDocument/2006/relationships/tags" Target="../tags/tag515.xml"/><Relationship Id="rId28" Type="http://schemas.openxmlformats.org/officeDocument/2006/relationships/oleObject" Target="../embeddings/oleObject27.bin"/><Relationship Id="rId10" Type="http://schemas.openxmlformats.org/officeDocument/2006/relationships/tags" Target="../tags/tag502.xml"/><Relationship Id="rId19" Type="http://schemas.openxmlformats.org/officeDocument/2006/relationships/tags" Target="../tags/tag511.xml"/><Relationship Id="rId4" Type="http://schemas.openxmlformats.org/officeDocument/2006/relationships/tags" Target="../tags/tag496.xml"/><Relationship Id="rId9" Type="http://schemas.openxmlformats.org/officeDocument/2006/relationships/tags" Target="../tags/tag501.xml"/><Relationship Id="rId14" Type="http://schemas.openxmlformats.org/officeDocument/2006/relationships/tags" Target="../tags/tag506.xml"/><Relationship Id="rId22" Type="http://schemas.openxmlformats.org/officeDocument/2006/relationships/tags" Target="../tags/tag514.xml"/><Relationship Id="rId27" Type="http://schemas.openxmlformats.org/officeDocument/2006/relationships/notesSlide" Target="../notesSlides/notesSlide31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524.xml"/><Relationship Id="rId13" Type="http://schemas.openxmlformats.org/officeDocument/2006/relationships/tags" Target="../tags/tag529.xml"/><Relationship Id="rId18" Type="http://schemas.openxmlformats.org/officeDocument/2006/relationships/tags" Target="../tags/tag534.xml"/><Relationship Id="rId26" Type="http://schemas.openxmlformats.org/officeDocument/2006/relationships/oleObject" Target="../embeddings/oleObject28.bin"/><Relationship Id="rId3" Type="http://schemas.openxmlformats.org/officeDocument/2006/relationships/tags" Target="../tags/tag519.xml"/><Relationship Id="rId21" Type="http://schemas.openxmlformats.org/officeDocument/2006/relationships/tags" Target="../tags/tag537.xml"/><Relationship Id="rId7" Type="http://schemas.openxmlformats.org/officeDocument/2006/relationships/tags" Target="../tags/tag523.xml"/><Relationship Id="rId12" Type="http://schemas.openxmlformats.org/officeDocument/2006/relationships/tags" Target="../tags/tag528.xml"/><Relationship Id="rId17" Type="http://schemas.openxmlformats.org/officeDocument/2006/relationships/tags" Target="../tags/tag533.xml"/><Relationship Id="rId25" Type="http://schemas.openxmlformats.org/officeDocument/2006/relationships/notesSlide" Target="../notesSlides/notesSlide32.xml"/><Relationship Id="rId2" Type="http://schemas.openxmlformats.org/officeDocument/2006/relationships/tags" Target="../tags/tag518.xml"/><Relationship Id="rId16" Type="http://schemas.openxmlformats.org/officeDocument/2006/relationships/tags" Target="../tags/tag532.xml"/><Relationship Id="rId20" Type="http://schemas.openxmlformats.org/officeDocument/2006/relationships/tags" Target="../tags/tag536.xml"/><Relationship Id="rId1" Type="http://schemas.openxmlformats.org/officeDocument/2006/relationships/vmlDrawing" Target="../drawings/vmlDrawing21.vml"/><Relationship Id="rId6" Type="http://schemas.openxmlformats.org/officeDocument/2006/relationships/tags" Target="../tags/tag522.xml"/><Relationship Id="rId11" Type="http://schemas.openxmlformats.org/officeDocument/2006/relationships/tags" Target="../tags/tag527.xml"/><Relationship Id="rId24" Type="http://schemas.openxmlformats.org/officeDocument/2006/relationships/slideLayout" Target="../slideLayouts/slideLayout6.xml"/><Relationship Id="rId5" Type="http://schemas.openxmlformats.org/officeDocument/2006/relationships/tags" Target="../tags/tag521.xml"/><Relationship Id="rId15" Type="http://schemas.openxmlformats.org/officeDocument/2006/relationships/tags" Target="../tags/tag531.xml"/><Relationship Id="rId23" Type="http://schemas.openxmlformats.org/officeDocument/2006/relationships/tags" Target="../tags/tag539.xml"/><Relationship Id="rId10" Type="http://schemas.openxmlformats.org/officeDocument/2006/relationships/tags" Target="../tags/tag526.xml"/><Relationship Id="rId19" Type="http://schemas.openxmlformats.org/officeDocument/2006/relationships/tags" Target="../tags/tag535.xml"/><Relationship Id="rId4" Type="http://schemas.openxmlformats.org/officeDocument/2006/relationships/tags" Target="../tags/tag520.xml"/><Relationship Id="rId9" Type="http://schemas.openxmlformats.org/officeDocument/2006/relationships/tags" Target="../tags/tag525.xml"/><Relationship Id="rId14" Type="http://schemas.openxmlformats.org/officeDocument/2006/relationships/tags" Target="../tags/tag530.xml"/><Relationship Id="rId22" Type="http://schemas.openxmlformats.org/officeDocument/2006/relationships/tags" Target="../tags/tag538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546.xml"/><Relationship Id="rId13" Type="http://schemas.openxmlformats.org/officeDocument/2006/relationships/tags" Target="../tags/tag551.xml"/><Relationship Id="rId18" Type="http://schemas.openxmlformats.org/officeDocument/2006/relationships/slideLayout" Target="../slideLayouts/slideLayout6.xml"/><Relationship Id="rId3" Type="http://schemas.openxmlformats.org/officeDocument/2006/relationships/tags" Target="../tags/tag541.xml"/><Relationship Id="rId21" Type="http://schemas.openxmlformats.org/officeDocument/2006/relationships/image" Target="../media/image2.jpeg"/><Relationship Id="rId7" Type="http://schemas.openxmlformats.org/officeDocument/2006/relationships/tags" Target="../tags/tag545.xml"/><Relationship Id="rId12" Type="http://schemas.openxmlformats.org/officeDocument/2006/relationships/tags" Target="../tags/tag550.xml"/><Relationship Id="rId17" Type="http://schemas.openxmlformats.org/officeDocument/2006/relationships/tags" Target="../tags/tag555.xml"/><Relationship Id="rId2" Type="http://schemas.openxmlformats.org/officeDocument/2006/relationships/tags" Target="../tags/tag540.xml"/><Relationship Id="rId16" Type="http://schemas.openxmlformats.org/officeDocument/2006/relationships/tags" Target="../tags/tag554.xml"/><Relationship Id="rId20" Type="http://schemas.openxmlformats.org/officeDocument/2006/relationships/oleObject" Target="../embeddings/oleObject29.bin"/><Relationship Id="rId1" Type="http://schemas.openxmlformats.org/officeDocument/2006/relationships/vmlDrawing" Target="../drawings/vmlDrawing22.vml"/><Relationship Id="rId6" Type="http://schemas.openxmlformats.org/officeDocument/2006/relationships/tags" Target="../tags/tag544.xml"/><Relationship Id="rId11" Type="http://schemas.openxmlformats.org/officeDocument/2006/relationships/tags" Target="../tags/tag549.xml"/><Relationship Id="rId5" Type="http://schemas.openxmlformats.org/officeDocument/2006/relationships/tags" Target="../tags/tag543.xml"/><Relationship Id="rId15" Type="http://schemas.openxmlformats.org/officeDocument/2006/relationships/tags" Target="../tags/tag553.xml"/><Relationship Id="rId10" Type="http://schemas.openxmlformats.org/officeDocument/2006/relationships/tags" Target="../tags/tag548.xml"/><Relationship Id="rId19" Type="http://schemas.openxmlformats.org/officeDocument/2006/relationships/notesSlide" Target="../notesSlides/notesSlide33.xml"/><Relationship Id="rId4" Type="http://schemas.openxmlformats.org/officeDocument/2006/relationships/tags" Target="../tags/tag542.xml"/><Relationship Id="rId9" Type="http://schemas.openxmlformats.org/officeDocument/2006/relationships/tags" Target="../tags/tag547.xml"/><Relationship Id="rId14" Type="http://schemas.openxmlformats.org/officeDocument/2006/relationships/tags" Target="../tags/tag55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562.xml"/><Relationship Id="rId13" Type="http://schemas.openxmlformats.org/officeDocument/2006/relationships/image" Target="../media/image30.emf"/><Relationship Id="rId3" Type="http://schemas.openxmlformats.org/officeDocument/2006/relationships/tags" Target="../tags/tag557.xml"/><Relationship Id="rId7" Type="http://schemas.openxmlformats.org/officeDocument/2006/relationships/tags" Target="../tags/tag561.xml"/><Relationship Id="rId12" Type="http://schemas.openxmlformats.org/officeDocument/2006/relationships/oleObject" Target="../embeddings/oleObject30.bin"/><Relationship Id="rId2" Type="http://schemas.openxmlformats.org/officeDocument/2006/relationships/tags" Target="../tags/tag556.xml"/><Relationship Id="rId1" Type="http://schemas.openxmlformats.org/officeDocument/2006/relationships/vmlDrawing" Target="../drawings/vmlDrawing23.vml"/><Relationship Id="rId6" Type="http://schemas.openxmlformats.org/officeDocument/2006/relationships/tags" Target="../tags/tag560.xml"/><Relationship Id="rId11" Type="http://schemas.openxmlformats.org/officeDocument/2006/relationships/notesSlide" Target="../notesSlides/notesSlide35.xml"/><Relationship Id="rId5" Type="http://schemas.openxmlformats.org/officeDocument/2006/relationships/tags" Target="../tags/tag559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558.xml"/><Relationship Id="rId9" Type="http://schemas.openxmlformats.org/officeDocument/2006/relationships/tags" Target="../tags/tag56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0.emf"/><Relationship Id="rId4" Type="http://schemas.openxmlformats.org/officeDocument/2006/relationships/image" Target="../media/image32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0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570.xml"/><Relationship Id="rId13" Type="http://schemas.openxmlformats.org/officeDocument/2006/relationships/oleObject" Target="../embeddings/oleObject31.bin"/><Relationship Id="rId3" Type="http://schemas.openxmlformats.org/officeDocument/2006/relationships/tags" Target="../tags/tag565.xml"/><Relationship Id="rId7" Type="http://schemas.openxmlformats.org/officeDocument/2006/relationships/tags" Target="../tags/tag569.xml"/><Relationship Id="rId12" Type="http://schemas.openxmlformats.org/officeDocument/2006/relationships/notesSlide" Target="../notesSlides/notesSlide39.xml"/><Relationship Id="rId2" Type="http://schemas.openxmlformats.org/officeDocument/2006/relationships/tags" Target="../tags/tag564.xml"/><Relationship Id="rId1" Type="http://schemas.openxmlformats.org/officeDocument/2006/relationships/vmlDrawing" Target="../drawings/vmlDrawing24.vml"/><Relationship Id="rId6" Type="http://schemas.openxmlformats.org/officeDocument/2006/relationships/tags" Target="../tags/tag568.xml"/><Relationship Id="rId11" Type="http://schemas.openxmlformats.org/officeDocument/2006/relationships/slideLayout" Target="../slideLayouts/slideLayout6.xml"/><Relationship Id="rId5" Type="http://schemas.openxmlformats.org/officeDocument/2006/relationships/tags" Target="../tags/tag567.xml"/><Relationship Id="rId10" Type="http://schemas.openxmlformats.org/officeDocument/2006/relationships/tags" Target="../tags/tag572.xml"/><Relationship Id="rId4" Type="http://schemas.openxmlformats.org/officeDocument/2006/relationships/tags" Target="../tags/tag566.xml"/><Relationship Id="rId9" Type="http://schemas.openxmlformats.org/officeDocument/2006/relationships/tags" Target="../tags/tag571.xml"/><Relationship Id="rId14" Type="http://schemas.openxmlformats.org/officeDocument/2006/relationships/image" Target="../media/image35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.vml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10" Type="http://schemas.openxmlformats.org/officeDocument/2006/relationships/oleObject" Target="../embeddings/oleObject3.bin"/><Relationship Id="rId4" Type="http://schemas.openxmlformats.org/officeDocument/2006/relationships/tags" Target="../tags/tag58.xml"/><Relationship Id="rId9" Type="http://schemas.openxmlformats.org/officeDocument/2006/relationships/notesSlide" Target="../notesSlides/notesSlide4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tags" Target="../tags/tag579.xml"/><Relationship Id="rId13" Type="http://schemas.openxmlformats.org/officeDocument/2006/relationships/tags" Target="../tags/tag584.xml"/><Relationship Id="rId18" Type="http://schemas.openxmlformats.org/officeDocument/2006/relationships/slideLayout" Target="../slideLayouts/slideLayout6.xml"/><Relationship Id="rId3" Type="http://schemas.openxmlformats.org/officeDocument/2006/relationships/tags" Target="../tags/tag574.xml"/><Relationship Id="rId21" Type="http://schemas.openxmlformats.org/officeDocument/2006/relationships/image" Target="../media/image36.jpeg"/><Relationship Id="rId7" Type="http://schemas.openxmlformats.org/officeDocument/2006/relationships/tags" Target="../tags/tag578.xml"/><Relationship Id="rId12" Type="http://schemas.openxmlformats.org/officeDocument/2006/relationships/tags" Target="../tags/tag583.xml"/><Relationship Id="rId17" Type="http://schemas.openxmlformats.org/officeDocument/2006/relationships/tags" Target="../tags/tag588.xml"/><Relationship Id="rId2" Type="http://schemas.openxmlformats.org/officeDocument/2006/relationships/tags" Target="../tags/tag573.xml"/><Relationship Id="rId16" Type="http://schemas.openxmlformats.org/officeDocument/2006/relationships/tags" Target="../tags/tag587.xml"/><Relationship Id="rId20" Type="http://schemas.openxmlformats.org/officeDocument/2006/relationships/oleObject" Target="../embeddings/oleObject32.bin"/><Relationship Id="rId1" Type="http://schemas.openxmlformats.org/officeDocument/2006/relationships/vmlDrawing" Target="../drawings/vmlDrawing25.vml"/><Relationship Id="rId6" Type="http://schemas.openxmlformats.org/officeDocument/2006/relationships/tags" Target="../tags/tag577.xml"/><Relationship Id="rId11" Type="http://schemas.openxmlformats.org/officeDocument/2006/relationships/tags" Target="../tags/tag582.xml"/><Relationship Id="rId5" Type="http://schemas.openxmlformats.org/officeDocument/2006/relationships/tags" Target="../tags/tag576.xml"/><Relationship Id="rId15" Type="http://schemas.openxmlformats.org/officeDocument/2006/relationships/tags" Target="../tags/tag586.xml"/><Relationship Id="rId23" Type="http://schemas.openxmlformats.org/officeDocument/2006/relationships/image" Target="../media/image38.jpeg"/><Relationship Id="rId10" Type="http://schemas.openxmlformats.org/officeDocument/2006/relationships/tags" Target="../tags/tag581.xml"/><Relationship Id="rId19" Type="http://schemas.openxmlformats.org/officeDocument/2006/relationships/notesSlide" Target="../notesSlides/notesSlide40.xml"/><Relationship Id="rId4" Type="http://schemas.openxmlformats.org/officeDocument/2006/relationships/tags" Target="../tags/tag575.xml"/><Relationship Id="rId9" Type="http://schemas.openxmlformats.org/officeDocument/2006/relationships/tags" Target="../tags/tag580.xml"/><Relationship Id="rId14" Type="http://schemas.openxmlformats.org/officeDocument/2006/relationships/tags" Target="../tags/tag585.xml"/><Relationship Id="rId22" Type="http://schemas.openxmlformats.org/officeDocument/2006/relationships/image" Target="../media/image37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63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62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65.xml"/><Relationship Id="rId4" Type="http://schemas.openxmlformats.org/officeDocument/2006/relationships/tags" Target="../tags/tag6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67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66.xml"/><Relationship Id="rId1" Type="http://schemas.openxmlformats.org/officeDocument/2006/relationships/vmlDrawing" Target="../drawings/vmlDrawing5.vml"/><Relationship Id="rId6" Type="http://schemas.openxmlformats.org/officeDocument/2006/relationships/tags" Target="../tags/tag70.xml"/><Relationship Id="rId5" Type="http://schemas.openxmlformats.org/officeDocument/2006/relationships/tags" Target="../tags/tag69.xml"/><Relationship Id="rId4" Type="http://schemas.openxmlformats.org/officeDocument/2006/relationships/tags" Target="../tags/tag68.xml"/><Relationship Id="rId9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2" Type="http://schemas.openxmlformats.org/officeDocument/2006/relationships/tags" Target="../tags/tag71.xml"/><Relationship Id="rId1" Type="http://schemas.openxmlformats.org/officeDocument/2006/relationships/vmlDrawing" Target="../drawings/vmlDrawing6.vml"/><Relationship Id="rId6" Type="http://schemas.openxmlformats.org/officeDocument/2006/relationships/tags" Target="../tags/tag75.xml"/><Relationship Id="rId5" Type="http://schemas.openxmlformats.org/officeDocument/2006/relationships/tags" Target="../tags/tag74.xml"/><Relationship Id="rId10" Type="http://schemas.openxmlformats.org/officeDocument/2006/relationships/oleObject" Target="../embeddings/oleObject6.bin"/><Relationship Id="rId4" Type="http://schemas.openxmlformats.org/officeDocument/2006/relationships/tags" Target="../tags/tag73.xml"/><Relationship Id="rId9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tags" Target="../tags/tag88.xml"/><Relationship Id="rId18" Type="http://schemas.openxmlformats.org/officeDocument/2006/relationships/slideLayout" Target="../slideLayouts/slideLayout6.xml"/><Relationship Id="rId3" Type="http://schemas.openxmlformats.org/officeDocument/2006/relationships/tags" Target="../tags/tag78.xml"/><Relationship Id="rId21" Type="http://schemas.openxmlformats.org/officeDocument/2006/relationships/image" Target="../media/image2.jpeg"/><Relationship Id="rId7" Type="http://schemas.openxmlformats.org/officeDocument/2006/relationships/tags" Target="../tags/tag82.xml"/><Relationship Id="rId12" Type="http://schemas.openxmlformats.org/officeDocument/2006/relationships/tags" Target="../tags/tag87.xml"/><Relationship Id="rId17" Type="http://schemas.openxmlformats.org/officeDocument/2006/relationships/tags" Target="../tags/tag92.xml"/><Relationship Id="rId2" Type="http://schemas.openxmlformats.org/officeDocument/2006/relationships/tags" Target="../tags/tag77.xml"/><Relationship Id="rId16" Type="http://schemas.openxmlformats.org/officeDocument/2006/relationships/tags" Target="../tags/tag91.xml"/><Relationship Id="rId20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5" Type="http://schemas.openxmlformats.org/officeDocument/2006/relationships/tags" Target="../tags/tag80.xml"/><Relationship Id="rId15" Type="http://schemas.openxmlformats.org/officeDocument/2006/relationships/tags" Target="../tags/tag90.xml"/><Relationship Id="rId10" Type="http://schemas.openxmlformats.org/officeDocument/2006/relationships/tags" Target="../tags/tag85.xml"/><Relationship Id="rId19" Type="http://schemas.openxmlformats.org/officeDocument/2006/relationships/notesSlide" Target="../notesSlides/notesSlide8.xml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tags" Target="../tags/tag8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13" Type="http://schemas.openxmlformats.org/officeDocument/2006/relationships/tags" Target="../tags/tag104.xml"/><Relationship Id="rId18" Type="http://schemas.openxmlformats.org/officeDocument/2006/relationships/tags" Target="../tags/tag109.xml"/><Relationship Id="rId26" Type="http://schemas.openxmlformats.org/officeDocument/2006/relationships/notesSlide" Target="../notesSlides/notesSlide9.xml"/><Relationship Id="rId3" Type="http://schemas.openxmlformats.org/officeDocument/2006/relationships/tags" Target="../tags/tag94.xml"/><Relationship Id="rId21" Type="http://schemas.openxmlformats.org/officeDocument/2006/relationships/tags" Target="../tags/tag112.xml"/><Relationship Id="rId7" Type="http://schemas.openxmlformats.org/officeDocument/2006/relationships/tags" Target="../tags/tag98.xml"/><Relationship Id="rId12" Type="http://schemas.openxmlformats.org/officeDocument/2006/relationships/tags" Target="../tags/tag103.xml"/><Relationship Id="rId17" Type="http://schemas.openxmlformats.org/officeDocument/2006/relationships/tags" Target="../tags/tag108.xml"/><Relationship Id="rId25" Type="http://schemas.openxmlformats.org/officeDocument/2006/relationships/slideLayout" Target="../slideLayouts/slideLayout6.xml"/><Relationship Id="rId2" Type="http://schemas.openxmlformats.org/officeDocument/2006/relationships/tags" Target="../tags/tag93.xml"/><Relationship Id="rId16" Type="http://schemas.openxmlformats.org/officeDocument/2006/relationships/tags" Target="../tags/tag107.xml"/><Relationship Id="rId20" Type="http://schemas.openxmlformats.org/officeDocument/2006/relationships/tags" Target="../tags/tag111.xml"/><Relationship Id="rId29" Type="http://schemas.openxmlformats.org/officeDocument/2006/relationships/image" Target="../media/image7.emf"/><Relationship Id="rId1" Type="http://schemas.openxmlformats.org/officeDocument/2006/relationships/vmlDrawing" Target="../drawings/vmlDrawing8.vml"/><Relationship Id="rId6" Type="http://schemas.openxmlformats.org/officeDocument/2006/relationships/tags" Target="../tags/tag97.xml"/><Relationship Id="rId11" Type="http://schemas.openxmlformats.org/officeDocument/2006/relationships/tags" Target="../tags/tag102.xml"/><Relationship Id="rId24" Type="http://schemas.openxmlformats.org/officeDocument/2006/relationships/tags" Target="../tags/tag115.xml"/><Relationship Id="rId5" Type="http://schemas.openxmlformats.org/officeDocument/2006/relationships/tags" Target="../tags/tag96.xml"/><Relationship Id="rId15" Type="http://schemas.openxmlformats.org/officeDocument/2006/relationships/tags" Target="../tags/tag106.xml"/><Relationship Id="rId23" Type="http://schemas.openxmlformats.org/officeDocument/2006/relationships/tags" Target="../tags/tag114.xml"/><Relationship Id="rId28" Type="http://schemas.openxmlformats.org/officeDocument/2006/relationships/oleObject" Target="../embeddings/oleObject9.bin"/><Relationship Id="rId10" Type="http://schemas.openxmlformats.org/officeDocument/2006/relationships/tags" Target="../tags/tag101.xml"/><Relationship Id="rId19" Type="http://schemas.openxmlformats.org/officeDocument/2006/relationships/tags" Target="../tags/tag110.xml"/><Relationship Id="rId31" Type="http://schemas.openxmlformats.org/officeDocument/2006/relationships/image" Target="../media/image8.emf"/><Relationship Id="rId4" Type="http://schemas.openxmlformats.org/officeDocument/2006/relationships/tags" Target="../tags/tag95.xml"/><Relationship Id="rId9" Type="http://schemas.openxmlformats.org/officeDocument/2006/relationships/tags" Target="../tags/tag100.xml"/><Relationship Id="rId14" Type="http://schemas.openxmlformats.org/officeDocument/2006/relationships/tags" Target="../tags/tag105.xml"/><Relationship Id="rId22" Type="http://schemas.openxmlformats.org/officeDocument/2006/relationships/tags" Target="../tags/tag113.xml"/><Relationship Id="rId27" Type="http://schemas.openxmlformats.org/officeDocument/2006/relationships/oleObject" Target="../embeddings/oleObject8.bin"/><Relationship Id="rId30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6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en-US" sz="3600" smtClean="0">
                <a:ea typeface="ＭＳ Ｐゴシック" pitchFamily="34" charset="-128"/>
                <a:cs typeface="Arial" pitchFamily="34" charset="0"/>
              </a:rPr>
              <a:t>Catalyzing SME Growth Through Business Plan Competitions: Innovative Examples from Latin America</a:t>
            </a:r>
          </a:p>
        </p:txBody>
      </p:sp>
      <p:sp>
        <p:nvSpPr>
          <p:cNvPr id="4099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5105400"/>
            <a:ext cx="6400800" cy="458788"/>
          </a:xfrm>
        </p:spPr>
        <p:txBody>
          <a:bodyPr/>
          <a:lstStyle/>
          <a:p>
            <a:pPr eaLnBrk="1" hangingPunct="1"/>
            <a:r>
              <a:rPr lang="en-US" smtClean="0">
                <a:ea typeface="ＭＳ Ｐゴシック" pitchFamily="34" charset="-128"/>
                <a:cs typeface="Arial" pitchFamily="34" charset="0"/>
              </a:rPr>
              <a:t>Washington D.C., March 9th 2011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Rectangle 2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1" name="think-cell Slide" r:id="rId18" imgW="0" imgH="0" progId="TCLayout.ActiveDocument.1">
                  <p:embed/>
                </p:oleObj>
              </mc:Choice>
              <mc:Fallback>
                <p:oleObj name="think-cell Slide" r:id="rId18" imgW="0" imgH="0" progId="TCLayout.ActiveDocument.1">
                  <p:embed/>
                  <p:pic>
                    <p:nvPicPr>
                      <p:cNvPr id="0" name="Rectangle 25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5" name="Rectangle 26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21049" tIns="0" rIns="21049" bIns="0" anchor="ctr"/>
          <a:lstStyle/>
          <a:p>
            <a:pPr algn="ctr" defTabSz="933450"/>
            <a:r>
              <a:rPr lang="en-US" sz="1200"/>
              <a:t>42,502</a:t>
            </a:r>
          </a:p>
        </p:txBody>
      </p:sp>
      <p:sp>
        <p:nvSpPr>
          <p:cNvPr id="13316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666038" y="4213225"/>
            <a:ext cx="1063625" cy="73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defTabSz="912813">
              <a:spcBef>
                <a:spcPts val="613"/>
              </a:spcBef>
              <a:buSzPct val="70000"/>
            </a:pPr>
            <a:r>
              <a:rPr lang="en-US" sz="1200" b="1">
                <a:cs typeface="Arial" pitchFamily="34" charset="0"/>
              </a:rPr>
              <a:t>Training in L.A.C. needs to be taken to the next level</a:t>
            </a:r>
          </a:p>
        </p:txBody>
      </p:sp>
      <p:graphicFrame>
        <p:nvGraphicFramePr>
          <p:cNvPr id="13317" name="Object 3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4506913" y="2914650"/>
          <a:ext cx="2709862" cy="3238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2" name="Chart" r:id="rId19" imgW="3238500" imgH="3251200" progId="MSGraph.Chart.8">
                  <p:embed followColorScheme="full"/>
                </p:oleObj>
              </mc:Choice>
              <mc:Fallback>
                <p:oleObj name="Chart" r:id="rId19" imgW="3238500" imgH="3251200" progId="MSGraph.Chart.8">
                  <p:embed followColorScheme="full"/>
                  <p:pic>
                    <p:nvPicPr>
                      <p:cNvPr id="0" name="Object 3"/>
                      <p:cNvPicPr>
                        <a:picLocks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r="16055"/>
                      <a:stretch>
                        <a:fillRect/>
                      </a:stretch>
                    </p:blipFill>
                    <p:spPr bwMode="blackWhite">
                      <a:xfrm>
                        <a:off x="4506913" y="2914650"/>
                        <a:ext cx="2709862" cy="32385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8" name="McK Footnote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09550" y="6645275"/>
            <a:ext cx="53244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530225" indent="-530225" defTabSz="912813" eaLnBrk="0" hangingPunct="0">
              <a:tabLst>
                <a:tab pos="469900" algn="r"/>
              </a:tabLs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tabLst>
                <a:tab pos="469900" algn="r"/>
              </a:tabLs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tabLst>
                <a:tab pos="469900" algn="r"/>
              </a:tabLs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tabLst>
                <a:tab pos="469900" algn="r"/>
              </a:tabLs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tabLst>
                <a:tab pos="469900" algn="r"/>
              </a:tabLs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469900" algn="r"/>
              </a:tabLs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469900" algn="r"/>
              </a:tabLs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469900" algn="r"/>
              </a:tabLs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469900" algn="r"/>
              </a:tabLs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1100">
                <a:cs typeface="Arial" pitchFamily="34" charset="0"/>
              </a:rPr>
              <a:t>	Source:	GEM 2008 and TechnoServe analysis</a:t>
            </a:r>
          </a:p>
        </p:txBody>
      </p:sp>
      <p:graphicFrame>
        <p:nvGraphicFramePr>
          <p:cNvPr id="13319" name="Object 3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2014538" y="2914650"/>
          <a:ext cx="2698750" cy="3238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3" name="Chart" r:id="rId21" imgW="3225800" imgH="3251200" progId="MSGraph.Chart.8">
                  <p:embed followColorScheme="full"/>
                </p:oleObj>
              </mc:Choice>
              <mc:Fallback>
                <p:oleObj name="Chart" r:id="rId21" imgW="3225800" imgH="3251200" progId="MSGraph.Chart.8">
                  <p:embed followColorScheme="full"/>
                  <p:pic>
                    <p:nvPicPr>
                      <p:cNvPr id="0" name="Object 3"/>
                      <p:cNvPicPr>
                        <a:picLocks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r="16103"/>
                      <a:stretch>
                        <a:fillRect/>
                      </a:stretch>
                    </p:blipFill>
                    <p:spPr bwMode="blackWhite">
                      <a:xfrm>
                        <a:off x="2014538" y="2914650"/>
                        <a:ext cx="2698750" cy="32385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20" name="Rectangle 4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20725" y="3265488"/>
            <a:ext cx="12223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defTabSz="912813">
              <a:buSzPct val="120000"/>
            </a:pPr>
            <a:r>
              <a:rPr lang="en-US" sz="1400">
                <a:cs typeface="Arial" pitchFamily="34" charset="0"/>
              </a:rPr>
              <a:t>L.A.C.</a:t>
            </a:r>
          </a:p>
        </p:txBody>
      </p:sp>
      <p:sp>
        <p:nvSpPr>
          <p:cNvPr id="13321" name="Rectangle 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041525" y="2446338"/>
            <a:ext cx="2195513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defTabSz="931863">
              <a:spcAft>
                <a:spcPts val="200"/>
              </a:spcAft>
              <a:buSzPct val="75000"/>
            </a:pPr>
            <a:r>
              <a:rPr lang="en-US" sz="1400" b="1">
                <a:solidFill>
                  <a:schemeClr val="accent2"/>
                </a:solidFill>
                <a:cs typeface="Arial" pitchFamily="34" charset="0"/>
              </a:rPr>
              <a:t>Overall Entrepreneurial Activity</a:t>
            </a:r>
            <a:endParaRPr lang="en-US" sz="1400" b="1" i="1">
              <a:solidFill>
                <a:schemeClr val="accent2"/>
              </a:solidFill>
              <a:cs typeface="Arial" pitchFamily="34" charset="0"/>
            </a:endParaRPr>
          </a:p>
        </p:txBody>
      </p:sp>
      <p:sp>
        <p:nvSpPr>
          <p:cNvPr id="13322" name="Rectangle 4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720725" y="4038600"/>
            <a:ext cx="12223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defTabSz="912813">
              <a:buSzPct val="120000"/>
            </a:pPr>
            <a:r>
              <a:rPr lang="en-US" sz="1400">
                <a:cs typeface="Arial" pitchFamily="34" charset="0"/>
              </a:rPr>
              <a:t>Europe</a:t>
            </a:r>
          </a:p>
        </p:txBody>
      </p:sp>
      <p:sp>
        <p:nvSpPr>
          <p:cNvPr id="13323" name="Rectangle 4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20725" y="4816475"/>
            <a:ext cx="12223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defTabSz="912813">
              <a:buSzPct val="120000"/>
            </a:pPr>
            <a:r>
              <a:rPr lang="en-US" sz="1400">
                <a:cs typeface="Arial" pitchFamily="34" charset="0"/>
              </a:rPr>
              <a:t>North America</a:t>
            </a:r>
          </a:p>
        </p:txBody>
      </p:sp>
      <p:sp>
        <p:nvSpPr>
          <p:cNvPr id="13324" name="Rectangle 4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720725" y="5594350"/>
            <a:ext cx="12223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defTabSz="912813">
              <a:buSzPct val="120000"/>
            </a:pPr>
            <a:r>
              <a:rPr lang="en-US" sz="1400">
                <a:cs typeface="Arial" pitchFamily="34" charset="0"/>
              </a:rPr>
              <a:t>Others</a:t>
            </a:r>
          </a:p>
        </p:txBody>
      </p:sp>
      <p:sp>
        <p:nvSpPr>
          <p:cNvPr id="13325" name="65 Triángulo isósceles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 rot="5400000">
            <a:off x="6109494" y="4461669"/>
            <a:ext cx="2468563" cy="231775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96" tIns="46648" rIns="93296" bIns="46648"/>
          <a:lstStyle/>
          <a:p>
            <a:pPr defTabSz="952500"/>
            <a:endParaRPr lang="es-PE" sz="1400" b="1">
              <a:latin typeface="Tahoma" pitchFamily="34" charset="0"/>
            </a:endParaRPr>
          </a:p>
        </p:txBody>
      </p:sp>
      <p:sp>
        <p:nvSpPr>
          <p:cNvPr id="13326" name="Rectangle 2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532313" y="2446338"/>
            <a:ext cx="219710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defTabSz="931863">
              <a:spcAft>
                <a:spcPts val="200"/>
              </a:spcAft>
              <a:buSzPct val="75000"/>
            </a:pPr>
            <a:r>
              <a:rPr lang="en-US" sz="1400" b="1">
                <a:solidFill>
                  <a:schemeClr val="accent2"/>
                </a:solidFill>
                <a:cs typeface="Arial" pitchFamily="34" charset="0"/>
              </a:rPr>
              <a:t>Business Development Training</a:t>
            </a:r>
            <a:endParaRPr lang="en-US" sz="1400" b="1" i="1">
              <a:solidFill>
                <a:schemeClr val="accent2"/>
              </a:solidFill>
              <a:cs typeface="Arial" pitchFamily="34" charset="0"/>
            </a:endParaRPr>
          </a:p>
        </p:txBody>
      </p:sp>
      <p:sp>
        <p:nvSpPr>
          <p:cNvPr id="13327" name="4 Marcador de número de diapositiva"/>
          <p:cNvSpPr txBox="1"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153400" y="6648450"/>
            <a:ext cx="885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9539602D-42D4-4BED-8865-275BBD996819}" type="slidenum">
              <a:rPr lang="en-US" sz="900">
                <a:solidFill>
                  <a:srgbClr val="7F329A"/>
                </a:solidFill>
                <a:cs typeface="Arial" pitchFamily="34" charset="0"/>
              </a:rPr>
              <a:pPr algn="r" eaLnBrk="1" hangingPunct="1"/>
              <a:t>9</a:t>
            </a:fld>
            <a:endParaRPr lang="en-US" sz="900">
              <a:solidFill>
                <a:srgbClr val="7F329A"/>
              </a:solidFill>
              <a:cs typeface="Arial" pitchFamily="34" charset="0"/>
            </a:endParaRPr>
          </a:p>
        </p:txBody>
      </p:sp>
      <p:sp>
        <p:nvSpPr>
          <p:cNvPr id="13328" name="Rectangle 1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2200" smtClean="0">
                <a:ea typeface="ＭＳ Ｐゴシック" pitchFamily="34" charset="-128"/>
                <a:cs typeface="Arial" pitchFamily="34" charset="0"/>
              </a:rPr>
              <a:t>Despite strong entrepreneurial activity in Latin America, the region lags in Business Development Training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Rectangle 1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1" name="think-cell Slide" r:id="rId22" imgW="0" imgH="0" progId="TCLayout.ActiveDocument.1">
                  <p:embed/>
                </p:oleObj>
              </mc:Choice>
              <mc:Fallback>
                <p:oleObj name="think-cell Slide" r:id="rId22" imgW="0" imgH="0" progId="TCLayout.ActiveDocument.1">
                  <p:embed/>
                  <p:pic>
                    <p:nvPicPr>
                      <p:cNvPr id="0" name="Rectangle 1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9" name="4 Marcador de número de diapositiva"/>
          <p:cNvSpPr txBox="1"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8153400" y="6648450"/>
            <a:ext cx="885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619066BE-0C26-42E4-8BCA-50F1553D4A6E}" type="slidenum">
              <a:rPr lang="en-US" sz="900">
                <a:solidFill>
                  <a:srgbClr val="7F329A"/>
                </a:solidFill>
                <a:cs typeface="Arial" pitchFamily="34" charset="0"/>
              </a:rPr>
              <a:pPr algn="r" eaLnBrk="1" hangingPunct="1"/>
              <a:t>10</a:t>
            </a:fld>
            <a:endParaRPr lang="en-US" sz="900">
              <a:solidFill>
                <a:srgbClr val="7F329A"/>
              </a:solidFill>
              <a:cs typeface="Arial" pitchFamily="34" charset="0"/>
            </a:endParaRPr>
          </a:p>
        </p:txBody>
      </p:sp>
      <p:pic>
        <p:nvPicPr>
          <p:cNvPr id="14340" name="Picture 27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4138" y="5486400"/>
            <a:ext cx="1546225" cy="1025525"/>
          </a:xfrm>
          <a:prstGeom prst="rect">
            <a:avLst/>
          </a:prstGeom>
          <a:noFill/>
          <a:ln w="19050">
            <a:solidFill>
              <a:srgbClr val="B2B2B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341" name="AutoShape 1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551113" y="4519613"/>
            <a:ext cx="852487" cy="425450"/>
          </a:xfrm>
          <a:prstGeom prst="rightArrow">
            <a:avLst>
              <a:gd name="adj1" fmla="val 50000"/>
              <a:gd name="adj2" fmla="val 50093"/>
            </a:avLst>
          </a:prstGeom>
          <a:gradFill rotWithShape="1">
            <a:gsLst>
              <a:gs pos="0">
                <a:srgbClr val="3B3B3B"/>
              </a:gs>
              <a:gs pos="100000">
                <a:srgbClr val="808080"/>
              </a:gs>
            </a:gsLst>
            <a:lin ang="5400000" scaled="1"/>
          </a:gradFill>
          <a:ln w="28575">
            <a:solidFill>
              <a:srgbClr val="C0C0C0"/>
            </a:solidFill>
            <a:miter lim="800000"/>
            <a:headEnd/>
            <a:tailEnd/>
          </a:ln>
        </p:spPr>
        <p:txBody>
          <a:bodyPr lIns="93296" tIns="46648" rIns="93296" bIns="46648"/>
          <a:lstStyle/>
          <a:p>
            <a:pPr defTabSz="933450"/>
            <a:endParaRPr lang="en-US" sz="1600" b="1">
              <a:latin typeface="Calibri" pitchFamily="34" charset="0"/>
            </a:endParaRPr>
          </a:p>
        </p:txBody>
      </p:sp>
      <p:sp>
        <p:nvSpPr>
          <p:cNvPr id="14342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551238" y="2951163"/>
            <a:ext cx="1430337" cy="101282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C0C0C0"/>
              </a:gs>
            </a:gsLst>
            <a:lin ang="5400000" scaled="1"/>
          </a:gradFill>
          <a:ln w="28575">
            <a:solidFill>
              <a:srgbClr val="C0C0C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33450" eaLnBrk="0" hangingPunct="0">
              <a:buClr>
                <a:schemeClr val="tx2"/>
              </a:buClr>
            </a:pPr>
            <a:r>
              <a:rPr lang="en-US" sz="1600" b="1">
                <a:solidFill>
                  <a:schemeClr val="tx2"/>
                </a:solidFill>
                <a:cs typeface="Arial" pitchFamily="34" charset="0"/>
              </a:rPr>
              <a:t>Training in</a:t>
            </a:r>
          </a:p>
          <a:p>
            <a:pPr algn="ctr" defTabSz="933450" eaLnBrk="0" hangingPunct="0">
              <a:buClr>
                <a:schemeClr val="tx2"/>
              </a:buClr>
            </a:pPr>
            <a:r>
              <a:rPr lang="en-US" sz="1600" b="1">
                <a:solidFill>
                  <a:schemeClr val="tx2"/>
                </a:solidFill>
                <a:cs typeface="Arial" pitchFamily="34" charset="0"/>
              </a:rPr>
              <a:t>key aspects</a:t>
            </a:r>
          </a:p>
        </p:txBody>
      </p:sp>
      <p:grpSp>
        <p:nvGrpSpPr>
          <p:cNvPr id="14343" name="Group 4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 rot="-5400000">
            <a:off x="1256506" y="4144169"/>
            <a:ext cx="3090863" cy="1203325"/>
            <a:chOff x="710" y="1323"/>
            <a:chExt cx="2428" cy="658"/>
          </a:xfrm>
        </p:grpSpPr>
        <p:sp>
          <p:nvSpPr>
            <p:cNvPr id="14355" name="Freeform 5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710" y="1323"/>
              <a:ext cx="1119" cy="658"/>
            </a:xfrm>
            <a:custGeom>
              <a:avLst/>
              <a:gdLst>
                <a:gd name="T0" fmla="*/ 728 w 1119"/>
                <a:gd name="T1" fmla="*/ 17730 h 442"/>
                <a:gd name="T2" fmla="*/ 448 w 1119"/>
                <a:gd name="T3" fmla="*/ 38292 h 442"/>
                <a:gd name="T4" fmla="*/ 400 w 1119"/>
                <a:gd name="T5" fmla="*/ 43635 h 442"/>
                <a:gd name="T6" fmla="*/ 355 w 1119"/>
                <a:gd name="T7" fmla="*/ 48805 h 442"/>
                <a:gd name="T8" fmla="*/ 309 w 1119"/>
                <a:gd name="T9" fmla="*/ 54836 h 442"/>
                <a:gd name="T10" fmla="*/ 266 w 1119"/>
                <a:gd name="T11" fmla="*/ 61368 h 442"/>
                <a:gd name="T12" fmla="*/ 224 w 1119"/>
                <a:gd name="T13" fmla="*/ 69359 h 442"/>
                <a:gd name="T14" fmla="*/ 190 w 1119"/>
                <a:gd name="T15" fmla="*/ 76868 h 442"/>
                <a:gd name="T16" fmla="*/ 167 w 1119"/>
                <a:gd name="T17" fmla="*/ 83998 h 442"/>
                <a:gd name="T18" fmla="*/ 26 w 1119"/>
                <a:gd name="T19" fmla="*/ 81634 h 442"/>
                <a:gd name="T20" fmla="*/ 71 w 1119"/>
                <a:gd name="T21" fmla="*/ 86333 h 442"/>
                <a:gd name="T22" fmla="*/ 105 w 1119"/>
                <a:gd name="T23" fmla="*/ 91209 h 442"/>
                <a:gd name="T24" fmla="*/ 133 w 1119"/>
                <a:gd name="T25" fmla="*/ 95266 h 442"/>
                <a:gd name="T26" fmla="*/ 162 w 1119"/>
                <a:gd name="T27" fmla="*/ 100004 h 442"/>
                <a:gd name="T28" fmla="*/ 196 w 1119"/>
                <a:gd name="T29" fmla="*/ 106364 h 442"/>
                <a:gd name="T30" fmla="*/ 225 w 1119"/>
                <a:gd name="T31" fmla="*/ 113237 h 442"/>
                <a:gd name="T32" fmla="*/ 250 w 1119"/>
                <a:gd name="T33" fmla="*/ 115089 h 442"/>
                <a:gd name="T34" fmla="*/ 277 w 1119"/>
                <a:gd name="T35" fmla="*/ 111841 h 442"/>
                <a:gd name="T36" fmla="*/ 310 w 1119"/>
                <a:gd name="T37" fmla="*/ 108627 h 442"/>
                <a:gd name="T38" fmla="*/ 340 w 1119"/>
                <a:gd name="T39" fmla="*/ 106472 h 442"/>
                <a:gd name="T40" fmla="*/ 375 w 1119"/>
                <a:gd name="T41" fmla="*/ 104405 h 442"/>
                <a:gd name="T42" fmla="*/ 410 w 1119"/>
                <a:gd name="T43" fmla="*/ 102084 h 442"/>
                <a:gd name="T44" fmla="*/ 444 w 1119"/>
                <a:gd name="T45" fmla="*/ 100606 h 442"/>
                <a:gd name="T46" fmla="*/ 477 w 1119"/>
                <a:gd name="T47" fmla="*/ 98913 h 442"/>
                <a:gd name="T48" fmla="*/ 520 w 1119"/>
                <a:gd name="T49" fmla="*/ 97385 h 442"/>
                <a:gd name="T50" fmla="*/ 359 w 1119"/>
                <a:gd name="T51" fmla="*/ 85086 h 442"/>
                <a:gd name="T52" fmla="*/ 397 w 1119"/>
                <a:gd name="T53" fmla="*/ 73708 h 442"/>
                <a:gd name="T54" fmla="*/ 426 w 1119"/>
                <a:gd name="T55" fmla="*/ 67086 h 442"/>
                <a:gd name="T56" fmla="*/ 468 w 1119"/>
                <a:gd name="T57" fmla="*/ 57993 h 442"/>
                <a:gd name="T58" fmla="*/ 504 w 1119"/>
                <a:gd name="T59" fmla="*/ 50943 h 442"/>
                <a:gd name="T60" fmla="*/ 533 w 1119"/>
                <a:gd name="T61" fmla="*/ 45758 h 442"/>
                <a:gd name="T62" fmla="*/ 569 w 1119"/>
                <a:gd name="T63" fmla="*/ 40184 h 442"/>
                <a:gd name="T64" fmla="*/ 722 w 1119"/>
                <a:gd name="T65" fmla="*/ 26257 h 44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119"/>
                <a:gd name="T100" fmla="*/ 0 h 442"/>
                <a:gd name="T101" fmla="*/ 1119 w 1119"/>
                <a:gd name="T102" fmla="*/ 442 h 44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119" h="442">
                  <a:moveTo>
                    <a:pt x="1118" y="7"/>
                  </a:moveTo>
                  <a:cubicBezTo>
                    <a:pt x="1119" y="0"/>
                    <a:pt x="835" y="47"/>
                    <a:pt x="728" y="68"/>
                  </a:cubicBezTo>
                  <a:cubicBezTo>
                    <a:pt x="621" y="89"/>
                    <a:pt x="520" y="123"/>
                    <a:pt x="474" y="136"/>
                  </a:cubicBezTo>
                  <a:lnTo>
                    <a:pt x="448" y="146"/>
                  </a:lnTo>
                  <a:lnTo>
                    <a:pt x="422" y="156"/>
                  </a:lnTo>
                  <a:lnTo>
                    <a:pt x="400" y="166"/>
                  </a:lnTo>
                  <a:lnTo>
                    <a:pt x="376" y="176"/>
                  </a:lnTo>
                  <a:lnTo>
                    <a:pt x="355" y="186"/>
                  </a:lnTo>
                  <a:lnTo>
                    <a:pt x="332" y="197"/>
                  </a:lnTo>
                  <a:lnTo>
                    <a:pt x="309" y="209"/>
                  </a:lnTo>
                  <a:lnTo>
                    <a:pt x="286" y="223"/>
                  </a:lnTo>
                  <a:lnTo>
                    <a:pt x="266" y="234"/>
                  </a:lnTo>
                  <a:lnTo>
                    <a:pt x="244" y="250"/>
                  </a:lnTo>
                  <a:lnTo>
                    <a:pt x="224" y="264"/>
                  </a:lnTo>
                  <a:lnTo>
                    <a:pt x="205" y="278"/>
                  </a:lnTo>
                  <a:lnTo>
                    <a:pt x="190" y="293"/>
                  </a:lnTo>
                  <a:lnTo>
                    <a:pt x="177" y="306"/>
                  </a:lnTo>
                  <a:lnTo>
                    <a:pt x="167" y="320"/>
                  </a:lnTo>
                  <a:lnTo>
                    <a:pt x="0" y="302"/>
                  </a:lnTo>
                  <a:lnTo>
                    <a:pt x="26" y="311"/>
                  </a:lnTo>
                  <a:lnTo>
                    <a:pt x="47" y="320"/>
                  </a:lnTo>
                  <a:lnTo>
                    <a:pt x="71" y="329"/>
                  </a:lnTo>
                  <a:lnTo>
                    <a:pt x="89" y="338"/>
                  </a:lnTo>
                  <a:lnTo>
                    <a:pt x="105" y="347"/>
                  </a:lnTo>
                  <a:lnTo>
                    <a:pt x="120" y="353"/>
                  </a:lnTo>
                  <a:lnTo>
                    <a:pt x="133" y="363"/>
                  </a:lnTo>
                  <a:lnTo>
                    <a:pt x="147" y="371"/>
                  </a:lnTo>
                  <a:lnTo>
                    <a:pt x="162" y="381"/>
                  </a:lnTo>
                  <a:lnTo>
                    <a:pt x="179" y="393"/>
                  </a:lnTo>
                  <a:lnTo>
                    <a:pt x="196" y="405"/>
                  </a:lnTo>
                  <a:lnTo>
                    <a:pt x="210" y="417"/>
                  </a:lnTo>
                  <a:lnTo>
                    <a:pt x="225" y="431"/>
                  </a:lnTo>
                  <a:lnTo>
                    <a:pt x="237" y="442"/>
                  </a:lnTo>
                  <a:lnTo>
                    <a:pt x="250" y="438"/>
                  </a:lnTo>
                  <a:lnTo>
                    <a:pt x="263" y="431"/>
                  </a:lnTo>
                  <a:lnTo>
                    <a:pt x="277" y="426"/>
                  </a:lnTo>
                  <a:lnTo>
                    <a:pt x="293" y="420"/>
                  </a:lnTo>
                  <a:lnTo>
                    <a:pt x="310" y="414"/>
                  </a:lnTo>
                  <a:lnTo>
                    <a:pt x="325" y="409"/>
                  </a:lnTo>
                  <a:lnTo>
                    <a:pt x="340" y="406"/>
                  </a:lnTo>
                  <a:lnTo>
                    <a:pt x="357" y="401"/>
                  </a:lnTo>
                  <a:lnTo>
                    <a:pt x="375" y="398"/>
                  </a:lnTo>
                  <a:lnTo>
                    <a:pt x="393" y="393"/>
                  </a:lnTo>
                  <a:lnTo>
                    <a:pt x="410" y="389"/>
                  </a:lnTo>
                  <a:lnTo>
                    <a:pt x="426" y="386"/>
                  </a:lnTo>
                  <a:lnTo>
                    <a:pt x="444" y="383"/>
                  </a:lnTo>
                  <a:lnTo>
                    <a:pt x="461" y="380"/>
                  </a:lnTo>
                  <a:lnTo>
                    <a:pt x="477" y="377"/>
                  </a:lnTo>
                  <a:lnTo>
                    <a:pt x="495" y="373"/>
                  </a:lnTo>
                  <a:lnTo>
                    <a:pt x="520" y="371"/>
                  </a:lnTo>
                  <a:lnTo>
                    <a:pt x="348" y="344"/>
                  </a:lnTo>
                  <a:lnTo>
                    <a:pt x="359" y="324"/>
                  </a:lnTo>
                  <a:lnTo>
                    <a:pt x="373" y="309"/>
                  </a:lnTo>
                  <a:lnTo>
                    <a:pt x="397" y="281"/>
                  </a:lnTo>
                  <a:lnTo>
                    <a:pt x="412" y="267"/>
                  </a:lnTo>
                  <a:lnTo>
                    <a:pt x="426" y="255"/>
                  </a:lnTo>
                  <a:lnTo>
                    <a:pt x="452" y="233"/>
                  </a:lnTo>
                  <a:lnTo>
                    <a:pt x="468" y="221"/>
                  </a:lnTo>
                  <a:lnTo>
                    <a:pt x="487" y="205"/>
                  </a:lnTo>
                  <a:lnTo>
                    <a:pt x="504" y="194"/>
                  </a:lnTo>
                  <a:lnTo>
                    <a:pt x="518" y="184"/>
                  </a:lnTo>
                  <a:lnTo>
                    <a:pt x="533" y="174"/>
                  </a:lnTo>
                  <a:lnTo>
                    <a:pt x="550" y="164"/>
                  </a:lnTo>
                  <a:lnTo>
                    <a:pt x="569" y="153"/>
                  </a:lnTo>
                  <a:lnTo>
                    <a:pt x="587" y="146"/>
                  </a:lnTo>
                  <a:cubicBezTo>
                    <a:pt x="612" y="137"/>
                    <a:pt x="634" y="123"/>
                    <a:pt x="722" y="100"/>
                  </a:cubicBezTo>
                  <a:cubicBezTo>
                    <a:pt x="810" y="77"/>
                    <a:pt x="1036" y="26"/>
                    <a:pt x="1118" y="7"/>
                  </a:cubicBezTo>
                  <a:close/>
                </a:path>
              </a:pathLst>
            </a:custGeom>
            <a:gradFill rotWithShape="1">
              <a:gsLst>
                <a:gs pos="0">
                  <a:srgbClr val="3B3B3B"/>
                </a:gs>
                <a:gs pos="100000">
                  <a:srgbClr val="808080"/>
                </a:gs>
              </a:gsLst>
              <a:lin ang="5400000" scaled="1"/>
            </a:gradFill>
            <a:ln w="285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356" name="Freeform 6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 flipH="1">
              <a:off x="2019" y="1323"/>
              <a:ext cx="1119" cy="658"/>
            </a:xfrm>
            <a:custGeom>
              <a:avLst/>
              <a:gdLst>
                <a:gd name="T0" fmla="*/ 728 w 1119"/>
                <a:gd name="T1" fmla="*/ 17730 h 442"/>
                <a:gd name="T2" fmla="*/ 448 w 1119"/>
                <a:gd name="T3" fmla="*/ 38292 h 442"/>
                <a:gd name="T4" fmla="*/ 400 w 1119"/>
                <a:gd name="T5" fmla="*/ 43635 h 442"/>
                <a:gd name="T6" fmla="*/ 355 w 1119"/>
                <a:gd name="T7" fmla="*/ 48805 h 442"/>
                <a:gd name="T8" fmla="*/ 309 w 1119"/>
                <a:gd name="T9" fmla="*/ 54836 h 442"/>
                <a:gd name="T10" fmla="*/ 266 w 1119"/>
                <a:gd name="T11" fmla="*/ 61368 h 442"/>
                <a:gd name="T12" fmla="*/ 224 w 1119"/>
                <a:gd name="T13" fmla="*/ 69359 h 442"/>
                <a:gd name="T14" fmla="*/ 190 w 1119"/>
                <a:gd name="T15" fmla="*/ 76868 h 442"/>
                <a:gd name="T16" fmla="*/ 167 w 1119"/>
                <a:gd name="T17" fmla="*/ 83998 h 442"/>
                <a:gd name="T18" fmla="*/ 26 w 1119"/>
                <a:gd name="T19" fmla="*/ 81634 h 442"/>
                <a:gd name="T20" fmla="*/ 71 w 1119"/>
                <a:gd name="T21" fmla="*/ 86333 h 442"/>
                <a:gd name="T22" fmla="*/ 105 w 1119"/>
                <a:gd name="T23" fmla="*/ 91209 h 442"/>
                <a:gd name="T24" fmla="*/ 133 w 1119"/>
                <a:gd name="T25" fmla="*/ 95266 h 442"/>
                <a:gd name="T26" fmla="*/ 162 w 1119"/>
                <a:gd name="T27" fmla="*/ 100004 h 442"/>
                <a:gd name="T28" fmla="*/ 196 w 1119"/>
                <a:gd name="T29" fmla="*/ 106364 h 442"/>
                <a:gd name="T30" fmla="*/ 225 w 1119"/>
                <a:gd name="T31" fmla="*/ 113237 h 442"/>
                <a:gd name="T32" fmla="*/ 250 w 1119"/>
                <a:gd name="T33" fmla="*/ 115089 h 442"/>
                <a:gd name="T34" fmla="*/ 277 w 1119"/>
                <a:gd name="T35" fmla="*/ 111841 h 442"/>
                <a:gd name="T36" fmla="*/ 310 w 1119"/>
                <a:gd name="T37" fmla="*/ 108627 h 442"/>
                <a:gd name="T38" fmla="*/ 340 w 1119"/>
                <a:gd name="T39" fmla="*/ 106472 h 442"/>
                <a:gd name="T40" fmla="*/ 375 w 1119"/>
                <a:gd name="T41" fmla="*/ 104405 h 442"/>
                <a:gd name="T42" fmla="*/ 410 w 1119"/>
                <a:gd name="T43" fmla="*/ 102084 h 442"/>
                <a:gd name="T44" fmla="*/ 444 w 1119"/>
                <a:gd name="T45" fmla="*/ 100606 h 442"/>
                <a:gd name="T46" fmla="*/ 477 w 1119"/>
                <a:gd name="T47" fmla="*/ 98913 h 442"/>
                <a:gd name="T48" fmla="*/ 520 w 1119"/>
                <a:gd name="T49" fmla="*/ 97385 h 442"/>
                <a:gd name="T50" fmla="*/ 359 w 1119"/>
                <a:gd name="T51" fmla="*/ 85086 h 442"/>
                <a:gd name="T52" fmla="*/ 397 w 1119"/>
                <a:gd name="T53" fmla="*/ 73708 h 442"/>
                <a:gd name="T54" fmla="*/ 426 w 1119"/>
                <a:gd name="T55" fmla="*/ 67086 h 442"/>
                <a:gd name="T56" fmla="*/ 468 w 1119"/>
                <a:gd name="T57" fmla="*/ 57993 h 442"/>
                <a:gd name="T58" fmla="*/ 504 w 1119"/>
                <a:gd name="T59" fmla="*/ 50943 h 442"/>
                <a:gd name="T60" fmla="*/ 533 w 1119"/>
                <a:gd name="T61" fmla="*/ 45758 h 442"/>
                <a:gd name="T62" fmla="*/ 569 w 1119"/>
                <a:gd name="T63" fmla="*/ 40184 h 442"/>
                <a:gd name="T64" fmla="*/ 722 w 1119"/>
                <a:gd name="T65" fmla="*/ 26257 h 44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119"/>
                <a:gd name="T100" fmla="*/ 0 h 442"/>
                <a:gd name="T101" fmla="*/ 1119 w 1119"/>
                <a:gd name="T102" fmla="*/ 442 h 44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119" h="442">
                  <a:moveTo>
                    <a:pt x="1118" y="7"/>
                  </a:moveTo>
                  <a:cubicBezTo>
                    <a:pt x="1119" y="0"/>
                    <a:pt x="835" y="47"/>
                    <a:pt x="728" y="68"/>
                  </a:cubicBezTo>
                  <a:cubicBezTo>
                    <a:pt x="621" y="89"/>
                    <a:pt x="520" y="123"/>
                    <a:pt x="474" y="136"/>
                  </a:cubicBezTo>
                  <a:lnTo>
                    <a:pt x="448" y="146"/>
                  </a:lnTo>
                  <a:lnTo>
                    <a:pt x="422" y="156"/>
                  </a:lnTo>
                  <a:lnTo>
                    <a:pt x="400" y="166"/>
                  </a:lnTo>
                  <a:lnTo>
                    <a:pt x="376" y="176"/>
                  </a:lnTo>
                  <a:lnTo>
                    <a:pt x="355" y="186"/>
                  </a:lnTo>
                  <a:lnTo>
                    <a:pt x="332" y="197"/>
                  </a:lnTo>
                  <a:lnTo>
                    <a:pt x="309" y="209"/>
                  </a:lnTo>
                  <a:lnTo>
                    <a:pt x="286" y="223"/>
                  </a:lnTo>
                  <a:lnTo>
                    <a:pt x="266" y="234"/>
                  </a:lnTo>
                  <a:lnTo>
                    <a:pt x="244" y="250"/>
                  </a:lnTo>
                  <a:lnTo>
                    <a:pt x="224" y="264"/>
                  </a:lnTo>
                  <a:lnTo>
                    <a:pt x="205" y="278"/>
                  </a:lnTo>
                  <a:lnTo>
                    <a:pt x="190" y="293"/>
                  </a:lnTo>
                  <a:lnTo>
                    <a:pt x="177" y="306"/>
                  </a:lnTo>
                  <a:lnTo>
                    <a:pt x="167" y="320"/>
                  </a:lnTo>
                  <a:lnTo>
                    <a:pt x="0" y="302"/>
                  </a:lnTo>
                  <a:lnTo>
                    <a:pt x="26" y="311"/>
                  </a:lnTo>
                  <a:lnTo>
                    <a:pt x="47" y="320"/>
                  </a:lnTo>
                  <a:lnTo>
                    <a:pt x="71" y="329"/>
                  </a:lnTo>
                  <a:lnTo>
                    <a:pt x="89" y="338"/>
                  </a:lnTo>
                  <a:lnTo>
                    <a:pt x="105" y="347"/>
                  </a:lnTo>
                  <a:lnTo>
                    <a:pt x="120" y="353"/>
                  </a:lnTo>
                  <a:lnTo>
                    <a:pt x="133" y="363"/>
                  </a:lnTo>
                  <a:lnTo>
                    <a:pt x="147" y="371"/>
                  </a:lnTo>
                  <a:lnTo>
                    <a:pt x="162" y="381"/>
                  </a:lnTo>
                  <a:lnTo>
                    <a:pt x="179" y="393"/>
                  </a:lnTo>
                  <a:lnTo>
                    <a:pt x="196" y="405"/>
                  </a:lnTo>
                  <a:lnTo>
                    <a:pt x="210" y="417"/>
                  </a:lnTo>
                  <a:lnTo>
                    <a:pt x="225" y="431"/>
                  </a:lnTo>
                  <a:lnTo>
                    <a:pt x="237" y="442"/>
                  </a:lnTo>
                  <a:lnTo>
                    <a:pt x="250" y="438"/>
                  </a:lnTo>
                  <a:lnTo>
                    <a:pt x="263" y="431"/>
                  </a:lnTo>
                  <a:lnTo>
                    <a:pt x="277" y="426"/>
                  </a:lnTo>
                  <a:lnTo>
                    <a:pt x="293" y="420"/>
                  </a:lnTo>
                  <a:lnTo>
                    <a:pt x="310" y="414"/>
                  </a:lnTo>
                  <a:lnTo>
                    <a:pt x="325" y="409"/>
                  </a:lnTo>
                  <a:lnTo>
                    <a:pt x="340" y="406"/>
                  </a:lnTo>
                  <a:lnTo>
                    <a:pt x="357" y="401"/>
                  </a:lnTo>
                  <a:lnTo>
                    <a:pt x="375" y="398"/>
                  </a:lnTo>
                  <a:lnTo>
                    <a:pt x="393" y="393"/>
                  </a:lnTo>
                  <a:lnTo>
                    <a:pt x="410" y="389"/>
                  </a:lnTo>
                  <a:lnTo>
                    <a:pt x="426" y="386"/>
                  </a:lnTo>
                  <a:lnTo>
                    <a:pt x="444" y="383"/>
                  </a:lnTo>
                  <a:lnTo>
                    <a:pt x="461" y="380"/>
                  </a:lnTo>
                  <a:lnTo>
                    <a:pt x="477" y="377"/>
                  </a:lnTo>
                  <a:lnTo>
                    <a:pt x="495" y="373"/>
                  </a:lnTo>
                  <a:lnTo>
                    <a:pt x="520" y="371"/>
                  </a:lnTo>
                  <a:lnTo>
                    <a:pt x="348" y="344"/>
                  </a:lnTo>
                  <a:lnTo>
                    <a:pt x="359" y="324"/>
                  </a:lnTo>
                  <a:lnTo>
                    <a:pt x="373" y="309"/>
                  </a:lnTo>
                  <a:lnTo>
                    <a:pt x="397" y="281"/>
                  </a:lnTo>
                  <a:lnTo>
                    <a:pt x="412" y="267"/>
                  </a:lnTo>
                  <a:lnTo>
                    <a:pt x="426" y="255"/>
                  </a:lnTo>
                  <a:lnTo>
                    <a:pt x="452" y="233"/>
                  </a:lnTo>
                  <a:lnTo>
                    <a:pt x="468" y="221"/>
                  </a:lnTo>
                  <a:lnTo>
                    <a:pt x="487" y="205"/>
                  </a:lnTo>
                  <a:lnTo>
                    <a:pt x="504" y="194"/>
                  </a:lnTo>
                  <a:lnTo>
                    <a:pt x="518" y="184"/>
                  </a:lnTo>
                  <a:lnTo>
                    <a:pt x="533" y="174"/>
                  </a:lnTo>
                  <a:lnTo>
                    <a:pt x="550" y="164"/>
                  </a:lnTo>
                  <a:lnTo>
                    <a:pt x="569" y="153"/>
                  </a:lnTo>
                  <a:lnTo>
                    <a:pt x="587" y="146"/>
                  </a:lnTo>
                  <a:cubicBezTo>
                    <a:pt x="612" y="137"/>
                    <a:pt x="634" y="123"/>
                    <a:pt x="722" y="100"/>
                  </a:cubicBezTo>
                  <a:cubicBezTo>
                    <a:pt x="810" y="77"/>
                    <a:pt x="1036" y="26"/>
                    <a:pt x="1118" y="7"/>
                  </a:cubicBezTo>
                  <a:close/>
                </a:path>
              </a:pathLst>
            </a:custGeom>
            <a:gradFill rotWithShape="1">
              <a:gsLst>
                <a:gs pos="0">
                  <a:srgbClr val="3B3B3B"/>
                </a:gs>
                <a:gs pos="100000">
                  <a:srgbClr val="808080"/>
                </a:gs>
              </a:gsLst>
              <a:lin ang="5400000" scaled="1"/>
            </a:gradFill>
            <a:ln w="285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29031" name="Oval 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23913" y="4298950"/>
            <a:ext cx="2057400" cy="866775"/>
          </a:xfrm>
          <a:prstGeom prst="ellipse">
            <a:avLst/>
          </a:prstGeom>
          <a:gradFill rotWithShape="1">
            <a:gsLst>
              <a:gs pos="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path path="shape">
              <a:fillToRect l="50000" t="50000" r="50000" b="50000"/>
            </a:path>
          </a:gradFill>
          <a:ln w="28575">
            <a:solidFill>
              <a:schemeClr val="accent2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 defTabSz="933450" eaLnBrk="0" hangingPunct="0">
              <a:buClr>
                <a:schemeClr val="tx2"/>
              </a:buClr>
              <a:defRPr/>
            </a:pPr>
            <a:r>
              <a:rPr lang="en-US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rial" pitchFamily="34" charset="0"/>
              </a:rPr>
              <a:t>Entrepreneurship</a:t>
            </a:r>
            <a:endParaRPr lang="en-US" sz="16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cs typeface="Arial" pitchFamily="34" charset="0"/>
            </a:endParaRPr>
          </a:p>
          <a:p>
            <a:pPr algn="ctr" defTabSz="933450" eaLnBrk="0" hangingPunct="0">
              <a:buClr>
                <a:schemeClr val="tx2"/>
              </a:buClr>
              <a:defRPr/>
            </a:pPr>
            <a:r>
              <a:rPr 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rial" pitchFamily="34" charset="0"/>
              </a:rPr>
              <a:t>in L.A.C.</a:t>
            </a:r>
          </a:p>
        </p:txBody>
      </p:sp>
      <p:sp>
        <p:nvSpPr>
          <p:cNvPr id="14345" name="Rectangle 9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551238" y="5494338"/>
            <a:ext cx="1430337" cy="101282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C0C0C0"/>
              </a:gs>
            </a:gsLst>
            <a:lin ang="5400000" scaled="1"/>
          </a:gradFill>
          <a:ln w="28575">
            <a:solidFill>
              <a:srgbClr val="C0C0C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33450" eaLnBrk="0" hangingPunct="0">
              <a:buClr>
                <a:schemeClr val="tx2"/>
              </a:buClr>
            </a:pPr>
            <a:r>
              <a:rPr lang="en-US" sz="1600" b="1">
                <a:solidFill>
                  <a:schemeClr val="tx2"/>
                </a:solidFill>
                <a:cs typeface="Arial" pitchFamily="34" charset="0"/>
              </a:rPr>
              <a:t>Difficulty </a:t>
            </a:r>
          </a:p>
          <a:p>
            <a:pPr algn="ctr" defTabSz="933450" eaLnBrk="0" hangingPunct="0">
              <a:buClr>
                <a:schemeClr val="tx2"/>
              </a:buClr>
            </a:pPr>
            <a:r>
              <a:rPr lang="en-US" sz="1600" b="1">
                <a:solidFill>
                  <a:schemeClr val="tx2"/>
                </a:solidFill>
                <a:cs typeface="Arial" pitchFamily="34" charset="0"/>
              </a:rPr>
              <a:t>Accessing</a:t>
            </a:r>
          </a:p>
          <a:p>
            <a:pPr algn="ctr" defTabSz="933450" eaLnBrk="0" hangingPunct="0">
              <a:buClr>
                <a:schemeClr val="tx2"/>
              </a:buClr>
            </a:pPr>
            <a:r>
              <a:rPr lang="en-US" sz="1600" b="1">
                <a:solidFill>
                  <a:schemeClr val="tx2"/>
                </a:solidFill>
                <a:cs typeface="Arial" pitchFamily="34" charset="0"/>
              </a:rPr>
              <a:t>Capital</a:t>
            </a:r>
          </a:p>
        </p:txBody>
      </p:sp>
      <p:sp>
        <p:nvSpPr>
          <p:cNvPr id="14346" name="Rectangle 4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23913" y="2373313"/>
            <a:ext cx="2209800" cy="487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defTabSz="912813">
              <a:buSzPct val="120000"/>
            </a:pPr>
            <a:r>
              <a:rPr lang="en-US" sz="1600" b="1">
                <a:solidFill>
                  <a:schemeClr val="accent2"/>
                </a:solidFill>
                <a:cs typeface="Arial" pitchFamily="34" charset="0"/>
              </a:rPr>
              <a:t>Issues for SME</a:t>
            </a:r>
            <a:r>
              <a:rPr lang="ja-JP" altLang="en-US" sz="1600" b="1">
                <a:solidFill>
                  <a:schemeClr val="accent2"/>
                </a:solidFill>
              </a:rPr>
              <a:t>’</a:t>
            </a:r>
            <a:r>
              <a:rPr lang="en-US" altLang="ja-JP" sz="1600" b="1">
                <a:solidFill>
                  <a:schemeClr val="accent2"/>
                </a:solidFill>
                <a:cs typeface="Arial" pitchFamily="34" charset="0"/>
              </a:rPr>
              <a:t>s </a:t>
            </a:r>
            <a:br>
              <a:rPr lang="en-US" altLang="ja-JP" sz="1600" b="1">
                <a:solidFill>
                  <a:schemeClr val="accent2"/>
                </a:solidFill>
                <a:cs typeface="Arial" pitchFamily="34" charset="0"/>
              </a:rPr>
            </a:br>
            <a:r>
              <a:rPr lang="en-US" altLang="ja-JP" sz="1600" b="1">
                <a:solidFill>
                  <a:schemeClr val="accent2"/>
                </a:solidFill>
                <a:cs typeface="Arial" pitchFamily="34" charset="0"/>
              </a:rPr>
              <a:t>at an early stage</a:t>
            </a:r>
            <a:endParaRPr lang="en-US" sz="1600" b="1">
              <a:solidFill>
                <a:schemeClr val="accent2"/>
              </a:solidFill>
              <a:cs typeface="Arial" pitchFamily="34" charset="0"/>
            </a:endParaRPr>
          </a:p>
        </p:txBody>
      </p:sp>
      <p:sp>
        <p:nvSpPr>
          <p:cNvPr id="14347" name="Line 16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>
            <a:off x="823913" y="2925763"/>
            <a:ext cx="2233612" cy="1587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348" name="Rectangle 20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551238" y="4225925"/>
            <a:ext cx="1430337" cy="1014413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C0C0C0"/>
              </a:gs>
            </a:gsLst>
            <a:lin ang="5400000" scaled="1"/>
          </a:gradFill>
          <a:ln w="28575">
            <a:solidFill>
              <a:srgbClr val="C0C0C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33450" eaLnBrk="0" hangingPunct="0">
              <a:buClr>
                <a:schemeClr val="tx2"/>
              </a:buClr>
            </a:pPr>
            <a:r>
              <a:rPr lang="en-US" sz="1600" b="1">
                <a:solidFill>
                  <a:schemeClr val="tx2"/>
                </a:solidFill>
                <a:cs typeface="Arial" pitchFamily="34" charset="0"/>
              </a:rPr>
              <a:t>Difficulty</a:t>
            </a:r>
          </a:p>
          <a:p>
            <a:pPr algn="ctr" defTabSz="933450" eaLnBrk="0" hangingPunct="0">
              <a:buClr>
                <a:schemeClr val="tx2"/>
              </a:buClr>
            </a:pPr>
            <a:r>
              <a:rPr lang="en-US" sz="1600" b="1">
                <a:solidFill>
                  <a:schemeClr val="tx2"/>
                </a:solidFill>
                <a:cs typeface="Arial" pitchFamily="34" charset="0"/>
              </a:rPr>
              <a:t>Accessing</a:t>
            </a:r>
          </a:p>
          <a:p>
            <a:pPr algn="ctr" defTabSz="933450" eaLnBrk="0" hangingPunct="0">
              <a:buClr>
                <a:schemeClr val="tx2"/>
              </a:buClr>
            </a:pPr>
            <a:r>
              <a:rPr lang="en-US" sz="1600" b="1">
                <a:solidFill>
                  <a:schemeClr val="tx2"/>
                </a:solidFill>
                <a:cs typeface="Arial" pitchFamily="34" charset="0"/>
              </a:rPr>
              <a:t>Sustainable</a:t>
            </a:r>
          </a:p>
          <a:p>
            <a:pPr algn="ctr" defTabSz="933450" eaLnBrk="0" hangingPunct="0">
              <a:buClr>
                <a:schemeClr val="tx2"/>
              </a:buClr>
            </a:pPr>
            <a:r>
              <a:rPr lang="en-US" sz="1600" b="1">
                <a:solidFill>
                  <a:schemeClr val="tx2"/>
                </a:solidFill>
                <a:cs typeface="Arial" pitchFamily="34" charset="0"/>
              </a:rPr>
              <a:t> Markets</a:t>
            </a:r>
          </a:p>
        </p:txBody>
      </p:sp>
      <p:pic>
        <p:nvPicPr>
          <p:cNvPr id="14349" name="Picture 21" descr="Cultivo quinua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4138" y="4230688"/>
            <a:ext cx="1624012" cy="1003300"/>
          </a:xfrm>
          <a:prstGeom prst="rect">
            <a:avLst/>
          </a:prstGeom>
          <a:noFill/>
          <a:ln w="19050">
            <a:solidFill>
              <a:srgbClr val="B2B2B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50" name="Picture 22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1025" y="4286250"/>
            <a:ext cx="1241425" cy="892175"/>
          </a:xfrm>
          <a:prstGeom prst="rect">
            <a:avLst/>
          </a:prstGeom>
          <a:noFill/>
          <a:ln w="19050">
            <a:solidFill>
              <a:srgbClr val="B2B2B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51" name="Picture 25" descr="Panorama 8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4138" y="2965450"/>
            <a:ext cx="1706562" cy="971550"/>
          </a:xfrm>
          <a:prstGeom prst="rect">
            <a:avLst/>
          </a:prstGeom>
          <a:noFill/>
          <a:ln w="19050">
            <a:solidFill>
              <a:srgbClr val="B2B2B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52" name="Picture 32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3413" y="3059113"/>
            <a:ext cx="1189037" cy="798512"/>
          </a:xfrm>
          <a:prstGeom prst="rect">
            <a:avLst/>
          </a:prstGeom>
          <a:noFill/>
          <a:ln w="19050">
            <a:solidFill>
              <a:srgbClr val="B2B2B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53" name="Picture 26" descr="PrimerPremio JPMorgan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0538" y="5499100"/>
            <a:ext cx="1331912" cy="1016000"/>
          </a:xfrm>
          <a:prstGeom prst="rect">
            <a:avLst/>
          </a:prstGeom>
          <a:noFill/>
          <a:ln w="19050">
            <a:solidFill>
              <a:srgbClr val="B2B2B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354" name="Rectangle 21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ea typeface="ＭＳ Ｐゴシック" pitchFamily="34" charset="-128"/>
                <a:cs typeface="Arial" pitchFamily="34" charset="0"/>
              </a:rPr>
              <a:t>TechnoServe focuses its efforts on three key area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3" name="think-cell Slide" r:id="rId20" imgW="0" imgH="0" progId="TCLayout.ActiveDocument.1">
                  <p:embed/>
                </p:oleObj>
              </mc:Choice>
              <mc:Fallback>
                <p:oleObj name="think-cell Slide" r:id="rId20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3" name="AutoShape 2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949825" y="2247900"/>
            <a:ext cx="1792288" cy="2681288"/>
          </a:xfrm>
          <a:prstGeom prst="roundRect">
            <a:avLst>
              <a:gd name="adj" fmla="val 14542"/>
            </a:avLst>
          </a:prstGeom>
          <a:solidFill>
            <a:srgbClr val="EAEAEA">
              <a:alpha val="50195"/>
            </a:srgbClr>
          </a:soli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defTabSz="933450"/>
            <a:endParaRPr lang="en-US" sz="1400" b="1">
              <a:latin typeface="Calibri" pitchFamily="34" charset="0"/>
            </a:endParaRPr>
          </a:p>
        </p:txBody>
      </p:sp>
      <p:sp>
        <p:nvSpPr>
          <p:cNvPr id="15364" name="AutoShape 2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914650" y="2247900"/>
            <a:ext cx="1792288" cy="2681288"/>
          </a:xfrm>
          <a:prstGeom prst="roundRect">
            <a:avLst>
              <a:gd name="adj" fmla="val 14542"/>
            </a:avLst>
          </a:prstGeom>
          <a:solidFill>
            <a:srgbClr val="EAEAEA">
              <a:alpha val="50195"/>
            </a:srgbClr>
          </a:soli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defTabSz="933450"/>
            <a:endParaRPr lang="en-US" sz="1400" b="1">
              <a:latin typeface="Calibri" pitchFamily="34" charset="0"/>
            </a:endParaRPr>
          </a:p>
        </p:txBody>
      </p:sp>
      <p:sp>
        <p:nvSpPr>
          <p:cNvPr id="15365" name="AutoShape 2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52475" y="2247900"/>
            <a:ext cx="1792288" cy="2681288"/>
          </a:xfrm>
          <a:prstGeom prst="roundRect">
            <a:avLst>
              <a:gd name="adj" fmla="val 14542"/>
            </a:avLst>
          </a:prstGeom>
          <a:solidFill>
            <a:srgbClr val="EAEAEA">
              <a:alpha val="50195"/>
            </a:srgbClr>
          </a:soli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defTabSz="933450"/>
            <a:endParaRPr lang="en-US" sz="1400" b="1">
              <a:latin typeface="Calibri" pitchFamily="34" charset="0"/>
            </a:endParaRPr>
          </a:p>
        </p:txBody>
      </p:sp>
      <p:sp>
        <p:nvSpPr>
          <p:cNvPr id="197636" name="AutoShape 2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949825" y="2247900"/>
            <a:ext cx="1792288" cy="2681288"/>
          </a:xfrm>
          <a:prstGeom prst="roundRect">
            <a:avLst>
              <a:gd name="adj" fmla="val 14542"/>
            </a:avLst>
          </a:prstGeom>
          <a:solidFill>
            <a:srgbClr val="808080">
              <a:alpha val="50195"/>
            </a:srgbClr>
          </a:solidFill>
          <a:ln w="9525">
            <a:solidFill>
              <a:schemeClr val="accent2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defTabSz="933450"/>
            <a:endParaRPr lang="en-US" sz="1400" b="1">
              <a:latin typeface="Calibri" pitchFamily="34" charset="0"/>
            </a:endParaRPr>
          </a:p>
        </p:txBody>
      </p:sp>
      <p:sp>
        <p:nvSpPr>
          <p:cNvPr id="15367" name="4 Marcador de número de diapositiva"/>
          <p:cNvSpPr txBox="1"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153400" y="6648450"/>
            <a:ext cx="885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D3756892-35C0-4BA4-92CA-11363F689060}" type="slidenum">
              <a:rPr lang="en-US" sz="900">
                <a:solidFill>
                  <a:srgbClr val="7F329A"/>
                </a:solidFill>
                <a:cs typeface="Arial" pitchFamily="34" charset="0"/>
              </a:rPr>
              <a:pPr algn="r" eaLnBrk="1" hangingPunct="1"/>
              <a:t>11</a:t>
            </a:fld>
            <a:endParaRPr lang="en-US" sz="900">
              <a:solidFill>
                <a:srgbClr val="7F329A"/>
              </a:solidFill>
              <a:cs typeface="Arial" pitchFamily="34" charset="0"/>
            </a:endParaRPr>
          </a:p>
        </p:txBody>
      </p:sp>
      <p:sp>
        <p:nvSpPr>
          <p:cNvPr id="15368" name="Rectangle 2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38200" y="2687638"/>
            <a:ext cx="15954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sz="1400" b="1">
                <a:solidFill>
                  <a:schemeClr val="tx2"/>
                </a:solidFill>
                <a:cs typeface="Arial" pitchFamily="34" charset="0"/>
              </a:rPr>
              <a:t>Who</a:t>
            </a:r>
            <a:r>
              <a:rPr lang="en-US" altLang="ja-JP" sz="1400" b="1">
                <a:solidFill>
                  <a:schemeClr val="tx2"/>
                </a:solidFill>
                <a:cs typeface="Arial" pitchFamily="34" charset="0"/>
              </a:rPr>
              <a:t> we are</a:t>
            </a:r>
            <a:endParaRPr lang="en-US" sz="1400" b="1">
              <a:solidFill>
                <a:schemeClr val="tx2"/>
              </a:solidFill>
              <a:cs typeface="Arial" pitchFamily="34" charset="0"/>
            </a:endParaRPr>
          </a:p>
        </p:txBody>
      </p:sp>
      <p:sp>
        <p:nvSpPr>
          <p:cNvPr id="15369" name="Rectangle 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079750" y="2687638"/>
            <a:ext cx="1446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sz="1400" b="1">
                <a:solidFill>
                  <a:schemeClr val="tx2"/>
                </a:solidFill>
                <a:cs typeface="Arial" pitchFamily="34" charset="0"/>
              </a:rPr>
              <a:t>Background</a:t>
            </a:r>
          </a:p>
        </p:txBody>
      </p:sp>
      <p:sp>
        <p:nvSpPr>
          <p:cNvPr id="15370" name="Rectangle 2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044825" y="3275013"/>
            <a:ext cx="1514475" cy="793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33350" indent="-133350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cs typeface="Arial" pitchFamily="34" charset="0"/>
              </a:rPr>
              <a:t>The role of entrepreneurship in poverty reduction</a:t>
            </a:r>
          </a:p>
        </p:txBody>
      </p:sp>
      <p:sp>
        <p:nvSpPr>
          <p:cNvPr id="15371" name="Rectangle 2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113338" y="2368550"/>
            <a:ext cx="1446212" cy="850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sz="1400" b="1">
                <a:solidFill>
                  <a:schemeClr val="tx2"/>
                </a:solidFill>
                <a:cs typeface="Arial" pitchFamily="34" charset="0"/>
              </a:rPr>
              <a:t>The problem at hand and Evaluation of Methodology</a:t>
            </a:r>
          </a:p>
        </p:txBody>
      </p:sp>
      <p:sp>
        <p:nvSpPr>
          <p:cNvPr id="15372" name="Rectangle 2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113338" y="3275013"/>
            <a:ext cx="1446212" cy="146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33350" indent="-133350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cs typeface="Arial" pitchFamily="34" charset="0"/>
              </a:rPr>
              <a:t>Strategic planning</a:t>
            </a:r>
          </a:p>
          <a:p>
            <a:pPr marL="133350" indent="-133350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cs typeface="Arial" pitchFamily="34" charset="0"/>
              </a:rPr>
              <a:t>Access to capital</a:t>
            </a:r>
          </a:p>
          <a:p>
            <a:pPr marL="133350" indent="-133350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cs typeface="Arial" pitchFamily="34" charset="0"/>
              </a:rPr>
              <a:t>Other problems</a:t>
            </a:r>
          </a:p>
          <a:p>
            <a:pPr marL="133350" indent="-133350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cs typeface="Arial" pitchFamily="34" charset="0"/>
              </a:rPr>
              <a:t>Overview of BPC impact study and results</a:t>
            </a:r>
          </a:p>
        </p:txBody>
      </p:sp>
      <p:sp>
        <p:nvSpPr>
          <p:cNvPr id="15373" name="AutoShape 36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999288" y="2247900"/>
            <a:ext cx="1792287" cy="2681288"/>
          </a:xfrm>
          <a:prstGeom prst="roundRect">
            <a:avLst>
              <a:gd name="adj" fmla="val 14542"/>
            </a:avLst>
          </a:prstGeom>
          <a:solidFill>
            <a:srgbClr val="EAEAEA">
              <a:alpha val="50195"/>
            </a:srgbClr>
          </a:soli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defTabSz="933450"/>
            <a:endParaRPr lang="en-US" sz="1400" b="1">
              <a:latin typeface="Calibri" pitchFamily="34" charset="0"/>
            </a:endParaRPr>
          </a:p>
        </p:txBody>
      </p:sp>
      <p:sp>
        <p:nvSpPr>
          <p:cNvPr id="15374" name="Rectangle 2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7143750" y="2687638"/>
            <a:ext cx="14478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sz="1400" b="1">
                <a:solidFill>
                  <a:schemeClr val="tx2"/>
                </a:solidFill>
                <a:cs typeface="Arial" pitchFamily="34" charset="0"/>
              </a:rPr>
              <a:t>Next Steps</a:t>
            </a:r>
          </a:p>
        </p:txBody>
      </p:sp>
      <p:sp>
        <p:nvSpPr>
          <p:cNvPr id="15375" name="Rectangle 2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164388" y="3275013"/>
            <a:ext cx="1444625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33350" indent="-133350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cs typeface="Arial" pitchFamily="34" charset="0"/>
              </a:rPr>
              <a:t>Results</a:t>
            </a:r>
          </a:p>
          <a:p>
            <a:pPr marL="133350" indent="-133350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cs typeface="Arial" pitchFamily="34" charset="0"/>
              </a:rPr>
              <a:t>Lessons learned</a:t>
            </a:r>
          </a:p>
          <a:p>
            <a:pPr marL="133350" indent="-133350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cs typeface="Arial" pitchFamily="34" charset="0"/>
              </a:rPr>
              <a:t>Beyond BPC</a:t>
            </a:r>
            <a:r>
              <a:rPr lang="ja-JP" altLang="en-US" sz="1300"/>
              <a:t>’</a:t>
            </a:r>
            <a:r>
              <a:rPr lang="en-US" altLang="ja-JP" sz="1300">
                <a:cs typeface="Arial" pitchFamily="34" charset="0"/>
              </a:rPr>
              <a:t>s</a:t>
            </a:r>
            <a:endParaRPr lang="en-US" sz="1300">
              <a:cs typeface="Arial" pitchFamily="34" charset="0"/>
            </a:endParaRPr>
          </a:p>
        </p:txBody>
      </p:sp>
      <p:sp>
        <p:nvSpPr>
          <p:cNvPr id="15376" name="AutoShape 39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52475" y="5195888"/>
            <a:ext cx="8058150" cy="534987"/>
          </a:xfrm>
          <a:prstGeom prst="roundRect">
            <a:avLst>
              <a:gd name="adj" fmla="val 32120"/>
            </a:avLst>
          </a:prstGeom>
          <a:solidFill>
            <a:srgbClr val="EAEAEA">
              <a:alpha val="50195"/>
            </a:srgbClr>
          </a:soli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algn="ctr" defTabSz="933450"/>
            <a:r>
              <a:rPr lang="en-US" sz="1600" b="1">
                <a:cs typeface="Arial" pitchFamily="34" charset="0"/>
              </a:rPr>
              <a:t>Q and A</a:t>
            </a:r>
          </a:p>
        </p:txBody>
      </p:sp>
      <p:pic>
        <p:nvPicPr>
          <p:cNvPr id="15377" name="Picture 21" descr="TNS_Eng_vertical_logo_RGB_large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67" t="12163" r="6067" b="12163"/>
          <a:stretch>
            <a:fillRect/>
          </a:stretch>
        </p:blipFill>
        <p:spPr bwMode="auto">
          <a:xfrm>
            <a:off x="927100" y="3429000"/>
            <a:ext cx="1417638" cy="757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78" name="Rectangle 1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>
                <a:ea typeface="ＭＳ Ｐゴシック" pitchFamily="34" charset="-128"/>
                <a:cs typeface="Arial" pitchFamily="34" charset="0"/>
              </a:rPr>
              <a:t>Agenda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6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976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976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976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763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4" name="think-cell Slide" r:id="rId31" imgW="0" imgH="0" progId="TCLayout.ActiveDocument.1">
                  <p:embed/>
                </p:oleObj>
              </mc:Choice>
              <mc:Fallback>
                <p:oleObj name="think-cell Slide" r:id="rId31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7" name="Rectangle 1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pt-BR" sz="2000" smtClean="0">
                <a:ea typeface="ＭＳ Ｐゴシック" pitchFamily="34" charset="-128"/>
                <a:cs typeface="Arial" pitchFamily="34" charset="0"/>
              </a:rPr>
              <a:t>We continuously evaluate and develop our entrepreneurship programs</a:t>
            </a:r>
            <a:endParaRPr lang="en-US" sz="2000" smtClean="0">
              <a:ea typeface="ＭＳ Ｐゴシック" pitchFamily="34" charset="-128"/>
              <a:cs typeface="Arial" pitchFamily="34" charset="0"/>
            </a:endParaRPr>
          </a:p>
        </p:txBody>
      </p:sp>
      <p:grpSp>
        <p:nvGrpSpPr>
          <p:cNvPr id="16388" name="Group 40"/>
          <p:cNvGrpSpPr>
            <a:grpSpLocks/>
          </p:cNvGrpSpPr>
          <p:nvPr/>
        </p:nvGrpSpPr>
        <p:grpSpPr bwMode="auto">
          <a:xfrm>
            <a:off x="349250" y="2525713"/>
            <a:ext cx="8526463" cy="3430587"/>
            <a:chOff x="220" y="1591"/>
            <a:chExt cx="5371" cy="2161"/>
          </a:xfrm>
        </p:grpSpPr>
        <p:sp>
          <p:nvSpPr>
            <p:cNvPr id="16389" name="Line 3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3971" y="2411"/>
              <a:ext cx="163" cy="1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390" name="Arc 4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951" y="2365"/>
              <a:ext cx="478" cy="270"/>
            </a:xfrm>
            <a:custGeom>
              <a:avLst/>
              <a:gdLst>
                <a:gd name="T0" fmla="*/ 0 w 24969"/>
                <a:gd name="T1" fmla="*/ 0 h 21600"/>
                <a:gd name="T2" fmla="*/ 0 w 24969"/>
                <a:gd name="T3" fmla="*/ 0 h 21600"/>
                <a:gd name="T4" fmla="*/ 0 w 24969"/>
                <a:gd name="T5" fmla="*/ 0 h 21600"/>
                <a:gd name="T6" fmla="*/ 0 60000 65536"/>
                <a:gd name="T7" fmla="*/ 0 60000 65536"/>
                <a:gd name="T8" fmla="*/ 0 60000 65536"/>
                <a:gd name="T9" fmla="*/ 0 w 24969"/>
                <a:gd name="T10" fmla="*/ 0 h 21600"/>
                <a:gd name="T11" fmla="*/ 24969 w 24969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969" h="21600" fill="none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</a:path>
                <a:path w="24969" h="21600" stroke="0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  <a:lnTo>
                    <a:pt x="21594" y="21600"/>
                  </a:lnTo>
                  <a:lnTo>
                    <a:pt x="-1" y="21094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391" name="Arc 5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626" y="1986"/>
              <a:ext cx="982" cy="552"/>
            </a:xfrm>
            <a:custGeom>
              <a:avLst/>
              <a:gdLst>
                <a:gd name="T0" fmla="*/ 0 w 24568"/>
                <a:gd name="T1" fmla="*/ 0 h 21600"/>
                <a:gd name="T2" fmla="*/ 0 w 24568"/>
                <a:gd name="T3" fmla="*/ 0 h 21600"/>
                <a:gd name="T4" fmla="*/ 0 w 24568"/>
                <a:gd name="T5" fmla="*/ 0 h 21600"/>
                <a:gd name="T6" fmla="*/ 0 60000 65536"/>
                <a:gd name="T7" fmla="*/ 0 60000 65536"/>
                <a:gd name="T8" fmla="*/ 0 60000 65536"/>
                <a:gd name="T9" fmla="*/ 0 w 24568"/>
                <a:gd name="T10" fmla="*/ 0 h 21600"/>
                <a:gd name="T11" fmla="*/ 24568 w 24568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568" h="21600" fill="none" extrusionOk="0">
                  <a:moveTo>
                    <a:pt x="-1" y="17428"/>
                  </a:moveTo>
                  <a:cubicBezTo>
                    <a:pt x="1992" y="7301"/>
                    <a:pt x="10871" y="-1"/>
                    <a:pt x="21193" y="-1"/>
                  </a:cubicBezTo>
                  <a:cubicBezTo>
                    <a:pt x="22323" y="-1"/>
                    <a:pt x="23451" y="88"/>
                    <a:pt x="24567" y="265"/>
                  </a:cubicBezTo>
                </a:path>
                <a:path w="24568" h="21600" stroke="0" extrusionOk="0">
                  <a:moveTo>
                    <a:pt x="-1" y="17428"/>
                  </a:moveTo>
                  <a:cubicBezTo>
                    <a:pt x="1992" y="7301"/>
                    <a:pt x="10871" y="-1"/>
                    <a:pt x="21193" y="-1"/>
                  </a:cubicBezTo>
                  <a:cubicBezTo>
                    <a:pt x="22323" y="-1"/>
                    <a:pt x="23451" y="88"/>
                    <a:pt x="24567" y="265"/>
                  </a:cubicBezTo>
                  <a:lnTo>
                    <a:pt x="21193" y="21600"/>
                  </a:lnTo>
                  <a:lnTo>
                    <a:pt x="-1" y="17428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392" name="Freeform 6"/>
            <p:cNvSpPr>
              <a:spLocks/>
            </p:cNvSpPr>
            <p:nvPr>
              <p:custDataLst>
                <p:tags r:id="rId7"/>
              </p:custDataLst>
            </p:nvPr>
          </p:nvSpPr>
          <p:spPr bwMode="blackWhite">
            <a:xfrm>
              <a:off x="2542" y="1866"/>
              <a:ext cx="854" cy="675"/>
            </a:xfrm>
            <a:custGeom>
              <a:avLst/>
              <a:gdLst>
                <a:gd name="T0" fmla="*/ 0 w 854"/>
                <a:gd name="T1" fmla="*/ 558 h 675"/>
                <a:gd name="T2" fmla="*/ 660 w 854"/>
                <a:gd name="T3" fmla="*/ 556 h 675"/>
                <a:gd name="T4" fmla="*/ 660 w 854"/>
                <a:gd name="T5" fmla="*/ 675 h 675"/>
                <a:gd name="T6" fmla="*/ 854 w 854"/>
                <a:gd name="T7" fmla="*/ 329 h 675"/>
                <a:gd name="T8" fmla="*/ 662 w 854"/>
                <a:gd name="T9" fmla="*/ 0 h 675"/>
                <a:gd name="T10" fmla="*/ 663 w 854"/>
                <a:gd name="T11" fmla="*/ 126 h 675"/>
                <a:gd name="T12" fmla="*/ 12 w 854"/>
                <a:gd name="T13" fmla="*/ 126 h 675"/>
                <a:gd name="T14" fmla="*/ 124 w 854"/>
                <a:gd name="T15" fmla="*/ 326 h 675"/>
                <a:gd name="T16" fmla="*/ 0 w 854"/>
                <a:gd name="T17" fmla="*/ 558 h 6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54"/>
                <a:gd name="T28" fmla="*/ 0 h 675"/>
                <a:gd name="T29" fmla="*/ 854 w 854"/>
                <a:gd name="T30" fmla="*/ 675 h 6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54" h="675">
                  <a:moveTo>
                    <a:pt x="0" y="558"/>
                  </a:moveTo>
                  <a:lnTo>
                    <a:pt x="660" y="556"/>
                  </a:lnTo>
                  <a:lnTo>
                    <a:pt x="660" y="675"/>
                  </a:lnTo>
                  <a:lnTo>
                    <a:pt x="854" y="329"/>
                  </a:lnTo>
                  <a:lnTo>
                    <a:pt x="662" y="0"/>
                  </a:lnTo>
                  <a:lnTo>
                    <a:pt x="663" y="126"/>
                  </a:lnTo>
                  <a:lnTo>
                    <a:pt x="12" y="126"/>
                  </a:lnTo>
                  <a:lnTo>
                    <a:pt x="124" y="326"/>
                  </a:lnTo>
                  <a:lnTo>
                    <a:pt x="0" y="558"/>
                  </a:lnTo>
                  <a:close/>
                </a:path>
              </a:pathLst>
            </a:custGeom>
            <a:gradFill rotWithShape="1">
              <a:gsLst>
                <a:gs pos="0">
                  <a:srgbClr val="C0C0C0"/>
                </a:gs>
                <a:gs pos="100000">
                  <a:srgbClr val="FFFFFF"/>
                </a:gs>
              </a:gsLst>
              <a:lin ang="0" scaled="1"/>
            </a:gradFill>
            <a:ln w="12700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393" name="Arc 7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455" y="1986"/>
              <a:ext cx="983" cy="552"/>
            </a:xfrm>
            <a:custGeom>
              <a:avLst/>
              <a:gdLst>
                <a:gd name="T0" fmla="*/ 0 w 24961"/>
                <a:gd name="T1" fmla="*/ 0 h 21600"/>
                <a:gd name="T2" fmla="*/ 0 w 24961"/>
                <a:gd name="T3" fmla="*/ 0 h 21600"/>
                <a:gd name="T4" fmla="*/ 0 w 24961"/>
                <a:gd name="T5" fmla="*/ 0 h 21600"/>
                <a:gd name="T6" fmla="*/ 0 60000 65536"/>
                <a:gd name="T7" fmla="*/ 0 60000 65536"/>
                <a:gd name="T8" fmla="*/ 0 60000 65536"/>
                <a:gd name="T9" fmla="*/ 0 w 24961"/>
                <a:gd name="T10" fmla="*/ 0 h 21600"/>
                <a:gd name="T11" fmla="*/ 24961 w 24961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961" h="21600" fill="none" extrusionOk="0">
                  <a:moveTo>
                    <a:pt x="-1" y="20825"/>
                  </a:moveTo>
                  <a:cubicBezTo>
                    <a:pt x="416" y="9205"/>
                    <a:pt x="9957" y="-1"/>
                    <a:pt x="21586" y="-1"/>
                  </a:cubicBezTo>
                  <a:cubicBezTo>
                    <a:pt x="22716" y="-1"/>
                    <a:pt x="23844" y="88"/>
                    <a:pt x="24960" y="265"/>
                  </a:cubicBezTo>
                </a:path>
                <a:path w="24961" h="21600" stroke="0" extrusionOk="0">
                  <a:moveTo>
                    <a:pt x="-1" y="20825"/>
                  </a:moveTo>
                  <a:cubicBezTo>
                    <a:pt x="416" y="9205"/>
                    <a:pt x="9957" y="-1"/>
                    <a:pt x="21586" y="-1"/>
                  </a:cubicBezTo>
                  <a:cubicBezTo>
                    <a:pt x="22716" y="-1"/>
                    <a:pt x="23844" y="88"/>
                    <a:pt x="24960" y="265"/>
                  </a:cubicBezTo>
                  <a:lnTo>
                    <a:pt x="21586" y="21600"/>
                  </a:lnTo>
                  <a:lnTo>
                    <a:pt x="-1" y="20825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394" name="Arc 8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810" y="2385"/>
              <a:ext cx="478" cy="280"/>
            </a:xfrm>
            <a:custGeom>
              <a:avLst/>
              <a:gdLst>
                <a:gd name="T0" fmla="*/ 0 w 24969"/>
                <a:gd name="T1" fmla="*/ 0 h 21600"/>
                <a:gd name="T2" fmla="*/ 0 w 24969"/>
                <a:gd name="T3" fmla="*/ 0 h 21600"/>
                <a:gd name="T4" fmla="*/ 0 w 24969"/>
                <a:gd name="T5" fmla="*/ 0 h 21600"/>
                <a:gd name="T6" fmla="*/ 0 60000 65536"/>
                <a:gd name="T7" fmla="*/ 0 60000 65536"/>
                <a:gd name="T8" fmla="*/ 0 60000 65536"/>
                <a:gd name="T9" fmla="*/ 0 w 24969"/>
                <a:gd name="T10" fmla="*/ 0 h 21600"/>
                <a:gd name="T11" fmla="*/ 24969 w 24969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969" h="21600" fill="none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</a:path>
                <a:path w="24969" h="21600" stroke="0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  <a:lnTo>
                    <a:pt x="21594" y="21600"/>
                  </a:lnTo>
                  <a:lnTo>
                    <a:pt x="-1" y="21094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395" name="Freeform 9"/>
            <p:cNvSpPr>
              <a:spLocks/>
            </p:cNvSpPr>
            <p:nvPr>
              <p:custDataLst>
                <p:tags r:id="rId10"/>
              </p:custDataLst>
            </p:nvPr>
          </p:nvSpPr>
          <p:spPr bwMode="blackWhite">
            <a:xfrm>
              <a:off x="2354" y="2380"/>
              <a:ext cx="719" cy="982"/>
            </a:xfrm>
            <a:custGeom>
              <a:avLst/>
              <a:gdLst>
                <a:gd name="T0" fmla="*/ 180 w 933"/>
                <a:gd name="T1" fmla="*/ 0 h 1276"/>
                <a:gd name="T2" fmla="*/ 42 w 933"/>
                <a:gd name="T3" fmla="*/ 1 h 1276"/>
                <a:gd name="T4" fmla="*/ 85 w 933"/>
                <a:gd name="T5" fmla="*/ 25 h 1276"/>
                <a:gd name="T6" fmla="*/ 173 w 933"/>
                <a:gd name="T7" fmla="*/ 345 h 1276"/>
                <a:gd name="T8" fmla="*/ 185 w 933"/>
                <a:gd name="T9" fmla="*/ 264 h 1276"/>
                <a:gd name="T10" fmla="*/ 254 w 933"/>
                <a:gd name="T11" fmla="*/ 235 h 1276"/>
                <a:gd name="T12" fmla="*/ 228 w 933"/>
                <a:gd name="T13" fmla="*/ 211 h 1276"/>
                <a:gd name="T14" fmla="*/ 214 w 933"/>
                <a:gd name="T15" fmla="*/ 192 h 1276"/>
                <a:gd name="T16" fmla="*/ 204 w 933"/>
                <a:gd name="T17" fmla="*/ 162 h 1276"/>
                <a:gd name="T18" fmla="*/ 206 w 933"/>
                <a:gd name="T19" fmla="*/ 94 h 1276"/>
                <a:gd name="T20" fmla="*/ 250 w 933"/>
                <a:gd name="T21" fmla="*/ 119 h 1276"/>
                <a:gd name="T22" fmla="*/ 180 w 933"/>
                <a:gd name="T23" fmla="*/ 0 h 127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33"/>
                <a:gd name="T37" fmla="*/ 0 h 1276"/>
                <a:gd name="T38" fmla="*/ 933 w 933"/>
                <a:gd name="T39" fmla="*/ 1276 h 127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33" h="1276">
                  <a:moveTo>
                    <a:pt x="662" y="0"/>
                  </a:moveTo>
                  <a:lnTo>
                    <a:pt x="156" y="1"/>
                  </a:lnTo>
                  <a:lnTo>
                    <a:pt x="314" y="93"/>
                  </a:lnTo>
                  <a:cubicBezTo>
                    <a:pt x="314" y="93"/>
                    <a:pt x="0" y="771"/>
                    <a:pt x="637" y="1276"/>
                  </a:cubicBezTo>
                  <a:lnTo>
                    <a:pt x="679" y="978"/>
                  </a:lnTo>
                  <a:cubicBezTo>
                    <a:pt x="679" y="978"/>
                    <a:pt x="813" y="923"/>
                    <a:pt x="933" y="872"/>
                  </a:cubicBezTo>
                  <a:cubicBezTo>
                    <a:pt x="885" y="843"/>
                    <a:pt x="838" y="779"/>
                    <a:pt x="838" y="779"/>
                  </a:cubicBezTo>
                  <a:lnTo>
                    <a:pt x="788" y="711"/>
                  </a:lnTo>
                  <a:lnTo>
                    <a:pt x="752" y="600"/>
                  </a:lnTo>
                  <a:cubicBezTo>
                    <a:pt x="752" y="600"/>
                    <a:pt x="719" y="481"/>
                    <a:pt x="755" y="348"/>
                  </a:cubicBezTo>
                  <a:cubicBezTo>
                    <a:pt x="839" y="395"/>
                    <a:pt x="923" y="444"/>
                    <a:pt x="923" y="444"/>
                  </a:cubicBezTo>
                  <a:lnTo>
                    <a:pt x="662" y="0"/>
                  </a:lnTo>
                </a:path>
              </a:pathLst>
            </a:custGeom>
            <a:gradFill rotWithShape="1">
              <a:gsLst>
                <a:gs pos="0">
                  <a:srgbClr val="C0C0C0"/>
                </a:gs>
                <a:gs pos="100000">
                  <a:srgbClr val="FFFFFF"/>
                </a:gs>
              </a:gsLst>
              <a:lin ang="0" scaled="1"/>
            </a:gradFill>
            <a:ln w="12700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396" name="Freeform 10"/>
            <p:cNvSpPr>
              <a:spLocks/>
            </p:cNvSpPr>
            <p:nvPr>
              <p:custDataLst>
                <p:tags r:id="rId11"/>
              </p:custDataLst>
            </p:nvPr>
          </p:nvSpPr>
          <p:spPr bwMode="blackWhite">
            <a:xfrm rot="4209998">
              <a:off x="85" y="2642"/>
              <a:ext cx="1144" cy="786"/>
            </a:xfrm>
            <a:custGeom>
              <a:avLst/>
              <a:gdLst>
                <a:gd name="T0" fmla="*/ 17 w 1485"/>
                <a:gd name="T1" fmla="*/ 67 h 1021"/>
                <a:gd name="T2" fmla="*/ 0 w 1485"/>
                <a:gd name="T3" fmla="*/ 206 h 1021"/>
                <a:gd name="T4" fmla="*/ 32 w 1485"/>
                <a:gd name="T5" fmla="*/ 164 h 1021"/>
                <a:gd name="T6" fmla="*/ 403 w 1485"/>
                <a:gd name="T7" fmla="*/ 39 h 1021"/>
                <a:gd name="T8" fmla="*/ 317 w 1485"/>
                <a:gd name="T9" fmla="*/ 57 h 1021"/>
                <a:gd name="T10" fmla="*/ 271 w 1485"/>
                <a:gd name="T11" fmla="*/ 0 h 1021"/>
                <a:gd name="T12" fmla="*/ 234 w 1485"/>
                <a:gd name="T13" fmla="*/ 37 h 1021"/>
                <a:gd name="T14" fmla="*/ 210 w 1485"/>
                <a:gd name="T15" fmla="*/ 51 h 1021"/>
                <a:gd name="T16" fmla="*/ 173 w 1485"/>
                <a:gd name="T17" fmla="*/ 61 h 1021"/>
                <a:gd name="T18" fmla="*/ 118 w 1485"/>
                <a:gd name="T19" fmla="*/ 52 h 1021"/>
                <a:gd name="T20" fmla="*/ 145 w 1485"/>
                <a:gd name="T21" fmla="*/ 15 h 1021"/>
                <a:gd name="T22" fmla="*/ 17 w 1485"/>
                <a:gd name="T23" fmla="*/ 67 h 10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85"/>
                <a:gd name="T37" fmla="*/ 0 h 1021"/>
                <a:gd name="T38" fmla="*/ 1485 w 1485"/>
                <a:gd name="T39" fmla="*/ 1021 h 102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85" h="1021">
                  <a:moveTo>
                    <a:pt x="61" y="248"/>
                  </a:moveTo>
                  <a:lnTo>
                    <a:pt x="0" y="762"/>
                  </a:lnTo>
                  <a:cubicBezTo>
                    <a:pt x="0" y="762"/>
                    <a:pt x="59" y="684"/>
                    <a:pt x="118" y="606"/>
                  </a:cubicBezTo>
                  <a:cubicBezTo>
                    <a:pt x="136" y="628"/>
                    <a:pt x="994" y="1021"/>
                    <a:pt x="1485" y="146"/>
                  </a:cubicBezTo>
                  <a:lnTo>
                    <a:pt x="1170" y="210"/>
                  </a:lnTo>
                  <a:cubicBezTo>
                    <a:pt x="1170" y="210"/>
                    <a:pt x="1084" y="105"/>
                    <a:pt x="999" y="0"/>
                  </a:cubicBezTo>
                  <a:cubicBezTo>
                    <a:pt x="946" y="83"/>
                    <a:pt x="860" y="137"/>
                    <a:pt x="860" y="137"/>
                  </a:cubicBezTo>
                  <a:lnTo>
                    <a:pt x="778" y="190"/>
                  </a:lnTo>
                  <a:lnTo>
                    <a:pt x="638" y="226"/>
                  </a:lnTo>
                  <a:cubicBezTo>
                    <a:pt x="581" y="226"/>
                    <a:pt x="452" y="219"/>
                    <a:pt x="435" y="191"/>
                  </a:cubicBezTo>
                  <a:cubicBezTo>
                    <a:pt x="485" y="124"/>
                    <a:pt x="535" y="57"/>
                    <a:pt x="535" y="57"/>
                  </a:cubicBezTo>
                  <a:lnTo>
                    <a:pt x="61" y="248"/>
                  </a:lnTo>
                </a:path>
              </a:pathLst>
            </a:custGeom>
            <a:gradFill rotWithShape="1">
              <a:gsLst>
                <a:gs pos="0">
                  <a:srgbClr val="C0C0C0"/>
                </a:gs>
                <a:gs pos="100000">
                  <a:srgbClr val="FFFFFF"/>
                </a:gs>
              </a:gsLst>
              <a:lin ang="0" scaled="1"/>
            </a:gradFill>
            <a:ln w="12700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397" name="Freeform 11"/>
            <p:cNvSpPr>
              <a:spLocks/>
            </p:cNvSpPr>
            <p:nvPr>
              <p:custDataLst>
                <p:tags r:id="rId12"/>
              </p:custDataLst>
            </p:nvPr>
          </p:nvSpPr>
          <p:spPr bwMode="blackWhite">
            <a:xfrm>
              <a:off x="1075" y="2001"/>
              <a:ext cx="857" cy="1609"/>
            </a:xfrm>
            <a:custGeom>
              <a:avLst/>
              <a:gdLst>
                <a:gd name="T0" fmla="*/ 176 w 976"/>
                <a:gd name="T1" fmla="*/ 916 h 1811"/>
                <a:gd name="T2" fmla="*/ 234 w 976"/>
                <a:gd name="T3" fmla="*/ 892 h 1811"/>
                <a:gd name="T4" fmla="*/ 289 w 976"/>
                <a:gd name="T5" fmla="*/ 861 h 1811"/>
                <a:gd name="T6" fmla="*/ 340 w 976"/>
                <a:gd name="T7" fmla="*/ 822 h 1811"/>
                <a:gd name="T8" fmla="*/ 387 w 976"/>
                <a:gd name="T9" fmla="*/ 777 h 1811"/>
                <a:gd name="T10" fmla="*/ 427 w 976"/>
                <a:gd name="T11" fmla="*/ 727 h 1811"/>
                <a:gd name="T12" fmla="*/ 460 w 976"/>
                <a:gd name="T13" fmla="*/ 669 h 1811"/>
                <a:gd name="T14" fmla="*/ 486 w 976"/>
                <a:gd name="T15" fmla="*/ 609 h 1811"/>
                <a:gd name="T16" fmla="*/ 502 w 976"/>
                <a:gd name="T17" fmla="*/ 545 h 1811"/>
                <a:gd name="T18" fmla="*/ 509 w 976"/>
                <a:gd name="T19" fmla="*/ 479 h 1811"/>
                <a:gd name="T20" fmla="*/ 508 w 976"/>
                <a:gd name="T21" fmla="*/ 412 h 1811"/>
                <a:gd name="T22" fmla="*/ 496 w 976"/>
                <a:gd name="T23" fmla="*/ 346 h 1811"/>
                <a:gd name="T24" fmla="*/ 477 w 976"/>
                <a:gd name="T25" fmla="*/ 283 h 1811"/>
                <a:gd name="T26" fmla="*/ 448 w 976"/>
                <a:gd name="T27" fmla="*/ 223 h 1811"/>
                <a:gd name="T28" fmla="*/ 413 w 976"/>
                <a:gd name="T29" fmla="*/ 168 h 1811"/>
                <a:gd name="T30" fmla="*/ 370 w 976"/>
                <a:gd name="T31" fmla="*/ 120 h 1811"/>
                <a:gd name="T32" fmla="*/ 320 w 976"/>
                <a:gd name="T33" fmla="*/ 79 h 1811"/>
                <a:gd name="T34" fmla="*/ 266 w 976"/>
                <a:gd name="T35" fmla="*/ 45 h 1811"/>
                <a:gd name="T36" fmla="*/ 207 w 976"/>
                <a:gd name="T37" fmla="*/ 20 h 1811"/>
                <a:gd name="T38" fmla="*/ 148 w 976"/>
                <a:gd name="T39" fmla="*/ 4 h 1811"/>
                <a:gd name="T40" fmla="*/ 154 w 976"/>
                <a:gd name="T41" fmla="*/ 62 h 1811"/>
                <a:gd name="T42" fmla="*/ 118 w 976"/>
                <a:gd name="T43" fmla="*/ 241 h 1811"/>
                <a:gd name="T44" fmla="*/ 160 w 976"/>
                <a:gd name="T45" fmla="*/ 256 h 1811"/>
                <a:gd name="T46" fmla="*/ 198 w 976"/>
                <a:gd name="T47" fmla="*/ 281 h 1811"/>
                <a:gd name="T48" fmla="*/ 230 w 976"/>
                <a:gd name="T49" fmla="*/ 315 h 1811"/>
                <a:gd name="T50" fmla="*/ 256 w 976"/>
                <a:gd name="T51" fmla="*/ 353 h 1811"/>
                <a:gd name="T52" fmla="*/ 271 w 976"/>
                <a:gd name="T53" fmla="*/ 396 h 1811"/>
                <a:gd name="T54" fmla="*/ 281 w 976"/>
                <a:gd name="T55" fmla="*/ 443 h 1811"/>
                <a:gd name="T56" fmla="*/ 281 w 976"/>
                <a:gd name="T57" fmla="*/ 490 h 1811"/>
                <a:gd name="T58" fmla="*/ 270 w 976"/>
                <a:gd name="T59" fmla="*/ 537 h 1811"/>
                <a:gd name="T60" fmla="*/ 251 w 976"/>
                <a:gd name="T61" fmla="*/ 578 h 1811"/>
                <a:gd name="T62" fmla="*/ 225 w 976"/>
                <a:gd name="T63" fmla="*/ 617 h 1811"/>
                <a:gd name="T64" fmla="*/ 191 w 976"/>
                <a:gd name="T65" fmla="*/ 649 h 1811"/>
                <a:gd name="T66" fmla="*/ 153 w 976"/>
                <a:gd name="T67" fmla="*/ 673 h 1811"/>
                <a:gd name="T68" fmla="*/ 132 w 976"/>
                <a:gd name="T69" fmla="*/ 605 h 1811"/>
                <a:gd name="T70" fmla="*/ 146 w 976"/>
                <a:gd name="T71" fmla="*/ 1002 h 181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76"/>
                <a:gd name="T109" fmla="*/ 0 h 1811"/>
                <a:gd name="T110" fmla="*/ 976 w 976"/>
                <a:gd name="T111" fmla="*/ 1811 h 181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76" h="1811">
                  <a:moveTo>
                    <a:pt x="279" y="1669"/>
                  </a:moveTo>
                  <a:lnTo>
                    <a:pt x="338" y="1654"/>
                  </a:lnTo>
                  <a:lnTo>
                    <a:pt x="394" y="1635"/>
                  </a:lnTo>
                  <a:lnTo>
                    <a:pt x="449" y="1612"/>
                  </a:lnTo>
                  <a:lnTo>
                    <a:pt x="502" y="1585"/>
                  </a:lnTo>
                  <a:lnTo>
                    <a:pt x="553" y="1555"/>
                  </a:lnTo>
                  <a:lnTo>
                    <a:pt x="601" y="1520"/>
                  </a:lnTo>
                  <a:lnTo>
                    <a:pt x="651" y="1485"/>
                  </a:lnTo>
                  <a:lnTo>
                    <a:pt x="697" y="1447"/>
                  </a:lnTo>
                  <a:lnTo>
                    <a:pt x="741" y="1405"/>
                  </a:lnTo>
                  <a:lnTo>
                    <a:pt x="782" y="1361"/>
                  </a:lnTo>
                  <a:lnTo>
                    <a:pt x="818" y="1313"/>
                  </a:lnTo>
                  <a:lnTo>
                    <a:pt x="851" y="1263"/>
                  </a:lnTo>
                  <a:lnTo>
                    <a:pt x="882" y="1210"/>
                  </a:lnTo>
                  <a:lnTo>
                    <a:pt x="908" y="1156"/>
                  </a:lnTo>
                  <a:lnTo>
                    <a:pt x="929" y="1100"/>
                  </a:lnTo>
                  <a:lnTo>
                    <a:pt x="947" y="1043"/>
                  </a:lnTo>
                  <a:lnTo>
                    <a:pt x="961" y="984"/>
                  </a:lnTo>
                  <a:lnTo>
                    <a:pt x="970" y="924"/>
                  </a:lnTo>
                  <a:lnTo>
                    <a:pt x="975" y="865"/>
                  </a:lnTo>
                  <a:lnTo>
                    <a:pt x="975" y="804"/>
                  </a:lnTo>
                  <a:lnTo>
                    <a:pt x="972" y="744"/>
                  </a:lnTo>
                  <a:lnTo>
                    <a:pt x="963" y="685"/>
                  </a:lnTo>
                  <a:lnTo>
                    <a:pt x="950" y="625"/>
                  </a:lnTo>
                  <a:lnTo>
                    <a:pt x="935" y="567"/>
                  </a:lnTo>
                  <a:lnTo>
                    <a:pt x="913" y="511"/>
                  </a:lnTo>
                  <a:lnTo>
                    <a:pt x="889" y="456"/>
                  </a:lnTo>
                  <a:lnTo>
                    <a:pt x="859" y="403"/>
                  </a:lnTo>
                  <a:lnTo>
                    <a:pt x="826" y="352"/>
                  </a:lnTo>
                  <a:lnTo>
                    <a:pt x="790" y="304"/>
                  </a:lnTo>
                  <a:lnTo>
                    <a:pt x="751" y="259"/>
                  </a:lnTo>
                  <a:lnTo>
                    <a:pt x="708" y="216"/>
                  </a:lnTo>
                  <a:lnTo>
                    <a:pt x="662" y="178"/>
                  </a:lnTo>
                  <a:lnTo>
                    <a:pt x="614" y="142"/>
                  </a:lnTo>
                  <a:lnTo>
                    <a:pt x="563" y="109"/>
                  </a:lnTo>
                  <a:lnTo>
                    <a:pt x="510" y="81"/>
                  </a:lnTo>
                  <a:lnTo>
                    <a:pt x="455" y="56"/>
                  </a:lnTo>
                  <a:lnTo>
                    <a:pt x="398" y="36"/>
                  </a:lnTo>
                  <a:lnTo>
                    <a:pt x="340" y="20"/>
                  </a:lnTo>
                  <a:lnTo>
                    <a:pt x="281" y="8"/>
                  </a:lnTo>
                  <a:lnTo>
                    <a:pt x="222" y="0"/>
                  </a:lnTo>
                  <a:lnTo>
                    <a:pt x="294" y="112"/>
                  </a:lnTo>
                  <a:lnTo>
                    <a:pt x="369" y="222"/>
                  </a:lnTo>
                  <a:lnTo>
                    <a:pt x="226" y="434"/>
                  </a:lnTo>
                  <a:lnTo>
                    <a:pt x="268" y="446"/>
                  </a:lnTo>
                  <a:lnTo>
                    <a:pt x="306" y="463"/>
                  </a:lnTo>
                  <a:lnTo>
                    <a:pt x="344" y="483"/>
                  </a:lnTo>
                  <a:lnTo>
                    <a:pt x="379" y="508"/>
                  </a:lnTo>
                  <a:lnTo>
                    <a:pt x="411" y="536"/>
                  </a:lnTo>
                  <a:lnTo>
                    <a:pt x="440" y="567"/>
                  </a:lnTo>
                  <a:lnTo>
                    <a:pt x="467" y="601"/>
                  </a:lnTo>
                  <a:lnTo>
                    <a:pt x="489" y="637"/>
                  </a:lnTo>
                  <a:lnTo>
                    <a:pt x="508" y="676"/>
                  </a:lnTo>
                  <a:lnTo>
                    <a:pt x="521" y="716"/>
                  </a:lnTo>
                  <a:lnTo>
                    <a:pt x="531" y="758"/>
                  </a:lnTo>
                  <a:lnTo>
                    <a:pt x="538" y="801"/>
                  </a:lnTo>
                  <a:lnTo>
                    <a:pt x="539" y="843"/>
                  </a:lnTo>
                  <a:lnTo>
                    <a:pt x="536" y="886"/>
                  </a:lnTo>
                  <a:lnTo>
                    <a:pt x="529" y="928"/>
                  </a:lnTo>
                  <a:lnTo>
                    <a:pt x="517" y="969"/>
                  </a:lnTo>
                  <a:lnTo>
                    <a:pt x="501" y="1009"/>
                  </a:lnTo>
                  <a:lnTo>
                    <a:pt x="482" y="1046"/>
                  </a:lnTo>
                  <a:lnTo>
                    <a:pt x="458" y="1082"/>
                  </a:lnTo>
                  <a:lnTo>
                    <a:pt x="431" y="1115"/>
                  </a:lnTo>
                  <a:lnTo>
                    <a:pt x="401" y="1145"/>
                  </a:lnTo>
                  <a:lnTo>
                    <a:pt x="367" y="1172"/>
                  </a:lnTo>
                  <a:lnTo>
                    <a:pt x="331" y="1196"/>
                  </a:lnTo>
                  <a:lnTo>
                    <a:pt x="293" y="1215"/>
                  </a:lnTo>
                  <a:lnTo>
                    <a:pt x="253" y="1230"/>
                  </a:lnTo>
                  <a:lnTo>
                    <a:pt x="253" y="1093"/>
                  </a:lnTo>
                  <a:lnTo>
                    <a:pt x="0" y="1420"/>
                  </a:lnTo>
                  <a:lnTo>
                    <a:pt x="279" y="1810"/>
                  </a:lnTo>
                  <a:lnTo>
                    <a:pt x="279" y="1669"/>
                  </a:lnTo>
                </a:path>
              </a:pathLst>
            </a:custGeom>
            <a:gradFill rotWithShape="1">
              <a:gsLst>
                <a:gs pos="0">
                  <a:srgbClr val="C0C0C0"/>
                </a:gs>
                <a:gs pos="100000">
                  <a:srgbClr val="FFFFFF"/>
                </a:gs>
              </a:gsLst>
              <a:lin ang="0" scaled="1"/>
            </a:gradFill>
            <a:ln w="12700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398" name="Freeform 13"/>
            <p:cNvSpPr>
              <a:spLocks/>
            </p:cNvSpPr>
            <p:nvPr>
              <p:custDataLst>
                <p:tags r:id="rId13"/>
              </p:custDataLst>
            </p:nvPr>
          </p:nvSpPr>
          <p:spPr bwMode="blackWhite">
            <a:xfrm>
              <a:off x="1431" y="1866"/>
              <a:ext cx="1163" cy="675"/>
            </a:xfrm>
            <a:custGeom>
              <a:avLst/>
              <a:gdLst>
                <a:gd name="T0" fmla="*/ 210 w 1429"/>
                <a:gd name="T1" fmla="*/ 243 h 830"/>
                <a:gd name="T2" fmla="*/ 425 w 1429"/>
                <a:gd name="T3" fmla="*/ 243 h 830"/>
                <a:gd name="T4" fmla="*/ 425 w 1429"/>
                <a:gd name="T5" fmla="*/ 295 h 830"/>
                <a:gd name="T6" fmla="*/ 510 w 1429"/>
                <a:gd name="T7" fmla="*/ 144 h 830"/>
                <a:gd name="T8" fmla="*/ 426 w 1429"/>
                <a:gd name="T9" fmla="*/ 0 h 830"/>
                <a:gd name="T10" fmla="*/ 426 w 1429"/>
                <a:gd name="T11" fmla="*/ 55 h 830"/>
                <a:gd name="T12" fmla="*/ 0 w 1429"/>
                <a:gd name="T13" fmla="*/ 55 h 830"/>
                <a:gd name="T14" fmla="*/ 210 w 1429"/>
                <a:gd name="T15" fmla="*/ 243 h 8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29"/>
                <a:gd name="T25" fmla="*/ 0 h 830"/>
                <a:gd name="T26" fmla="*/ 1429 w 1429"/>
                <a:gd name="T27" fmla="*/ 830 h 83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29" h="830">
                  <a:moveTo>
                    <a:pt x="589" y="684"/>
                  </a:moveTo>
                  <a:cubicBezTo>
                    <a:pt x="886" y="685"/>
                    <a:pt x="1191" y="684"/>
                    <a:pt x="1191" y="684"/>
                  </a:cubicBezTo>
                  <a:lnTo>
                    <a:pt x="1191" y="830"/>
                  </a:lnTo>
                  <a:lnTo>
                    <a:pt x="1429" y="404"/>
                  </a:lnTo>
                  <a:lnTo>
                    <a:pt x="1193" y="0"/>
                  </a:lnTo>
                  <a:lnTo>
                    <a:pt x="1194" y="155"/>
                  </a:lnTo>
                  <a:lnTo>
                    <a:pt x="0" y="154"/>
                  </a:lnTo>
                  <a:cubicBezTo>
                    <a:pt x="0" y="154"/>
                    <a:pt x="411" y="237"/>
                    <a:pt x="589" y="684"/>
                  </a:cubicBezTo>
                  <a:close/>
                </a:path>
              </a:pathLst>
            </a:custGeom>
            <a:gradFill rotWithShape="1">
              <a:gsLst>
                <a:gs pos="0">
                  <a:srgbClr val="C0C0C0"/>
                </a:gs>
                <a:gs pos="100000">
                  <a:srgbClr val="FFFFFF"/>
                </a:gs>
              </a:gsLst>
              <a:lin ang="0" scaled="1"/>
            </a:gradFill>
            <a:ln w="12700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5166" name="Rectangle 14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812" y="2148"/>
              <a:ext cx="723" cy="115"/>
            </a:xfrm>
            <a:prstGeom prst="rect">
              <a:avLst/>
            </a:prstGeom>
            <a:noFill/>
            <a:ln>
              <a:noFill/>
            </a:ln>
            <a:effectLst>
              <a:outerShdw blurRad="63500" dist="17961" dir="2700000" algn="ctr" rotWithShape="0">
                <a:schemeClr val="bg1">
                  <a:alpha val="74998"/>
                </a:schemeClr>
              </a:outerShdw>
            </a:effectLst>
            <a:extLst/>
          </p:spPr>
          <p:txBody>
            <a:bodyPr lIns="0" tIns="0" rIns="0" bIns="0" anchor="ctr" anchorCtr="1">
              <a:spAutoFit/>
            </a:bodyPr>
            <a:lstStyle/>
            <a:p>
              <a:pPr eaLnBrk="0" hangingPunct="0">
                <a:spcBef>
                  <a:spcPct val="20000"/>
                </a:spcBef>
                <a:defRPr/>
              </a:pPr>
              <a:r>
                <a:rPr lang="pt-BR" sz="1200" b="1">
                  <a:solidFill>
                    <a:schemeClr val="tx2"/>
                  </a:solidFill>
                  <a:latin typeface="Arial" charset="0"/>
                  <a:ea typeface="ＭＳ Ｐゴシック" charset="0"/>
                  <a:cs typeface="Arial" charset="0"/>
                </a:rPr>
                <a:t>Innovation</a:t>
              </a:r>
              <a:endParaRPr lang="en-US" sz="1200" b="1">
                <a:solidFill>
                  <a:schemeClr val="tx2"/>
                </a:solidFill>
                <a:latin typeface="Arial" charset="0"/>
                <a:ea typeface="ＭＳ Ｐゴシック" charset="0"/>
                <a:cs typeface="Arial" charset="0"/>
              </a:endParaRPr>
            </a:p>
          </p:txBody>
        </p:sp>
        <p:sp>
          <p:nvSpPr>
            <p:cNvPr id="16400" name="Freeform 20"/>
            <p:cNvSpPr>
              <a:spLocks/>
            </p:cNvSpPr>
            <p:nvPr>
              <p:custDataLst>
                <p:tags r:id="rId15"/>
              </p:custDataLst>
            </p:nvPr>
          </p:nvSpPr>
          <p:spPr bwMode="blackWhite">
            <a:xfrm>
              <a:off x="2861" y="2966"/>
              <a:ext cx="1144" cy="786"/>
            </a:xfrm>
            <a:custGeom>
              <a:avLst/>
              <a:gdLst>
                <a:gd name="T0" fmla="*/ 17 w 1485"/>
                <a:gd name="T1" fmla="*/ 67 h 1021"/>
                <a:gd name="T2" fmla="*/ 0 w 1485"/>
                <a:gd name="T3" fmla="*/ 206 h 1021"/>
                <a:gd name="T4" fmla="*/ 32 w 1485"/>
                <a:gd name="T5" fmla="*/ 164 h 1021"/>
                <a:gd name="T6" fmla="*/ 403 w 1485"/>
                <a:gd name="T7" fmla="*/ 39 h 1021"/>
                <a:gd name="T8" fmla="*/ 317 w 1485"/>
                <a:gd name="T9" fmla="*/ 57 h 1021"/>
                <a:gd name="T10" fmla="*/ 271 w 1485"/>
                <a:gd name="T11" fmla="*/ 0 h 1021"/>
                <a:gd name="T12" fmla="*/ 234 w 1485"/>
                <a:gd name="T13" fmla="*/ 37 h 1021"/>
                <a:gd name="T14" fmla="*/ 210 w 1485"/>
                <a:gd name="T15" fmla="*/ 51 h 1021"/>
                <a:gd name="T16" fmla="*/ 173 w 1485"/>
                <a:gd name="T17" fmla="*/ 61 h 1021"/>
                <a:gd name="T18" fmla="*/ 118 w 1485"/>
                <a:gd name="T19" fmla="*/ 52 h 1021"/>
                <a:gd name="T20" fmla="*/ 145 w 1485"/>
                <a:gd name="T21" fmla="*/ 15 h 1021"/>
                <a:gd name="T22" fmla="*/ 17 w 1485"/>
                <a:gd name="T23" fmla="*/ 67 h 10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85"/>
                <a:gd name="T37" fmla="*/ 0 h 1021"/>
                <a:gd name="T38" fmla="*/ 1485 w 1485"/>
                <a:gd name="T39" fmla="*/ 1021 h 102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85" h="1021">
                  <a:moveTo>
                    <a:pt x="61" y="248"/>
                  </a:moveTo>
                  <a:lnTo>
                    <a:pt x="0" y="762"/>
                  </a:lnTo>
                  <a:cubicBezTo>
                    <a:pt x="0" y="762"/>
                    <a:pt x="59" y="684"/>
                    <a:pt x="118" y="606"/>
                  </a:cubicBezTo>
                  <a:cubicBezTo>
                    <a:pt x="136" y="628"/>
                    <a:pt x="994" y="1021"/>
                    <a:pt x="1485" y="146"/>
                  </a:cubicBezTo>
                  <a:lnTo>
                    <a:pt x="1170" y="210"/>
                  </a:lnTo>
                  <a:cubicBezTo>
                    <a:pt x="1170" y="210"/>
                    <a:pt x="1084" y="105"/>
                    <a:pt x="999" y="0"/>
                  </a:cubicBezTo>
                  <a:cubicBezTo>
                    <a:pt x="946" y="83"/>
                    <a:pt x="860" y="137"/>
                    <a:pt x="860" y="137"/>
                  </a:cubicBezTo>
                  <a:lnTo>
                    <a:pt x="778" y="190"/>
                  </a:lnTo>
                  <a:lnTo>
                    <a:pt x="638" y="226"/>
                  </a:lnTo>
                  <a:cubicBezTo>
                    <a:pt x="581" y="226"/>
                    <a:pt x="452" y="219"/>
                    <a:pt x="435" y="191"/>
                  </a:cubicBezTo>
                  <a:cubicBezTo>
                    <a:pt x="485" y="124"/>
                    <a:pt x="535" y="57"/>
                    <a:pt x="535" y="57"/>
                  </a:cubicBezTo>
                  <a:lnTo>
                    <a:pt x="61" y="248"/>
                  </a:lnTo>
                </a:path>
              </a:pathLst>
            </a:custGeom>
            <a:gradFill rotWithShape="1">
              <a:gsLst>
                <a:gs pos="0">
                  <a:srgbClr val="C0C0C0"/>
                </a:gs>
                <a:gs pos="100000">
                  <a:srgbClr val="FFFFFF"/>
                </a:gs>
              </a:gsLst>
              <a:lin ang="0" scaled="1"/>
            </a:gradFill>
            <a:ln w="12700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5173" name="Rectangle 21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3105" y="3252"/>
              <a:ext cx="584" cy="115"/>
            </a:xfrm>
            <a:prstGeom prst="rect">
              <a:avLst/>
            </a:prstGeom>
            <a:noFill/>
            <a:ln>
              <a:noFill/>
            </a:ln>
            <a:effectLst>
              <a:outerShdw blurRad="63500" dist="17961" dir="2700000" algn="ctr" rotWithShape="0">
                <a:schemeClr val="bg1">
                  <a:alpha val="74998"/>
                </a:schemeClr>
              </a:outerShdw>
            </a:effectLst>
            <a:extLst/>
          </p:spPr>
          <p:txBody>
            <a:bodyPr lIns="0" tIns="0" rIns="0" bIns="0" anchor="ctr" anchorCtr="1">
              <a:spAutoFit/>
            </a:bodyPr>
            <a:lstStyle/>
            <a:p>
              <a:pPr eaLnBrk="0" hangingPunct="0">
                <a:spcBef>
                  <a:spcPct val="20000"/>
                </a:spcBef>
                <a:defRPr/>
              </a:pPr>
              <a:r>
                <a:rPr lang="pt-BR" sz="1200" b="1">
                  <a:solidFill>
                    <a:schemeClr val="tx2"/>
                  </a:solidFill>
                  <a:latin typeface="Arial" charset="0"/>
                  <a:ea typeface="ＭＳ Ｐゴシック" charset="0"/>
                  <a:cs typeface="Arial" charset="0"/>
                </a:rPr>
                <a:t>Conclusions</a:t>
              </a:r>
              <a:endParaRPr lang="en-US" sz="1200" b="1">
                <a:solidFill>
                  <a:schemeClr val="tx2"/>
                </a:solidFill>
                <a:latin typeface="Arial" charset="0"/>
                <a:ea typeface="ＭＳ Ｐゴシック" charset="0"/>
                <a:cs typeface="Arial" charset="0"/>
              </a:endParaRPr>
            </a:p>
          </p:txBody>
        </p:sp>
        <p:sp>
          <p:nvSpPr>
            <p:cNvPr id="16402" name="Freeform 22"/>
            <p:cNvSpPr>
              <a:spLocks/>
            </p:cNvSpPr>
            <p:nvPr>
              <p:custDataLst>
                <p:tags r:id="rId17"/>
              </p:custDataLst>
            </p:nvPr>
          </p:nvSpPr>
          <p:spPr bwMode="blackWhite">
            <a:xfrm>
              <a:off x="3613" y="1866"/>
              <a:ext cx="1163" cy="675"/>
            </a:xfrm>
            <a:custGeom>
              <a:avLst/>
              <a:gdLst>
                <a:gd name="T0" fmla="*/ 210 w 1429"/>
                <a:gd name="T1" fmla="*/ 243 h 830"/>
                <a:gd name="T2" fmla="*/ 425 w 1429"/>
                <a:gd name="T3" fmla="*/ 243 h 830"/>
                <a:gd name="T4" fmla="*/ 425 w 1429"/>
                <a:gd name="T5" fmla="*/ 295 h 830"/>
                <a:gd name="T6" fmla="*/ 510 w 1429"/>
                <a:gd name="T7" fmla="*/ 144 h 830"/>
                <a:gd name="T8" fmla="*/ 426 w 1429"/>
                <a:gd name="T9" fmla="*/ 0 h 830"/>
                <a:gd name="T10" fmla="*/ 426 w 1429"/>
                <a:gd name="T11" fmla="*/ 55 h 830"/>
                <a:gd name="T12" fmla="*/ 0 w 1429"/>
                <a:gd name="T13" fmla="*/ 55 h 830"/>
                <a:gd name="T14" fmla="*/ 210 w 1429"/>
                <a:gd name="T15" fmla="*/ 243 h 8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29"/>
                <a:gd name="T25" fmla="*/ 0 h 830"/>
                <a:gd name="T26" fmla="*/ 1429 w 1429"/>
                <a:gd name="T27" fmla="*/ 830 h 83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29" h="830">
                  <a:moveTo>
                    <a:pt x="589" y="684"/>
                  </a:moveTo>
                  <a:cubicBezTo>
                    <a:pt x="886" y="685"/>
                    <a:pt x="1191" y="684"/>
                    <a:pt x="1191" y="684"/>
                  </a:cubicBezTo>
                  <a:lnTo>
                    <a:pt x="1191" y="830"/>
                  </a:lnTo>
                  <a:lnTo>
                    <a:pt x="1429" y="404"/>
                  </a:lnTo>
                  <a:lnTo>
                    <a:pt x="1193" y="0"/>
                  </a:lnTo>
                  <a:lnTo>
                    <a:pt x="1194" y="155"/>
                  </a:lnTo>
                  <a:lnTo>
                    <a:pt x="0" y="154"/>
                  </a:lnTo>
                  <a:cubicBezTo>
                    <a:pt x="0" y="154"/>
                    <a:pt x="411" y="237"/>
                    <a:pt x="589" y="684"/>
                  </a:cubicBezTo>
                  <a:close/>
                </a:path>
              </a:pathLst>
            </a:custGeom>
            <a:gradFill rotWithShape="1">
              <a:gsLst>
                <a:gs pos="0">
                  <a:srgbClr val="C0C0C0"/>
                </a:gs>
                <a:gs pos="100000">
                  <a:srgbClr val="FFFFFF"/>
                </a:gs>
              </a:gsLst>
              <a:lin ang="0" scaled="1"/>
            </a:gradFill>
            <a:ln w="12700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5175" name="Rectangle 23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3994" y="2147"/>
              <a:ext cx="723" cy="116"/>
            </a:xfrm>
            <a:prstGeom prst="rect">
              <a:avLst/>
            </a:prstGeom>
            <a:noFill/>
            <a:ln>
              <a:noFill/>
            </a:ln>
            <a:effectLst>
              <a:outerShdw blurRad="63500" dist="17961" dir="2700000" algn="ctr" rotWithShape="0">
                <a:schemeClr val="bg1">
                  <a:alpha val="74998"/>
                </a:schemeClr>
              </a:outerShdw>
            </a:effectLst>
            <a:extLst/>
          </p:spPr>
          <p:txBody>
            <a:bodyPr lIns="0" tIns="0" rIns="0" bIns="0" anchor="ctr" anchorCtr="1">
              <a:spAutoFit/>
            </a:bodyPr>
            <a:lstStyle/>
            <a:p>
              <a:pPr eaLnBrk="0" hangingPunct="0">
                <a:spcBef>
                  <a:spcPct val="20000"/>
                </a:spcBef>
                <a:defRPr/>
              </a:pPr>
              <a:r>
                <a:rPr lang="pt-BR" sz="1200" b="1" dirty="0">
                  <a:solidFill>
                    <a:schemeClr val="tx2"/>
                  </a:solidFill>
                  <a:latin typeface="Arial" charset="0"/>
                  <a:ea typeface="ＭＳ Ｐゴシック" charset="0"/>
                  <a:cs typeface="Arial" charset="0"/>
                </a:rPr>
                <a:t>Adjustment</a:t>
              </a:r>
              <a:endParaRPr lang="en-US" sz="1200" b="1" dirty="0">
                <a:solidFill>
                  <a:schemeClr val="tx2"/>
                </a:solidFill>
                <a:latin typeface="Arial" charset="0"/>
                <a:ea typeface="ＭＳ Ｐゴシック" charset="0"/>
                <a:cs typeface="Arial" charset="0"/>
              </a:endParaRPr>
            </a:p>
          </p:txBody>
        </p:sp>
        <p:sp>
          <p:nvSpPr>
            <p:cNvPr id="305176" name="Rectangle 24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749" y="2136"/>
              <a:ext cx="537" cy="115"/>
            </a:xfrm>
            <a:prstGeom prst="rect">
              <a:avLst/>
            </a:prstGeom>
            <a:noFill/>
            <a:ln>
              <a:noFill/>
            </a:ln>
            <a:effectLst>
              <a:outerShdw blurRad="63500" dist="17961" dir="2700000" algn="ctr" rotWithShape="0">
                <a:schemeClr val="bg1">
                  <a:alpha val="74998"/>
                </a:schemeClr>
              </a:outerShdw>
            </a:effectLst>
            <a:extLst/>
          </p:spPr>
          <p:txBody>
            <a:bodyPr lIns="0" tIns="0" rIns="0" bIns="0" anchor="ctr">
              <a:spAutoFit/>
            </a:bodyPr>
            <a:lstStyle/>
            <a:p>
              <a:pPr eaLnBrk="0" hangingPunct="0">
                <a:spcBef>
                  <a:spcPct val="20000"/>
                </a:spcBef>
                <a:defRPr/>
              </a:pPr>
              <a:r>
                <a:rPr lang="pt-BR" sz="1200" b="1">
                  <a:solidFill>
                    <a:schemeClr val="tx2"/>
                  </a:solidFill>
                  <a:latin typeface="Arial" charset="0"/>
                  <a:ea typeface="ＭＳ Ｐゴシック" charset="0"/>
                  <a:cs typeface="Arial" charset="0"/>
                </a:rPr>
                <a:t>New Focus</a:t>
              </a:r>
              <a:endParaRPr lang="en-US" sz="1200" b="1">
                <a:solidFill>
                  <a:schemeClr val="tx2"/>
                </a:solidFill>
                <a:latin typeface="Arial" charset="0"/>
                <a:ea typeface="ＭＳ Ｐゴシック" charset="0"/>
                <a:cs typeface="Arial" charset="0"/>
              </a:endParaRPr>
            </a:p>
          </p:txBody>
        </p:sp>
        <p:sp>
          <p:nvSpPr>
            <p:cNvPr id="16405" name="Freeform 25"/>
            <p:cNvSpPr>
              <a:spLocks/>
            </p:cNvSpPr>
            <p:nvPr>
              <p:custDataLst>
                <p:tags r:id="rId20"/>
              </p:custDataLst>
            </p:nvPr>
          </p:nvSpPr>
          <p:spPr bwMode="blackWhite">
            <a:xfrm>
              <a:off x="3313" y="1978"/>
              <a:ext cx="859" cy="1110"/>
            </a:xfrm>
            <a:custGeom>
              <a:avLst/>
              <a:gdLst>
                <a:gd name="T0" fmla="*/ 165 w 1115"/>
                <a:gd name="T1" fmla="*/ 391 h 1441"/>
                <a:gd name="T2" fmla="*/ 303 w 1115"/>
                <a:gd name="T3" fmla="*/ 358 h 1441"/>
                <a:gd name="T4" fmla="*/ 260 w 1115"/>
                <a:gd name="T5" fmla="*/ 345 h 1441"/>
                <a:gd name="T6" fmla="*/ 0 w 1115"/>
                <a:gd name="T7" fmla="*/ 0 h 1441"/>
                <a:gd name="T8" fmla="*/ 49 w 1115"/>
                <a:gd name="T9" fmla="*/ 66 h 1441"/>
                <a:gd name="T10" fmla="*/ 18 w 1115"/>
                <a:gd name="T11" fmla="*/ 136 h 1441"/>
                <a:gd name="T12" fmla="*/ 97 w 1115"/>
                <a:gd name="T13" fmla="*/ 178 h 1441"/>
                <a:gd name="T14" fmla="*/ 117 w 1115"/>
                <a:gd name="T15" fmla="*/ 200 h 1441"/>
                <a:gd name="T16" fmla="*/ 127 w 1115"/>
                <a:gd name="T17" fmla="*/ 228 h 1441"/>
                <a:gd name="T18" fmla="*/ 130 w 1115"/>
                <a:gd name="T19" fmla="*/ 303 h 1441"/>
                <a:gd name="T20" fmla="*/ 78 w 1115"/>
                <a:gd name="T21" fmla="*/ 288 h 1441"/>
                <a:gd name="T22" fmla="*/ 165 w 1115"/>
                <a:gd name="T23" fmla="*/ 391 h 144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115"/>
                <a:gd name="T37" fmla="*/ 0 h 1441"/>
                <a:gd name="T38" fmla="*/ 1115 w 1115"/>
                <a:gd name="T39" fmla="*/ 1441 h 144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115" h="1441">
                  <a:moveTo>
                    <a:pt x="609" y="1441"/>
                  </a:moveTo>
                  <a:lnTo>
                    <a:pt x="1115" y="1321"/>
                  </a:lnTo>
                  <a:lnTo>
                    <a:pt x="956" y="1274"/>
                  </a:lnTo>
                  <a:cubicBezTo>
                    <a:pt x="1096" y="922"/>
                    <a:pt x="928" y="37"/>
                    <a:pt x="0" y="0"/>
                  </a:cubicBezTo>
                  <a:cubicBezTo>
                    <a:pt x="90" y="114"/>
                    <a:pt x="178" y="244"/>
                    <a:pt x="178" y="244"/>
                  </a:cubicBezTo>
                  <a:cubicBezTo>
                    <a:pt x="178" y="244"/>
                    <a:pt x="120" y="371"/>
                    <a:pt x="67" y="503"/>
                  </a:cubicBezTo>
                  <a:cubicBezTo>
                    <a:pt x="249" y="531"/>
                    <a:pt x="357" y="655"/>
                    <a:pt x="357" y="655"/>
                  </a:cubicBezTo>
                  <a:lnTo>
                    <a:pt x="431" y="740"/>
                  </a:lnTo>
                  <a:lnTo>
                    <a:pt x="469" y="839"/>
                  </a:lnTo>
                  <a:cubicBezTo>
                    <a:pt x="523" y="963"/>
                    <a:pt x="478" y="1116"/>
                    <a:pt x="478" y="1116"/>
                  </a:cubicBezTo>
                  <a:lnTo>
                    <a:pt x="287" y="1060"/>
                  </a:lnTo>
                  <a:lnTo>
                    <a:pt x="609" y="1441"/>
                  </a:lnTo>
                </a:path>
              </a:pathLst>
            </a:custGeom>
            <a:gradFill rotWithShape="1">
              <a:gsLst>
                <a:gs pos="0">
                  <a:srgbClr val="C0C0C0"/>
                </a:gs>
                <a:gs pos="100000">
                  <a:srgbClr val="FFFFFF"/>
                </a:gs>
              </a:gsLst>
              <a:lin ang="0" scaled="1"/>
            </a:gradFill>
            <a:ln w="12700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5178" name="Rectangle 26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3731" y="2506"/>
              <a:ext cx="315" cy="230"/>
            </a:xfrm>
            <a:prstGeom prst="rect">
              <a:avLst/>
            </a:prstGeom>
            <a:noFill/>
            <a:ln>
              <a:noFill/>
            </a:ln>
            <a:effectLst>
              <a:outerShdw blurRad="63500" dist="17961" dir="2700000" algn="ctr" rotWithShape="0">
                <a:schemeClr val="bg1">
                  <a:alpha val="74998"/>
                </a:schemeClr>
              </a:outerShdw>
            </a:effectLst>
            <a:extLst/>
          </p:spPr>
          <p:txBody>
            <a:bodyPr lIns="0" tIns="0" rIns="0" bIns="0" anchor="ctr" anchorCtr="1">
              <a:spAutoFit/>
            </a:bodyPr>
            <a:lstStyle/>
            <a:p>
              <a:pPr algn="ctr" eaLnBrk="0" hangingPunct="0">
                <a:spcBef>
                  <a:spcPct val="20000"/>
                </a:spcBef>
                <a:defRPr/>
              </a:pPr>
              <a:r>
                <a:rPr lang="pt-BR" sz="1200" b="1">
                  <a:solidFill>
                    <a:schemeClr val="tx2"/>
                  </a:solidFill>
                  <a:latin typeface="Arial" charset="0"/>
                  <a:ea typeface="ＭＳ Ｐゴシック" charset="0"/>
                  <a:cs typeface="Arial" charset="0"/>
                </a:rPr>
                <a:t>M and E</a:t>
              </a:r>
              <a:endParaRPr lang="en-US" sz="1200" b="1">
                <a:solidFill>
                  <a:schemeClr val="tx2"/>
                </a:solidFill>
                <a:latin typeface="Arial" charset="0"/>
                <a:ea typeface="ＭＳ Ｐゴシック" charset="0"/>
                <a:cs typeface="Arial" charset="0"/>
              </a:endParaRPr>
            </a:p>
          </p:txBody>
        </p:sp>
        <p:sp>
          <p:nvSpPr>
            <p:cNvPr id="305179" name="Rectangle 27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2456" y="2688"/>
              <a:ext cx="556" cy="230"/>
            </a:xfrm>
            <a:prstGeom prst="rect">
              <a:avLst/>
            </a:prstGeom>
            <a:noFill/>
            <a:ln>
              <a:noFill/>
            </a:ln>
            <a:effectLst>
              <a:outerShdw blurRad="63500" dist="17961" dir="2700000" algn="ctr" rotWithShape="0">
                <a:schemeClr val="bg1">
                  <a:alpha val="74998"/>
                </a:schemeClr>
              </a:outerShdw>
            </a:effectLst>
            <a:extLst/>
          </p:spPr>
          <p:txBody>
            <a:bodyPr lIns="0" tIns="0" rIns="0" bIns="0" anchor="ctr" anchorCtr="1">
              <a:spAutoFit/>
            </a:bodyPr>
            <a:lstStyle/>
            <a:p>
              <a:pPr algn="ctr" eaLnBrk="0" hangingPunct="0">
                <a:spcBef>
                  <a:spcPct val="20000"/>
                </a:spcBef>
                <a:defRPr/>
              </a:pPr>
              <a:r>
                <a:rPr lang="pt-BR" sz="1200" b="1">
                  <a:solidFill>
                    <a:schemeClr val="tx2"/>
                  </a:solidFill>
                  <a:latin typeface="Arial" charset="0"/>
                  <a:ea typeface="ＭＳ Ｐゴシック" charset="0"/>
                  <a:cs typeface="Arial" charset="0"/>
                </a:rPr>
                <a:t>Re-formulation</a:t>
              </a:r>
              <a:endParaRPr lang="en-US" sz="1200" b="1">
                <a:solidFill>
                  <a:schemeClr val="tx2"/>
                </a:solidFill>
                <a:latin typeface="Arial" charset="0"/>
                <a:ea typeface="ＭＳ Ｐゴシック" charset="0"/>
                <a:cs typeface="Arial" charset="0"/>
              </a:endParaRPr>
            </a:p>
          </p:txBody>
        </p:sp>
        <p:sp>
          <p:nvSpPr>
            <p:cNvPr id="305180" name="Rectangle 28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blackWhite">
            <a:xfrm>
              <a:off x="1488" y="2617"/>
              <a:ext cx="488" cy="230"/>
            </a:xfrm>
            <a:prstGeom prst="rect">
              <a:avLst/>
            </a:prstGeom>
            <a:noFill/>
            <a:ln>
              <a:noFill/>
            </a:ln>
            <a:effectLst>
              <a:outerShdw blurRad="63500" dist="17961" dir="2700000" algn="ctr" rotWithShape="0">
                <a:schemeClr val="bg1">
                  <a:alpha val="74998"/>
                </a:schemeClr>
              </a:outerShdw>
            </a:effectLst>
            <a:extLst/>
          </p:spPr>
          <p:txBody>
            <a:bodyPr lIns="0" tIns="0" rIns="0" bIns="0" anchor="ctr" anchorCtr="1">
              <a:spAutoFit/>
            </a:bodyPr>
            <a:lstStyle/>
            <a:p>
              <a:pPr algn="ctr" defTabSz="787400" eaLnBrk="0" hangingPunct="0">
                <a:spcBef>
                  <a:spcPct val="20000"/>
                </a:spcBef>
                <a:defRPr/>
              </a:pPr>
              <a:r>
                <a:rPr lang="en-US" sz="1200" b="1">
                  <a:solidFill>
                    <a:schemeClr val="tx2"/>
                  </a:solidFill>
                  <a:latin typeface="Arial" charset="0"/>
                  <a:ea typeface="ＭＳ Ｐゴシック" charset="0"/>
                  <a:cs typeface="Arial" charset="0"/>
                </a:rPr>
                <a:t>Impact Evaluation</a:t>
              </a:r>
            </a:p>
          </p:txBody>
        </p:sp>
        <p:sp>
          <p:nvSpPr>
            <p:cNvPr id="305181" name="Rectangle 29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blackWhite">
            <a:xfrm>
              <a:off x="353" y="2918"/>
              <a:ext cx="686" cy="115"/>
            </a:xfrm>
            <a:prstGeom prst="rect">
              <a:avLst/>
            </a:prstGeom>
            <a:noFill/>
            <a:ln>
              <a:noFill/>
            </a:ln>
            <a:effectLst>
              <a:outerShdw blurRad="63500" dist="17961" dir="2700000" algn="ctr" rotWithShape="0">
                <a:schemeClr val="bg1">
                  <a:alpha val="74998"/>
                </a:schemeClr>
              </a:outerShdw>
            </a:effectLst>
            <a:extLst/>
          </p:spPr>
          <p:txBody>
            <a:bodyPr lIns="0" tIns="0" rIns="0" bIns="0" anchor="ctr" anchorCtr="1">
              <a:spAutoFit/>
            </a:bodyPr>
            <a:lstStyle/>
            <a:p>
              <a:pPr algn="ctr" defTabSz="787400" eaLnBrk="0" hangingPunct="0">
                <a:spcBef>
                  <a:spcPct val="20000"/>
                </a:spcBef>
                <a:defRPr/>
              </a:pPr>
              <a:r>
                <a:rPr lang="en-US" sz="1200" b="1">
                  <a:solidFill>
                    <a:schemeClr val="tx2"/>
                  </a:solidFill>
                  <a:latin typeface="Arial" charset="0"/>
                  <a:ea typeface="ＭＳ Ｐゴシック" charset="0"/>
                  <a:cs typeface="Arial" charset="0"/>
                </a:rPr>
                <a:t>Conclusions</a:t>
              </a:r>
            </a:p>
          </p:txBody>
        </p:sp>
        <p:sp>
          <p:nvSpPr>
            <p:cNvPr id="16410" name="Freeform 30"/>
            <p:cNvSpPr>
              <a:spLocks/>
            </p:cNvSpPr>
            <p:nvPr>
              <p:custDataLst>
                <p:tags r:id="rId25"/>
              </p:custDataLst>
            </p:nvPr>
          </p:nvSpPr>
          <p:spPr bwMode="blackWhite">
            <a:xfrm>
              <a:off x="4714" y="1866"/>
              <a:ext cx="854" cy="675"/>
            </a:xfrm>
            <a:custGeom>
              <a:avLst/>
              <a:gdLst>
                <a:gd name="T0" fmla="*/ 0 w 854"/>
                <a:gd name="T1" fmla="*/ 558 h 675"/>
                <a:gd name="T2" fmla="*/ 660 w 854"/>
                <a:gd name="T3" fmla="*/ 556 h 675"/>
                <a:gd name="T4" fmla="*/ 660 w 854"/>
                <a:gd name="T5" fmla="*/ 675 h 675"/>
                <a:gd name="T6" fmla="*/ 854 w 854"/>
                <a:gd name="T7" fmla="*/ 329 h 675"/>
                <a:gd name="T8" fmla="*/ 662 w 854"/>
                <a:gd name="T9" fmla="*/ 0 h 675"/>
                <a:gd name="T10" fmla="*/ 663 w 854"/>
                <a:gd name="T11" fmla="*/ 126 h 675"/>
                <a:gd name="T12" fmla="*/ 12 w 854"/>
                <a:gd name="T13" fmla="*/ 126 h 675"/>
                <a:gd name="T14" fmla="*/ 124 w 854"/>
                <a:gd name="T15" fmla="*/ 326 h 675"/>
                <a:gd name="T16" fmla="*/ 0 w 854"/>
                <a:gd name="T17" fmla="*/ 558 h 6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54"/>
                <a:gd name="T28" fmla="*/ 0 h 675"/>
                <a:gd name="T29" fmla="*/ 854 w 854"/>
                <a:gd name="T30" fmla="*/ 675 h 6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54" h="675">
                  <a:moveTo>
                    <a:pt x="0" y="558"/>
                  </a:moveTo>
                  <a:lnTo>
                    <a:pt x="660" y="556"/>
                  </a:lnTo>
                  <a:lnTo>
                    <a:pt x="660" y="675"/>
                  </a:lnTo>
                  <a:lnTo>
                    <a:pt x="854" y="329"/>
                  </a:lnTo>
                  <a:lnTo>
                    <a:pt x="662" y="0"/>
                  </a:lnTo>
                  <a:lnTo>
                    <a:pt x="663" y="126"/>
                  </a:lnTo>
                  <a:lnTo>
                    <a:pt x="12" y="126"/>
                  </a:lnTo>
                  <a:lnTo>
                    <a:pt x="124" y="326"/>
                  </a:lnTo>
                  <a:lnTo>
                    <a:pt x="0" y="558"/>
                  </a:lnTo>
                  <a:close/>
                </a:path>
              </a:pathLst>
            </a:custGeom>
            <a:gradFill rotWithShape="1">
              <a:gsLst>
                <a:gs pos="0">
                  <a:srgbClr val="C0C0C0"/>
                </a:gs>
                <a:gs pos="100000">
                  <a:srgbClr val="FFFFFF"/>
                </a:gs>
              </a:gsLst>
              <a:lin ang="0" scaled="1"/>
            </a:gradFill>
            <a:ln w="12700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5183" name="Rectangle 31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4786" y="2148"/>
              <a:ext cx="723" cy="115"/>
            </a:xfrm>
            <a:prstGeom prst="rect">
              <a:avLst/>
            </a:prstGeom>
            <a:noFill/>
            <a:ln>
              <a:noFill/>
            </a:ln>
            <a:effectLst>
              <a:outerShdw blurRad="63500" dist="17961" dir="2700000" algn="ctr" rotWithShape="0">
                <a:schemeClr val="bg1">
                  <a:alpha val="74998"/>
                </a:schemeClr>
              </a:outerShdw>
            </a:effectLst>
            <a:extLst/>
          </p:spPr>
          <p:txBody>
            <a:bodyPr lIns="0" tIns="0" rIns="0" bIns="0" anchor="ctr" anchorCtr="1">
              <a:spAutoFit/>
            </a:bodyPr>
            <a:lstStyle/>
            <a:p>
              <a:pPr eaLnBrk="0" hangingPunct="0">
                <a:spcBef>
                  <a:spcPct val="20000"/>
                </a:spcBef>
                <a:defRPr/>
              </a:pPr>
              <a:r>
                <a:rPr lang="pt-BR" sz="1200" b="1">
                  <a:solidFill>
                    <a:schemeClr val="tx2"/>
                  </a:solidFill>
                  <a:latin typeface="Arial" charset="0"/>
                  <a:ea typeface="ＭＳ Ｐゴシック" charset="0"/>
                  <a:cs typeface="Arial" charset="0"/>
                </a:rPr>
                <a:t>New Focus</a:t>
              </a:r>
              <a:endParaRPr lang="en-US" sz="1200" b="1">
                <a:solidFill>
                  <a:schemeClr val="tx2"/>
                </a:solidFill>
                <a:latin typeface="Arial" charset="0"/>
                <a:ea typeface="ＭＳ Ｐゴシック" charset="0"/>
                <a:cs typeface="Arial" charset="0"/>
              </a:endParaRPr>
            </a:p>
          </p:txBody>
        </p:sp>
        <p:sp>
          <p:nvSpPr>
            <p:cNvPr id="16412" name="Freeform 32"/>
            <p:cNvSpPr>
              <a:spLocks/>
            </p:cNvSpPr>
            <p:nvPr>
              <p:custDataLst>
                <p:tags r:id="rId27"/>
              </p:custDataLst>
            </p:nvPr>
          </p:nvSpPr>
          <p:spPr bwMode="blackWhite">
            <a:xfrm>
              <a:off x="220" y="1866"/>
              <a:ext cx="1094" cy="675"/>
            </a:xfrm>
            <a:custGeom>
              <a:avLst/>
              <a:gdLst>
                <a:gd name="T0" fmla="*/ 0 w 1094"/>
                <a:gd name="T1" fmla="*/ 558 h 675"/>
                <a:gd name="T2" fmla="*/ 845 w 1094"/>
                <a:gd name="T3" fmla="*/ 556 h 675"/>
                <a:gd name="T4" fmla="*/ 845 w 1094"/>
                <a:gd name="T5" fmla="*/ 675 h 675"/>
                <a:gd name="T6" fmla="*/ 1094 w 1094"/>
                <a:gd name="T7" fmla="*/ 329 h 675"/>
                <a:gd name="T8" fmla="*/ 848 w 1094"/>
                <a:gd name="T9" fmla="*/ 0 h 675"/>
                <a:gd name="T10" fmla="*/ 849 w 1094"/>
                <a:gd name="T11" fmla="*/ 126 h 675"/>
                <a:gd name="T12" fmla="*/ 4 w 1094"/>
                <a:gd name="T13" fmla="*/ 126 h 675"/>
                <a:gd name="T14" fmla="*/ 0 w 1094"/>
                <a:gd name="T15" fmla="*/ 558 h 67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94"/>
                <a:gd name="T25" fmla="*/ 0 h 675"/>
                <a:gd name="T26" fmla="*/ 1094 w 1094"/>
                <a:gd name="T27" fmla="*/ 675 h 67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94" h="675">
                  <a:moveTo>
                    <a:pt x="0" y="558"/>
                  </a:moveTo>
                  <a:lnTo>
                    <a:pt x="845" y="556"/>
                  </a:lnTo>
                  <a:lnTo>
                    <a:pt x="845" y="675"/>
                  </a:lnTo>
                  <a:lnTo>
                    <a:pt x="1094" y="329"/>
                  </a:lnTo>
                  <a:lnTo>
                    <a:pt x="848" y="0"/>
                  </a:lnTo>
                  <a:lnTo>
                    <a:pt x="849" y="126"/>
                  </a:lnTo>
                  <a:lnTo>
                    <a:pt x="4" y="126"/>
                  </a:lnTo>
                  <a:lnTo>
                    <a:pt x="0" y="558"/>
                  </a:lnTo>
                  <a:close/>
                </a:path>
              </a:pathLst>
            </a:custGeom>
            <a:gradFill rotWithShape="1">
              <a:gsLst>
                <a:gs pos="0">
                  <a:srgbClr val="C0C0C0"/>
                </a:gs>
                <a:gs pos="100000">
                  <a:srgbClr val="FFFFFF"/>
                </a:gs>
              </a:gsLst>
              <a:lin ang="0" scaled="1"/>
            </a:gradFill>
            <a:ln w="12700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5185" name="Rectangle 33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367" y="2150"/>
              <a:ext cx="711" cy="115"/>
            </a:xfrm>
            <a:prstGeom prst="rect">
              <a:avLst/>
            </a:prstGeom>
            <a:noFill/>
            <a:ln>
              <a:noFill/>
            </a:ln>
            <a:effectLst>
              <a:outerShdw blurRad="63500" dist="17961" dir="2700000" algn="ctr" rotWithShape="0">
                <a:schemeClr val="bg1">
                  <a:alpha val="74998"/>
                </a:schemeClr>
              </a:outerShdw>
            </a:effectLst>
            <a:extLst/>
          </p:spPr>
          <p:txBody>
            <a:bodyPr lIns="0" tIns="0" rIns="0" bIns="0" anchor="ctr">
              <a:spAutoFit/>
            </a:bodyPr>
            <a:lstStyle/>
            <a:p>
              <a:pPr eaLnBrk="0" hangingPunct="0">
                <a:spcBef>
                  <a:spcPct val="20000"/>
                </a:spcBef>
                <a:defRPr/>
              </a:pPr>
              <a:r>
                <a:rPr lang="pt-BR" sz="1200" b="1">
                  <a:solidFill>
                    <a:schemeClr val="tx2"/>
                  </a:solidFill>
                  <a:latin typeface="Arial" charset="0"/>
                  <a:ea typeface="ＭＳ Ｐゴシック" charset="0"/>
                  <a:cs typeface="Arial" charset="0"/>
                </a:rPr>
                <a:t>Implementation </a:t>
              </a:r>
              <a:endParaRPr lang="en-US" sz="1200" b="1">
                <a:solidFill>
                  <a:schemeClr val="tx2"/>
                </a:solidFill>
                <a:latin typeface="Arial" charset="0"/>
                <a:ea typeface="ＭＳ Ｐゴシック" charset="0"/>
                <a:cs typeface="Arial" charset="0"/>
              </a:endParaRPr>
            </a:p>
          </p:txBody>
        </p:sp>
        <p:sp>
          <p:nvSpPr>
            <p:cNvPr id="16414" name="Line 34"/>
            <p:cNvSpPr>
              <a:spLocks noChangeShapeType="1"/>
            </p:cNvSpPr>
            <p:nvPr/>
          </p:nvSpPr>
          <p:spPr bwMode="auto">
            <a:xfrm>
              <a:off x="224" y="1758"/>
              <a:ext cx="2243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5187" name="Rectangle 35"/>
            <p:cNvSpPr>
              <a:spLocks noChangeArrowheads="1"/>
            </p:cNvSpPr>
            <p:nvPr/>
          </p:nvSpPr>
          <p:spPr bwMode="blackWhite">
            <a:xfrm>
              <a:off x="689" y="1591"/>
              <a:ext cx="1314" cy="115"/>
            </a:xfrm>
            <a:prstGeom prst="rect">
              <a:avLst/>
            </a:prstGeom>
            <a:noFill/>
            <a:ln>
              <a:noFill/>
            </a:ln>
            <a:effectLst>
              <a:outerShdw blurRad="63500" dist="17961" dir="2700000" algn="ctr" rotWithShape="0">
                <a:schemeClr val="bg1">
                  <a:alpha val="74998"/>
                </a:schemeClr>
              </a:outerShdw>
            </a:effectLst>
            <a:extLst/>
          </p:spPr>
          <p:txBody>
            <a:bodyPr lIns="0" tIns="0" rIns="0" bIns="0" anchor="ctr" anchorCtr="1">
              <a:spAutoFit/>
            </a:bodyPr>
            <a:lstStyle/>
            <a:p>
              <a:pPr algn="ctr" defTabSz="787400" eaLnBrk="0" hangingPunct="0">
                <a:spcBef>
                  <a:spcPct val="20000"/>
                </a:spcBef>
                <a:defRPr/>
              </a:pPr>
              <a:r>
                <a:rPr lang="en-US" sz="1200" b="1" i="1">
                  <a:solidFill>
                    <a:srgbClr val="666666"/>
                  </a:solidFill>
                  <a:latin typeface="Arial" charset="0"/>
                  <a:ea typeface="ＭＳ Ｐゴシック" charset="0"/>
                  <a:cs typeface="Arial" charset="0"/>
                </a:rPr>
                <a:t>2003-2006 Central America</a:t>
              </a:r>
            </a:p>
          </p:txBody>
        </p:sp>
        <p:sp>
          <p:nvSpPr>
            <p:cNvPr id="16416" name="Line 36"/>
            <p:cNvSpPr>
              <a:spLocks noChangeShapeType="1"/>
            </p:cNvSpPr>
            <p:nvPr/>
          </p:nvSpPr>
          <p:spPr bwMode="auto">
            <a:xfrm>
              <a:off x="2507" y="1758"/>
              <a:ext cx="2121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5189" name="Rectangle 37"/>
            <p:cNvSpPr>
              <a:spLocks noChangeArrowheads="1"/>
            </p:cNvSpPr>
            <p:nvPr/>
          </p:nvSpPr>
          <p:spPr bwMode="blackWhite">
            <a:xfrm>
              <a:off x="2580" y="1591"/>
              <a:ext cx="1976" cy="115"/>
            </a:xfrm>
            <a:prstGeom prst="rect">
              <a:avLst/>
            </a:prstGeom>
            <a:noFill/>
            <a:ln>
              <a:noFill/>
            </a:ln>
            <a:effectLst>
              <a:outerShdw blurRad="63500" dist="17961" dir="2700000" algn="ctr" rotWithShape="0">
                <a:schemeClr val="bg1">
                  <a:alpha val="74998"/>
                </a:schemeClr>
              </a:outerShdw>
            </a:effectLst>
            <a:extLst/>
          </p:spPr>
          <p:txBody>
            <a:bodyPr lIns="0" tIns="0" rIns="0" bIns="0" anchor="ctr" anchorCtr="1">
              <a:spAutoFit/>
            </a:bodyPr>
            <a:lstStyle/>
            <a:p>
              <a:pPr algn="ctr" defTabSz="787400" eaLnBrk="0" hangingPunct="0">
                <a:spcBef>
                  <a:spcPct val="20000"/>
                </a:spcBef>
                <a:defRPr/>
              </a:pPr>
              <a:r>
                <a:rPr lang="en-US" sz="1200" b="1" i="1">
                  <a:solidFill>
                    <a:srgbClr val="666666"/>
                  </a:solidFill>
                  <a:latin typeface="Arial" charset="0"/>
                  <a:ea typeface="ＭＳ Ｐゴシック" charset="0"/>
                  <a:cs typeface="Arial" charset="0"/>
                </a:rPr>
                <a:t>2008-2012 South America and Africa, Haiti</a:t>
              </a:r>
            </a:p>
          </p:txBody>
        </p:sp>
        <p:sp>
          <p:nvSpPr>
            <p:cNvPr id="16418" name="Line 38"/>
            <p:cNvSpPr>
              <a:spLocks noChangeShapeType="1"/>
            </p:cNvSpPr>
            <p:nvPr/>
          </p:nvSpPr>
          <p:spPr bwMode="auto">
            <a:xfrm>
              <a:off x="4704" y="1758"/>
              <a:ext cx="887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5191" name="Rectangle 39"/>
            <p:cNvSpPr>
              <a:spLocks noChangeArrowheads="1"/>
            </p:cNvSpPr>
            <p:nvPr/>
          </p:nvSpPr>
          <p:spPr bwMode="blackWhite">
            <a:xfrm>
              <a:off x="4932" y="1591"/>
              <a:ext cx="432" cy="115"/>
            </a:xfrm>
            <a:prstGeom prst="rect">
              <a:avLst/>
            </a:prstGeom>
            <a:noFill/>
            <a:ln>
              <a:noFill/>
            </a:ln>
            <a:effectLst>
              <a:outerShdw blurRad="63500" dist="17961" dir="2700000" algn="ctr" rotWithShape="0">
                <a:schemeClr val="bg1">
                  <a:alpha val="74998"/>
                </a:schemeClr>
              </a:outerShdw>
            </a:effectLst>
            <a:extLst/>
          </p:spPr>
          <p:txBody>
            <a:bodyPr lIns="0" tIns="0" rIns="0" bIns="0" anchor="ctr" anchorCtr="1">
              <a:spAutoFit/>
            </a:bodyPr>
            <a:lstStyle/>
            <a:p>
              <a:pPr algn="ctr" defTabSz="787400" eaLnBrk="0" hangingPunct="0">
                <a:spcBef>
                  <a:spcPct val="20000"/>
                </a:spcBef>
                <a:defRPr/>
              </a:pPr>
              <a:r>
                <a:rPr lang="en-US" sz="1200" b="1" i="1">
                  <a:solidFill>
                    <a:srgbClr val="666666"/>
                  </a:solidFill>
                  <a:cs typeface="Arial" pitchFamily="34" charset="0"/>
                </a:rPr>
                <a:t>2012…</a:t>
              </a: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0"/>
          <p:cNvGrpSpPr>
            <a:grpSpLocks/>
          </p:cNvGrpSpPr>
          <p:nvPr/>
        </p:nvGrpSpPr>
        <p:grpSpPr bwMode="auto">
          <a:xfrm>
            <a:off x="1520825" y="2359025"/>
            <a:ext cx="7083425" cy="1735138"/>
            <a:chOff x="939" y="839"/>
            <a:chExt cx="4373" cy="1108"/>
          </a:xfrm>
        </p:grpSpPr>
        <p:sp>
          <p:nvSpPr>
            <p:cNvPr id="17442" name="Rectangle 7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939" y="1499"/>
              <a:ext cx="1008" cy="4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marL="136525" lvl="1" indent="-134938" defTabSz="912813">
                <a:lnSpc>
                  <a:spcPct val="95000"/>
                </a:lnSpc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US" sz="1200">
                  <a:solidFill>
                    <a:srgbClr val="000000"/>
                  </a:solidFill>
                  <a:cs typeface="Arial" pitchFamily="34" charset="0"/>
                </a:rPr>
                <a:t>Convene businesses in different industries that are looking to start or grow</a:t>
              </a:r>
            </a:p>
          </p:txBody>
        </p:sp>
        <p:grpSp>
          <p:nvGrpSpPr>
            <p:cNvPr id="17443" name="Group 29"/>
            <p:cNvGrpSpPr>
              <a:grpSpLocks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939" y="977"/>
              <a:ext cx="1164" cy="433"/>
              <a:chOff x="484" y="713"/>
              <a:chExt cx="1244" cy="576"/>
            </a:xfrm>
          </p:grpSpPr>
          <p:sp>
            <p:nvSpPr>
              <p:cNvPr id="136202" name="Freeform 30"/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84" y="713"/>
                <a:ext cx="1244" cy="576"/>
              </a:xfrm>
              <a:custGeom>
                <a:avLst/>
                <a:gdLst>
                  <a:gd name="T0" fmla="*/ 0 w 1244"/>
                  <a:gd name="T1" fmla="*/ 0 h 576"/>
                  <a:gd name="T2" fmla="*/ 1140 w 1244"/>
                  <a:gd name="T3" fmla="*/ 0 h 576"/>
                  <a:gd name="T4" fmla="*/ 1244 w 1244"/>
                  <a:gd name="T5" fmla="*/ 288 h 576"/>
                  <a:gd name="T6" fmla="*/ 1140 w 1244"/>
                  <a:gd name="T7" fmla="*/ 576 h 576"/>
                  <a:gd name="T8" fmla="*/ 0 w 1244"/>
                  <a:gd name="T9" fmla="*/ 576 h 576"/>
                  <a:gd name="T10" fmla="*/ 0 w 1244"/>
                  <a:gd name="T11" fmla="*/ 288 h 576"/>
                  <a:gd name="T12" fmla="*/ 0 w 1244"/>
                  <a:gd name="T13" fmla="*/ 0 h 57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244"/>
                  <a:gd name="T22" fmla="*/ 0 h 576"/>
                  <a:gd name="T23" fmla="*/ 1244 w 1244"/>
                  <a:gd name="T24" fmla="*/ 576 h 57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244" h="576">
                    <a:moveTo>
                      <a:pt x="0" y="0"/>
                    </a:moveTo>
                    <a:lnTo>
                      <a:pt x="1140" y="0"/>
                    </a:lnTo>
                    <a:lnTo>
                      <a:pt x="1244" y="288"/>
                    </a:lnTo>
                    <a:lnTo>
                      <a:pt x="1140" y="576"/>
                    </a:lnTo>
                    <a:lnTo>
                      <a:pt x="0" y="576"/>
                    </a:lnTo>
                    <a:lnTo>
                      <a:pt x="0" y="288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675F76">
                      <a:alpha val="50000"/>
                    </a:srgbClr>
                  </a:gs>
                  <a:gs pos="50000">
                    <a:schemeClr val="accent1">
                      <a:alpha val="50000"/>
                    </a:schemeClr>
                  </a:gs>
                  <a:gs pos="100000">
                    <a:srgbClr val="675F76">
                      <a:alpha val="50000"/>
                    </a:srgbClr>
                  </a:gs>
                </a:gsLst>
                <a:lin ang="5400000" scaled="1"/>
              </a:gradFill>
              <a:ln w="9525">
                <a:solidFill>
                  <a:schemeClr val="accent2"/>
                </a:solidFill>
                <a:round/>
                <a:headEnd/>
                <a:tailEnd/>
              </a:ln>
              <a:effectLst/>
            </p:spPr>
            <p:txBody>
              <a:bodyPr wrap="none" lIns="36000" anchor="ctr"/>
              <a:lstStyle/>
              <a:p>
                <a:pPr>
                  <a:defRPr/>
                </a:pPr>
                <a:endParaRPr lang="en-US" sz="1600" b="1">
                  <a:latin typeface="Calibri" pitchFamily="34" charset="0"/>
                  <a:ea typeface="MS PGothic" pitchFamily="34" charset="-128"/>
                </a:endParaRPr>
              </a:p>
            </p:txBody>
          </p:sp>
          <p:sp>
            <p:nvSpPr>
              <p:cNvPr id="17458" name="Rectangle 31"/>
              <p:cNvSpPr>
                <a:spLocks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516" y="745"/>
                <a:ext cx="1108" cy="4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46648" tIns="0" rIns="46648" bIns="0" anchor="ctr"/>
              <a:lstStyle/>
              <a:p>
                <a:pPr defTabSz="912813">
                  <a:buSzPct val="120000"/>
                </a:pPr>
                <a:r>
                  <a:rPr lang="en-US" sz="1200" b="1">
                    <a:cs typeface="Arial" pitchFamily="34" charset="0"/>
                  </a:rPr>
                  <a:t>Convening and Filtering</a:t>
                </a:r>
              </a:p>
            </p:txBody>
          </p:sp>
        </p:grpSp>
        <p:grpSp>
          <p:nvGrpSpPr>
            <p:cNvPr id="17444" name="Group 32"/>
            <p:cNvGrpSpPr>
              <a:grpSpLocks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2003" y="977"/>
              <a:ext cx="1169" cy="433"/>
              <a:chOff x="2752" y="713"/>
              <a:chExt cx="1250" cy="576"/>
            </a:xfrm>
          </p:grpSpPr>
          <p:sp>
            <p:nvSpPr>
              <p:cNvPr id="136205" name="Freeform 33"/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2752" y="713"/>
                <a:ext cx="1243" cy="576"/>
              </a:xfrm>
              <a:custGeom>
                <a:avLst/>
                <a:gdLst>
                  <a:gd name="T0" fmla="*/ 0 w 1250"/>
                  <a:gd name="T1" fmla="*/ 0 h 576"/>
                  <a:gd name="T2" fmla="*/ 1146 w 1250"/>
                  <a:gd name="T3" fmla="*/ 0 h 576"/>
                  <a:gd name="T4" fmla="*/ 1250 w 1250"/>
                  <a:gd name="T5" fmla="*/ 288 h 576"/>
                  <a:gd name="T6" fmla="*/ 1146 w 1250"/>
                  <a:gd name="T7" fmla="*/ 576 h 576"/>
                  <a:gd name="T8" fmla="*/ 0 w 1250"/>
                  <a:gd name="T9" fmla="*/ 576 h 576"/>
                  <a:gd name="T10" fmla="*/ 104 w 1250"/>
                  <a:gd name="T11" fmla="*/ 288 h 576"/>
                  <a:gd name="T12" fmla="*/ 0 w 1250"/>
                  <a:gd name="T13" fmla="*/ 0 h 57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250"/>
                  <a:gd name="T22" fmla="*/ 0 h 576"/>
                  <a:gd name="T23" fmla="*/ 1250 w 1250"/>
                  <a:gd name="T24" fmla="*/ 576 h 57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250" h="576">
                    <a:moveTo>
                      <a:pt x="0" y="0"/>
                    </a:moveTo>
                    <a:lnTo>
                      <a:pt x="1146" y="0"/>
                    </a:lnTo>
                    <a:lnTo>
                      <a:pt x="1250" y="288"/>
                    </a:lnTo>
                    <a:lnTo>
                      <a:pt x="1146" y="576"/>
                    </a:lnTo>
                    <a:lnTo>
                      <a:pt x="0" y="576"/>
                    </a:lnTo>
                    <a:lnTo>
                      <a:pt x="104" y="288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675F76">
                      <a:alpha val="50000"/>
                    </a:srgbClr>
                  </a:gs>
                  <a:gs pos="50000">
                    <a:schemeClr val="accent1">
                      <a:alpha val="50000"/>
                    </a:schemeClr>
                  </a:gs>
                  <a:gs pos="100000">
                    <a:srgbClr val="675F76">
                      <a:alpha val="50000"/>
                    </a:srgbClr>
                  </a:gs>
                </a:gsLst>
                <a:lin ang="5400000" scaled="1"/>
              </a:gradFill>
              <a:ln w="9525">
                <a:solidFill>
                  <a:schemeClr val="accent2"/>
                </a:solidFill>
                <a:round/>
                <a:headEnd/>
                <a:tailEnd/>
              </a:ln>
              <a:effectLst/>
            </p:spPr>
            <p:txBody>
              <a:bodyPr wrap="none" lIns="36000" anchor="ctr"/>
              <a:lstStyle/>
              <a:p>
                <a:pPr>
                  <a:defRPr/>
                </a:pPr>
                <a:endParaRPr lang="en-US" sz="1600" b="1">
                  <a:latin typeface="Calibri" pitchFamily="34" charset="0"/>
                  <a:ea typeface="MS PGothic" pitchFamily="34" charset="-128"/>
                </a:endParaRPr>
              </a:p>
            </p:txBody>
          </p:sp>
          <p:sp>
            <p:nvSpPr>
              <p:cNvPr id="17456" name="Rectangle 34"/>
              <p:cNvSpPr>
                <a:spLocks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2888" y="745"/>
                <a:ext cx="1011" cy="4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46648" tIns="0" rIns="46648" bIns="0" anchor="ctr"/>
              <a:lstStyle/>
              <a:p>
                <a:pPr defTabSz="912813">
                  <a:buSzPct val="120000"/>
                </a:pPr>
                <a:r>
                  <a:rPr lang="en-US" sz="1200" b="1">
                    <a:cs typeface="Arial" pitchFamily="34" charset="0"/>
                  </a:rPr>
                  <a:t>Business Plan Development Training</a:t>
                </a:r>
              </a:p>
            </p:txBody>
          </p:sp>
        </p:grpSp>
        <p:grpSp>
          <p:nvGrpSpPr>
            <p:cNvPr id="17445" name="Group 35"/>
            <p:cNvGrpSpPr>
              <a:grpSpLocks/>
            </p:cNvGrpSpPr>
            <p:nvPr>
              <p:custDataLst>
                <p:tags r:id="rId23"/>
              </p:custDataLst>
            </p:nvPr>
          </p:nvGrpSpPr>
          <p:grpSpPr bwMode="auto">
            <a:xfrm>
              <a:off x="3076" y="977"/>
              <a:ext cx="1168" cy="433"/>
              <a:chOff x="2752" y="713"/>
              <a:chExt cx="1250" cy="576"/>
            </a:xfrm>
          </p:grpSpPr>
          <p:sp>
            <p:nvSpPr>
              <p:cNvPr id="136208" name="Freeform 36"/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2745" y="713"/>
                <a:ext cx="1250" cy="576"/>
              </a:xfrm>
              <a:custGeom>
                <a:avLst/>
                <a:gdLst>
                  <a:gd name="T0" fmla="*/ 0 w 1250"/>
                  <a:gd name="T1" fmla="*/ 0 h 576"/>
                  <a:gd name="T2" fmla="*/ 1146 w 1250"/>
                  <a:gd name="T3" fmla="*/ 0 h 576"/>
                  <a:gd name="T4" fmla="*/ 1250 w 1250"/>
                  <a:gd name="T5" fmla="*/ 288 h 576"/>
                  <a:gd name="T6" fmla="*/ 1146 w 1250"/>
                  <a:gd name="T7" fmla="*/ 576 h 576"/>
                  <a:gd name="T8" fmla="*/ 0 w 1250"/>
                  <a:gd name="T9" fmla="*/ 576 h 576"/>
                  <a:gd name="T10" fmla="*/ 104 w 1250"/>
                  <a:gd name="T11" fmla="*/ 288 h 576"/>
                  <a:gd name="T12" fmla="*/ 0 w 1250"/>
                  <a:gd name="T13" fmla="*/ 0 h 57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250"/>
                  <a:gd name="T22" fmla="*/ 0 h 576"/>
                  <a:gd name="T23" fmla="*/ 1250 w 1250"/>
                  <a:gd name="T24" fmla="*/ 576 h 57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250" h="576">
                    <a:moveTo>
                      <a:pt x="0" y="0"/>
                    </a:moveTo>
                    <a:lnTo>
                      <a:pt x="1146" y="0"/>
                    </a:lnTo>
                    <a:lnTo>
                      <a:pt x="1250" y="288"/>
                    </a:lnTo>
                    <a:lnTo>
                      <a:pt x="1146" y="576"/>
                    </a:lnTo>
                    <a:lnTo>
                      <a:pt x="0" y="576"/>
                    </a:lnTo>
                    <a:lnTo>
                      <a:pt x="104" y="288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675F76">
                      <a:alpha val="50000"/>
                    </a:srgbClr>
                  </a:gs>
                  <a:gs pos="50000">
                    <a:schemeClr val="accent1">
                      <a:alpha val="50000"/>
                    </a:schemeClr>
                  </a:gs>
                  <a:gs pos="100000">
                    <a:srgbClr val="675F76">
                      <a:alpha val="50000"/>
                    </a:srgbClr>
                  </a:gs>
                </a:gsLst>
                <a:lin ang="5400000" scaled="1"/>
              </a:gradFill>
              <a:ln w="9525">
                <a:solidFill>
                  <a:schemeClr val="accent2"/>
                </a:solidFill>
                <a:round/>
                <a:headEnd/>
                <a:tailEnd/>
              </a:ln>
              <a:effectLst/>
            </p:spPr>
            <p:txBody>
              <a:bodyPr wrap="none" lIns="36000" anchor="ctr"/>
              <a:lstStyle/>
              <a:p>
                <a:pPr>
                  <a:defRPr/>
                </a:pPr>
                <a:endParaRPr lang="en-US" sz="1600" b="1">
                  <a:latin typeface="Calibri" pitchFamily="34" charset="0"/>
                  <a:ea typeface="MS PGothic" pitchFamily="34" charset="-128"/>
                </a:endParaRPr>
              </a:p>
            </p:txBody>
          </p:sp>
          <p:sp>
            <p:nvSpPr>
              <p:cNvPr id="17454" name="Rectangle 37"/>
              <p:cNvSpPr>
                <a:spLocks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2888" y="745"/>
                <a:ext cx="1011" cy="4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46648" tIns="0" rIns="46648" bIns="0" anchor="ctr"/>
              <a:lstStyle/>
              <a:p>
                <a:pPr defTabSz="912813">
                  <a:buSzPct val="120000"/>
                </a:pPr>
                <a:r>
                  <a:rPr lang="en-US" sz="1200" b="1">
                    <a:cs typeface="Arial" pitchFamily="34" charset="0"/>
                  </a:rPr>
                  <a:t>Filtering</a:t>
                </a:r>
              </a:p>
            </p:txBody>
          </p:sp>
        </p:grpSp>
        <p:grpSp>
          <p:nvGrpSpPr>
            <p:cNvPr id="17446" name="Group 35"/>
            <p:cNvGrpSpPr>
              <a:grpSpLocks/>
            </p:cNvGrpSpPr>
            <p:nvPr>
              <p:custDataLst>
                <p:tags r:id="rId24"/>
              </p:custDataLst>
            </p:nvPr>
          </p:nvGrpSpPr>
          <p:grpSpPr bwMode="auto">
            <a:xfrm>
              <a:off x="4144" y="977"/>
              <a:ext cx="1168" cy="433"/>
              <a:chOff x="2752" y="713"/>
              <a:chExt cx="1250" cy="576"/>
            </a:xfrm>
          </p:grpSpPr>
          <p:sp>
            <p:nvSpPr>
              <p:cNvPr id="136212" name="Freeform 36"/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2752" y="713"/>
                <a:ext cx="1250" cy="576"/>
              </a:xfrm>
              <a:custGeom>
                <a:avLst/>
                <a:gdLst>
                  <a:gd name="T0" fmla="*/ 0 w 1250"/>
                  <a:gd name="T1" fmla="*/ 0 h 576"/>
                  <a:gd name="T2" fmla="*/ 1146 w 1250"/>
                  <a:gd name="T3" fmla="*/ 0 h 576"/>
                  <a:gd name="T4" fmla="*/ 1250 w 1250"/>
                  <a:gd name="T5" fmla="*/ 288 h 576"/>
                  <a:gd name="T6" fmla="*/ 1146 w 1250"/>
                  <a:gd name="T7" fmla="*/ 576 h 576"/>
                  <a:gd name="T8" fmla="*/ 0 w 1250"/>
                  <a:gd name="T9" fmla="*/ 576 h 576"/>
                  <a:gd name="T10" fmla="*/ 104 w 1250"/>
                  <a:gd name="T11" fmla="*/ 288 h 576"/>
                  <a:gd name="T12" fmla="*/ 0 w 1250"/>
                  <a:gd name="T13" fmla="*/ 0 h 57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250"/>
                  <a:gd name="T22" fmla="*/ 0 h 576"/>
                  <a:gd name="T23" fmla="*/ 1250 w 1250"/>
                  <a:gd name="T24" fmla="*/ 576 h 57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250" h="576">
                    <a:moveTo>
                      <a:pt x="0" y="0"/>
                    </a:moveTo>
                    <a:lnTo>
                      <a:pt x="1146" y="0"/>
                    </a:lnTo>
                    <a:lnTo>
                      <a:pt x="1250" y="288"/>
                    </a:lnTo>
                    <a:lnTo>
                      <a:pt x="1146" y="576"/>
                    </a:lnTo>
                    <a:lnTo>
                      <a:pt x="0" y="576"/>
                    </a:lnTo>
                    <a:lnTo>
                      <a:pt x="104" y="288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675F76">
                      <a:alpha val="50000"/>
                    </a:srgbClr>
                  </a:gs>
                  <a:gs pos="50000">
                    <a:schemeClr val="accent1">
                      <a:alpha val="50000"/>
                    </a:schemeClr>
                  </a:gs>
                  <a:gs pos="100000">
                    <a:srgbClr val="675F76">
                      <a:alpha val="50000"/>
                    </a:srgbClr>
                  </a:gs>
                </a:gsLst>
                <a:lin ang="5400000" scaled="1"/>
              </a:gradFill>
              <a:ln w="9525">
                <a:solidFill>
                  <a:schemeClr val="accent2"/>
                </a:solidFill>
                <a:round/>
                <a:headEnd/>
                <a:tailEnd/>
              </a:ln>
              <a:effectLst/>
            </p:spPr>
            <p:txBody>
              <a:bodyPr wrap="none" lIns="36000" anchor="ctr"/>
              <a:lstStyle/>
              <a:p>
                <a:pPr>
                  <a:defRPr/>
                </a:pPr>
                <a:endParaRPr lang="en-US" sz="1600" b="1">
                  <a:latin typeface="Calibri" pitchFamily="34" charset="0"/>
                  <a:ea typeface="MS PGothic" pitchFamily="34" charset="-128"/>
                </a:endParaRPr>
              </a:p>
            </p:txBody>
          </p:sp>
          <p:sp>
            <p:nvSpPr>
              <p:cNvPr id="17452" name="Rectangle 37"/>
              <p:cNvSpPr>
                <a:spLocks noChangeArrowheads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2888" y="745"/>
                <a:ext cx="1011" cy="4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46648" tIns="0" rIns="46648" bIns="0" anchor="ctr"/>
              <a:lstStyle/>
              <a:p>
                <a:pPr defTabSz="912813">
                  <a:buSzPct val="120000"/>
                </a:pPr>
                <a:r>
                  <a:rPr lang="en-US" sz="1200" b="1">
                    <a:cs typeface="Arial" pitchFamily="34" charset="0"/>
                  </a:rPr>
                  <a:t>Final Selection and Award</a:t>
                </a:r>
              </a:p>
            </p:txBody>
          </p:sp>
        </p:grpSp>
        <p:sp>
          <p:nvSpPr>
            <p:cNvPr id="17447" name="Rectangle 27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939" y="839"/>
              <a:ext cx="1006" cy="1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defTabSz="912813">
                <a:buSzPct val="120000"/>
              </a:pPr>
              <a:r>
                <a:rPr lang="en-US" sz="1200" b="1">
                  <a:solidFill>
                    <a:schemeClr val="tx2"/>
                  </a:solidFill>
                  <a:cs typeface="Arial" pitchFamily="34" charset="0"/>
                </a:rPr>
                <a:t>BPC Basic Process</a:t>
              </a:r>
            </a:p>
          </p:txBody>
        </p:sp>
        <p:sp>
          <p:nvSpPr>
            <p:cNvPr id="17448" name="Rectangle 7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2035" y="1499"/>
              <a:ext cx="1008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marL="136525" lvl="1" indent="-134938" defTabSz="912813">
                <a:lnSpc>
                  <a:spcPct val="95000"/>
                </a:lnSpc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US" sz="1200">
                  <a:solidFill>
                    <a:srgbClr val="000000"/>
                  </a:solidFill>
                  <a:cs typeface="Arial" pitchFamily="34" charset="0"/>
                </a:rPr>
                <a:t>Provide practical training for creating a useful business plan</a:t>
              </a:r>
            </a:p>
          </p:txBody>
        </p:sp>
        <p:sp>
          <p:nvSpPr>
            <p:cNvPr id="17449" name="Rectangle 7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3083" y="1499"/>
              <a:ext cx="1008" cy="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marL="136525" lvl="1" indent="-134938" defTabSz="912813">
                <a:lnSpc>
                  <a:spcPct val="95000"/>
                </a:lnSpc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US" sz="1200">
                  <a:solidFill>
                    <a:srgbClr val="000000"/>
                  </a:solidFill>
                  <a:cs typeface="Arial" pitchFamily="34" charset="0"/>
                </a:rPr>
                <a:t>Selection based on quality of business plan</a:t>
              </a:r>
            </a:p>
          </p:txBody>
        </p:sp>
        <p:sp>
          <p:nvSpPr>
            <p:cNvPr id="17450" name="Rectangle 7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4179" y="1499"/>
              <a:ext cx="1008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marL="136525" lvl="1" indent="-134938" defTabSz="912813">
                <a:lnSpc>
                  <a:spcPct val="95000"/>
                </a:lnSpc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US" sz="1200">
                  <a:solidFill>
                    <a:srgbClr val="000000"/>
                  </a:solidFill>
                  <a:cs typeface="Arial" pitchFamily="34" charset="0"/>
                </a:rPr>
                <a:t>Provide seed capital to most promising businesses</a:t>
              </a:r>
            </a:p>
          </p:txBody>
        </p:sp>
      </p:grpSp>
      <p:grpSp>
        <p:nvGrpSpPr>
          <p:cNvPr id="7" name="Group 41"/>
          <p:cNvGrpSpPr>
            <a:grpSpLocks/>
          </p:cNvGrpSpPr>
          <p:nvPr/>
        </p:nvGrpSpPr>
        <p:grpSpPr bwMode="auto">
          <a:xfrm>
            <a:off x="1092200" y="4673600"/>
            <a:ext cx="7477125" cy="1935163"/>
            <a:chOff x="674" y="2529"/>
            <a:chExt cx="4616" cy="1317"/>
          </a:xfrm>
        </p:grpSpPr>
        <p:sp>
          <p:nvSpPr>
            <p:cNvPr id="17429" name="Rectangle 27"/>
            <p:cNvSpPr>
              <a:spLocks noChangeArrowheads="1"/>
            </p:cNvSpPr>
            <p:nvPr/>
          </p:nvSpPr>
          <p:spPr bwMode="auto">
            <a:xfrm>
              <a:off x="941" y="2529"/>
              <a:ext cx="1060" cy="284"/>
            </a:xfrm>
            <a:prstGeom prst="rect">
              <a:avLst/>
            </a:prstGeom>
            <a:solidFill>
              <a:srgbClr val="EAEAEA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lIns="93296" tIns="46648" rIns="93296" bIns="46648" anchor="ctr"/>
            <a:lstStyle/>
            <a:p>
              <a:pPr algn="ctr" defTabSz="933450"/>
              <a:r>
                <a:rPr lang="en-US" sz="1200" b="1">
                  <a:solidFill>
                    <a:schemeClr val="tx2"/>
                  </a:solidFill>
                  <a:cs typeface="Arial" pitchFamily="34" charset="0"/>
                </a:rPr>
                <a:t>Selection</a:t>
              </a:r>
            </a:p>
          </p:txBody>
        </p:sp>
        <p:sp>
          <p:nvSpPr>
            <p:cNvPr id="17430" name="AutoShape 28"/>
            <p:cNvSpPr>
              <a:spLocks noChangeArrowheads="1"/>
            </p:cNvSpPr>
            <p:nvPr/>
          </p:nvSpPr>
          <p:spPr bwMode="auto">
            <a:xfrm rot="-5400000">
              <a:off x="996" y="2856"/>
              <a:ext cx="947" cy="1034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193 w 21600"/>
                <a:gd name="T13" fmla="*/ 3175 h 21600"/>
                <a:gd name="T14" fmla="*/ 18407 w 21600"/>
                <a:gd name="T15" fmla="*/ 18425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767" y="21600"/>
                  </a:lnTo>
                  <a:lnTo>
                    <a:pt x="18833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>
              <a:solidFill>
                <a:srgbClr val="80808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7431" name="Rectangle 7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1003" y="3030"/>
              <a:ext cx="880" cy="7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marL="136525" lvl="1" indent="-134938" defTabSz="912813">
                <a:lnSpc>
                  <a:spcPct val="95000"/>
                </a:lnSpc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US" sz="1200">
                  <a:solidFill>
                    <a:srgbClr val="000000"/>
                  </a:solidFill>
                  <a:cs typeface="Arial" pitchFamily="34" charset="0"/>
                </a:rPr>
                <a:t>Is our selection process effective?</a:t>
              </a:r>
            </a:p>
            <a:p>
              <a:pPr marL="136525" lvl="1" indent="-134938" defTabSz="912813">
                <a:lnSpc>
                  <a:spcPct val="95000"/>
                </a:lnSpc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US" sz="1200">
                  <a:solidFill>
                    <a:srgbClr val="000000"/>
                  </a:solidFill>
                  <a:cs typeface="Arial" pitchFamily="34" charset="0"/>
                </a:rPr>
                <a:t>Are we attracting strong applicants?</a:t>
              </a:r>
            </a:p>
            <a:p>
              <a:pPr marL="136525" lvl="1" indent="-134938" defTabSz="912813">
                <a:lnSpc>
                  <a:spcPct val="95000"/>
                </a:lnSpc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US" sz="1200">
                  <a:solidFill>
                    <a:srgbClr val="000000"/>
                  </a:solidFill>
                  <a:cs typeface="Arial" pitchFamily="34" charset="0"/>
                </a:rPr>
                <a:t>How can it be improved?</a:t>
              </a:r>
            </a:p>
          </p:txBody>
        </p:sp>
        <p:sp>
          <p:nvSpPr>
            <p:cNvPr id="17432" name="Rectangle 7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099" y="3146"/>
              <a:ext cx="880" cy="4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marL="136525" lvl="1" indent="-134938" defTabSz="912813">
                <a:lnSpc>
                  <a:spcPct val="95000"/>
                </a:lnSpc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US" sz="1200">
                  <a:solidFill>
                    <a:srgbClr val="000000"/>
                  </a:solidFill>
                  <a:cs typeface="Arial" pitchFamily="34" charset="0"/>
                </a:rPr>
                <a:t>How useful is it?</a:t>
              </a:r>
            </a:p>
            <a:p>
              <a:pPr marL="136525" lvl="1" indent="-134938" defTabSz="912813">
                <a:lnSpc>
                  <a:spcPct val="95000"/>
                </a:lnSpc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US" sz="1200">
                  <a:solidFill>
                    <a:srgbClr val="000000"/>
                  </a:solidFill>
                  <a:cs typeface="Arial" pitchFamily="34" charset="0"/>
                </a:rPr>
                <a:t>How does impact breakdown amongst groups?</a:t>
              </a:r>
            </a:p>
          </p:txBody>
        </p:sp>
        <p:sp>
          <p:nvSpPr>
            <p:cNvPr id="17433" name="Rectangle 7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3192" y="3146"/>
              <a:ext cx="880" cy="3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marL="136525" lvl="1" indent="-134938" defTabSz="912813">
                <a:lnSpc>
                  <a:spcPct val="95000"/>
                </a:lnSpc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US" sz="1200">
                  <a:solidFill>
                    <a:srgbClr val="000000"/>
                  </a:solidFill>
                  <a:cs typeface="Arial" pitchFamily="34" charset="0"/>
                </a:rPr>
                <a:t>How effective is it?</a:t>
              </a:r>
            </a:p>
            <a:p>
              <a:pPr marL="136525" lvl="1" indent="-134938" defTabSz="912813">
                <a:lnSpc>
                  <a:spcPct val="95000"/>
                </a:lnSpc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US" sz="1200">
                  <a:solidFill>
                    <a:srgbClr val="000000"/>
                  </a:solidFill>
                  <a:cs typeface="Arial" pitchFamily="34" charset="0"/>
                </a:rPr>
                <a:t>How effective is our selection?</a:t>
              </a:r>
            </a:p>
          </p:txBody>
        </p:sp>
        <p:sp>
          <p:nvSpPr>
            <p:cNvPr id="17434" name="Rectangle 7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4288" y="3263"/>
              <a:ext cx="880" cy="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marL="136525" lvl="1" indent="-134938" defTabSz="912813">
                <a:lnSpc>
                  <a:spcPct val="95000"/>
                </a:lnSpc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US" sz="1200">
                  <a:solidFill>
                    <a:srgbClr val="000000"/>
                  </a:solidFill>
                  <a:cs typeface="Arial" pitchFamily="34" charset="0"/>
                </a:rPr>
                <a:t>What happens to the winners?</a:t>
              </a:r>
            </a:p>
          </p:txBody>
        </p:sp>
        <p:sp>
          <p:nvSpPr>
            <p:cNvPr id="17435" name="Rectangle 33"/>
            <p:cNvSpPr>
              <a:spLocks noChangeArrowheads="1"/>
            </p:cNvSpPr>
            <p:nvPr/>
          </p:nvSpPr>
          <p:spPr bwMode="auto">
            <a:xfrm>
              <a:off x="2038" y="2529"/>
              <a:ext cx="1060" cy="284"/>
            </a:xfrm>
            <a:prstGeom prst="rect">
              <a:avLst/>
            </a:prstGeom>
            <a:solidFill>
              <a:srgbClr val="EAEAEA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lIns="93296" tIns="46648" rIns="93296" bIns="46648" anchor="ctr"/>
            <a:lstStyle/>
            <a:p>
              <a:pPr algn="ctr" defTabSz="933450"/>
              <a:r>
                <a:rPr lang="en-US" sz="1200" b="1">
                  <a:solidFill>
                    <a:schemeClr val="tx2"/>
                  </a:solidFill>
                  <a:cs typeface="Arial" pitchFamily="34" charset="0"/>
                </a:rPr>
                <a:t>1</a:t>
              </a:r>
              <a:r>
                <a:rPr lang="en-US" sz="1200" b="1" baseline="30000">
                  <a:solidFill>
                    <a:schemeClr val="tx2"/>
                  </a:solidFill>
                  <a:cs typeface="Arial" pitchFamily="34" charset="0"/>
                </a:rPr>
                <a:t>st</a:t>
              </a:r>
              <a:r>
                <a:rPr lang="en-US" sz="1200" b="1">
                  <a:solidFill>
                    <a:schemeClr val="tx2"/>
                  </a:solidFill>
                  <a:cs typeface="Arial" pitchFamily="34" charset="0"/>
                </a:rPr>
                <a:t> Round Training</a:t>
              </a:r>
            </a:p>
          </p:txBody>
        </p:sp>
        <p:sp>
          <p:nvSpPr>
            <p:cNvPr id="17436" name="AutoShape 34"/>
            <p:cNvSpPr>
              <a:spLocks noChangeArrowheads="1"/>
            </p:cNvSpPr>
            <p:nvPr/>
          </p:nvSpPr>
          <p:spPr bwMode="auto">
            <a:xfrm rot="-5400000">
              <a:off x="2093" y="2856"/>
              <a:ext cx="947" cy="1034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193 w 21600"/>
                <a:gd name="T13" fmla="*/ 3175 h 21600"/>
                <a:gd name="T14" fmla="*/ 18407 w 21600"/>
                <a:gd name="T15" fmla="*/ 18425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767" y="21600"/>
                  </a:lnTo>
                  <a:lnTo>
                    <a:pt x="18833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>
              <a:solidFill>
                <a:srgbClr val="80808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7437" name="Rectangle 35"/>
            <p:cNvSpPr>
              <a:spLocks noChangeArrowheads="1"/>
            </p:cNvSpPr>
            <p:nvPr/>
          </p:nvSpPr>
          <p:spPr bwMode="auto">
            <a:xfrm>
              <a:off x="3133" y="2529"/>
              <a:ext cx="1060" cy="284"/>
            </a:xfrm>
            <a:prstGeom prst="rect">
              <a:avLst/>
            </a:prstGeom>
            <a:solidFill>
              <a:srgbClr val="EAEAEA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lIns="93296" tIns="46648" rIns="93296" bIns="46648" anchor="ctr"/>
            <a:lstStyle/>
            <a:p>
              <a:pPr algn="ctr" defTabSz="933450"/>
              <a:r>
                <a:rPr lang="en-US" sz="1200" b="1">
                  <a:solidFill>
                    <a:schemeClr val="tx2"/>
                  </a:solidFill>
                  <a:cs typeface="Arial" pitchFamily="34" charset="0"/>
                </a:rPr>
                <a:t>2</a:t>
              </a:r>
              <a:r>
                <a:rPr lang="en-US" sz="1200" b="1" baseline="30000">
                  <a:solidFill>
                    <a:schemeClr val="tx2"/>
                  </a:solidFill>
                  <a:cs typeface="Arial" pitchFamily="34" charset="0"/>
                </a:rPr>
                <a:t>nd</a:t>
              </a:r>
              <a:r>
                <a:rPr lang="en-US" sz="1200" b="1">
                  <a:solidFill>
                    <a:schemeClr val="tx2"/>
                  </a:solidFill>
                  <a:cs typeface="Arial" pitchFamily="34" charset="0"/>
                </a:rPr>
                <a:t> Round Training </a:t>
              </a:r>
            </a:p>
            <a:p>
              <a:pPr algn="ctr" defTabSz="933450"/>
              <a:r>
                <a:rPr lang="en-US" sz="1200" b="1">
                  <a:solidFill>
                    <a:schemeClr val="tx2"/>
                  </a:solidFill>
                  <a:cs typeface="Arial" pitchFamily="34" charset="0"/>
                </a:rPr>
                <a:t>(Finalists)</a:t>
              </a:r>
            </a:p>
          </p:txBody>
        </p:sp>
        <p:sp>
          <p:nvSpPr>
            <p:cNvPr id="17438" name="AutoShape 36"/>
            <p:cNvSpPr>
              <a:spLocks noChangeArrowheads="1"/>
            </p:cNvSpPr>
            <p:nvPr/>
          </p:nvSpPr>
          <p:spPr bwMode="auto">
            <a:xfrm rot="-5400000">
              <a:off x="3188" y="2856"/>
              <a:ext cx="947" cy="1034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193 w 21600"/>
                <a:gd name="T13" fmla="*/ 3175 h 21600"/>
                <a:gd name="T14" fmla="*/ 18407 w 21600"/>
                <a:gd name="T15" fmla="*/ 18425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767" y="21600"/>
                  </a:lnTo>
                  <a:lnTo>
                    <a:pt x="18833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>
              <a:solidFill>
                <a:srgbClr val="80808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7439" name="Rectangle 37"/>
            <p:cNvSpPr>
              <a:spLocks noChangeArrowheads="1"/>
            </p:cNvSpPr>
            <p:nvPr/>
          </p:nvSpPr>
          <p:spPr bwMode="auto">
            <a:xfrm>
              <a:off x="4230" y="2529"/>
              <a:ext cx="1060" cy="284"/>
            </a:xfrm>
            <a:prstGeom prst="rect">
              <a:avLst/>
            </a:prstGeom>
            <a:solidFill>
              <a:srgbClr val="EAEAEA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lIns="93296" tIns="46648" rIns="93296" bIns="46648" anchor="ctr"/>
            <a:lstStyle/>
            <a:p>
              <a:pPr algn="ctr" defTabSz="933450"/>
              <a:r>
                <a:rPr lang="en-US" sz="1200" b="1">
                  <a:solidFill>
                    <a:schemeClr val="tx2"/>
                  </a:solidFill>
                  <a:cs typeface="Arial" pitchFamily="34" charset="0"/>
                </a:rPr>
                <a:t>Winners</a:t>
              </a:r>
            </a:p>
          </p:txBody>
        </p:sp>
        <p:sp>
          <p:nvSpPr>
            <p:cNvPr id="17440" name="AutoShape 38"/>
            <p:cNvSpPr>
              <a:spLocks noChangeArrowheads="1"/>
            </p:cNvSpPr>
            <p:nvPr/>
          </p:nvSpPr>
          <p:spPr bwMode="auto">
            <a:xfrm rot="-5400000">
              <a:off x="4285" y="2856"/>
              <a:ext cx="947" cy="1034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193 w 21600"/>
                <a:gd name="T13" fmla="*/ 3175 h 21600"/>
                <a:gd name="T14" fmla="*/ 18407 w 21600"/>
                <a:gd name="T15" fmla="*/ 18425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767" y="21600"/>
                  </a:lnTo>
                  <a:lnTo>
                    <a:pt x="18833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>
              <a:solidFill>
                <a:srgbClr val="80808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7441" name="Rectangle 39"/>
            <p:cNvSpPr>
              <a:spLocks noChangeArrowheads="1"/>
            </p:cNvSpPr>
            <p:nvPr/>
          </p:nvSpPr>
          <p:spPr bwMode="auto">
            <a:xfrm rot="-5400000">
              <a:off x="305" y="3276"/>
              <a:ext cx="930" cy="192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lIns="93296" tIns="46648" rIns="93296" bIns="46648" anchor="ctr"/>
            <a:lstStyle/>
            <a:p>
              <a:pPr algn="ctr" defTabSz="933450"/>
              <a:r>
                <a:rPr lang="en-US" sz="1200" b="1">
                  <a:solidFill>
                    <a:schemeClr val="bg1"/>
                  </a:solidFill>
                  <a:cs typeface="Arial" pitchFamily="34" charset="0"/>
                </a:rPr>
                <a:t>Key Questions</a:t>
              </a:r>
            </a:p>
          </p:txBody>
        </p:sp>
      </p:grpSp>
      <p:sp>
        <p:nvSpPr>
          <p:cNvPr id="17412" name="Rectangle 3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>
                <a:ea typeface="ＭＳ Ｐゴシック" pitchFamily="34" charset="-128"/>
                <a:cs typeface="Arial" pitchFamily="34" charset="0"/>
              </a:rPr>
              <a:t>The BPC is a cornerstone of the solution envisioned by TechnoServe</a:t>
            </a:r>
          </a:p>
        </p:txBody>
      </p:sp>
      <p:grpSp>
        <p:nvGrpSpPr>
          <p:cNvPr id="17413" name="Group 38"/>
          <p:cNvGrpSpPr>
            <a:grpSpLocks/>
          </p:cNvGrpSpPr>
          <p:nvPr/>
        </p:nvGrpSpPr>
        <p:grpSpPr bwMode="auto">
          <a:xfrm>
            <a:off x="8056563" y="693738"/>
            <a:ext cx="974725" cy="344487"/>
            <a:chOff x="220" y="1866"/>
            <a:chExt cx="5348" cy="1886"/>
          </a:xfrm>
        </p:grpSpPr>
        <p:sp>
          <p:nvSpPr>
            <p:cNvPr id="17414" name="Line 39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>
              <a:off x="3974" y="2414"/>
              <a:ext cx="157" cy="9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7415" name="Arc 40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955" y="2361"/>
              <a:ext cx="470" cy="269"/>
            </a:xfrm>
            <a:custGeom>
              <a:avLst/>
              <a:gdLst>
                <a:gd name="T0" fmla="*/ 0 w 24969"/>
                <a:gd name="T1" fmla="*/ 0 h 21600"/>
                <a:gd name="T2" fmla="*/ 0 w 24969"/>
                <a:gd name="T3" fmla="*/ 0 h 21600"/>
                <a:gd name="T4" fmla="*/ 0 w 24969"/>
                <a:gd name="T5" fmla="*/ 0 h 21600"/>
                <a:gd name="T6" fmla="*/ 0 60000 65536"/>
                <a:gd name="T7" fmla="*/ 0 60000 65536"/>
                <a:gd name="T8" fmla="*/ 0 60000 65536"/>
                <a:gd name="T9" fmla="*/ 0 w 24969"/>
                <a:gd name="T10" fmla="*/ 0 h 21600"/>
                <a:gd name="T11" fmla="*/ 24969 w 24969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969" h="21600" fill="none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</a:path>
                <a:path w="24969" h="21600" stroke="0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  <a:lnTo>
                    <a:pt x="21594" y="21600"/>
                  </a:lnTo>
                  <a:lnTo>
                    <a:pt x="-1" y="21094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7416" name="Arc 41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624" y="1988"/>
              <a:ext cx="984" cy="548"/>
            </a:xfrm>
            <a:custGeom>
              <a:avLst/>
              <a:gdLst>
                <a:gd name="T0" fmla="*/ 0 w 24568"/>
                <a:gd name="T1" fmla="*/ 0 h 21600"/>
                <a:gd name="T2" fmla="*/ 0 w 24568"/>
                <a:gd name="T3" fmla="*/ 0 h 21600"/>
                <a:gd name="T4" fmla="*/ 0 w 24568"/>
                <a:gd name="T5" fmla="*/ 0 h 21600"/>
                <a:gd name="T6" fmla="*/ 0 60000 65536"/>
                <a:gd name="T7" fmla="*/ 0 60000 65536"/>
                <a:gd name="T8" fmla="*/ 0 60000 65536"/>
                <a:gd name="T9" fmla="*/ 0 w 24568"/>
                <a:gd name="T10" fmla="*/ 0 h 21600"/>
                <a:gd name="T11" fmla="*/ 24568 w 24568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568" h="21600" fill="none" extrusionOk="0">
                  <a:moveTo>
                    <a:pt x="-1" y="17428"/>
                  </a:moveTo>
                  <a:cubicBezTo>
                    <a:pt x="1992" y="7301"/>
                    <a:pt x="10871" y="-1"/>
                    <a:pt x="21193" y="-1"/>
                  </a:cubicBezTo>
                  <a:cubicBezTo>
                    <a:pt x="22323" y="-1"/>
                    <a:pt x="23451" y="88"/>
                    <a:pt x="24567" y="265"/>
                  </a:cubicBezTo>
                </a:path>
                <a:path w="24568" h="21600" stroke="0" extrusionOk="0">
                  <a:moveTo>
                    <a:pt x="-1" y="17428"/>
                  </a:moveTo>
                  <a:cubicBezTo>
                    <a:pt x="1992" y="7301"/>
                    <a:pt x="10871" y="-1"/>
                    <a:pt x="21193" y="-1"/>
                  </a:cubicBezTo>
                  <a:cubicBezTo>
                    <a:pt x="22323" y="-1"/>
                    <a:pt x="23451" y="88"/>
                    <a:pt x="24567" y="265"/>
                  </a:cubicBezTo>
                  <a:lnTo>
                    <a:pt x="21193" y="21600"/>
                  </a:lnTo>
                  <a:lnTo>
                    <a:pt x="-1" y="17428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7417" name="Freeform 42"/>
            <p:cNvSpPr>
              <a:spLocks/>
            </p:cNvSpPr>
            <p:nvPr>
              <p:custDataLst>
                <p:tags r:id="rId4"/>
              </p:custDataLst>
            </p:nvPr>
          </p:nvSpPr>
          <p:spPr bwMode="blackWhite">
            <a:xfrm>
              <a:off x="2546" y="1866"/>
              <a:ext cx="854" cy="678"/>
            </a:xfrm>
            <a:custGeom>
              <a:avLst/>
              <a:gdLst>
                <a:gd name="T0" fmla="*/ 0 w 854"/>
                <a:gd name="T1" fmla="*/ 570 h 675"/>
                <a:gd name="T2" fmla="*/ 660 w 854"/>
                <a:gd name="T3" fmla="*/ 567 h 675"/>
                <a:gd name="T4" fmla="*/ 660 w 854"/>
                <a:gd name="T5" fmla="*/ 690 h 675"/>
                <a:gd name="T6" fmla="*/ 854 w 854"/>
                <a:gd name="T7" fmla="*/ 334 h 675"/>
                <a:gd name="T8" fmla="*/ 662 w 854"/>
                <a:gd name="T9" fmla="*/ 0 h 675"/>
                <a:gd name="T10" fmla="*/ 663 w 854"/>
                <a:gd name="T11" fmla="*/ 131 h 675"/>
                <a:gd name="T12" fmla="*/ 12 w 854"/>
                <a:gd name="T13" fmla="*/ 131 h 675"/>
                <a:gd name="T14" fmla="*/ 124 w 854"/>
                <a:gd name="T15" fmla="*/ 331 h 675"/>
                <a:gd name="T16" fmla="*/ 0 w 854"/>
                <a:gd name="T17" fmla="*/ 570 h 6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54"/>
                <a:gd name="T28" fmla="*/ 0 h 675"/>
                <a:gd name="T29" fmla="*/ 854 w 854"/>
                <a:gd name="T30" fmla="*/ 675 h 6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54" h="675">
                  <a:moveTo>
                    <a:pt x="0" y="558"/>
                  </a:moveTo>
                  <a:lnTo>
                    <a:pt x="660" y="556"/>
                  </a:lnTo>
                  <a:lnTo>
                    <a:pt x="660" y="675"/>
                  </a:lnTo>
                  <a:lnTo>
                    <a:pt x="854" y="329"/>
                  </a:lnTo>
                  <a:lnTo>
                    <a:pt x="662" y="0"/>
                  </a:lnTo>
                  <a:lnTo>
                    <a:pt x="663" y="126"/>
                  </a:lnTo>
                  <a:lnTo>
                    <a:pt x="12" y="126"/>
                  </a:lnTo>
                  <a:lnTo>
                    <a:pt x="124" y="3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18" name="Arc 43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455" y="1988"/>
              <a:ext cx="984" cy="548"/>
            </a:xfrm>
            <a:custGeom>
              <a:avLst/>
              <a:gdLst>
                <a:gd name="T0" fmla="*/ 0 w 24961"/>
                <a:gd name="T1" fmla="*/ 0 h 21600"/>
                <a:gd name="T2" fmla="*/ 0 w 24961"/>
                <a:gd name="T3" fmla="*/ 0 h 21600"/>
                <a:gd name="T4" fmla="*/ 0 w 24961"/>
                <a:gd name="T5" fmla="*/ 0 h 21600"/>
                <a:gd name="T6" fmla="*/ 0 60000 65536"/>
                <a:gd name="T7" fmla="*/ 0 60000 65536"/>
                <a:gd name="T8" fmla="*/ 0 60000 65536"/>
                <a:gd name="T9" fmla="*/ 0 w 24961"/>
                <a:gd name="T10" fmla="*/ 0 h 21600"/>
                <a:gd name="T11" fmla="*/ 24961 w 24961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961" h="21600" fill="none" extrusionOk="0">
                  <a:moveTo>
                    <a:pt x="-1" y="20825"/>
                  </a:moveTo>
                  <a:cubicBezTo>
                    <a:pt x="416" y="9205"/>
                    <a:pt x="9957" y="-1"/>
                    <a:pt x="21586" y="-1"/>
                  </a:cubicBezTo>
                  <a:cubicBezTo>
                    <a:pt x="22716" y="-1"/>
                    <a:pt x="23844" y="88"/>
                    <a:pt x="24960" y="265"/>
                  </a:cubicBezTo>
                </a:path>
                <a:path w="24961" h="21600" stroke="0" extrusionOk="0">
                  <a:moveTo>
                    <a:pt x="-1" y="20825"/>
                  </a:moveTo>
                  <a:cubicBezTo>
                    <a:pt x="416" y="9205"/>
                    <a:pt x="9957" y="-1"/>
                    <a:pt x="21586" y="-1"/>
                  </a:cubicBezTo>
                  <a:cubicBezTo>
                    <a:pt x="22716" y="-1"/>
                    <a:pt x="23844" y="88"/>
                    <a:pt x="24960" y="265"/>
                  </a:cubicBezTo>
                  <a:lnTo>
                    <a:pt x="21586" y="21600"/>
                  </a:lnTo>
                  <a:lnTo>
                    <a:pt x="-1" y="20825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7419" name="Arc 44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812" y="2387"/>
              <a:ext cx="479" cy="278"/>
            </a:xfrm>
            <a:custGeom>
              <a:avLst/>
              <a:gdLst>
                <a:gd name="T0" fmla="*/ 0 w 24969"/>
                <a:gd name="T1" fmla="*/ 0 h 21600"/>
                <a:gd name="T2" fmla="*/ 0 w 24969"/>
                <a:gd name="T3" fmla="*/ 0 h 21600"/>
                <a:gd name="T4" fmla="*/ 0 w 24969"/>
                <a:gd name="T5" fmla="*/ 0 h 21600"/>
                <a:gd name="T6" fmla="*/ 0 60000 65536"/>
                <a:gd name="T7" fmla="*/ 0 60000 65536"/>
                <a:gd name="T8" fmla="*/ 0 60000 65536"/>
                <a:gd name="T9" fmla="*/ 0 w 24969"/>
                <a:gd name="T10" fmla="*/ 0 h 21600"/>
                <a:gd name="T11" fmla="*/ 24969 w 24969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969" h="21600" fill="none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</a:path>
                <a:path w="24969" h="21600" stroke="0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  <a:lnTo>
                    <a:pt x="21594" y="21600"/>
                  </a:lnTo>
                  <a:lnTo>
                    <a:pt x="-1" y="21094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7420" name="Freeform 45"/>
            <p:cNvSpPr>
              <a:spLocks/>
            </p:cNvSpPr>
            <p:nvPr>
              <p:custDataLst>
                <p:tags r:id="rId7"/>
              </p:custDataLst>
            </p:nvPr>
          </p:nvSpPr>
          <p:spPr bwMode="blackWhite">
            <a:xfrm>
              <a:off x="2354" y="2379"/>
              <a:ext cx="723" cy="982"/>
            </a:xfrm>
            <a:custGeom>
              <a:avLst/>
              <a:gdLst>
                <a:gd name="T0" fmla="*/ 185 w 933"/>
                <a:gd name="T1" fmla="*/ 0 h 1276"/>
                <a:gd name="T2" fmla="*/ 44 w 933"/>
                <a:gd name="T3" fmla="*/ 1 h 1276"/>
                <a:gd name="T4" fmla="*/ 88 w 933"/>
                <a:gd name="T5" fmla="*/ 25 h 1276"/>
                <a:gd name="T6" fmla="*/ 178 w 933"/>
                <a:gd name="T7" fmla="*/ 345 h 1276"/>
                <a:gd name="T8" fmla="*/ 190 w 933"/>
                <a:gd name="T9" fmla="*/ 264 h 1276"/>
                <a:gd name="T10" fmla="*/ 260 w 933"/>
                <a:gd name="T11" fmla="*/ 235 h 1276"/>
                <a:gd name="T12" fmla="*/ 234 w 933"/>
                <a:gd name="T13" fmla="*/ 211 h 1276"/>
                <a:gd name="T14" fmla="*/ 220 w 933"/>
                <a:gd name="T15" fmla="*/ 192 h 1276"/>
                <a:gd name="T16" fmla="*/ 210 w 933"/>
                <a:gd name="T17" fmla="*/ 162 h 1276"/>
                <a:gd name="T18" fmla="*/ 211 w 933"/>
                <a:gd name="T19" fmla="*/ 94 h 1276"/>
                <a:gd name="T20" fmla="*/ 257 w 933"/>
                <a:gd name="T21" fmla="*/ 119 h 1276"/>
                <a:gd name="T22" fmla="*/ 185 w 933"/>
                <a:gd name="T23" fmla="*/ 0 h 127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33"/>
                <a:gd name="T37" fmla="*/ 0 h 1276"/>
                <a:gd name="T38" fmla="*/ 933 w 933"/>
                <a:gd name="T39" fmla="*/ 1276 h 127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33" h="1276">
                  <a:moveTo>
                    <a:pt x="662" y="0"/>
                  </a:moveTo>
                  <a:lnTo>
                    <a:pt x="156" y="1"/>
                  </a:lnTo>
                  <a:lnTo>
                    <a:pt x="314" y="93"/>
                  </a:lnTo>
                  <a:cubicBezTo>
                    <a:pt x="314" y="93"/>
                    <a:pt x="0" y="771"/>
                    <a:pt x="637" y="1276"/>
                  </a:cubicBezTo>
                  <a:lnTo>
                    <a:pt x="679" y="978"/>
                  </a:lnTo>
                  <a:cubicBezTo>
                    <a:pt x="679" y="978"/>
                    <a:pt x="813" y="923"/>
                    <a:pt x="933" y="872"/>
                  </a:cubicBezTo>
                  <a:cubicBezTo>
                    <a:pt x="885" y="843"/>
                    <a:pt x="838" y="779"/>
                    <a:pt x="838" y="779"/>
                  </a:cubicBezTo>
                  <a:lnTo>
                    <a:pt x="788" y="711"/>
                  </a:lnTo>
                  <a:lnTo>
                    <a:pt x="752" y="600"/>
                  </a:lnTo>
                  <a:cubicBezTo>
                    <a:pt x="752" y="600"/>
                    <a:pt x="719" y="481"/>
                    <a:pt x="755" y="348"/>
                  </a:cubicBezTo>
                  <a:cubicBezTo>
                    <a:pt x="839" y="395"/>
                    <a:pt x="923" y="444"/>
                    <a:pt x="923" y="444"/>
                  </a:cubicBezTo>
                  <a:lnTo>
                    <a:pt x="662" y="0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21" name="Freeform 46"/>
            <p:cNvSpPr>
              <a:spLocks/>
            </p:cNvSpPr>
            <p:nvPr>
              <p:custDataLst>
                <p:tags r:id="rId8"/>
              </p:custDataLst>
            </p:nvPr>
          </p:nvSpPr>
          <p:spPr bwMode="blackWhite">
            <a:xfrm rot="4209998">
              <a:off x="86" y="2643"/>
              <a:ext cx="1139" cy="784"/>
            </a:xfrm>
            <a:custGeom>
              <a:avLst/>
              <a:gdLst>
                <a:gd name="T0" fmla="*/ 16 w 1485"/>
                <a:gd name="T1" fmla="*/ 66 h 1021"/>
                <a:gd name="T2" fmla="*/ 0 w 1485"/>
                <a:gd name="T3" fmla="*/ 203 h 1021"/>
                <a:gd name="T4" fmla="*/ 31 w 1485"/>
                <a:gd name="T5" fmla="*/ 161 h 1021"/>
                <a:gd name="T6" fmla="*/ 394 w 1485"/>
                <a:gd name="T7" fmla="*/ 39 h 1021"/>
                <a:gd name="T8" fmla="*/ 311 w 1485"/>
                <a:gd name="T9" fmla="*/ 56 h 1021"/>
                <a:gd name="T10" fmla="*/ 265 w 1485"/>
                <a:gd name="T11" fmla="*/ 0 h 1021"/>
                <a:gd name="T12" fmla="*/ 229 w 1485"/>
                <a:gd name="T13" fmla="*/ 37 h 1021"/>
                <a:gd name="T14" fmla="*/ 206 w 1485"/>
                <a:gd name="T15" fmla="*/ 51 h 1021"/>
                <a:gd name="T16" fmla="*/ 170 w 1485"/>
                <a:gd name="T17" fmla="*/ 61 h 1021"/>
                <a:gd name="T18" fmla="*/ 115 w 1485"/>
                <a:gd name="T19" fmla="*/ 51 h 1021"/>
                <a:gd name="T20" fmla="*/ 142 w 1485"/>
                <a:gd name="T21" fmla="*/ 15 h 1021"/>
                <a:gd name="T22" fmla="*/ 16 w 1485"/>
                <a:gd name="T23" fmla="*/ 66 h 10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85"/>
                <a:gd name="T37" fmla="*/ 0 h 1021"/>
                <a:gd name="T38" fmla="*/ 1485 w 1485"/>
                <a:gd name="T39" fmla="*/ 1021 h 102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85" h="1021">
                  <a:moveTo>
                    <a:pt x="61" y="248"/>
                  </a:moveTo>
                  <a:lnTo>
                    <a:pt x="0" y="762"/>
                  </a:lnTo>
                  <a:cubicBezTo>
                    <a:pt x="0" y="762"/>
                    <a:pt x="59" y="684"/>
                    <a:pt x="118" y="606"/>
                  </a:cubicBezTo>
                  <a:cubicBezTo>
                    <a:pt x="136" y="628"/>
                    <a:pt x="994" y="1021"/>
                    <a:pt x="1485" y="146"/>
                  </a:cubicBezTo>
                  <a:lnTo>
                    <a:pt x="1170" y="210"/>
                  </a:lnTo>
                  <a:cubicBezTo>
                    <a:pt x="1170" y="210"/>
                    <a:pt x="1084" y="105"/>
                    <a:pt x="999" y="0"/>
                  </a:cubicBezTo>
                  <a:cubicBezTo>
                    <a:pt x="946" y="83"/>
                    <a:pt x="860" y="137"/>
                    <a:pt x="860" y="137"/>
                  </a:cubicBezTo>
                  <a:lnTo>
                    <a:pt x="778" y="190"/>
                  </a:lnTo>
                  <a:lnTo>
                    <a:pt x="638" y="226"/>
                  </a:lnTo>
                  <a:cubicBezTo>
                    <a:pt x="581" y="226"/>
                    <a:pt x="452" y="219"/>
                    <a:pt x="435" y="191"/>
                  </a:cubicBezTo>
                  <a:cubicBezTo>
                    <a:pt x="485" y="124"/>
                    <a:pt x="535" y="57"/>
                    <a:pt x="535" y="57"/>
                  </a:cubicBezTo>
                  <a:lnTo>
                    <a:pt x="61" y="248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22" name="Freeform 47"/>
            <p:cNvSpPr>
              <a:spLocks/>
            </p:cNvSpPr>
            <p:nvPr>
              <p:custDataLst>
                <p:tags r:id="rId9"/>
              </p:custDataLst>
            </p:nvPr>
          </p:nvSpPr>
          <p:spPr bwMode="blackWhite">
            <a:xfrm>
              <a:off x="1074" y="2005"/>
              <a:ext cx="862" cy="1608"/>
            </a:xfrm>
            <a:custGeom>
              <a:avLst/>
              <a:gdLst>
                <a:gd name="T0" fmla="*/ 182 w 976"/>
                <a:gd name="T1" fmla="*/ 913 h 1811"/>
                <a:gd name="T2" fmla="*/ 242 w 976"/>
                <a:gd name="T3" fmla="*/ 890 h 1811"/>
                <a:gd name="T4" fmla="*/ 297 w 976"/>
                <a:gd name="T5" fmla="*/ 859 h 1811"/>
                <a:gd name="T6" fmla="*/ 351 w 976"/>
                <a:gd name="T7" fmla="*/ 820 h 1811"/>
                <a:gd name="T8" fmla="*/ 397 w 976"/>
                <a:gd name="T9" fmla="*/ 776 h 1811"/>
                <a:gd name="T10" fmla="*/ 439 w 976"/>
                <a:gd name="T11" fmla="*/ 725 h 1811"/>
                <a:gd name="T12" fmla="*/ 474 w 976"/>
                <a:gd name="T13" fmla="*/ 668 h 1811"/>
                <a:gd name="T14" fmla="*/ 498 w 976"/>
                <a:gd name="T15" fmla="*/ 607 h 1811"/>
                <a:gd name="T16" fmla="*/ 517 w 976"/>
                <a:gd name="T17" fmla="*/ 543 h 1811"/>
                <a:gd name="T18" fmla="*/ 524 w 976"/>
                <a:gd name="T19" fmla="*/ 478 h 1811"/>
                <a:gd name="T20" fmla="*/ 522 w 976"/>
                <a:gd name="T21" fmla="*/ 411 h 1811"/>
                <a:gd name="T22" fmla="*/ 510 w 976"/>
                <a:gd name="T23" fmla="*/ 345 h 1811"/>
                <a:gd name="T24" fmla="*/ 491 w 976"/>
                <a:gd name="T25" fmla="*/ 282 h 1811"/>
                <a:gd name="T26" fmla="*/ 462 w 976"/>
                <a:gd name="T27" fmla="*/ 222 h 1811"/>
                <a:gd name="T28" fmla="*/ 424 w 976"/>
                <a:gd name="T29" fmla="*/ 168 h 1811"/>
                <a:gd name="T30" fmla="*/ 381 w 976"/>
                <a:gd name="T31" fmla="*/ 119 h 1811"/>
                <a:gd name="T32" fmla="*/ 330 w 976"/>
                <a:gd name="T33" fmla="*/ 78 h 1811"/>
                <a:gd name="T34" fmla="*/ 274 w 976"/>
                <a:gd name="T35" fmla="*/ 45 h 1811"/>
                <a:gd name="T36" fmla="*/ 215 w 976"/>
                <a:gd name="T37" fmla="*/ 20 h 1811"/>
                <a:gd name="T38" fmla="*/ 150 w 976"/>
                <a:gd name="T39" fmla="*/ 4 h 1811"/>
                <a:gd name="T40" fmla="*/ 158 w 976"/>
                <a:gd name="T41" fmla="*/ 61 h 1811"/>
                <a:gd name="T42" fmla="*/ 122 w 976"/>
                <a:gd name="T43" fmla="*/ 240 h 1811"/>
                <a:gd name="T44" fmla="*/ 163 w 976"/>
                <a:gd name="T45" fmla="*/ 256 h 1811"/>
                <a:gd name="T46" fmla="*/ 204 w 976"/>
                <a:gd name="T47" fmla="*/ 280 h 1811"/>
                <a:gd name="T48" fmla="*/ 237 w 976"/>
                <a:gd name="T49" fmla="*/ 313 h 1811"/>
                <a:gd name="T50" fmla="*/ 263 w 976"/>
                <a:gd name="T51" fmla="*/ 352 h 1811"/>
                <a:gd name="T52" fmla="*/ 280 w 976"/>
                <a:gd name="T53" fmla="*/ 396 h 1811"/>
                <a:gd name="T54" fmla="*/ 290 w 976"/>
                <a:gd name="T55" fmla="*/ 441 h 1811"/>
                <a:gd name="T56" fmla="*/ 288 w 976"/>
                <a:gd name="T57" fmla="*/ 489 h 1811"/>
                <a:gd name="T58" fmla="*/ 278 w 976"/>
                <a:gd name="T59" fmla="*/ 535 h 1811"/>
                <a:gd name="T60" fmla="*/ 259 w 976"/>
                <a:gd name="T61" fmla="*/ 578 h 1811"/>
                <a:gd name="T62" fmla="*/ 231 w 976"/>
                <a:gd name="T63" fmla="*/ 615 h 1811"/>
                <a:gd name="T64" fmla="*/ 197 w 976"/>
                <a:gd name="T65" fmla="*/ 646 h 1811"/>
                <a:gd name="T66" fmla="*/ 157 w 976"/>
                <a:gd name="T67" fmla="*/ 671 h 1811"/>
                <a:gd name="T68" fmla="*/ 136 w 976"/>
                <a:gd name="T69" fmla="*/ 602 h 1811"/>
                <a:gd name="T70" fmla="*/ 150 w 976"/>
                <a:gd name="T71" fmla="*/ 999 h 181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76"/>
                <a:gd name="T109" fmla="*/ 0 h 1811"/>
                <a:gd name="T110" fmla="*/ 976 w 976"/>
                <a:gd name="T111" fmla="*/ 1811 h 181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76" h="1811">
                  <a:moveTo>
                    <a:pt x="279" y="1669"/>
                  </a:moveTo>
                  <a:lnTo>
                    <a:pt x="338" y="1654"/>
                  </a:lnTo>
                  <a:lnTo>
                    <a:pt x="394" y="1635"/>
                  </a:lnTo>
                  <a:lnTo>
                    <a:pt x="449" y="1612"/>
                  </a:lnTo>
                  <a:lnTo>
                    <a:pt x="502" y="1585"/>
                  </a:lnTo>
                  <a:lnTo>
                    <a:pt x="553" y="1555"/>
                  </a:lnTo>
                  <a:lnTo>
                    <a:pt x="601" y="1520"/>
                  </a:lnTo>
                  <a:lnTo>
                    <a:pt x="651" y="1485"/>
                  </a:lnTo>
                  <a:lnTo>
                    <a:pt x="697" y="1447"/>
                  </a:lnTo>
                  <a:lnTo>
                    <a:pt x="741" y="1405"/>
                  </a:lnTo>
                  <a:lnTo>
                    <a:pt x="782" y="1361"/>
                  </a:lnTo>
                  <a:lnTo>
                    <a:pt x="818" y="1313"/>
                  </a:lnTo>
                  <a:lnTo>
                    <a:pt x="851" y="1263"/>
                  </a:lnTo>
                  <a:lnTo>
                    <a:pt x="882" y="1210"/>
                  </a:lnTo>
                  <a:lnTo>
                    <a:pt x="908" y="1156"/>
                  </a:lnTo>
                  <a:lnTo>
                    <a:pt x="929" y="1100"/>
                  </a:lnTo>
                  <a:lnTo>
                    <a:pt x="947" y="1043"/>
                  </a:lnTo>
                  <a:lnTo>
                    <a:pt x="961" y="984"/>
                  </a:lnTo>
                  <a:lnTo>
                    <a:pt x="970" y="924"/>
                  </a:lnTo>
                  <a:lnTo>
                    <a:pt x="975" y="865"/>
                  </a:lnTo>
                  <a:lnTo>
                    <a:pt x="975" y="804"/>
                  </a:lnTo>
                  <a:lnTo>
                    <a:pt x="972" y="744"/>
                  </a:lnTo>
                  <a:lnTo>
                    <a:pt x="963" y="685"/>
                  </a:lnTo>
                  <a:lnTo>
                    <a:pt x="950" y="625"/>
                  </a:lnTo>
                  <a:lnTo>
                    <a:pt x="935" y="567"/>
                  </a:lnTo>
                  <a:lnTo>
                    <a:pt x="913" y="511"/>
                  </a:lnTo>
                  <a:lnTo>
                    <a:pt x="889" y="456"/>
                  </a:lnTo>
                  <a:lnTo>
                    <a:pt x="859" y="403"/>
                  </a:lnTo>
                  <a:lnTo>
                    <a:pt x="826" y="352"/>
                  </a:lnTo>
                  <a:lnTo>
                    <a:pt x="790" y="304"/>
                  </a:lnTo>
                  <a:lnTo>
                    <a:pt x="751" y="259"/>
                  </a:lnTo>
                  <a:lnTo>
                    <a:pt x="708" y="216"/>
                  </a:lnTo>
                  <a:lnTo>
                    <a:pt x="662" y="178"/>
                  </a:lnTo>
                  <a:lnTo>
                    <a:pt x="614" y="142"/>
                  </a:lnTo>
                  <a:lnTo>
                    <a:pt x="563" y="109"/>
                  </a:lnTo>
                  <a:lnTo>
                    <a:pt x="510" y="81"/>
                  </a:lnTo>
                  <a:lnTo>
                    <a:pt x="455" y="56"/>
                  </a:lnTo>
                  <a:lnTo>
                    <a:pt x="398" y="36"/>
                  </a:lnTo>
                  <a:lnTo>
                    <a:pt x="340" y="20"/>
                  </a:lnTo>
                  <a:lnTo>
                    <a:pt x="281" y="8"/>
                  </a:lnTo>
                  <a:lnTo>
                    <a:pt x="222" y="0"/>
                  </a:lnTo>
                  <a:lnTo>
                    <a:pt x="294" y="112"/>
                  </a:lnTo>
                  <a:lnTo>
                    <a:pt x="369" y="222"/>
                  </a:lnTo>
                  <a:lnTo>
                    <a:pt x="226" y="434"/>
                  </a:lnTo>
                  <a:lnTo>
                    <a:pt x="268" y="446"/>
                  </a:lnTo>
                  <a:lnTo>
                    <a:pt x="306" y="463"/>
                  </a:lnTo>
                  <a:lnTo>
                    <a:pt x="344" y="483"/>
                  </a:lnTo>
                  <a:lnTo>
                    <a:pt x="379" y="508"/>
                  </a:lnTo>
                  <a:lnTo>
                    <a:pt x="411" y="536"/>
                  </a:lnTo>
                  <a:lnTo>
                    <a:pt x="440" y="567"/>
                  </a:lnTo>
                  <a:lnTo>
                    <a:pt x="467" y="601"/>
                  </a:lnTo>
                  <a:lnTo>
                    <a:pt x="489" y="637"/>
                  </a:lnTo>
                  <a:lnTo>
                    <a:pt x="508" y="676"/>
                  </a:lnTo>
                  <a:lnTo>
                    <a:pt x="521" y="716"/>
                  </a:lnTo>
                  <a:lnTo>
                    <a:pt x="531" y="758"/>
                  </a:lnTo>
                  <a:lnTo>
                    <a:pt x="538" y="801"/>
                  </a:lnTo>
                  <a:lnTo>
                    <a:pt x="539" y="843"/>
                  </a:lnTo>
                  <a:lnTo>
                    <a:pt x="536" y="886"/>
                  </a:lnTo>
                  <a:lnTo>
                    <a:pt x="529" y="928"/>
                  </a:lnTo>
                  <a:lnTo>
                    <a:pt x="517" y="969"/>
                  </a:lnTo>
                  <a:lnTo>
                    <a:pt x="501" y="1009"/>
                  </a:lnTo>
                  <a:lnTo>
                    <a:pt x="482" y="1046"/>
                  </a:lnTo>
                  <a:lnTo>
                    <a:pt x="458" y="1082"/>
                  </a:lnTo>
                  <a:lnTo>
                    <a:pt x="431" y="1115"/>
                  </a:lnTo>
                  <a:lnTo>
                    <a:pt x="401" y="1145"/>
                  </a:lnTo>
                  <a:lnTo>
                    <a:pt x="367" y="1172"/>
                  </a:lnTo>
                  <a:lnTo>
                    <a:pt x="331" y="1196"/>
                  </a:lnTo>
                  <a:lnTo>
                    <a:pt x="293" y="1215"/>
                  </a:lnTo>
                  <a:lnTo>
                    <a:pt x="253" y="1230"/>
                  </a:lnTo>
                  <a:lnTo>
                    <a:pt x="253" y="1093"/>
                  </a:lnTo>
                  <a:lnTo>
                    <a:pt x="0" y="1420"/>
                  </a:lnTo>
                  <a:lnTo>
                    <a:pt x="279" y="1810"/>
                  </a:lnTo>
                  <a:lnTo>
                    <a:pt x="279" y="1669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23" name="Freeform 48"/>
            <p:cNvSpPr>
              <a:spLocks/>
            </p:cNvSpPr>
            <p:nvPr>
              <p:custDataLst>
                <p:tags r:id="rId10"/>
              </p:custDataLst>
            </p:nvPr>
          </p:nvSpPr>
          <p:spPr bwMode="blackWhite">
            <a:xfrm>
              <a:off x="1431" y="1866"/>
              <a:ext cx="1167" cy="678"/>
            </a:xfrm>
            <a:custGeom>
              <a:avLst/>
              <a:gdLst>
                <a:gd name="T0" fmla="*/ 214 w 1429"/>
                <a:gd name="T1" fmla="*/ 249 h 830"/>
                <a:gd name="T2" fmla="*/ 433 w 1429"/>
                <a:gd name="T3" fmla="*/ 249 h 830"/>
                <a:gd name="T4" fmla="*/ 433 w 1429"/>
                <a:gd name="T5" fmla="*/ 302 h 830"/>
                <a:gd name="T6" fmla="*/ 519 w 1429"/>
                <a:gd name="T7" fmla="*/ 148 h 830"/>
                <a:gd name="T8" fmla="*/ 433 w 1429"/>
                <a:gd name="T9" fmla="*/ 0 h 830"/>
                <a:gd name="T10" fmla="*/ 434 w 1429"/>
                <a:gd name="T11" fmla="*/ 56 h 830"/>
                <a:gd name="T12" fmla="*/ 0 w 1429"/>
                <a:gd name="T13" fmla="*/ 56 h 830"/>
                <a:gd name="T14" fmla="*/ 214 w 1429"/>
                <a:gd name="T15" fmla="*/ 249 h 8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29"/>
                <a:gd name="T25" fmla="*/ 0 h 830"/>
                <a:gd name="T26" fmla="*/ 1429 w 1429"/>
                <a:gd name="T27" fmla="*/ 830 h 83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29" h="830">
                  <a:moveTo>
                    <a:pt x="589" y="684"/>
                  </a:moveTo>
                  <a:cubicBezTo>
                    <a:pt x="886" y="685"/>
                    <a:pt x="1191" y="684"/>
                    <a:pt x="1191" y="684"/>
                  </a:cubicBezTo>
                  <a:lnTo>
                    <a:pt x="1191" y="830"/>
                  </a:lnTo>
                  <a:lnTo>
                    <a:pt x="1429" y="404"/>
                  </a:lnTo>
                  <a:lnTo>
                    <a:pt x="1193" y="0"/>
                  </a:lnTo>
                  <a:lnTo>
                    <a:pt x="1194" y="155"/>
                  </a:lnTo>
                  <a:lnTo>
                    <a:pt x="0" y="154"/>
                  </a:lnTo>
                  <a:cubicBezTo>
                    <a:pt x="0" y="154"/>
                    <a:pt x="411" y="237"/>
                    <a:pt x="589" y="684"/>
                  </a:cubicBez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24" name="Freeform 49"/>
            <p:cNvSpPr>
              <a:spLocks/>
            </p:cNvSpPr>
            <p:nvPr>
              <p:custDataLst>
                <p:tags r:id="rId11"/>
              </p:custDataLst>
            </p:nvPr>
          </p:nvSpPr>
          <p:spPr bwMode="blackWhite">
            <a:xfrm>
              <a:off x="2859" y="2970"/>
              <a:ext cx="1150" cy="782"/>
            </a:xfrm>
            <a:custGeom>
              <a:avLst/>
              <a:gdLst>
                <a:gd name="T0" fmla="*/ 17 w 1485"/>
                <a:gd name="T1" fmla="*/ 66 h 1021"/>
                <a:gd name="T2" fmla="*/ 0 w 1485"/>
                <a:gd name="T3" fmla="*/ 201 h 1021"/>
                <a:gd name="T4" fmla="*/ 33 w 1485"/>
                <a:gd name="T5" fmla="*/ 159 h 1021"/>
                <a:gd name="T6" fmla="*/ 414 w 1485"/>
                <a:gd name="T7" fmla="*/ 39 h 1021"/>
                <a:gd name="T8" fmla="*/ 326 w 1485"/>
                <a:gd name="T9" fmla="*/ 55 h 1021"/>
                <a:gd name="T10" fmla="*/ 278 w 1485"/>
                <a:gd name="T11" fmla="*/ 0 h 1021"/>
                <a:gd name="T12" fmla="*/ 240 w 1485"/>
                <a:gd name="T13" fmla="*/ 36 h 1021"/>
                <a:gd name="T14" fmla="*/ 217 w 1485"/>
                <a:gd name="T15" fmla="*/ 51 h 1021"/>
                <a:gd name="T16" fmla="*/ 178 w 1485"/>
                <a:gd name="T17" fmla="*/ 60 h 1021"/>
                <a:gd name="T18" fmla="*/ 121 w 1485"/>
                <a:gd name="T19" fmla="*/ 51 h 1021"/>
                <a:gd name="T20" fmla="*/ 149 w 1485"/>
                <a:gd name="T21" fmla="*/ 15 h 1021"/>
                <a:gd name="T22" fmla="*/ 17 w 1485"/>
                <a:gd name="T23" fmla="*/ 66 h 10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85"/>
                <a:gd name="T37" fmla="*/ 0 h 1021"/>
                <a:gd name="T38" fmla="*/ 1485 w 1485"/>
                <a:gd name="T39" fmla="*/ 1021 h 102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85" h="1021">
                  <a:moveTo>
                    <a:pt x="61" y="248"/>
                  </a:moveTo>
                  <a:lnTo>
                    <a:pt x="0" y="762"/>
                  </a:lnTo>
                  <a:cubicBezTo>
                    <a:pt x="0" y="762"/>
                    <a:pt x="59" y="684"/>
                    <a:pt x="118" y="606"/>
                  </a:cubicBezTo>
                  <a:cubicBezTo>
                    <a:pt x="136" y="628"/>
                    <a:pt x="994" y="1021"/>
                    <a:pt x="1485" y="146"/>
                  </a:cubicBezTo>
                  <a:lnTo>
                    <a:pt x="1170" y="210"/>
                  </a:lnTo>
                  <a:cubicBezTo>
                    <a:pt x="1170" y="210"/>
                    <a:pt x="1084" y="105"/>
                    <a:pt x="999" y="0"/>
                  </a:cubicBezTo>
                  <a:cubicBezTo>
                    <a:pt x="946" y="83"/>
                    <a:pt x="860" y="137"/>
                    <a:pt x="860" y="137"/>
                  </a:cubicBezTo>
                  <a:lnTo>
                    <a:pt x="778" y="190"/>
                  </a:lnTo>
                  <a:lnTo>
                    <a:pt x="638" y="226"/>
                  </a:lnTo>
                  <a:cubicBezTo>
                    <a:pt x="581" y="226"/>
                    <a:pt x="452" y="219"/>
                    <a:pt x="435" y="191"/>
                  </a:cubicBezTo>
                  <a:cubicBezTo>
                    <a:pt x="485" y="124"/>
                    <a:pt x="535" y="57"/>
                    <a:pt x="535" y="57"/>
                  </a:cubicBezTo>
                  <a:lnTo>
                    <a:pt x="61" y="248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25" name="Freeform 50"/>
            <p:cNvSpPr>
              <a:spLocks/>
            </p:cNvSpPr>
            <p:nvPr>
              <p:custDataLst>
                <p:tags r:id="rId12"/>
              </p:custDataLst>
            </p:nvPr>
          </p:nvSpPr>
          <p:spPr bwMode="blackWhite">
            <a:xfrm>
              <a:off x="3617" y="1866"/>
              <a:ext cx="1158" cy="678"/>
            </a:xfrm>
            <a:custGeom>
              <a:avLst/>
              <a:gdLst>
                <a:gd name="T0" fmla="*/ 206 w 1429"/>
                <a:gd name="T1" fmla="*/ 249 h 830"/>
                <a:gd name="T2" fmla="*/ 417 w 1429"/>
                <a:gd name="T3" fmla="*/ 249 h 830"/>
                <a:gd name="T4" fmla="*/ 417 w 1429"/>
                <a:gd name="T5" fmla="*/ 302 h 830"/>
                <a:gd name="T6" fmla="*/ 499 w 1429"/>
                <a:gd name="T7" fmla="*/ 148 h 830"/>
                <a:gd name="T8" fmla="*/ 417 w 1429"/>
                <a:gd name="T9" fmla="*/ 0 h 830"/>
                <a:gd name="T10" fmla="*/ 417 w 1429"/>
                <a:gd name="T11" fmla="*/ 56 h 830"/>
                <a:gd name="T12" fmla="*/ 0 w 1429"/>
                <a:gd name="T13" fmla="*/ 56 h 830"/>
                <a:gd name="T14" fmla="*/ 206 w 1429"/>
                <a:gd name="T15" fmla="*/ 249 h 8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29"/>
                <a:gd name="T25" fmla="*/ 0 h 830"/>
                <a:gd name="T26" fmla="*/ 1429 w 1429"/>
                <a:gd name="T27" fmla="*/ 830 h 83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29" h="830">
                  <a:moveTo>
                    <a:pt x="589" y="684"/>
                  </a:moveTo>
                  <a:cubicBezTo>
                    <a:pt x="886" y="685"/>
                    <a:pt x="1191" y="684"/>
                    <a:pt x="1191" y="684"/>
                  </a:cubicBezTo>
                  <a:lnTo>
                    <a:pt x="1191" y="830"/>
                  </a:lnTo>
                  <a:lnTo>
                    <a:pt x="1429" y="404"/>
                  </a:lnTo>
                  <a:lnTo>
                    <a:pt x="1193" y="0"/>
                  </a:lnTo>
                  <a:lnTo>
                    <a:pt x="1194" y="155"/>
                  </a:lnTo>
                  <a:lnTo>
                    <a:pt x="0" y="154"/>
                  </a:lnTo>
                  <a:cubicBezTo>
                    <a:pt x="0" y="154"/>
                    <a:pt x="411" y="237"/>
                    <a:pt x="589" y="684"/>
                  </a:cubicBez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26" name="Freeform 51"/>
            <p:cNvSpPr>
              <a:spLocks/>
            </p:cNvSpPr>
            <p:nvPr>
              <p:custDataLst>
                <p:tags r:id="rId13"/>
              </p:custDataLst>
            </p:nvPr>
          </p:nvSpPr>
          <p:spPr bwMode="blackWhite">
            <a:xfrm>
              <a:off x="3312" y="1979"/>
              <a:ext cx="862" cy="1112"/>
            </a:xfrm>
            <a:custGeom>
              <a:avLst/>
              <a:gdLst>
                <a:gd name="T0" fmla="*/ 168 w 1115"/>
                <a:gd name="T1" fmla="*/ 394 h 1441"/>
                <a:gd name="T2" fmla="*/ 308 w 1115"/>
                <a:gd name="T3" fmla="*/ 361 h 1441"/>
                <a:gd name="T4" fmla="*/ 264 w 1115"/>
                <a:gd name="T5" fmla="*/ 349 h 1441"/>
                <a:gd name="T6" fmla="*/ 0 w 1115"/>
                <a:gd name="T7" fmla="*/ 0 h 1441"/>
                <a:gd name="T8" fmla="*/ 49 w 1115"/>
                <a:gd name="T9" fmla="*/ 66 h 1441"/>
                <a:gd name="T10" fmla="*/ 19 w 1115"/>
                <a:gd name="T11" fmla="*/ 137 h 1441"/>
                <a:gd name="T12" fmla="*/ 99 w 1115"/>
                <a:gd name="T13" fmla="*/ 179 h 1441"/>
                <a:gd name="T14" fmla="*/ 119 w 1115"/>
                <a:gd name="T15" fmla="*/ 202 h 1441"/>
                <a:gd name="T16" fmla="*/ 130 w 1115"/>
                <a:gd name="T17" fmla="*/ 229 h 1441"/>
                <a:gd name="T18" fmla="*/ 132 w 1115"/>
                <a:gd name="T19" fmla="*/ 305 h 1441"/>
                <a:gd name="T20" fmla="*/ 80 w 1115"/>
                <a:gd name="T21" fmla="*/ 290 h 1441"/>
                <a:gd name="T22" fmla="*/ 168 w 1115"/>
                <a:gd name="T23" fmla="*/ 394 h 144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115"/>
                <a:gd name="T37" fmla="*/ 0 h 1441"/>
                <a:gd name="T38" fmla="*/ 1115 w 1115"/>
                <a:gd name="T39" fmla="*/ 1441 h 144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115" h="1441">
                  <a:moveTo>
                    <a:pt x="609" y="1441"/>
                  </a:moveTo>
                  <a:lnTo>
                    <a:pt x="1115" y="1321"/>
                  </a:lnTo>
                  <a:lnTo>
                    <a:pt x="956" y="1274"/>
                  </a:lnTo>
                  <a:cubicBezTo>
                    <a:pt x="1096" y="922"/>
                    <a:pt x="928" y="37"/>
                    <a:pt x="0" y="0"/>
                  </a:cubicBezTo>
                  <a:cubicBezTo>
                    <a:pt x="90" y="114"/>
                    <a:pt x="178" y="244"/>
                    <a:pt x="178" y="244"/>
                  </a:cubicBezTo>
                  <a:cubicBezTo>
                    <a:pt x="178" y="244"/>
                    <a:pt x="120" y="371"/>
                    <a:pt x="67" y="503"/>
                  </a:cubicBezTo>
                  <a:cubicBezTo>
                    <a:pt x="249" y="531"/>
                    <a:pt x="357" y="655"/>
                    <a:pt x="357" y="655"/>
                  </a:cubicBezTo>
                  <a:lnTo>
                    <a:pt x="431" y="740"/>
                  </a:lnTo>
                  <a:lnTo>
                    <a:pt x="469" y="839"/>
                  </a:lnTo>
                  <a:cubicBezTo>
                    <a:pt x="523" y="963"/>
                    <a:pt x="478" y="1116"/>
                    <a:pt x="478" y="1116"/>
                  </a:cubicBezTo>
                  <a:lnTo>
                    <a:pt x="287" y="1060"/>
                  </a:lnTo>
                  <a:lnTo>
                    <a:pt x="609" y="1441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27" name="Freeform 52"/>
            <p:cNvSpPr>
              <a:spLocks/>
            </p:cNvSpPr>
            <p:nvPr>
              <p:custDataLst>
                <p:tags r:id="rId14"/>
              </p:custDataLst>
            </p:nvPr>
          </p:nvSpPr>
          <p:spPr bwMode="blackWhite">
            <a:xfrm>
              <a:off x="4714" y="1866"/>
              <a:ext cx="854" cy="678"/>
            </a:xfrm>
            <a:custGeom>
              <a:avLst/>
              <a:gdLst>
                <a:gd name="T0" fmla="*/ 0 w 854"/>
                <a:gd name="T1" fmla="*/ 570 h 675"/>
                <a:gd name="T2" fmla="*/ 660 w 854"/>
                <a:gd name="T3" fmla="*/ 567 h 675"/>
                <a:gd name="T4" fmla="*/ 660 w 854"/>
                <a:gd name="T5" fmla="*/ 690 h 675"/>
                <a:gd name="T6" fmla="*/ 854 w 854"/>
                <a:gd name="T7" fmla="*/ 334 h 675"/>
                <a:gd name="T8" fmla="*/ 662 w 854"/>
                <a:gd name="T9" fmla="*/ 0 h 675"/>
                <a:gd name="T10" fmla="*/ 663 w 854"/>
                <a:gd name="T11" fmla="*/ 131 h 675"/>
                <a:gd name="T12" fmla="*/ 12 w 854"/>
                <a:gd name="T13" fmla="*/ 131 h 675"/>
                <a:gd name="T14" fmla="*/ 124 w 854"/>
                <a:gd name="T15" fmla="*/ 331 h 675"/>
                <a:gd name="T16" fmla="*/ 0 w 854"/>
                <a:gd name="T17" fmla="*/ 570 h 6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54"/>
                <a:gd name="T28" fmla="*/ 0 h 675"/>
                <a:gd name="T29" fmla="*/ 854 w 854"/>
                <a:gd name="T30" fmla="*/ 675 h 6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54" h="675">
                  <a:moveTo>
                    <a:pt x="0" y="558"/>
                  </a:moveTo>
                  <a:lnTo>
                    <a:pt x="660" y="556"/>
                  </a:lnTo>
                  <a:lnTo>
                    <a:pt x="660" y="675"/>
                  </a:lnTo>
                  <a:lnTo>
                    <a:pt x="854" y="329"/>
                  </a:lnTo>
                  <a:lnTo>
                    <a:pt x="662" y="0"/>
                  </a:lnTo>
                  <a:lnTo>
                    <a:pt x="663" y="126"/>
                  </a:lnTo>
                  <a:lnTo>
                    <a:pt x="12" y="126"/>
                  </a:lnTo>
                  <a:lnTo>
                    <a:pt x="124" y="3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28" name="Freeform 53"/>
            <p:cNvSpPr>
              <a:spLocks/>
            </p:cNvSpPr>
            <p:nvPr>
              <p:custDataLst>
                <p:tags r:id="rId15"/>
              </p:custDataLst>
            </p:nvPr>
          </p:nvSpPr>
          <p:spPr bwMode="blackWhite">
            <a:xfrm>
              <a:off x="220" y="1866"/>
              <a:ext cx="1097" cy="678"/>
            </a:xfrm>
            <a:custGeom>
              <a:avLst/>
              <a:gdLst>
                <a:gd name="T0" fmla="*/ 0 w 1094"/>
                <a:gd name="T1" fmla="*/ 570 h 675"/>
                <a:gd name="T2" fmla="*/ 855 w 1094"/>
                <a:gd name="T3" fmla="*/ 567 h 675"/>
                <a:gd name="T4" fmla="*/ 855 w 1094"/>
                <a:gd name="T5" fmla="*/ 690 h 675"/>
                <a:gd name="T6" fmla="*/ 1109 w 1094"/>
                <a:gd name="T7" fmla="*/ 334 h 675"/>
                <a:gd name="T8" fmla="*/ 858 w 1094"/>
                <a:gd name="T9" fmla="*/ 0 h 675"/>
                <a:gd name="T10" fmla="*/ 859 w 1094"/>
                <a:gd name="T11" fmla="*/ 131 h 675"/>
                <a:gd name="T12" fmla="*/ 4 w 1094"/>
                <a:gd name="T13" fmla="*/ 131 h 675"/>
                <a:gd name="T14" fmla="*/ 0 w 1094"/>
                <a:gd name="T15" fmla="*/ 570 h 67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94"/>
                <a:gd name="T25" fmla="*/ 0 h 675"/>
                <a:gd name="T26" fmla="*/ 1094 w 1094"/>
                <a:gd name="T27" fmla="*/ 675 h 67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94" h="675">
                  <a:moveTo>
                    <a:pt x="0" y="558"/>
                  </a:moveTo>
                  <a:lnTo>
                    <a:pt x="845" y="556"/>
                  </a:lnTo>
                  <a:lnTo>
                    <a:pt x="845" y="675"/>
                  </a:lnTo>
                  <a:lnTo>
                    <a:pt x="1094" y="329"/>
                  </a:lnTo>
                  <a:lnTo>
                    <a:pt x="848" y="0"/>
                  </a:lnTo>
                  <a:lnTo>
                    <a:pt x="849" y="126"/>
                  </a:lnTo>
                  <a:lnTo>
                    <a:pt x="4" y="1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chemeClr val="accent2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4"/>
          <p:cNvSpPr>
            <a:spLocks noChangeArrowheads="1"/>
          </p:cNvSpPr>
          <p:nvPr/>
        </p:nvSpPr>
        <p:spPr bwMode="auto">
          <a:xfrm>
            <a:off x="1462088" y="2903538"/>
            <a:ext cx="2319337" cy="168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77800" indent="-177800" defTabSz="912813">
              <a:spcAft>
                <a:spcPts val="4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/>
              <a:t>Research plan based on previous study by Harvard Professor Bailey Klinger and other academic papers</a:t>
            </a:r>
          </a:p>
          <a:p>
            <a:pPr marL="177800" indent="-177800" defTabSz="912813">
              <a:spcAft>
                <a:spcPts val="4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/>
              <a:t>Survey designed based on input from senior TechnoServe team members</a:t>
            </a:r>
          </a:p>
          <a:p>
            <a:pPr marL="177800" indent="-177800" defTabSz="912813">
              <a:spcAft>
                <a:spcPts val="4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/>
              <a:t>Interns thoroughly trained  </a:t>
            </a:r>
          </a:p>
        </p:txBody>
      </p:sp>
      <p:grpSp>
        <p:nvGrpSpPr>
          <p:cNvPr id="18435" name="Group 22"/>
          <p:cNvGrpSpPr>
            <a:grpSpLocks/>
          </p:cNvGrpSpPr>
          <p:nvPr/>
        </p:nvGrpSpPr>
        <p:grpSpPr bwMode="auto">
          <a:xfrm>
            <a:off x="1462088" y="2120900"/>
            <a:ext cx="7467600" cy="665163"/>
            <a:chOff x="921" y="1336"/>
            <a:chExt cx="4704" cy="419"/>
          </a:xfrm>
        </p:grpSpPr>
        <p:sp>
          <p:nvSpPr>
            <p:cNvPr id="18461" name="Freeform 5"/>
            <p:cNvSpPr>
              <a:spLocks/>
            </p:cNvSpPr>
            <p:nvPr>
              <p:custDataLst>
                <p:tags r:id="rId16"/>
              </p:custDataLst>
            </p:nvPr>
          </p:nvSpPr>
          <p:spPr bwMode="blackWhite">
            <a:xfrm>
              <a:off x="3945" y="1336"/>
              <a:ext cx="1680" cy="419"/>
            </a:xfrm>
            <a:custGeom>
              <a:avLst/>
              <a:gdLst>
                <a:gd name="T0" fmla="*/ 0 w 1208"/>
                <a:gd name="T1" fmla="*/ 0 h 515"/>
                <a:gd name="T2" fmla="*/ 2147483647 w 1208"/>
                <a:gd name="T3" fmla="*/ 0 h 515"/>
                <a:gd name="T4" fmla="*/ 2147483647 w 1208"/>
                <a:gd name="T5" fmla="*/ 622830869 h 515"/>
                <a:gd name="T6" fmla="*/ 2147483647 w 1208"/>
                <a:gd name="T7" fmla="*/ 622830869 h 515"/>
                <a:gd name="T8" fmla="*/ 0 w 1208"/>
                <a:gd name="T9" fmla="*/ 622830869 h 515"/>
                <a:gd name="T10" fmla="*/ 0 w 1208"/>
                <a:gd name="T11" fmla="*/ 622830869 h 515"/>
                <a:gd name="T12" fmla="*/ 0 w 1208"/>
                <a:gd name="T13" fmla="*/ 0 h 5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08"/>
                <a:gd name="T22" fmla="*/ 0 h 515"/>
                <a:gd name="T23" fmla="*/ 1208 w 1208"/>
                <a:gd name="T24" fmla="*/ 515 h 51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08" h="515">
                  <a:moveTo>
                    <a:pt x="0" y="0"/>
                  </a:moveTo>
                  <a:lnTo>
                    <a:pt x="1115" y="0"/>
                  </a:lnTo>
                  <a:lnTo>
                    <a:pt x="1208" y="258"/>
                  </a:lnTo>
                  <a:lnTo>
                    <a:pt x="1115" y="515"/>
                  </a:lnTo>
                  <a:lnTo>
                    <a:pt x="0" y="515"/>
                  </a:lnTo>
                  <a:lnTo>
                    <a:pt x="0" y="2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9050">
              <a:solidFill>
                <a:schemeClr val="bg2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endParaRPr lang="en-US"/>
            </a:p>
          </p:txBody>
        </p:sp>
        <p:sp>
          <p:nvSpPr>
            <p:cNvPr id="18462" name="Freeform 6"/>
            <p:cNvSpPr>
              <a:spLocks/>
            </p:cNvSpPr>
            <p:nvPr>
              <p:custDataLst>
                <p:tags r:id="rId17"/>
              </p:custDataLst>
            </p:nvPr>
          </p:nvSpPr>
          <p:spPr bwMode="blackWhite">
            <a:xfrm>
              <a:off x="2361" y="1336"/>
              <a:ext cx="1825" cy="419"/>
            </a:xfrm>
            <a:custGeom>
              <a:avLst/>
              <a:gdLst>
                <a:gd name="T0" fmla="*/ 0 w 1208"/>
                <a:gd name="T1" fmla="*/ 0 h 515"/>
                <a:gd name="T2" fmla="*/ 2147483647 w 1208"/>
                <a:gd name="T3" fmla="*/ 0 h 515"/>
                <a:gd name="T4" fmla="*/ 2147483647 w 1208"/>
                <a:gd name="T5" fmla="*/ 622830869 h 515"/>
                <a:gd name="T6" fmla="*/ 2147483647 w 1208"/>
                <a:gd name="T7" fmla="*/ 622830869 h 515"/>
                <a:gd name="T8" fmla="*/ 0 w 1208"/>
                <a:gd name="T9" fmla="*/ 622830869 h 515"/>
                <a:gd name="T10" fmla="*/ 0 w 1208"/>
                <a:gd name="T11" fmla="*/ 622830869 h 515"/>
                <a:gd name="T12" fmla="*/ 0 w 1208"/>
                <a:gd name="T13" fmla="*/ 0 h 5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08"/>
                <a:gd name="T22" fmla="*/ 0 h 515"/>
                <a:gd name="T23" fmla="*/ 1208 w 1208"/>
                <a:gd name="T24" fmla="*/ 515 h 51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08" h="515">
                  <a:moveTo>
                    <a:pt x="0" y="0"/>
                  </a:moveTo>
                  <a:lnTo>
                    <a:pt x="1115" y="0"/>
                  </a:lnTo>
                  <a:lnTo>
                    <a:pt x="1208" y="258"/>
                  </a:lnTo>
                  <a:lnTo>
                    <a:pt x="1115" y="515"/>
                  </a:lnTo>
                  <a:lnTo>
                    <a:pt x="0" y="515"/>
                  </a:lnTo>
                  <a:lnTo>
                    <a:pt x="0" y="2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9050">
              <a:solidFill>
                <a:schemeClr val="bg2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endParaRPr lang="en-US"/>
            </a:p>
          </p:txBody>
        </p:sp>
        <p:sp>
          <p:nvSpPr>
            <p:cNvPr id="18463" name="Freeform 8"/>
            <p:cNvSpPr>
              <a:spLocks/>
            </p:cNvSpPr>
            <p:nvPr>
              <p:custDataLst>
                <p:tags r:id="rId18"/>
              </p:custDataLst>
            </p:nvPr>
          </p:nvSpPr>
          <p:spPr bwMode="blackWhite">
            <a:xfrm>
              <a:off x="921" y="1336"/>
              <a:ext cx="1680" cy="419"/>
            </a:xfrm>
            <a:custGeom>
              <a:avLst/>
              <a:gdLst>
                <a:gd name="T0" fmla="*/ 0 w 1208"/>
                <a:gd name="T1" fmla="*/ 0 h 515"/>
                <a:gd name="T2" fmla="*/ 2147483647 w 1208"/>
                <a:gd name="T3" fmla="*/ 0 h 515"/>
                <a:gd name="T4" fmla="*/ 2147483647 w 1208"/>
                <a:gd name="T5" fmla="*/ 622830869 h 515"/>
                <a:gd name="T6" fmla="*/ 2147483647 w 1208"/>
                <a:gd name="T7" fmla="*/ 622830869 h 515"/>
                <a:gd name="T8" fmla="*/ 0 w 1208"/>
                <a:gd name="T9" fmla="*/ 622830869 h 515"/>
                <a:gd name="T10" fmla="*/ 0 w 1208"/>
                <a:gd name="T11" fmla="*/ 622830869 h 515"/>
                <a:gd name="T12" fmla="*/ 0 w 1208"/>
                <a:gd name="T13" fmla="*/ 0 h 5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08"/>
                <a:gd name="T22" fmla="*/ 0 h 515"/>
                <a:gd name="T23" fmla="*/ 1208 w 1208"/>
                <a:gd name="T24" fmla="*/ 515 h 51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08" h="515">
                  <a:moveTo>
                    <a:pt x="0" y="0"/>
                  </a:moveTo>
                  <a:lnTo>
                    <a:pt x="1115" y="0"/>
                  </a:lnTo>
                  <a:lnTo>
                    <a:pt x="1208" y="258"/>
                  </a:lnTo>
                  <a:lnTo>
                    <a:pt x="1115" y="515"/>
                  </a:lnTo>
                  <a:lnTo>
                    <a:pt x="0" y="515"/>
                  </a:lnTo>
                  <a:lnTo>
                    <a:pt x="0" y="2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9050">
              <a:solidFill>
                <a:schemeClr val="bg2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endParaRPr lang="en-US"/>
            </a:p>
          </p:txBody>
        </p:sp>
        <p:sp>
          <p:nvSpPr>
            <p:cNvPr id="18464" name="Text Box 9"/>
            <p:cNvSpPr txBox="1">
              <a:spLocks noChangeArrowheads="1"/>
            </p:cNvSpPr>
            <p:nvPr/>
          </p:nvSpPr>
          <p:spPr bwMode="auto">
            <a:xfrm>
              <a:off x="1161" y="1454"/>
              <a:ext cx="1008" cy="1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0" tIns="45716" rIns="91430" bIns="45716">
              <a:spAutoFit/>
            </a:bodyPr>
            <a:lstStyle>
              <a:lvl1pPr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sz="1300" b="1">
                  <a:solidFill>
                    <a:schemeClr val="bg1"/>
                  </a:solidFill>
                </a:rPr>
                <a:t>Preparation</a:t>
              </a:r>
            </a:p>
          </p:txBody>
        </p:sp>
        <p:sp>
          <p:nvSpPr>
            <p:cNvPr id="18465" name="Text Box 10"/>
            <p:cNvSpPr txBox="1">
              <a:spLocks noChangeArrowheads="1"/>
            </p:cNvSpPr>
            <p:nvPr/>
          </p:nvSpPr>
          <p:spPr bwMode="auto">
            <a:xfrm>
              <a:off x="2721" y="1454"/>
              <a:ext cx="1008" cy="1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0" tIns="45716" rIns="91430" bIns="45716">
              <a:spAutoFit/>
            </a:bodyPr>
            <a:lstStyle>
              <a:lvl1pPr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sz="1300" b="1">
                  <a:solidFill>
                    <a:schemeClr val="bg1"/>
                  </a:solidFill>
                </a:rPr>
                <a:t>Data Collection</a:t>
              </a:r>
            </a:p>
          </p:txBody>
        </p:sp>
        <p:sp>
          <p:nvSpPr>
            <p:cNvPr id="18466" name="Text Box 11"/>
            <p:cNvSpPr txBox="1">
              <a:spLocks noChangeArrowheads="1"/>
            </p:cNvSpPr>
            <p:nvPr/>
          </p:nvSpPr>
          <p:spPr bwMode="auto">
            <a:xfrm>
              <a:off x="4234" y="1454"/>
              <a:ext cx="1008" cy="1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0" tIns="45716" rIns="91430" bIns="45716">
              <a:spAutoFit/>
            </a:bodyPr>
            <a:lstStyle>
              <a:lvl1pPr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sz="1300" b="1">
                  <a:solidFill>
                    <a:schemeClr val="bg1"/>
                  </a:solidFill>
                </a:rPr>
                <a:t>Data Analysis</a:t>
              </a:r>
            </a:p>
          </p:txBody>
        </p:sp>
      </p:grpSp>
      <p:sp>
        <p:nvSpPr>
          <p:cNvPr id="18436" name="Text Box 12"/>
          <p:cNvSpPr txBox="1">
            <a:spLocks noChangeArrowheads="1"/>
          </p:cNvSpPr>
          <p:nvPr/>
        </p:nvSpPr>
        <p:spPr bwMode="auto">
          <a:xfrm>
            <a:off x="396875" y="2863850"/>
            <a:ext cx="982663" cy="290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r>
              <a:rPr lang="en-US" sz="1300" b="1" i="1">
                <a:solidFill>
                  <a:srgbClr val="666666"/>
                </a:solidFill>
              </a:rPr>
              <a:t>Process</a:t>
            </a:r>
          </a:p>
        </p:txBody>
      </p:sp>
      <p:sp>
        <p:nvSpPr>
          <p:cNvPr id="18437" name="Text Box 13"/>
          <p:cNvSpPr txBox="1">
            <a:spLocks noChangeArrowheads="1"/>
          </p:cNvSpPr>
          <p:nvPr/>
        </p:nvSpPr>
        <p:spPr bwMode="auto">
          <a:xfrm>
            <a:off x="396875" y="5616575"/>
            <a:ext cx="982663" cy="290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r>
              <a:rPr lang="en-US" sz="1300" b="1" i="1">
                <a:solidFill>
                  <a:srgbClr val="666666"/>
                </a:solidFill>
              </a:rPr>
              <a:t>Results</a:t>
            </a:r>
          </a:p>
        </p:txBody>
      </p:sp>
      <p:sp>
        <p:nvSpPr>
          <p:cNvPr id="18438" name="Line 14"/>
          <p:cNvSpPr>
            <a:spLocks noChangeShapeType="1"/>
          </p:cNvSpPr>
          <p:nvPr/>
        </p:nvSpPr>
        <p:spPr bwMode="auto">
          <a:xfrm>
            <a:off x="1538288" y="5513388"/>
            <a:ext cx="7199312" cy="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439" name="Rectangle 4"/>
          <p:cNvSpPr>
            <a:spLocks noChangeArrowheads="1"/>
          </p:cNvSpPr>
          <p:nvPr/>
        </p:nvSpPr>
        <p:spPr bwMode="auto">
          <a:xfrm>
            <a:off x="3900488" y="2903538"/>
            <a:ext cx="2319337" cy="208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77800" indent="-177800" defTabSz="912813">
              <a:spcAft>
                <a:spcPts val="4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/>
              <a:t>4 interns administered survey over phone</a:t>
            </a:r>
          </a:p>
          <a:p>
            <a:pPr marL="177800" indent="-177800" defTabSz="912813">
              <a:spcAft>
                <a:spcPts val="4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/>
              <a:t>Reached out to each person multiple times at different times of the day, both via phone and email</a:t>
            </a:r>
          </a:p>
          <a:p>
            <a:pPr marL="177800" indent="-177800" defTabSz="912813">
              <a:spcAft>
                <a:spcPts val="4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/>
              <a:t>Each survey checked by supervisor.  Data double checked and compared with previous surveys</a:t>
            </a:r>
          </a:p>
        </p:txBody>
      </p:sp>
      <p:sp>
        <p:nvSpPr>
          <p:cNvPr id="18440" name="Rectangle 4"/>
          <p:cNvSpPr>
            <a:spLocks noChangeArrowheads="1"/>
          </p:cNvSpPr>
          <p:nvPr/>
        </p:nvSpPr>
        <p:spPr bwMode="auto">
          <a:xfrm>
            <a:off x="6415088" y="2903538"/>
            <a:ext cx="2319337" cy="2482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77800" indent="-177800" defTabSz="912813">
              <a:spcAft>
                <a:spcPts val="4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 b="1"/>
              <a:t>Employed a process to approximate randomized sampling (credible counterfactual) to measure </a:t>
            </a:r>
            <a:r>
              <a:rPr lang="en-US" sz="1300" b="1" i="1"/>
              <a:t>true</a:t>
            </a:r>
            <a:r>
              <a:rPr lang="en-US" sz="1300" b="1"/>
              <a:t> impact</a:t>
            </a:r>
          </a:p>
          <a:p>
            <a:pPr marL="177800" indent="-177800" defTabSz="912813">
              <a:spcAft>
                <a:spcPts val="4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/>
              <a:t>Multiple regression analysis allows us to control for a variety of variables and see impact of specific pieces of training</a:t>
            </a:r>
          </a:p>
          <a:p>
            <a:pPr marL="177800" indent="-177800" defTabSz="912813">
              <a:spcAft>
                <a:spcPts val="4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/>
              <a:t>Simple comparisons demonstrate robustness</a:t>
            </a:r>
          </a:p>
        </p:txBody>
      </p:sp>
      <p:sp>
        <p:nvSpPr>
          <p:cNvPr id="18441" name="Rectangle 4"/>
          <p:cNvSpPr>
            <a:spLocks noChangeArrowheads="1"/>
          </p:cNvSpPr>
          <p:nvPr/>
        </p:nvSpPr>
        <p:spPr bwMode="auto">
          <a:xfrm>
            <a:off x="1462088" y="5653088"/>
            <a:ext cx="2319337" cy="84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77800" indent="-177800" defTabSz="912813">
              <a:spcAft>
                <a:spcPts val="4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/>
              <a:t>Survey efficiently designed with study goals and methodology in mind</a:t>
            </a:r>
          </a:p>
          <a:p>
            <a:pPr marL="177800" indent="-177800" defTabSz="912813">
              <a:spcAft>
                <a:spcPts val="4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/>
              <a:t>Interns prepared</a:t>
            </a:r>
          </a:p>
        </p:txBody>
      </p:sp>
      <p:sp>
        <p:nvSpPr>
          <p:cNvPr id="18442" name="Rectangle 4"/>
          <p:cNvSpPr>
            <a:spLocks noChangeArrowheads="1"/>
          </p:cNvSpPr>
          <p:nvPr/>
        </p:nvSpPr>
        <p:spPr bwMode="auto">
          <a:xfrm>
            <a:off x="3900488" y="5653088"/>
            <a:ext cx="2319337" cy="595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77800" indent="-177800" defTabSz="912813">
              <a:spcAft>
                <a:spcPts val="4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/>
              <a:t>Large dataset, confidence in data integrity, and reduction of response bias</a:t>
            </a:r>
          </a:p>
        </p:txBody>
      </p:sp>
      <p:sp>
        <p:nvSpPr>
          <p:cNvPr id="18443" name="Rectangle 4"/>
          <p:cNvSpPr>
            <a:spLocks noChangeArrowheads="1"/>
          </p:cNvSpPr>
          <p:nvPr/>
        </p:nvSpPr>
        <p:spPr bwMode="auto">
          <a:xfrm>
            <a:off x="6415088" y="5653088"/>
            <a:ext cx="2319337" cy="84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77800" indent="-177800" defTabSz="912813">
              <a:spcAft>
                <a:spcPts val="4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/>
              <a:t>Confidence in measurement of impact</a:t>
            </a:r>
          </a:p>
          <a:p>
            <a:pPr marL="177800" indent="-177800" defTabSz="912813">
              <a:spcAft>
                <a:spcPts val="4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/>
              <a:t>Wide variety of metrics analyzed</a:t>
            </a:r>
          </a:p>
        </p:txBody>
      </p:sp>
      <p:sp>
        <p:nvSpPr>
          <p:cNvPr id="18444" name="Rectangle 1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>
                <a:ea typeface="ＭＳ Ｐゴシック" pitchFamily="34" charset="-128"/>
                <a:cs typeface="Arial" pitchFamily="34" charset="0"/>
              </a:rPr>
              <a:t>Study Methodology (Summer 2009)</a:t>
            </a:r>
          </a:p>
        </p:txBody>
      </p:sp>
      <p:grpSp>
        <p:nvGrpSpPr>
          <p:cNvPr id="18445" name="Group 23"/>
          <p:cNvGrpSpPr>
            <a:grpSpLocks/>
          </p:cNvGrpSpPr>
          <p:nvPr/>
        </p:nvGrpSpPr>
        <p:grpSpPr bwMode="auto">
          <a:xfrm>
            <a:off x="8056563" y="693738"/>
            <a:ext cx="974725" cy="344487"/>
            <a:chOff x="220" y="1866"/>
            <a:chExt cx="5348" cy="1886"/>
          </a:xfrm>
        </p:grpSpPr>
        <p:sp>
          <p:nvSpPr>
            <p:cNvPr id="18446" name="Line 24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>
              <a:off x="3974" y="2414"/>
              <a:ext cx="157" cy="9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8447" name="Arc 2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955" y="2361"/>
              <a:ext cx="470" cy="269"/>
            </a:xfrm>
            <a:custGeom>
              <a:avLst/>
              <a:gdLst>
                <a:gd name="T0" fmla="*/ 0 w 24969"/>
                <a:gd name="T1" fmla="*/ 0 h 21600"/>
                <a:gd name="T2" fmla="*/ 0 w 24969"/>
                <a:gd name="T3" fmla="*/ 0 h 21600"/>
                <a:gd name="T4" fmla="*/ 0 w 24969"/>
                <a:gd name="T5" fmla="*/ 0 h 21600"/>
                <a:gd name="T6" fmla="*/ 0 60000 65536"/>
                <a:gd name="T7" fmla="*/ 0 60000 65536"/>
                <a:gd name="T8" fmla="*/ 0 60000 65536"/>
                <a:gd name="T9" fmla="*/ 0 w 24969"/>
                <a:gd name="T10" fmla="*/ 0 h 21600"/>
                <a:gd name="T11" fmla="*/ 24969 w 24969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969" h="21600" fill="none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</a:path>
                <a:path w="24969" h="21600" stroke="0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  <a:lnTo>
                    <a:pt x="21594" y="21600"/>
                  </a:lnTo>
                  <a:lnTo>
                    <a:pt x="-1" y="21094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8448" name="Arc 26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624" y="1988"/>
              <a:ext cx="984" cy="548"/>
            </a:xfrm>
            <a:custGeom>
              <a:avLst/>
              <a:gdLst>
                <a:gd name="T0" fmla="*/ 0 w 24568"/>
                <a:gd name="T1" fmla="*/ 0 h 21600"/>
                <a:gd name="T2" fmla="*/ 0 w 24568"/>
                <a:gd name="T3" fmla="*/ 0 h 21600"/>
                <a:gd name="T4" fmla="*/ 0 w 24568"/>
                <a:gd name="T5" fmla="*/ 0 h 21600"/>
                <a:gd name="T6" fmla="*/ 0 60000 65536"/>
                <a:gd name="T7" fmla="*/ 0 60000 65536"/>
                <a:gd name="T8" fmla="*/ 0 60000 65536"/>
                <a:gd name="T9" fmla="*/ 0 w 24568"/>
                <a:gd name="T10" fmla="*/ 0 h 21600"/>
                <a:gd name="T11" fmla="*/ 24568 w 24568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568" h="21600" fill="none" extrusionOk="0">
                  <a:moveTo>
                    <a:pt x="-1" y="17428"/>
                  </a:moveTo>
                  <a:cubicBezTo>
                    <a:pt x="1992" y="7301"/>
                    <a:pt x="10871" y="-1"/>
                    <a:pt x="21193" y="-1"/>
                  </a:cubicBezTo>
                  <a:cubicBezTo>
                    <a:pt x="22323" y="-1"/>
                    <a:pt x="23451" y="88"/>
                    <a:pt x="24567" y="265"/>
                  </a:cubicBezTo>
                </a:path>
                <a:path w="24568" h="21600" stroke="0" extrusionOk="0">
                  <a:moveTo>
                    <a:pt x="-1" y="17428"/>
                  </a:moveTo>
                  <a:cubicBezTo>
                    <a:pt x="1992" y="7301"/>
                    <a:pt x="10871" y="-1"/>
                    <a:pt x="21193" y="-1"/>
                  </a:cubicBezTo>
                  <a:cubicBezTo>
                    <a:pt x="22323" y="-1"/>
                    <a:pt x="23451" y="88"/>
                    <a:pt x="24567" y="265"/>
                  </a:cubicBezTo>
                  <a:lnTo>
                    <a:pt x="21193" y="21600"/>
                  </a:lnTo>
                  <a:lnTo>
                    <a:pt x="-1" y="17428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8449" name="Freeform 27"/>
            <p:cNvSpPr>
              <a:spLocks/>
            </p:cNvSpPr>
            <p:nvPr>
              <p:custDataLst>
                <p:tags r:id="rId4"/>
              </p:custDataLst>
            </p:nvPr>
          </p:nvSpPr>
          <p:spPr bwMode="blackWhite">
            <a:xfrm>
              <a:off x="2546" y="1866"/>
              <a:ext cx="854" cy="678"/>
            </a:xfrm>
            <a:custGeom>
              <a:avLst/>
              <a:gdLst>
                <a:gd name="T0" fmla="*/ 0 w 854"/>
                <a:gd name="T1" fmla="*/ 570 h 675"/>
                <a:gd name="T2" fmla="*/ 660 w 854"/>
                <a:gd name="T3" fmla="*/ 567 h 675"/>
                <a:gd name="T4" fmla="*/ 660 w 854"/>
                <a:gd name="T5" fmla="*/ 690 h 675"/>
                <a:gd name="T6" fmla="*/ 854 w 854"/>
                <a:gd name="T7" fmla="*/ 334 h 675"/>
                <a:gd name="T8" fmla="*/ 662 w 854"/>
                <a:gd name="T9" fmla="*/ 0 h 675"/>
                <a:gd name="T10" fmla="*/ 663 w 854"/>
                <a:gd name="T11" fmla="*/ 131 h 675"/>
                <a:gd name="T12" fmla="*/ 12 w 854"/>
                <a:gd name="T13" fmla="*/ 131 h 675"/>
                <a:gd name="T14" fmla="*/ 124 w 854"/>
                <a:gd name="T15" fmla="*/ 331 h 675"/>
                <a:gd name="T16" fmla="*/ 0 w 854"/>
                <a:gd name="T17" fmla="*/ 570 h 6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54"/>
                <a:gd name="T28" fmla="*/ 0 h 675"/>
                <a:gd name="T29" fmla="*/ 854 w 854"/>
                <a:gd name="T30" fmla="*/ 675 h 6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54" h="675">
                  <a:moveTo>
                    <a:pt x="0" y="558"/>
                  </a:moveTo>
                  <a:lnTo>
                    <a:pt x="660" y="556"/>
                  </a:lnTo>
                  <a:lnTo>
                    <a:pt x="660" y="675"/>
                  </a:lnTo>
                  <a:lnTo>
                    <a:pt x="854" y="329"/>
                  </a:lnTo>
                  <a:lnTo>
                    <a:pt x="662" y="0"/>
                  </a:lnTo>
                  <a:lnTo>
                    <a:pt x="663" y="126"/>
                  </a:lnTo>
                  <a:lnTo>
                    <a:pt x="12" y="126"/>
                  </a:lnTo>
                  <a:lnTo>
                    <a:pt x="124" y="3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450" name="Arc 28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455" y="1988"/>
              <a:ext cx="984" cy="548"/>
            </a:xfrm>
            <a:custGeom>
              <a:avLst/>
              <a:gdLst>
                <a:gd name="T0" fmla="*/ 0 w 24961"/>
                <a:gd name="T1" fmla="*/ 0 h 21600"/>
                <a:gd name="T2" fmla="*/ 0 w 24961"/>
                <a:gd name="T3" fmla="*/ 0 h 21600"/>
                <a:gd name="T4" fmla="*/ 0 w 24961"/>
                <a:gd name="T5" fmla="*/ 0 h 21600"/>
                <a:gd name="T6" fmla="*/ 0 60000 65536"/>
                <a:gd name="T7" fmla="*/ 0 60000 65536"/>
                <a:gd name="T8" fmla="*/ 0 60000 65536"/>
                <a:gd name="T9" fmla="*/ 0 w 24961"/>
                <a:gd name="T10" fmla="*/ 0 h 21600"/>
                <a:gd name="T11" fmla="*/ 24961 w 24961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961" h="21600" fill="none" extrusionOk="0">
                  <a:moveTo>
                    <a:pt x="-1" y="20825"/>
                  </a:moveTo>
                  <a:cubicBezTo>
                    <a:pt x="416" y="9205"/>
                    <a:pt x="9957" y="-1"/>
                    <a:pt x="21586" y="-1"/>
                  </a:cubicBezTo>
                  <a:cubicBezTo>
                    <a:pt x="22716" y="-1"/>
                    <a:pt x="23844" y="88"/>
                    <a:pt x="24960" y="265"/>
                  </a:cubicBezTo>
                </a:path>
                <a:path w="24961" h="21600" stroke="0" extrusionOk="0">
                  <a:moveTo>
                    <a:pt x="-1" y="20825"/>
                  </a:moveTo>
                  <a:cubicBezTo>
                    <a:pt x="416" y="9205"/>
                    <a:pt x="9957" y="-1"/>
                    <a:pt x="21586" y="-1"/>
                  </a:cubicBezTo>
                  <a:cubicBezTo>
                    <a:pt x="22716" y="-1"/>
                    <a:pt x="23844" y="88"/>
                    <a:pt x="24960" y="265"/>
                  </a:cubicBezTo>
                  <a:lnTo>
                    <a:pt x="21586" y="21600"/>
                  </a:lnTo>
                  <a:lnTo>
                    <a:pt x="-1" y="20825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8451" name="Arc 29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812" y="2387"/>
              <a:ext cx="479" cy="278"/>
            </a:xfrm>
            <a:custGeom>
              <a:avLst/>
              <a:gdLst>
                <a:gd name="T0" fmla="*/ 0 w 24969"/>
                <a:gd name="T1" fmla="*/ 0 h 21600"/>
                <a:gd name="T2" fmla="*/ 0 w 24969"/>
                <a:gd name="T3" fmla="*/ 0 h 21600"/>
                <a:gd name="T4" fmla="*/ 0 w 24969"/>
                <a:gd name="T5" fmla="*/ 0 h 21600"/>
                <a:gd name="T6" fmla="*/ 0 60000 65536"/>
                <a:gd name="T7" fmla="*/ 0 60000 65536"/>
                <a:gd name="T8" fmla="*/ 0 60000 65536"/>
                <a:gd name="T9" fmla="*/ 0 w 24969"/>
                <a:gd name="T10" fmla="*/ 0 h 21600"/>
                <a:gd name="T11" fmla="*/ 24969 w 24969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969" h="21600" fill="none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</a:path>
                <a:path w="24969" h="21600" stroke="0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  <a:lnTo>
                    <a:pt x="21594" y="21600"/>
                  </a:lnTo>
                  <a:lnTo>
                    <a:pt x="-1" y="21094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8452" name="Freeform 30"/>
            <p:cNvSpPr>
              <a:spLocks/>
            </p:cNvSpPr>
            <p:nvPr>
              <p:custDataLst>
                <p:tags r:id="rId7"/>
              </p:custDataLst>
            </p:nvPr>
          </p:nvSpPr>
          <p:spPr bwMode="blackWhite">
            <a:xfrm>
              <a:off x="2354" y="2379"/>
              <a:ext cx="723" cy="982"/>
            </a:xfrm>
            <a:custGeom>
              <a:avLst/>
              <a:gdLst>
                <a:gd name="T0" fmla="*/ 185 w 933"/>
                <a:gd name="T1" fmla="*/ 0 h 1276"/>
                <a:gd name="T2" fmla="*/ 44 w 933"/>
                <a:gd name="T3" fmla="*/ 1 h 1276"/>
                <a:gd name="T4" fmla="*/ 88 w 933"/>
                <a:gd name="T5" fmla="*/ 25 h 1276"/>
                <a:gd name="T6" fmla="*/ 178 w 933"/>
                <a:gd name="T7" fmla="*/ 345 h 1276"/>
                <a:gd name="T8" fmla="*/ 190 w 933"/>
                <a:gd name="T9" fmla="*/ 264 h 1276"/>
                <a:gd name="T10" fmla="*/ 260 w 933"/>
                <a:gd name="T11" fmla="*/ 235 h 1276"/>
                <a:gd name="T12" fmla="*/ 234 w 933"/>
                <a:gd name="T13" fmla="*/ 211 h 1276"/>
                <a:gd name="T14" fmla="*/ 220 w 933"/>
                <a:gd name="T15" fmla="*/ 192 h 1276"/>
                <a:gd name="T16" fmla="*/ 210 w 933"/>
                <a:gd name="T17" fmla="*/ 162 h 1276"/>
                <a:gd name="T18" fmla="*/ 211 w 933"/>
                <a:gd name="T19" fmla="*/ 94 h 1276"/>
                <a:gd name="T20" fmla="*/ 257 w 933"/>
                <a:gd name="T21" fmla="*/ 119 h 1276"/>
                <a:gd name="T22" fmla="*/ 185 w 933"/>
                <a:gd name="T23" fmla="*/ 0 h 127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33"/>
                <a:gd name="T37" fmla="*/ 0 h 1276"/>
                <a:gd name="T38" fmla="*/ 933 w 933"/>
                <a:gd name="T39" fmla="*/ 1276 h 127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33" h="1276">
                  <a:moveTo>
                    <a:pt x="662" y="0"/>
                  </a:moveTo>
                  <a:lnTo>
                    <a:pt x="156" y="1"/>
                  </a:lnTo>
                  <a:lnTo>
                    <a:pt x="314" y="93"/>
                  </a:lnTo>
                  <a:cubicBezTo>
                    <a:pt x="314" y="93"/>
                    <a:pt x="0" y="771"/>
                    <a:pt x="637" y="1276"/>
                  </a:cubicBezTo>
                  <a:lnTo>
                    <a:pt x="679" y="978"/>
                  </a:lnTo>
                  <a:cubicBezTo>
                    <a:pt x="679" y="978"/>
                    <a:pt x="813" y="923"/>
                    <a:pt x="933" y="872"/>
                  </a:cubicBezTo>
                  <a:cubicBezTo>
                    <a:pt x="885" y="843"/>
                    <a:pt x="838" y="779"/>
                    <a:pt x="838" y="779"/>
                  </a:cubicBezTo>
                  <a:lnTo>
                    <a:pt x="788" y="711"/>
                  </a:lnTo>
                  <a:lnTo>
                    <a:pt x="752" y="600"/>
                  </a:lnTo>
                  <a:cubicBezTo>
                    <a:pt x="752" y="600"/>
                    <a:pt x="719" y="481"/>
                    <a:pt x="755" y="348"/>
                  </a:cubicBezTo>
                  <a:cubicBezTo>
                    <a:pt x="839" y="395"/>
                    <a:pt x="923" y="444"/>
                    <a:pt x="923" y="444"/>
                  </a:cubicBezTo>
                  <a:lnTo>
                    <a:pt x="662" y="0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453" name="Freeform 31"/>
            <p:cNvSpPr>
              <a:spLocks/>
            </p:cNvSpPr>
            <p:nvPr>
              <p:custDataLst>
                <p:tags r:id="rId8"/>
              </p:custDataLst>
            </p:nvPr>
          </p:nvSpPr>
          <p:spPr bwMode="blackWhite">
            <a:xfrm rot="4209998">
              <a:off x="86" y="2643"/>
              <a:ext cx="1139" cy="784"/>
            </a:xfrm>
            <a:custGeom>
              <a:avLst/>
              <a:gdLst>
                <a:gd name="T0" fmla="*/ 16 w 1485"/>
                <a:gd name="T1" fmla="*/ 66 h 1021"/>
                <a:gd name="T2" fmla="*/ 0 w 1485"/>
                <a:gd name="T3" fmla="*/ 203 h 1021"/>
                <a:gd name="T4" fmla="*/ 31 w 1485"/>
                <a:gd name="T5" fmla="*/ 161 h 1021"/>
                <a:gd name="T6" fmla="*/ 394 w 1485"/>
                <a:gd name="T7" fmla="*/ 39 h 1021"/>
                <a:gd name="T8" fmla="*/ 311 w 1485"/>
                <a:gd name="T9" fmla="*/ 56 h 1021"/>
                <a:gd name="T10" fmla="*/ 265 w 1485"/>
                <a:gd name="T11" fmla="*/ 0 h 1021"/>
                <a:gd name="T12" fmla="*/ 229 w 1485"/>
                <a:gd name="T13" fmla="*/ 37 h 1021"/>
                <a:gd name="T14" fmla="*/ 206 w 1485"/>
                <a:gd name="T15" fmla="*/ 51 h 1021"/>
                <a:gd name="T16" fmla="*/ 170 w 1485"/>
                <a:gd name="T17" fmla="*/ 61 h 1021"/>
                <a:gd name="T18" fmla="*/ 115 w 1485"/>
                <a:gd name="T19" fmla="*/ 51 h 1021"/>
                <a:gd name="T20" fmla="*/ 142 w 1485"/>
                <a:gd name="T21" fmla="*/ 15 h 1021"/>
                <a:gd name="T22" fmla="*/ 16 w 1485"/>
                <a:gd name="T23" fmla="*/ 66 h 10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85"/>
                <a:gd name="T37" fmla="*/ 0 h 1021"/>
                <a:gd name="T38" fmla="*/ 1485 w 1485"/>
                <a:gd name="T39" fmla="*/ 1021 h 102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85" h="1021">
                  <a:moveTo>
                    <a:pt x="61" y="248"/>
                  </a:moveTo>
                  <a:lnTo>
                    <a:pt x="0" y="762"/>
                  </a:lnTo>
                  <a:cubicBezTo>
                    <a:pt x="0" y="762"/>
                    <a:pt x="59" y="684"/>
                    <a:pt x="118" y="606"/>
                  </a:cubicBezTo>
                  <a:cubicBezTo>
                    <a:pt x="136" y="628"/>
                    <a:pt x="994" y="1021"/>
                    <a:pt x="1485" y="146"/>
                  </a:cubicBezTo>
                  <a:lnTo>
                    <a:pt x="1170" y="210"/>
                  </a:lnTo>
                  <a:cubicBezTo>
                    <a:pt x="1170" y="210"/>
                    <a:pt x="1084" y="105"/>
                    <a:pt x="999" y="0"/>
                  </a:cubicBezTo>
                  <a:cubicBezTo>
                    <a:pt x="946" y="83"/>
                    <a:pt x="860" y="137"/>
                    <a:pt x="860" y="137"/>
                  </a:cubicBezTo>
                  <a:lnTo>
                    <a:pt x="778" y="190"/>
                  </a:lnTo>
                  <a:lnTo>
                    <a:pt x="638" y="226"/>
                  </a:lnTo>
                  <a:cubicBezTo>
                    <a:pt x="581" y="226"/>
                    <a:pt x="452" y="219"/>
                    <a:pt x="435" y="191"/>
                  </a:cubicBezTo>
                  <a:cubicBezTo>
                    <a:pt x="485" y="124"/>
                    <a:pt x="535" y="57"/>
                    <a:pt x="535" y="57"/>
                  </a:cubicBezTo>
                  <a:lnTo>
                    <a:pt x="61" y="248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454" name="Freeform 32"/>
            <p:cNvSpPr>
              <a:spLocks/>
            </p:cNvSpPr>
            <p:nvPr>
              <p:custDataLst>
                <p:tags r:id="rId9"/>
              </p:custDataLst>
            </p:nvPr>
          </p:nvSpPr>
          <p:spPr bwMode="blackWhite">
            <a:xfrm>
              <a:off x="1074" y="2005"/>
              <a:ext cx="862" cy="1608"/>
            </a:xfrm>
            <a:custGeom>
              <a:avLst/>
              <a:gdLst>
                <a:gd name="T0" fmla="*/ 182 w 976"/>
                <a:gd name="T1" fmla="*/ 913 h 1811"/>
                <a:gd name="T2" fmla="*/ 242 w 976"/>
                <a:gd name="T3" fmla="*/ 890 h 1811"/>
                <a:gd name="T4" fmla="*/ 297 w 976"/>
                <a:gd name="T5" fmla="*/ 859 h 1811"/>
                <a:gd name="T6" fmla="*/ 351 w 976"/>
                <a:gd name="T7" fmla="*/ 820 h 1811"/>
                <a:gd name="T8" fmla="*/ 397 w 976"/>
                <a:gd name="T9" fmla="*/ 776 h 1811"/>
                <a:gd name="T10" fmla="*/ 439 w 976"/>
                <a:gd name="T11" fmla="*/ 725 h 1811"/>
                <a:gd name="T12" fmla="*/ 474 w 976"/>
                <a:gd name="T13" fmla="*/ 668 h 1811"/>
                <a:gd name="T14" fmla="*/ 498 w 976"/>
                <a:gd name="T15" fmla="*/ 607 h 1811"/>
                <a:gd name="T16" fmla="*/ 517 w 976"/>
                <a:gd name="T17" fmla="*/ 543 h 1811"/>
                <a:gd name="T18" fmla="*/ 524 w 976"/>
                <a:gd name="T19" fmla="*/ 478 h 1811"/>
                <a:gd name="T20" fmla="*/ 522 w 976"/>
                <a:gd name="T21" fmla="*/ 411 h 1811"/>
                <a:gd name="T22" fmla="*/ 510 w 976"/>
                <a:gd name="T23" fmla="*/ 345 h 1811"/>
                <a:gd name="T24" fmla="*/ 491 w 976"/>
                <a:gd name="T25" fmla="*/ 282 h 1811"/>
                <a:gd name="T26" fmla="*/ 462 w 976"/>
                <a:gd name="T27" fmla="*/ 222 h 1811"/>
                <a:gd name="T28" fmla="*/ 424 w 976"/>
                <a:gd name="T29" fmla="*/ 168 h 1811"/>
                <a:gd name="T30" fmla="*/ 381 w 976"/>
                <a:gd name="T31" fmla="*/ 119 h 1811"/>
                <a:gd name="T32" fmla="*/ 330 w 976"/>
                <a:gd name="T33" fmla="*/ 78 h 1811"/>
                <a:gd name="T34" fmla="*/ 274 w 976"/>
                <a:gd name="T35" fmla="*/ 45 h 1811"/>
                <a:gd name="T36" fmla="*/ 215 w 976"/>
                <a:gd name="T37" fmla="*/ 20 h 1811"/>
                <a:gd name="T38" fmla="*/ 150 w 976"/>
                <a:gd name="T39" fmla="*/ 4 h 1811"/>
                <a:gd name="T40" fmla="*/ 158 w 976"/>
                <a:gd name="T41" fmla="*/ 61 h 1811"/>
                <a:gd name="T42" fmla="*/ 122 w 976"/>
                <a:gd name="T43" fmla="*/ 240 h 1811"/>
                <a:gd name="T44" fmla="*/ 163 w 976"/>
                <a:gd name="T45" fmla="*/ 256 h 1811"/>
                <a:gd name="T46" fmla="*/ 204 w 976"/>
                <a:gd name="T47" fmla="*/ 280 h 1811"/>
                <a:gd name="T48" fmla="*/ 237 w 976"/>
                <a:gd name="T49" fmla="*/ 313 h 1811"/>
                <a:gd name="T50" fmla="*/ 263 w 976"/>
                <a:gd name="T51" fmla="*/ 352 h 1811"/>
                <a:gd name="T52" fmla="*/ 280 w 976"/>
                <a:gd name="T53" fmla="*/ 396 h 1811"/>
                <a:gd name="T54" fmla="*/ 290 w 976"/>
                <a:gd name="T55" fmla="*/ 441 h 1811"/>
                <a:gd name="T56" fmla="*/ 288 w 976"/>
                <a:gd name="T57" fmla="*/ 489 h 1811"/>
                <a:gd name="T58" fmla="*/ 278 w 976"/>
                <a:gd name="T59" fmla="*/ 535 h 1811"/>
                <a:gd name="T60" fmla="*/ 259 w 976"/>
                <a:gd name="T61" fmla="*/ 578 h 1811"/>
                <a:gd name="T62" fmla="*/ 231 w 976"/>
                <a:gd name="T63" fmla="*/ 615 h 1811"/>
                <a:gd name="T64" fmla="*/ 197 w 976"/>
                <a:gd name="T65" fmla="*/ 646 h 1811"/>
                <a:gd name="T66" fmla="*/ 157 w 976"/>
                <a:gd name="T67" fmla="*/ 671 h 1811"/>
                <a:gd name="T68" fmla="*/ 136 w 976"/>
                <a:gd name="T69" fmla="*/ 602 h 1811"/>
                <a:gd name="T70" fmla="*/ 150 w 976"/>
                <a:gd name="T71" fmla="*/ 999 h 181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76"/>
                <a:gd name="T109" fmla="*/ 0 h 1811"/>
                <a:gd name="T110" fmla="*/ 976 w 976"/>
                <a:gd name="T111" fmla="*/ 1811 h 181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76" h="1811">
                  <a:moveTo>
                    <a:pt x="279" y="1669"/>
                  </a:moveTo>
                  <a:lnTo>
                    <a:pt x="338" y="1654"/>
                  </a:lnTo>
                  <a:lnTo>
                    <a:pt x="394" y="1635"/>
                  </a:lnTo>
                  <a:lnTo>
                    <a:pt x="449" y="1612"/>
                  </a:lnTo>
                  <a:lnTo>
                    <a:pt x="502" y="1585"/>
                  </a:lnTo>
                  <a:lnTo>
                    <a:pt x="553" y="1555"/>
                  </a:lnTo>
                  <a:lnTo>
                    <a:pt x="601" y="1520"/>
                  </a:lnTo>
                  <a:lnTo>
                    <a:pt x="651" y="1485"/>
                  </a:lnTo>
                  <a:lnTo>
                    <a:pt x="697" y="1447"/>
                  </a:lnTo>
                  <a:lnTo>
                    <a:pt x="741" y="1405"/>
                  </a:lnTo>
                  <a:lnTo>
                    <a:pt x="782" y="1361"/>
                  </a:lnTo>
                  <a:lnTo>
                    <a:pt x="818" y="1313"/>
                  </a:lnTo>
                  <a:lnTo>
                    <a:pt x="851" y="1263"/>
                  </a:lnTo>
                  <a:lnTo>
                    <a:pt x="882" y="1210"/>
                  </a:lnTo>
                  <a:lnTo>
                    <a:pt x="908" y="1156"/>
                  </a:lnTo>
                  <a:lnTo>
                    <a:pt x="929" y="1100"/>
                  </a:lnTo>
                  <a:lnTo>
                    <a:pt x="947" y="1043"/>
                  </a:lnTo>
                  <a:lnTo>
                    <a:pt x="961" y="984"/>
                  </a:lnTo>
                  <a:lnTo>
                    <a:pt x="970" y="924"/>
                  </a:lnTo>
                  <a:lnTo>
                    <a:pt x="975" y="865"/>
                  </a:lnTo>
                  <a:lnTo>
                    <a:pt x="975" y="804"/>
                  </a:lnTo>
                  <a:lnTo>
                    <a:pt x="972" y="744"/>
                  </a:lnTo>
                  <a:lnTo>
                    <a:pt x="963" y="685"/>
                  </a:lnTo>
                  <a:lnTo>
                    <a:pt x="950" y="625"/>
                  </a:lnTo>
                  <a:lnTo>
                    <a:pt x="935" y="567"/>
                  </a:lnTo>
                  <a:lnTo>
                    <a:pt x="913" y="511"/>
                  </a:lnTo>
                  <a:lnTo>
                    <a:pt x="889" y="456"/>
                  </a:lnTo>
                  <a:lnTo>
                    <a:pt x="859" y="403"/>
                  </a:lnTo>
                  <a:lnTo>
                    <a:pt x="826" y="352"/>
                  </a:lnTo>
                  <a:lnTo>
                    <a:pt x="790" y="304"/>
                  </a:lnTo>
                  <a:lnTo>
                    <a:pt x="751" y="259"/>
                  </a:lnTo>
                  <a:lnTo>
                    <a:pt x="708" y="216"/>
                  </a:lnTo>
                  <a:lnTo>
                    <a:pt x="662" y="178"/>
                  </a:lnTo>
                  <a:lnTo>
                    <a:pt x="614" y="142"/>
                  </a:lnTo>
                  <a:lnTo>
                    <a:pt x="563" y="109"/>
                  </a:lnTo>
                  <a:lnTo>
                    <a:pt x="510" y="81"/>
                  </a:lnTo>
                  <a:lnTo>
                    <a:pt x="455" y="56"/>
                  </a:lnTo>
                  <a:lnTo>
                    <a:pt x="398" y="36"/>
                  </a:lnTo>
                  <a:lnTo>
                    <a:pt x="340" y="20"/>
                  </a:lnTo>
                  <a:lnTo>
                    <a:pt x="281" y="8"/>
                  </a:lnTo>
                  <a:lnTo>
                    <a:pt x="222" y="0"/>
                  </a:lnTo>
                  <a:lnTo>
                    <a:pt x="294" y="112"/>
                  </a:lnTo>
                  <a:lnTo>
                    <a:pt x="369" y="222"/>
                  </a:lnTo>
                  <a:lnTo>
                    <a:pt x="226" y="434"/>
                  </a:lnTo>
                  <a:lnTo>
                    <a:pt x="268" y="446"/>
                  </a:lnTo>
                  <a:lnTo>
                    <a:pt x="306" y="463"/>
                  </a:lnTo>
                  <a:lnTo>
                    <a:pt x="344" y="483"/>
                  </a:lnTo>
                  <a:lnTo>
                    <a:pt x="379" y="508"/>
                  </a:lnTo>
                  <a:lnTo>
                    <a:pt x="411" y="536"/>
                  </a:lnTo>
                  <a:lnTo>
                    <a:pt x="440" y="567"/>
                  </a:lnTo>
                  <a:lnTo>
                    <a:pt x="467" y="601"/>
                  </a:lnTo>
                  <a:lnTo>
                    <a:pt x="489" y="637"/>
                  </a:lnTo>
                  <a:lnTo>
                    <a:pt x="508" y="676"/>
                  </a:lnTo>
                  <a:lnTo>
                    <a:pt x="521" y="716"/>
                  </a:lnTo>
                  <a:lnTo>
                    <a:pt x="531" y="758"/>
                  </a:lnTo>
                  <a:lnTo>
                    <a:pt x="538" y="801"/>
                  </a:lnTo>
                  <a:lnTo>
                    <a:pt x="539" y="843"/>
                  </a:lnTo>
                  <a:lnTo>
                    <a:pt x="536" y="886"/>
                  </a:lnTo>
                  <a:lnTo>
                    <a:pt x="529" y="928"/>
                  </a:lnTo>
                  <a:lnTo>
                    <a:pt x="517" y="969"/>
                  </a:lnTo>
                  <a:lnTo>
                    <a:pt x="501" y="1009"/>
                  </a:lnTo>
                  <a:lnTo>
                    <a:pt x="482" y="1046"/>
                  </a:lnTo>
                  <a:lnTo>
                    <a:pt x="458" y="1082"/>
                  </a:lnTo>
                  <a:lnTo>
                    <a:pt x="431" y="1115"/>
                  </a:lnTo>
                  <a:lnTo>
                    <a:pt x="401" y="1145"/>
                  </a:lnTo>
                  <a:lnTo>
                    <a:pt x="367" y="1172"/>
                  </a:lnTo>
                  <a:lnTo>
                    <a:pt x="331" y="1196"/>
                  </a:lnTo>
                  <a:lnTo>
                    <a:pt x="293" y="1215"/>
                  </a:lnTo>
                  <a:lnTo>
                    <a:pt x="253" y="1230"/>
                  </a:lnTo>
                  <a:lnTo>
                    <a:pt x="253" y="1093"/>
                  </a:lnTo>
                  <a:lnTo>
                    <a:pt x="0" y="1420"/>
                  </a:lnTo>
                  <a:lnTo>
                    <a:pt x="279" y="1810"/>
                  </a:lnTo>
                  <a:lnTo>
                    <a:pt x="279" y="1669"/>
                  </a:lnTo>
                </a:path>
              </a:pathLst>
            </a:custGeom>
            <a:solidFill>
              <a:schemeClr val="accent2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455" name="Freeform 33"/>
            <p:cNvSpPr>
              <a:spLocks/>
            </p:cNvSpPr>
            <p:nvPr>
              <p:custDataLst>
                <p:tags r:id="rId10"/>
              </p:custDataLst>
            </p:nvPr>
          </p:nvSpPr>
          <p:spPr bwMode="blackWhite">
            <a:xfrm>
              <a:off x="1431" y="1866"/>
              <a:ext cx="1167" cy="678"/>
            </a:xfrm>
            <a:custGeom>
              <a:avLst/>
              <a:gdLst>
                <a:gd name="T0" fmla="*/ 214 w 1429"/>
                <a:gd name="T1" fmla="*/ 249 h 830"/>
                <a:gd name="T2" fmla="*/ 433 w 1429"/>
                <a:gd name="T3" fmla="*/ 249 h 830"/>
                <a:gd name="T4" fmla="*/ 433 w 1429"/>
                <a:gd name="T5" fmla="*/ 302 h 830"/>
                <a:gd name="T6" fmla="*/ 519 w 1429"/>
                <a:gd name="T7" fmla="*/ 148 h 830"/>
                <a:gd name="T8" fmla="*/ 433 w 1429"/>
                <a:gd name="T9" fmla="*/ 0 h 830"/>
                <a:gd name="T10" fmla="*/ 434 w 1429"/>
                <a:gd name="T11" fmla="*/ 56 h 830"/>
                <a:gd name="T12" fmla="*/ 0 w 1429"/>
                <a:gd name="T13" fmla="*/ 56 h 830"/>
                <a:gd name="T14" fmla="*/ 214 w 1429"/>
                <a:gd name="T15" fmla="*/ 249 h 8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29"/>
                <a:gd name="T25" fmla="*/ 0 h 830"/>
                <a:gd name="T26" fmla="*/ 1429 w 1429"/>
                <a:gd name="T27" fmla="*/ 830 h 83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29" h="830">
                  <a:moveTo>
                    <a:pt x="589" y="684"/>
                  </a:moveTo>
                  <a:cubicBezTo>
                    <a:pt x="886" y="685"/>
                    <a:pt x="1191" y="684"/>
                    <a:pt x="1191" y="684"/>
                  </a:cubicBezTo>
                  <a:lnTo>
                    <a:pt x="1191" y="830"/>
                  </a:lnTo>
                  <a:lnTo>
                    <a:pt x="1429" y="404"/>
                  </a:lnTo>
                  <a:lnTo>
                    <a:pt x="1193" y="0"/>
                  </a:lnTo>
                  <a:lnTo>
                    <a:pt x="1194" y="155"/>
                  </a:lnTo>
                  <a:lnTo>
                    <a:pt x="0" y="154"/>
                  </a:lnTo>
                  <a:cubicBezTo>
                    <a:pt x="0" y="154"/>
                    <a:pt x="411" y="237"/>
                    <a:pt x="589" y="684"/>
                  </a:cubicBez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456" name="Freeform 34"/>
            <p:cNvSpPr>
              <a:spLocks/>
            </p:cNvSpPr>
            <p:nvPr>
              <p:custDataLst>
                <p:tags r:id="rId11"/>
              </p:custDataLst>
            </p:nvPr>
          </p:nvSpPr>
          <p:spPr bwMode="blackWhite">
            <a:xfrm>
              <a:off x="2859" y="2970"/>
              <a:ext cx="1150" cy="782"/>
            </a:xfrm>
            <a:custGeom>
              <a:avLst/>
              <a:gdLst>
                <a:gd name="T0" fmla="*/ 17 w 1485"/>
                <a:gd name="T1" fmla="*/ 66 h 1021"/>
                <a:gd name="T2" fmla="*/ 0 w 1485"/>
                <a:gd name="T3" fmla="*/ 201 h 1021"/>
                <a:gd name="T4" fmla="*/ 33 w 1485"/>
                <a:gd name="T5" fmla="*/ 159 h 1021"/>
                <a:gd name="T6" fmla="*/ 414 w 1485"/>
                <a:gd name="T7" fmla="*/ 39 h 1021"/>
                <a:gd name="T8" fmla="*/ 326 w 1485"/>
                <a:gd name="T9" fmla="*/ 55 h 1021"/>
                <a:gd name="T10" fmla="*/ 278 w 1485"/>
                <a:gd name="T11" fmla="*/ 0 h 1021"/>
                <a:gd name="T12" fmla="*/ 240 w 1485"/>
                <a:gd name="T13" fmla="*/ 36 h 1021"/>
                <a:gd name="T14" fmla="*/ 217 w 1485"/>
                <a:gd name="T15" fmla="*/ 51 h 1021"/>
                <a:gd name="T16" fmla="*/ 178 w 1485"/>
                <a:gd name="T17" fmla="*/ 60 h 1021"/>
                <a:gd name="T18" fmla="*/ 121 w 1485"/>
                <a:gd name="T19" fmla="*/ 51 h 1021"/>
                <a:gd name="T20" fmla="*/ 149 w 1485"/>
                <a:gd name="T21" fmla="*/ 15 h 1021"/>
                <a:gd name="T22" fmla="*/ 17 w 1485"/>
                <a:gd name="T23" fmla="*/ 66 h 10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85"/>
                <a:gd name="T37" fmla="*/ 0 h 1021"/>
                <a:gd name="T38" fmla="*/ 1485 w 1485"/>
                <a:gd name="T39" fmla="*/ 1021 h 102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85" h="1021">
                  <a:moveTo>
                    <a:pt x="61" y="248"/>
                  </a:moveTo>
                  <a:lnTo>
                    <a:pt x="0" y="762"/>
                  </a:lnTo>
                  <a:cubicBezTo>
                    <a:pt x="0" y="762"/>
                    <a:pt x="59" y="684"/>
                    <a:pt x="118" y="606"/>
                  </a:cubicBezTo>
                  <a:cubicBezTo>
                    <a:pt x="136" y="628"/>
                    <a:pt x="994" y="1021"/>
                    <a:pt x="1485" y="146"/>
                  </a:cubicBezTo>
                  <a:lnTo>
                    <a:pt x="1170" y="210"/>
                  </a:lnTo>
                  <a:cubicBezTo>
                    <a:pt x="1170" y="210"/>
                    <a:pt x="1084" y="105"/>
                    <a:pt x="999" y="0"/>
                  </a:cubicBezTo>
                  <a:cubicBezTo>
                    <a:pt x="946" y="83"/>
                    <a:pt x="860" y="137"/>
                    <a:pt x="860" y="137"/>
                  </a:cubicBezTo>
                  <a:lnTo>
                    <a:pt x="778" y="190"/>
                  </a:lnTo>
                  <a:lnTo>
                    <a:pt x="638" y="226"/>
                  </a:lnTo>
                  <a:cubicBezTo>
                    <a:pt x="581" y="226"/>
                    <a:pt x="452" y="219"/>
                    <a:pt x="435" y="191"/>
                  </a:cubicBezTo>
                  <a:cubicBezTo>
                    <a:pt x="485" y="124"/>
                    <a:pt x="535" y="57"/>
                    <a:pt x="535" y="57"/>
                  </a:cubicBezTo>
                  <a:lnTo>
                    <a:pt x="61" y="248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457" name="Freeform 35"/>
            <p:cNvSpPr>
              <a:spLocks/>
            </p:cNvSpPr>
            <p:nvPr>
              <p:custDataLst>
                <p:tags r:id="rId12"/>
              </p:custDataLst>
            </p:nvPr>
          </p:nvSpPr>
          <p:spPr bwMode="blackWhite">
            <a:xfrm>
              <a:off x="3617" y="1866"/>
              <a:ext cx="1158" cy="678"/>
            </a:xfrm>
            <a:custGeom>
              <a:avLst/>
              <a:gdLst>
                <a:gd name="T0" fmla="*/ 206 w 1429"/>
                <a:gd name="T1" fmla="*/ 249 h 830"/>
                <a:gd name="T2" fmla="*/ 417 w 1429"/>
                <a:gd name="T3" fmla="*/ 249 h 830"/>
                <a:gd name="T4" fmla="*/ 417 w 1429"/>
                <a:gd name="T5" fmla="*/ 302 h 830"/>
                <a:gd name="T6" fmla="*/ 499 w 1429"/>
                <a:gd name="T7" fmla="*/ 148 h 830"/>
                <a:gd name="T8" fmla="*/ 417 w 1429"/>
                <a:gd name="T9" fmla="*/ 0 h 830"/>
                <a:gd name="T10" fmla="*/ 417 w 1429"/>
                <a:gd name="T11" fmla="*/ 56 h 830"/>
                <a:gd name="T12" fmla="*/ 0 w 1429"/>
                <a:gd name="T13" fmla="*/ 56 h 830"/>
                <a:gd name="T14" fmla="*/ 206 w 1429"/>
                <a:gd name="T15" fmla="*/ 249 h 8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29"/>
                <a:gd name="T25" fmla="*/ 0 h 830"/>
                <a:gd name="T26" fmla="*/ 1429 w 1429"/>
                <a:gd name="T27" fmla="*/ 830 h 83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29" h="830">
                  <a:moveTo>
                    <a:pt x="589" y="684"/>
                  </a:moveTo>
                  <a:cubicBezTo>
                    <a:pt x="886" y="685"/>
                    <a:pt x="1191" y="684"/>
                    <a:pt x="1191" y="684"/>
                  </a:cubicBezTo>
                  <a:lnTo>
                    <a:pt x="1191" y="830"/>
                  </a:lnTo>
                  <a:lnTo>
                    <a:pt x="1429" y="404"/>
                  </a:lnTo>
                  <a:lnTo>
                    <a:pt x="1193" y="0"/>
                  </a:lnTo>
                  <a:lnTo>
                    <a:pt x="1194" y="155"/>
                  </a:lnTo>
                  <a:lnTo>
                    <a:pt x="0" y="154"/>
                  </a:lnTo>
                  <a:cubicBezTo>
                    <a:pt x="0" y="154"/>
                    <a:pt x="411" y="237"/>
                    <a:pt x="589" y="684"/>
                  </a:cubicBez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458" name="Freeform 36"/>
            <p:cNvSpPr>
              <a:spLocks/>
            </p:cNvSpPr>
            <p:nvPr>
              <p:custDataLst>
                <p:tags r:id="rId13"/>
              </p:custDataLst>
            </p:nvPr>
          </p:nvSpPr>
          <p:spPr bwMode="blackWhite">
            <a:xfrm>
              <a:off x="3312" y="1979"/>
              <a:ext cx="862" cy="1112"/>
            </a:xfrm>
            <a:custGeom>
              <a:avLst/>
              <a:gdLst>
                <a:gd name="T0" fmla="*/ 168 w 1115"/>
                <a:gd name="T1" fmla="*/ 394 h 1441"/>
                <a:gd name="T2" fmla="*/ 308 w 1115"/>
                <a:gd name="T3" fmla="*/ 361 h 1441"/>
                <a:gd name="T4" fmla="*/ 264 w 1115"/>
                <a:gd name="T5" fmla="*/ 349 h 1441"/>
                <a:gd name="T6" fmla="*/ 0 w 1115"/>
                <a:gd name="T7" fmla="*/ 0 h 1441"/>
                <a:gd name="T8" fmla="*/ 49 w 1115"/>
                <a:gd name="T9" fmla="*/ 66 h 1441"/>
                <a:gd name="T10" fmla="*/ 19 w 1115"/>
                <a:gd name="T11" fmla="*/ 137 h 1441"/>
                <a:gd name="T12" fmla="*/ 99 w 1115"/>
                <a:gd name="T13" fmla="*/ 179 h 1441"/>
                <a:gd name="T14" fmla="*/ 119 w 1115"/>
                <a:gd name="T15" fmla="*/ 202 h 1441"/>
                <a:gd name="T16" fmla="*/ 130 w 1115"/>
                <a:gd name="T17" fmla="*/ 229 h 1441"/>
                <a:gd name="T18" fmla="*/ 132 w 1115"/>
                <a:gd name="T19" fmla="*/ 305 h 1441"/>
                <a:gd name="T20" fmla="*/ 80 w 1115"/>
                <a:gd name="T21" fmla="*/ 290 h 1441"/>
                <a:gd name="T22" fmla="*/ 168 w 1115"/>
                <a:gd name="T23" fmla="*/ 394 h 144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115"/>
                <a:gd name="T37" fmla="*/ 0 h 1441"/>
                <a:gd name="T38" fmla="*/ 1115 w 1115"/>
                <a:gd name="T39" fmla="*/ 1441 h 144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115" h="1441">
                  <a:moveTo>
                    <a:pt x="609" y="1441"/>
                  </a:moveTo>
                  <a:lnTo>
                    <a:pt x="1115" y="1321"/>
                  </a:lnTo>
                  <a:lnTo>
                    <a:pt x="956" y="1274"/>
                  </a:lnTo>
                  <a:cubicBezTo>
                    <a:pt x="1096" y="922"/>
                    <a:pt x="928" y="37"/>
                    <a:pt x="0" y="0"/>
                  </a:cubicBezTo>
                  <a:cubicBezTo>
                    <a:pt x="90" y="114"/>
                    <a:pt x="178" y="244"/>
                    <a:pt x="178" y="244"/>
                  </a:cubicBezTo>
                  <a:cubicBezTo>
                    <a:pt x="178" y="244"/>
                    <a:pt x="120" y="371"/>
                    <a:pt x="67" y="503"/>
                  </a:cubicBezTo>
                  <a:cubicBezTo>
                    <a:pt x="249" y="531"/>
                    <a:pt x="357" y="655"/>
                    <a:pt x="357" y="655"/>
                  </a:cubicBezTo>
                  <a:lnTo>
                    <a:pt x="431" y="740"/>
                  </a:lnTo>
                  <a:lnTo>
                    <a:pt x="469" y="839"/>
                  </a:lnTo>
                  <a:cubicBezTo>
                    <a:pt x="523" y="963"/>
                    <a:pt x="478" y="1116"/>
                    <a:pt x="478" y="1116"/>
                  </a:cubicBezTo>
                  <a:lnTo>
                    <a:pt x="287" y="1060"/>
                  </a:lnTo>
                  <a:lnTo>
                    <a:pt x="609" y="1441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459" name="Freeform 37"/>
            <p:cNvSpPr>
              <a:spLocks/>
            </p:cNvSpPr>
            <p:nvPr>
              <p:custDataLst>
                <p:tags r:id="rId14"/>
              </p:custDataLst>
            </p:nvPr>
          </p:nvSpPr>
          <p:spPr bwMode="blackWhite">
            <a:xfrm>
              <a:off x="4714" y="1866"/>
              <a:ext cx="854" cy="678"/>
            </a:xfrm>
            <a:custGeom>
              <a:avLst/>
              <a:gdLst>
                <a:gd name="T0" fmla="*/ 0 w 854"/>
                <a:gd name="T1" fmla="*/ 570 h 675"/>
                <a:gd name="T2" fmla="*/ 660 w 854"/>
                <a:gd name="T3" fmla="*/ 567 h 675"/>
                <a:gd name="T4" fmla="*/ 660 w 854"/>
                <a:gd name="T5" fmla="*/ 690 h 675"/>
                <a:gd name="T6" fmla="*/ 854 w 854"/>
                <a:gd name="T7" fmla="*/ 334 h 675"/>
                <a:gd name="T8" fmla="*/ 662 w 854"/>
                <a:gd name="T9" fmla="*/ 0 h 675"/>
                <a:gd name="T10" fmla="*/ 663 w 854"/>
                <a:gd name="T11" fmla="*/ 131 h 675"/>
                <a:gd name="T12" fmla="*/ 12 w 854"/>
                <a:gd name="T13" fmla="*/ 131 h 675"/>
                <a:gd name="T14" fmla="*/ 124 w 854"/>
                <a:gd name="T15" fmla="*/ 331 h 675"/>
                <a:gd name="T16" fmla="*/ 0 w 854"/>
                <a:gd name="T17" fmla="*/ 570 h 6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54"/>
                <a:gd name="T28" fmla="*/ 0 h 675"/>
                <a:gd name="T29" fmla="*/ 854 w 854"/>
                <a:gd name="T30" fmla="*/ 675 h 6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54" h="675">
                  <a:moveTo>
                    <a:pt x="0" y="558"/>
                  </a:moveTo>
                  <a:lnTo>
                    <a:pt x="660" y="556"/>
                  </a:lnTo>
                  <a:lnTo>
                    <a:pt x="660" y="675"/>
                  </a:lnTo>
                  <a:lnTo>
                    <a:pt x="854" y="329"/>
                  </a:lnTo>
                  <a:lnTo>
                    <a:pt x="662" y="0"/>
                  </a:lnTo>
                  <a:lnTo>
                    <a:pt x="663" y="126"/>
                  </a:lnTo>
                  <a:lnTo>
                    <a:pt x="12" y="126"/>
                  </a:lnTo>
                  <a:lnTo>
                    <a:pt x="124" y="3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460" name="Freeform 38"/>
            <p:cNvSpPr>
              <a:spLocks/>
            </p:cNvSpPr>
            <p:nvPr>
              <p:custDataLst>
                <p:tags r:id="rId15"/>
              </p:custDataLst>
            </p:nvPr>
          </p:nvSpPr>
          <p:spPr bwMode="blackWhite">
            <a:xfrm>
              <a:off x="220" y="1866"/>
              <a:ext cx="1097" cy="678"/>
            </a:xfrm>
            <a:custGeom>
              <a:avLst/>
              <a:gdLst>
                <a:gd name="T0" fmla="*/ 0 w 1094"/>
                <a:gd name="T1" fmla="*/ 570 h 675"/>
                <a:gd name="T2" fmla="*/ 855 w 1094"/>
                <a:gd name="T3" fmla="*/ 567 h 675"/>
                <a:gd name="T4" fmla="*/ 855 w 1094"/>
                <a:gd name="T5" fmla="*/ 690 h 675"/>
                <a:gd name="T6" fmla="*/ 1109 w 1094"/>
                <a:gd name="T7" fmla="*/ 334 h 675"/>
                <a:gd name="T8" fmla="*/ 858 w 1094"/>
                <a:gd name="T9" fmla="*/ 0 h 675"/>
                <a:gd name="T10" fmla="*/ 859 w 1094"/>
                <a:gd name="T11" fmla="*/ 131 h 675"/>
                <a:gd name="T12" fmla="*/ 4 w 1094"/>
                <a:gd name="T13" fmla="*/ 131 h 675"/>
                <a:gd name="T14" fmla="*/ 0 w 1094"/>
                <a:gd name="T15" fmla="*/ 570 h 67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94"/>
                <a:gd name="T25" fmla="*/ 0 h 675"/>
                <a:gd name="T26" fmla="*/ 1094 w 1094"/>
                <a:gd name="T27" fmla="*/ 675 h 67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94" h="675">
                  <a:moveTo>
                    <a:pt x="0" y="558"/>
                  </a:moveTo>
                  <a:lnTo>
                    <a:pt x="845" y="556"/>
                  </a:lnTo>
                  <a:lnTo>
                    <a:pt x="845" y="675"/>
                  </a:lnTo>
                  <a:lnTo>
                    <a:pt x="1094" y="329"/>
                  </a:lnTo>
                  <a:lnTo>
                    <a:pt x="848" y="0"/>
                  </a:lnTo>
                  <a:lnTo>
                    <a:pt x="849" y="126"/>
                  </a:lnTo>
                  <a:lnTo>
                    <a:pt x="4" y="1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4"/>
          <p:cNvSpPr>
            <a:spLocks noChangeArrowheads="1"/>
          </p:cNvSpPr>
          <p:nvPr/>
        </p:nvSpPr>
        <p:spPr bwMode="auto">
          <a:xfrm>
            <a:off x="685800" y="2095500"/>
            <a:ext cx="8362950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/>
          <a:lstStyle/>
          <a:p>
            <a:pPr marL="171450" indent="-171450" defTabSz="912813">
              <a:spcBef>
                <a:spcPct val="2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cs typeface="Arial" pitchFamily="34" charset="0"/>
              </a:rPr>
              <a:t>590 entrepreneurs surveyed: 60% participants, 40% non-participants</a:t>
            </a:r>
          </a:p>
          <a:p>
            <a:pPr marL="171450" indent="-171450" defTabSz="912813">
              <a:spcBef>
                <a:spcPct val="2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cs typeface="Arial" pitchFamily="34" charset="0"/>
              </a:rPr>
              <a:t>Almost 85% of the people we spoke to completed the survey</a:t>
            </a:r>
          </a:p>
        </p:txBody>
      </p:sp>
      <p:grpSp>
        <p:nvGrpSpPr>
          <p:cNvPr id="19459" name="Group 11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809625" y="3325813"/>
            <a:ext cx="1368425" cy="1054100"/>
            <a:chOff x="208" y="781"/>
            <a:chExt cx="1054" cy="576"/>
          </a:xfrm>
        </p:grpSpPr>
        <p:sp>
          <p:nvSpPr>
            <p:cNvPr id="19470" name="Freeform 12"/>
            <p:cNvSpPr>
              <a:spLocks/>
            </p:cNvSpPr>
            <p:nvPr>
              <p:custDataLst>
                <p:tags r:id="rId6"/>
              </p:custDataLst>
            </p:nvPr>
          </p:nvSpPr>
          <p:spPr bwMode="blackWhite">
            <a:xfrm>
              <a:off x="208" y="781"/>
              <a:ext cx="1054" cy="576"/>
            </a:xfrm>
            <a:custGeom>
              <a:avLst/>
              <a:gdLst>
                <a:gd name="T0" fmla="*/ 0 w 1054"/>
                <a:gd name="T1" fmla="*/ 0 h 576"/>
                <a:gd name="T2" fmla="*/ 950 w 1054"/>
                <a:gd name="T3" fmla="*/ 0 h 576"/>
                <a:gd name="T4" fmla="*/ 1054 w 1054"/>
                <a:gd name="T5" fmla="*/ 288 h 576"/>
                <a:gd name="T6" fmla="*/ 950 w 1054"/>
                <a:gd name="T7" fmla="*/ 576 h 576"/>
                <a:gd name="T8" fmla="*/ 0 w 1054"/>
                <a:gd name="T9" fmla="*/ 576 h 576"/>
                <a:gd name="T10" fmla="*/ 0 w 1054"/>
                <a:gd name="T11" fmla="*/ 288 h 576"/>
                <a:gd name="T12" fmla="*/ 0 w 1054"/>
                <a:gd name="T13" fmla="*/ 0 h 57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54"/>
                <a:gd name="T22" fmla="*/ 0 h 576"/>
                <a:gd name="T23" fmla="*/ 1054 w 1054"/>
                <a:gd name="T24" fmla="*/ 576 h 57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54" h="576">
                  <a:moveTo>
                    <a:pt x="0" y="0"/>
                  </a:moveTo>
                  <a:lnTo>
                    <a:pt x="950" y="0"/>
                  </a:lnTo>
                  <a:lnTo>
                    <a:pt x="1054" y="288"/>
                  </a:lnTo>
                  <a:lnTo>
                    <a:pt x="950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wrap="none" lIns="36000" anchor="ctr"/>
            <a:lstStyle/>
            <a:p>
              <a:endParaRPr lang="en-US"/>
            </a:p>
          </p:txBody>
        </p:sp>
        <p:sp>
          <p:nvSpPr>
            <p:cNvPr id="19471" name="Rectangle 13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blackWhite">
            <a:xfrm>
              <a:off x="240" y="813"/>
              <a:ext cx="918" cy="4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5996" tIns="0" rIns="3810" bIns="0" anchor="ctr"/>
            <a:lstStyle/>
            <a:p>
              <a:pPr defTabSz="912813" eaLnBrk="0" hangingPunct="0">
                <a:spcBef>
                  <a:spcPct val="20000"/>
                </a:spcBef>
                <a:buSzPct val="75000"/>
              </a:pPr>
              <a:r>
                <a:rPr lang="en-US" sz="1400" b="1">
                  <a:solidFill>
                    <a:schemeClr val="bg1"/>
                  </a:solidFill>
                  <a:cs typeface="Arial" pitchFamily="34" charset="0"/>
                </a:rPr>
                <a:t>Company Information</a:t>
              </a:r>
            </a:p>
          </p:txBody>
        </p:sp>
      </p:grpSp>
      <p:sp>
        <p:nvSpPr>
          <p:cNvPr id="19460" name="Rectangle 14"/>
          <p:cNvSpPr>
            <a:spLocks noChangeArrowheads="1"/>
          </p:cNvSpPr>
          <p:nvPr/>
        </p:nvSpPr>
        <p:spPr bwMode="auto">
          <a:xfrm>
            <a:off x="2333625" y="3351213"/>
            <a:ext cx="3124200" cy="1003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marL="158750" indent="-158750" defTabSz="912813" eaLnBrk="0" hangingPunct="0"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cs typeface="Arial" pitchFamily="34" charset="0"/>
              </a:rPr>
              <a:t>Sector</a:t>
            </a:r>
          </a:p>
          <a:p>
            <a:pPr marL="158750" indent="-158750" defTabSz="912813" eaLnBrk="0" hangingPunct="0"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cs typeface="Arial" pitchFamily="34" charset="0"/>
              </a:rPr>
              <a:t>Annual Sales (by year)</a:t>
            </a:r>
          </a:p>
          <a:p>
            <a:pPr marL="158750" indent="-158750" defTabSz="912813" eaLnBrk="0" hangingPunct="0"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cs typeface="Arial" pitchFamily="34" charset="0"/>
              </a:rPr>
              <a:t>Annual full time and part time employees (by year)</a:t>
            </a:r>
          </a:p>
        </p:txBody>
      </p:sp>
      <p:grpSp>
        <p:nvGrpSpPr>
          <p:cNvPr id="19461" name="Group 11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809625" y="4786313"/>
            <a:ext cx="1368425" cy="1050925"/>
            <a:chOff x="208" y="781"/>
            <a:chExt cx="1054" cy="576"/>
          </a:xfrm>
        </p:grpSpPr>
        <p:sp>
          <p:nvSpPr>
            <p:cNvPr id="19468" name="Freeform 12"/>
            <p:cNvSpPr>
              <a:spLocks/>
            </p:cNvSpPr>
            <p:nvPr>
              <p:custDataLst>
                <p:tags r:id="rId4"/>
              </p:custDataLst>
            </p:nvPr>
          </p:nvSpPr>
          <p:spPr bwMode="blackWhite">
            <a:xfrm>
              <a:off x="208" y="781"/>
              <a:ext cx="1054" cy="576"/>
            </a:xfrm>
            <a:custGeom>
              <a:avLst/>
              <a:gdLst>
                <a:gd name="T0" fmla="*/ 0 w 1054"/>
                <a:gd name="T1" fmla="*/ 0 h 576"/>
                <a:gd name="T2" fmla="*/ 950 w 1054"/>
                <a:gd name="T3" fmla="*/ 0 h 576"/>
                <a:gd name="T4" fmla="*/ 1054 w 1054"/>
                <a:gd name="T5" fmla="*/ 288 h 576"/>
                <a:gd name="T6" fmla="*/ 950 w 1054"/>
                <a:gd name="T7" fmla="*/ 576 h 576"/>
                <a:gd name="T8" fmla="*/ 0 w 1054"/>
                <a:gd name="T9" fmla="*/ 576 h 576"/>
                <a:gd name="T10" fmla="*/ 0 w 1054"/>
                <a:gd name="T11" fmla="*/ 288 h 576"/>
                <a:gd name="T12" fmla="*/ 0 w 1054"/>
                <a:gd name="T13" fmla="*/ 0 h 57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54"/>
                <a:gd name="T22" fmla="*/ 0 h 576"/>
                <a:gd name="T23" fmla="*/ 1054 w 1054"/>
                <a:gd name="T24" fmla="*/ 576 h 57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54" h="576">
                  <a:moveTo>
                    <a:pt x="0" y="0"/>
                  </a:moveTo>
                  <a:lnTo>
                    <a:pt x="950" y="0"/>
                  </a:lnTo>
                  <a:lnTo>
                    <a:pt x="1054" y="288"/>
                  </a:lnTo>
                  <a:lnTo>
                    <a:pt x="950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wrap="none" lIns="36000" anchor="ctr"/>
            <a:lstStyle/>
            <a:p>
              <a:endParaRPr lang="en-US"/>
            </a:p>
          </p:txBody>
        </p:sp>
        <p:sp>
          <p:nvSpPr>
            <p:cNvPr id="19469" name="Rectangle 1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blackWhite">
            <a:xfrm>
              <a:off x="240" y="813"/>
              <a:ext cx="918" cy="4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5996" tIns="0" rIns="3810" bIns="0" anchor="ctr"/>
            <a:lstStyle/>
            <a:p>
              <a:pPr defTabSz="912813" eaLnBrk="0" hangingPunct="0">
                <a:spcBef>
                  <a:spcPct val="20000"/>
                </a:spcBef>
                <a:buSzPct val="75000"/>
              </a:pPr>
              <a:r>
                <a:rPr lang="en-US" sz="1400" b="1">
                  <a:solidFill>
                    <a:schemeClr val="bg1"/>
                  </a:solidFill>
                  <a:cs typeface="Arial" pitchFamily="34" charset="0"/>
                </a:rPr>
                <a:t>Entrepreneur Information</a:t>
              </a:r>
            </a:p>
          </p:txBody>
        </p:sp>
      </p:grpSp>
      <p:sp>
        <p:nvSpPr>
          <p:cNvPr id="19462" name="Rectangle 14"/>
          <p:cNvSpPr>
            <a:spLocks noChangeArrowheads="1"/>
          </p:cNvSpPr>
          <p:nvPr/>
        </p:nvSpPr>
        <p:spPr bwMode="auto">
          <a:xfrm>
            <a:off x="2259013" y="4703763"/>
            <a:ext cx="3503612" cy="121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marL="158750" indent="-158750" defTabSz="912813" eaLnBrk="0" hangingPunct="0"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cs typeface="Arial" pitchFamily="34" charset="0"/>
              </a:rPr>
              <a:t>Demographic information (age, education)</a:t>
            </a:r>
          </a:p>
          <a:p>
            <a:pPr marL="158750" indent="-158750" defTabSz="912813" eaLnBrk="0" hangingPunct="0"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cs typeface="Arial" pitchFamily="34" charset="0"/>
              </a:rPr>
              <a:t>Previous companies founded</a:t>
            </a:r>
          </a:p>
          <a:p>
            <a:pPr marL="158750" indent="-158750" defTabSz="912813" eaLnBrk="0" hangingPunct="0"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cs typeface="Arial" pitchFamily="34" charset="0"/>
              </a:rPr>
              <a:t>Other companies founded after competition (including sales, employees, capital raising, formality)</a:t>
            </a:r>
          </a:p>
        </p:txBody>
      </p:sp>
      <p:sp>
        <p:nvSpPr>
          <p:cNvPr id="19463" name="Rectangle 14"/>
          <p:cNvSpPr>
            <a:spLocks noChangeArrowheads="1"/>
          </p:cNvSpPr>
          <p:nvPr/>
        </p:nvSpPr>
        <p:spPr bwMode="auto">
          <a:xfrm>
            <a:off x="5915025" y="3352800"/>
            <a:ext cx="2579688" cy="1003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marL="158750" indent="-158750" defTabSz="912813" eaLnBrk="0" hangingPunct="0"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cs typeface="Arial" pitchFamily="34" charset="0"/>
              </a:rPr>
              <a:t>Capital raised (by source, before and after BPC)</a:t>
            </a:r>
          </a:p>
          <a:p>
            <a:pPr marL="158750" indent="-158750" defTabSz="912813" eaLnBrk="0" hangingPunct="0"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cs typeface="Arial" pitchFamily="34" charset="0"/>
              </a:rPr>
              <a:t>Level of formality</a:t>
            </a:r>
          </a:p>
          <a:p>
            <a:pPr marL="158750" indent="-158750" defTabSz="912813" eaLnBrk="0" hangingPunct="0"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cs typeface="Arial" pitchFamily="34" charset="0"/>
              </a:rPr>
              <a:t>Year and reason for failure</a:t>
            </a:r>
          </a:p>
        </p:txBody>
      </p:sp>
      <p:sp>
        <p:nvSpPr>
          <p:cNvPr id="19464" name="Rectangle 14"/>
          <p:cNvSpPr>
            <a:spLocks noChangeArrowheads="1"/>
          </p:cNvSpPr>
          <p:nvPr/>
        </p:nvSpPr>
        <p:spPr bwMode="auto">
          <a:xfrm>
            <a:off x="5942013" y="4916488"/>
            <a:ext cx="2259012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marL="158750" indent="-158750" defTabSz="912813" eaLnBrk="0" hangingPunct="0"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cs typeface="Arial" pitchFamily="34" charset="0"/>
              </a:rPr>
              <a:t>Key areas of training</a:t>
            </a:r>
          </a:p>
          <a:p>
            <a:pPr marL="158750" indent="-158750" defTabSz="912813" eaLnBrk="0" hangingPunct="0"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cs typeface="Arial" pitchFamily="34" charset="0"/>
              </a:rPr>
              <a:t>Additional training desired</a:t>
            </a:r>
          </a:p>
          <a:p>
            <a:pPr marL="158750" indent="-158750" defTabSz="912813" eaLnBrk="0" hangingPunct="0"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cs typeface="Arial" pitchFamily="34" charset="0"/>
              </a:rPr>
              <a:t>Use of business plan</a:t>
            </a:r>
          </a:p>
        </p:txBody>
      </p:sp>
      <p:sp>
        <p:nvSpPr>
          <p:cNvPr id="19465" name="Line 17"/>
          <p:cNvSpPr>
            <a:spLocks noChangeShapeType="1"/>
          </p:cNvSpPr>
          <p:nvPr/>
        </p:nvSpPr>
        <p:spPr bwMode="auto">
          <a:xfrm>
            <a:off x="814388" y="4565650"/>
            <a:ext cx="7796212" cy="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466" name="4 Marcador de número de diapositiva"/>
          <p:cNvSpPr txBox="1"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8153400" y="6648450"/>
            <a:ext cx="885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09FFA151-522C-4E02-8191-BAEBF93B4DAD}" type="slidenum">
              <a:rPr lang="en-US" sz="900">
                <a:solidFill>
                  <a:srgbClr val="7F329A"/>
                </a:solidFill>
                <a:cs typeface="Arial" pitchFamily="34" charset="0"/>
              </a:rPr>
              <a:pPr algn="r" eaLnBrk="1" hangingPunct="1"/>
              <a:t>15</a:t>
            </a:fld>
            <a:endParaRPr lang="en-US" sz="900">
              <a:solidFill>
                <a:srgbClr val="7F329A"/>
              </a:solidFill>
              <a:cs typeface="Arial" pitchFamily="34" charset="0"/>
            </a:endParaRPr>
          </a:p>
        </p:txBody>
      </p:sp>
      <p:sp>
        <p:nvSpPr>
          <p:cNvPr id="19467" name="Rectangle 1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>
                <a:ea typeface="ＭＳ Ｐゴシック" pitchFamily="34" charset="-128"/>
                <a:cs typeface="Arial" pitchFamily="34" charset="0"/>
              </a:rPr>
              <a:t>Datase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Rectangle 3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0" name="think-cell Slide" r:id="rId19" imgW="0" imgH="0" progId="TCLayout.ActiveDocument.1">
                  <p:embed/>
                </p:oleObj>
              </mc:Choice>
              <mc:Fallback>
                <p:oleObj name="think-cell Slide" r:id="rId19" imgW="0" imgH="0" progId="TCLayout.ActiveDocument.1">
                  <p:embed/>
                  <p:pic>
                    <p:nvPicPr>
                      <p:cNvPr id="0" name="Rectangle 33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3" name="Text Box 16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55575" y="6456363"/>
            <a:ext cx="6402388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000">
                <a:cs typeface="Arial" pitchFamily="34" charset="0"/>
              </a:rPr>
              <a:t>(a)  Based on multiple regression analysis, controlling for age, gender, year, country and selection bias.  Other factors include these variables as well as unobserved differences.  </a:t>
            </a:r>
          </a:p>
        </p:txBody>
      </p:sp>
      <p:grpSp>
        <p:nvGrpSpPr>
          <p:cNvPr id="20484" name="Group 16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965200" y="2057400"/>
            <a:ext cx="7683500" cy="4524375"/>
            <a:chOff x="638" y="1314"/>
            <a:chExt cx="4840" cy="2850"/>
          </a:xfrm>
        </p:grpSpPr>
        <p:sp>
          <p:nvSpPr>
            <p:cNvPr id="20498" name="Text Box 5"/>
            <p:cNvSpPr txBox="1">
              <a:spLocks noChangeArrowheads="1"/>
            </p:cNvSpPr>
            <p:nvPr/>
          </p:nvSpPr>
          <p:spPr bwMode="auto">
            <a:xfrm>
              <a:off x="638" y="1314"/>
              <a:ext cx="2406" cy="19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0" tIns="45716" rIns="91430" bIns="45716">
              <a:spAutoFit/>
            </a:bodyPr>
            <a:lstStyle>
              <a:lvl1pPr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sz="1400" b="1">
                  <a:solidFill>
                    <a:schemeClr val="bg1"/>
                  </a:solidFill>
                  <a:cs typeface="Arial" pitchFamily="34" charset="0"/>
                </a:rPr>
                <a:t>Impact of Acceptance on $ Sales Growth </a:t>
              </a:r>
              <a:r>
                <a:rPr lang="en-US" sz="1400" b="1" baseline="30000">
                  <a:solidFill>
                    <a:schemeClr val="bg1"/>
                  </a:solidFill>
                  <a:cs typeface="Arial" pitchFamily="34" charset="0"/>
                </a:rPr>
                <a:t>(a)</a:t>
              </a:r>
            </a:p>
          </p:txBody>
        </p:sp>
        <p:grpSp>
          <p:nvGrpSpPr>
            <p:cNvPr id="20499" name="Group 20"/>
            <p:cNvGrpSpPr>
              <a:grpSpLocks/>
            </p:cNvGrpSpPr>
            <p:nvPr/>
          </p:nvGrpSpPr>
          <p:grpSpPr bwMode="auto">
            <a:xfrm>
              <a:off x="3195" y="2869"/>
              <a:ext cx="2283" cy="1295"/>
              <a:chOff x="3072" y="672"/>
              <a:chExt cx="2592" cy="1296"/>
            </a:xfrm>
          </p:grpSpPr>
          <p:sp>
            <p:nvSpPr>
              <p:cNvPr id="20504" name="Text Box 6"/>
              <p:cNvSpPr txBox="1">
                <a:spLocks noChangeArrowheads="1"/>
              </p:cNvSpPr>
              <p:nvPr/>
            </p:nvSpPr>
            <p:spPr bwMode="auto">
              <a:xfrm>
                <a:off x="3072" y="672"/>
                <a:ext cx="2592" cy="19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1430" tIns="45716" rIns="91430" bIns="45716">
                <a:spAutoFit/>
              </a:bodyPr>
              <a:lstStyle>
                <a:lvl1pPr defTabSz="912813" eaLnBrk="0" hangingPunct="0">
                  <a:defRPr sz="28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defTabSz="912813" eaLnBrk="0" hangingPunct="0">
                  <a:defRPr sz="28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defTabSz="912813" eaLnBrk="0" hangingPunct="0">
                  <a:defRPr sz="28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defTabSz="912813" eaLnBrk="0" hangingPunct="0">
                  <a:defRPr sz="28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defTabSz="912813" eaLnBrk="0" hangingPunct="0">
                  <a:defRPr sz="28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algn="ctr" eaLnBrk="1" hangingPunct="1">
                  <a:spcBef>
                    <a:spcPct val="50000"/>
                  </a:spcBef>
                </a:pPr>
                <a:r>
                  <a:rPr lang="en-US" sz="1400" b="1">
                    <a:solidFill>
                      <a:schemeClr val="bg1"/>
                    </a:solidFill>
                    <a:cs typeface="Arial" pitchFamily="34" charset="0"/>
                  </a:rPr>
                  <a:t>Key Insights</a:t>
                </a:r>
                <a:endParaRPr lang="en-US" sz="1400" b="1" baseline="30000">
                  <a:solidFill>
                    <a:schemeClr val="bg1"/>
                  </a:solidFill>
                  <a:cs typeface="Arial" pitchFamily="34" charset="0"/>
                </a:endParaRPr>
              </a:p>
            </p:txBody>
          </p:sp>
          <p:sp>
            <p:nvSpPr>
              <p:cNvPr id="20505" name="Rectangle 7"/>
              <p:cNvSpPr>
                <a:spLocks noChangeArrowheads="1"/>
              </p:cNvSpPr>
              <p:nvPr/>
            </p:nvSpPr>
            <p:spPr bwMode="auto">
              <a:xfrm>
                <a:off x="3072" y="864"/>
                <a:ext cx="2592" cy="11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1430" tIns="45716" rIns="91430" bIns="45716"/>
              <a:lstStyle/>
              <a:p>
                <a:pPr defTabSz="912813">
                  <a:spcBef>
                    <a:spcPct val="20000"/>
                  </a:spcBef>
                  <a:spcAft>
                    <a:spcPct val="20000"/>
                  </a:spcAft>
                  <a:buSzPct val="75000"/>
                </a:pPr>
                <a:r>
                  <a:rPr lang="en-US" sz="1600" b="1">
                    <a:cs typeface="Arial" pitchFamily="34" charset="0"/>
                  </a:rPr>
                  <a:t>The BPCs as a whole have a strong impact</a:t>
                </a:r>
              </a:p>
            </p:txBody>
          </p:sp>
        </p:grpSp>
        <p:grpSp>
          <p:nvGrpSpPr>
            <p:cNvPr id="20500" name="Group 19"/>
            <p:cNvGrpSpPr>
              <a:grpSpLocks/>
            </p:cNvGrpSpPr>
            <p:nvPr/>
          </p:nvGrpSpPr>
          <p:grpSpPr bwMode="auto">
            <a:xfrm>
              <a:off x="3195" y="1314"/>
              <a:ext cx="2283" cy="1344"/>
              <a:chOff x="3072" y="2064"/>
              <a:chExt cx="2592" cy="1344"/>
            </a:xfrm>
          </p:grpSpPr>
          <p:sp>
            <p:nvSpPr>
              <p:cNvPr id="20502" name="Text Box 7"/>
              <p:cNvSpPr txBox="1">
                <a:spLocks noChangeArrowheads="1"/>
              </p:cNvSpPr>
              <p:nvPr/>
            </p:nvSpPr>
            <p:spPr bwMode="auto">
              <a:xfrm>
                <a:off x="3072" y="2064"/>
                <a:ext cx="2592" cy="192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1430" tIns="45716" rIns="91430" bIns="45716">
                <a:spAutoFit/>
              </a:bodyPr>
              <a:lstStyle>
                <a:lvl1pPr defTabSz="912813" eaLnBrk="0" hangingPunct="0">
                  <a:defRPr sz="28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defTabSz="912813" eaLnBrk="0" hangingPunct="0">
                  <a:defRPr sz="28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defTabSz="912813" eaLnBrk="0" hangingPunct="0">
                  <a:defRPr sz="28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defTabSz="912813" eaLnBrk="0" hangingPunct="0">
                  <a:defRPr sz="28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defTabSz="912813" eaLnBrk="0" hangingPunct="0">
                  <a:defRPr sz="28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algn="ctr" eaLnBrk="1" hangingPunct="1">
                  <a:spcBef>
                    <a:spcPct val="50000"/>
                  </a:spcBef>
                </a:pPr>
                <a:r>
                  <a:rPr lang="en-US" sz="1400" b="1">
                    <a:solidFill>
                      <a:schemeClr val="bg1"/>
                    </a:solidFill>
                    <a:cs typeface="Arial" pitchFamily="34" charset="0"/>
                  </a:rPr>
                  <a:t>Notes on Analysis</a:t>
                </a:r>
                <a:endParaRPr lang="en-US" sz="1400" b="1" baseline="30000">
                  <a:solidFill>
                    <a:schemeClr val="bg1"/>
                  </a:solidFill>
                  <a:cs typeface="Arial" pitchFamily="34" charset="0"/>
                </a:endParaRPr>
              </a:p>
            </p:txBody>
          </p:sp>
          <p:sp>
            <p:nvSpPr>
              <p:cNvPr id="20503" name="Rectangle 7"/>
              <p:cNvSpPr>
                <a:spLocks noChangeArrowheads="1"/>
              </p:cNvSpPr>
              <p:nvPr/>
            </p:nvSpPr>
            <p:spPr bwMode="auto">
              <a:xfrm>
                <a:off x="3072" y="2304"/>
                <a:ext cx="2592" cy="11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1430" tIns="45716" rIns="91430" bIns="45716"/>
              <a:lstStyle/>
              <a:p>
                <a:pPr marL="184150" indent="-184150" defTabSz="912813">
                  <a:spcBef>
                    <a:spcPct val="20000"/>
                  </a:spcBef>
                  <a:spcAft>
                    <a:spcPct val="20000"/>
                  </a:spcAft>
                  <a:buClr>
                    <a:schemeClr val="accent2"/>
                  </a:buClr>
                  <a:buFont typeface="Wingdings" pitchFamily="2" charset="2"/>
                  <a:buChar char="§"/>
                </a:pPr>
                <a:r>
                  <a:rPr lang="en-US" sz="1600">
                    <a:cs typeface="Arial" pitchFamily="34" charset="0"/>
                  </a:rPr>
                  <a:t>Multiple regression and other analyses confirm a strong impact, </a:t>
                </a:r>
                <a:r>
                  <a:rPr lang="en-US" sz="1600" i="1">
                    <a:cs typeface="Arial" pitchFamily="34" charset="0"/>
                  </a:rPr>
                  <a:t>even controlling for selection bias</a:t>
                </a:r>
              </a:p>
              <a:p>
                <a:pPr marL="184150" indent="-184150" defTabSz="912813">
                  <a:spcBef>
                    <a:spcPct val="20000"/>
                  </a:spcBef>
                  <a:spcAft>
                    <a:spcPct val="20000"/>
                  </a:spcAft>
                  <a:buClr>
                    <a:schemeClr val="accent2"/>
                  </a:buClr>
                  <a:buFont typeface="Wingdings" pitchFamily="2" charset="2"/>
                  <a:buChar char="§"/>
                </a:pPr>
                <a:r>
                  <a:rPr lang="en-US" sz="1600">
                    <a:cs typeface="Arial" pitchFamily="34" charset="0"/>
                  </a:rPr>
                  <a:t>Strong impact also seen in 1-year sales growth, capital raised, initial success, new business survival rate and rate of formalization</a:t>
                </a:r>
                <a:endParaRPr lang="en-US" sz="1800">
                  <a:cs typeface="Arial" pitchFamily="34" charset="0"/>
                </a:endParaRPr>
              </a:p>
            </p:txBody>
          </p:sp>
        </p:grpSp>
        <p:pic>
          <p:nvPicPr>
            <p:cNvPr id="20501" name="Picture 18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8500" r="52705"/>
            <a:stretch>
              <a:fillRect/>
            </a:stretch>
          </p:blipFill>
          <p:spPr bwMode="auto">
            <a:xfrm>
              <a:off x="656" y="1562"/>
              <a:ext cx="2026" cy="2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0485" name="Rectangle 15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smtClean="0">
                <a:ea typeface="ＭＳ Ｐゴシック" pitchFamily="34" charset="-128"/>
                <a:cs typeface="Arial" pitchFamily="34" charset="0"/>
              </a:rPr>
              <a:t>The BPCs had a strong impact on sales growth</a:t>
            </a:r>
          </a:p>
        </p:txBody>
      </p:sp>
      <p:grpSp>
        <p:nvGrpSpPr>
          <p:cNvPr id="20486" name="Group 34"/>
          <p:cNvGrpSpPr>
            <a:grpSpLocks/>
          </p:cNvGrpSpPr>
          <p:nvPr/>
        </p:nvGrpSpPr>
        <p:grpSpPr bwMode="auto">
          <a:xfrm>
            <a:off x="8056563" y="693738"/>
            <a:ext cx="974725" cy="344487"/>
            <a:chOff x="5075" y="437"/>
            <a:chExt cx="614" cy="217"/>
          </a:xfrm>
        </p:grpSpPr>
        <p:sp>
          <p:nvSpPr>
            <p:cNvPr id="20487" name="Freeform 21"/>
            <p:cNvSpPr>
              <a:spLocks/>
            </p:cNvSpPr>
            <p:nvPr>
              <p:custDataLst>
                <p:tags r:id="rId6"/>
              </p:custDataLst>
            </p:nvPr>
          </p:nvSpPr>
          <p:spPr bwMode="blackWhite">
            <a:xfrm>
              <a:off x="5342" y="437"/>
              <a:ext cx="98" cy="78"/>
            </a:xfrm>
            <a:custGeom>
              <a:avLst/>
              <a:gdLst>
                <a:gd name="T0" fmla="*/ 0 w 854"/>
                <a:gd name="T1" fmla="*/ 0 h 675"/>
                <a:gd name="T2" fmla="*/ 0 w 854"/>
                <a:gd name="T3" fmla="*/ 0 h 675"/>
                <a:gd name="T4" fmla="*/ 0 w 854"/>
                <a:gd name="T5" fmla="*/ 0 h 675"/>
                <a:gd name="T6" fmla="*/ 0 w 854"/>
                <a:gd name="T7" fmla="*/ 0 h 675"/>
                <a:gd name="T8" fmla="*/ 0 w 854"/>
                <a:gd name="T9" fmla="*/ 0 h 675"/>
                <a:gd name="T10" fmla="*/ 0 w 854"/>
                <a:gd name="T11" fmla="*/ 0 h 675"/>
                <a:gd name="T12" fmla="*/ 0 w 854"/>
                <a:gd name="T13" fmla="*/ 0 h 675"/>
                <a:gd name="T14" fmla="*/ 0 w 854"/>
                <a:gd name="T15" fmla="*/ 0 h 675"/>
                <a:gd name="T16" fmla="*/ 0 w 854"/>
                <a:gd name="T17" fmla="*/ 0 h 6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54"/>
                <a:gd name="T28" fmla="*/ 0 h 675"/>
                <a:gd name="T29" fmla="*/ 854 w 854"/>
                <a:gd name="T30" fmla="*/ 675 h 6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54" h="675">
                  <a:moveTo>
                    <a:pt x="0" y="558"/>
                  </a:moveTo>
                  <a:lnTo>
                    <a:pt x="660" y="556"/>
                  </a:lnTo>
                  <a:lnTo>
                    <a:pt x="660" y="675"/>
                  </a:lnTo>
                  <a:lnTo>
                    <a:pt x="854" y="329"/>
                  </a:lnTo>
                  <a:lnTo>
                    <a:pt x="662" y="0"/>
                  </a:lnTo>
                  <a:lnTo>
                    <a:pt x="663" y="126"/>
                  </a:lnTo>
                  <a:lnTo>
                    <a:pt x="12" y="126"/>
                  </a:lnTo>
                  <a:lnTo>
                    <a:pt x="124" y="3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488" name="Freeform 32"/>
            <p:cNvSpPr>
              <a:spLocks/>
            </p:cNvSpPr>
            <p:nvPr>
              <p:custDataLst>
                <p:tags r:id="rId7"/>
              </p:custDataLst>
            </p:nvPr>
          </p:nvSpPr>
          <p:spPr bwMode="blackWhite">
            <a:xfrm>
              <a:off x="5075" y="437"/>
              <a:ext cx="126" cy="78"/>
            </a:xfrm>
            <a:custGeom>
              <a:avLst/>
              <a:gdLst>
                <a:gd name="T0" fmla="*/ 0 w 1094"/>
                <a:gd name="T1" fmla="*/ 0 h 675"/>
                <a:gd name="T2" fmla="*/ 0 w 1094"/>
                <a:gd name="T3" fmla="*/ 0 h 675"/>
                <a:gd name="T4" fmla="*/ 0 w 1094"/>
                <a:gd name="T5" fmla="*/ 0 h 675"/>
                <a:gd name="T6" fmla="*/ 0 w 1094"/>
                <a:gd name="T7" fmla="*/ 0 h 675"/>
                <a:gd name="T8" fmla="*/ 0 w 1094"/>
                <a:gd name="T9" fmla="*/ 0 h 675"/>
                <a:gd name="T10" fmla="*/ 0 w 1094"/>
                <a:gd name="T11" fmla="*/ 0 h 675"/>
                <a:gd name="T12" fmla="*/ 0 w 1094"/>
                <a:gd name="T13" fmla="*/ 0 h 675"/>
                <a:gd name="T14" fmla="*/ 0 w 1094"/>
                <a:gd name="T15" fmla="*/ 0 h 67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94"/>
                <a:gd name="T25" fmla="*/ 0 h 675"/>
                <a:gd name="T26" fmla="*/ 1094 w 1094"/>
                <a:gd name="T27" fmla="*/ 675 h 67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94" h="675">
                  <a:moveTo>
                    <a:pt x="0" y="558"/>
                  </a:moveTo>
                  <a:lnTo>
                    <a:pt x="845" y="556"/>
                  </a:lnTo>
                  <a:lnTo>
                    <a:pt x="845" y="675"/>
                  </a:lnTo>
                  <a:lnTo>
                    <a:pt x="1094" y="329"/>
                  </a:lnTo>
                  <a:lnTo>
                    <a:pt x="848" y="0"/>
                  </a:lnTo>
                  <a:lnTo>
                    <a:pt x="849" y="126"/>
                  </a:lnTo>
                  <a:lnTo>
                    <a:pt x="4" y="1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489" name="Line 18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>
              <a:off x="5506" y="500"/>
              <a:ext cx="18" cy="1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0490" name="Freeform 24"/>
            <p:cNvSpPr>
              <a:spLocks/>
            </p:cNvSpPr>
            <p:nvPr>
              <p:custDataLst>
                <p:tags r:id="rId9"/>
              </p:custDataLst>
            </p:nvPr>
          </p:nvSpPr>
          <p:spPr bwMode="blackWhite">
            <a:xfrm>
              <a:off x="5320" y="496"/>
              <a:ext cx="83" cy="113"/>
            </a:xfrm>
            <a:custGeom>
              <a:avLst/>
              <a:gdLst>
                <a:gd name="T0" fmla="*/ 0 w 933"/>
                <a:gd name="T1" fmla="*/ 0 h 1276"/>
                <a:gd name="T2" fmla="*/ 0 w 933"/>
                <a:gd name="T3" fmla="*/ 0 h 1276"/>
                <a:gd name="T4" fmla="*/ 0 w 933"/>
                <a:gd name="T5" fmla="*/ 0 h 1276"/>
                <a:gd name="T6" fmla="*/ 0 w 933"/>
                <a:gd name="T7" fmla="*/ 0 h 1276"/>
                <a:gd name="T8" fmla="*/ 0 w 933"/>
                <a:gd name="T9" fmla="*/ 0 h 1276"/>
                <a:gd name="T10" fmla="*/ 0 w 933"/>
                <a:gd name="T11" fmla="*/ 0 h 1276"/>
                <a:gd name="T12" fmla="*/ 0 w 933"/>
                <a:gd name="T13" fmla="*/ 0 h 1276"/>
                <a:gd name="T14" fmla="*/ 0 w 933"/>
                <a:gd name="T15" fmla="*/ 0 h 1276"/>
                <a:gd name="T16" fmla="*/ 0 w 933"/>
                <a:gd name="T17" fmla="*/ 0 h 1276"/>
                <a:gd name="T18" fmla="*/ 0 w 933"/>
                <a:gd name="T19" fmla="*/ 0 h 1276"/>
                <a:gd name="T20" fmla="*/ 0 w 933"/>
                <a:gd name="T21" fmla="*/ 0 h 1276"/>
                <a:gd name="T22" fmla="*/ 0 w 933"/>
                <a:gd name="T23" fmla="*/ 0 h 127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33"/>
                <a:gd name="T37" fmla="*/ 0 h 1276"/>
                <a:gd name="T38" fmla="*/ 933 w 933"/>
                <a:gd name="T39" fmla="*/ 1276 h 127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33" h="1276">
                  <a:moveTo>
                    <a:pt x="662" y="0"/>
                  </a:moveTo>
                  <a:lnTo>
                    <a:pt x="156" y="1"/>
                  </a:lnTo>
                  <a:lnTo>
                    <a:pt x="314" y="93"/>
                  </a:lnTo>
                  <a:cubicBezTo>
                    <a:pt x="314" y="93"/>
                    <a:pt x="0" y="771"/>
                    <a:pt x="637" y="1276"/>
                  </a:cubicBezTo>
                  <a:lnTo>
                    <a:pt x="679" y="978"/>
                  </a:lnTo>
                  <a:cubicBezTo>
                    <a:pt x="679" y="978"/>
                    <a:pt x="813" y="923"/>
                    <a:pt x="933" y="872"/>
                  </a:cubicBezTo>
                  <a:cubicBezTo>
                    <a:pt x="885" y="843"/>
                    <a:pt x="838" y="779"/>
                    <a:pt x="838" y="779"/>
                  </a:cubicBezTo>
                  <a:lnTo>
                    <a:pt x="788" y="711"/>
                  </a:lnTo>
                  <a:lnTo>
                    <a:pt x="752" y="600"/>
                  </a:lnTo>
                  <a:cubicBezTo>
                    <a:pt x="752" y="600"/>
                    <a:pt x="719" y="481"/>
                    <a:pt x="755" y="348"/>
                  </a:cubicBezTo>
                  <a:cubicBezTo>
                    <a:pt x="839" y="395"/>
                    <a:pt x="923" y="444"/>
                    <a:pt x="923" y="444"/>
                  </a:cubicBezTo>
                  <a:lnTo>
                    <a:pt x="662" y="0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491" name="Freeform 25"/>
            <p:cNvSpPr>
              <a:spLocks/>
            </p:cNvSpPr>
            <p:nvPr>
              <p:custDataLst>
                <p:tags r:id="rId10"/>
              </p:custDataLst>
            </p:nvPr>
          </p:nvSpPr>
          <p:spPr bwMode="blackWhite">
            <a:xfrm rot="4209998">
              <a:off x="5059" y="527"/>
              <a:ext cx="131" cy="90"/>
            </a:xfrm>
            <a:custGeom>
              <a:avLst/>
              <a:gdLst>
                <a:gd name="T0" fmla="*/ 0 w 1485"/>
                <a:gd name="T1" fmla="*/ 0 h 1021"/>
                <a:gd name="T2" fmla="*/ 0 w 1485"/>
                <a:gd name="T3" fmla="*/ 0 h 1021"/>
                <a:gd name="T4" fmla="*/ 0 w 1485"/>
                <a:gd name="T5" fmla="*/ 0 h 1021"/>
                <a:gd name="T6" fmla="*/ 0 w 1485"/>
                <a:gd name="T7" fmla="*/ 0 h 1021"/>
                <a:gd name="T8" fmla="*/ 0 w 1485"/>
                <a:gd name="T9" fmla="*/ 0 h 1021"/>
                <a:gd name="T10" fmla="*/ 0 w 1485"/>
                <a:gd name="T11" fmla="*/ 0 h 1021"/>
                <a:gd name="T12" fmla="*/ 0 w 1485"/>
                <a:gd name="T13" fmla="*/ 0 h 1021"/>
                <a:gd name="T14" fmla="*/ 0 w 1485"/>
                <a:gd name="T15" fmla="*/ 0 h 1021"/>
                <a:gd name="T16" fmla="*/ 0 w 1485"/>
                <a:gd name="T17" fmla="*/ 0 h 1021"/>
                <a:gd name="T18" fmla="*/ 0 w 1485"/>
                <a:gd name="T19" fmla="*/ 0 h 1021"/>
                <a:gd name="T20" fmla="*/ 0 w 1485"/>
                <a:gd name="T21" fmla="*/ 0 h 1021"/>
                <a:gd name="T22" fmla="*/ 0 w 1485"/>
                <a:gd name="T23" fmla="*/ 0 h 10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85"/>
                <a:gd name="T37" fmla="*/ 0 h 1021"/>
                <a:gd name="T38" fmla="*/ 1485 w 1485"/>
                <a:gd name="T39" fmla="*/ 1021 h 102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85" h="1021">
                  <a:moveTo>
                    <a:pt x="61" y="248"/>
                  </a:moveTo>
                  <a:lnTo>
                    <a:pt x="0" y="762"/>
                  </a:lnTo>
                  <a:cubicBezTo>
                    <a:pt x="0" y="762"/>
                    <a:pt x="59" y="684"/>
                    <a:pt x="118" y="606"/>
                  </a:cubicBezTo>
                  <a:cubicBezTo>
                    <a:pt x="136" y="628"/>
                    <a:pt x="994" y="1021"/>
                    <a:pt x="1485" y="146"/>
                  </a:cubicBezTo>
                  <a:lnTo>
                    <a:pt x="1170" y="210"/>
                  </a:lnTo>
                  <a:cubicBezTo>
                    <a:pt x="1170" y="210"/>
                    <a:pt x="1084" y="105"/>
                    <a:pt x="999" y="0"/>
                  </a:cubicBezTo>
                  <a:cubicBezTo>
                    <a:pt x="946" y="83"/>
                    <a:pt x="860" y="137"/>
                    <a:pt x="860" y="137"/>
                  </a:cubicBezTo>
                  <a:lnTo>
                    <a:pt x="778" y="190"/>
                  </a:lnTo>
                  <a:lnTo>
                    <a:pt x="638" y="226"/>
                  </a:lnTo>
                  <a:cubicBezTo>
                    <a:pt x="581" y="226"/>
                    <a:pt x="452" y="219"/>
                    <a:pt x="435" y="191"/>
                  </a:cubicBezTo>
                  <a:cubicBezTo>
                    <a:pt x="485" y="124"/>
                    <a:pt x="535" y="57"/>
                    <a:pt x="535" y="57"/>
                  </a:cubicBezTo>
                  <a:lnTo>
                    <a:pt x="61" y="248"/>
                  </a:lnTo>
                </a:path>
              </a:pathLst>
            </a:custGeom>
            <a:solidFill>
              <a:schemeClr val="accent2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492" name="Freeform 26"/>
            <p:cNvSpPr>
              <a:spLocks/>
            </p:cNvSpPr>
            <p:nvPr>
              <p:custDataLst>
                <p:tags r:id="rId11"/>
              </p:custDataLst>
            </p:nvPr>
          </p:nvSpPr>
          <p:spPr bwMode="blackWhite">
            <a:xfrm>
              <a:off x="5173" y="453"/>
              <a:ext cx="99" cy="185"/>
            </a:xfrm>
            <a:custGeom>
              <a:avLst/>
              <a:gdLst>
                <a:gd name="T0" fmla="*/ 0 w 976"/>
                <a:gd name="T1" fmla="*/ 0 h 1811"/>
                <a:gd name="T2" fmla="*/ 0 w 976"/>
                <a:gd name="T3" fmla="*/ 0 h 1811"/>
                <a:gd name="T4" fmla="*/ 0 w 976"/>
                <a:gd name="T5" fmla="*/ 0 h 1811"/>
                <a:gd name="T6" fmla="*/ 0 w 976"/>
                <a:gd name="T7" fmla="*/ 0 h 1811"/>
                <a:gd name="T8" fmla="*/ 0 w 976"/>
                <a:gd name="T9" fmla="*/ 0 h 1811"/>
                <a:gd name="T10" fmla="*/ 0 w 976"/>
                <a:gd name="T11" fmla="*/ 0 h 1811"/>
                <a:gd name="T12" fmla="*/ 0 w 976"/>
                <a:gd name="T13" fmla="*/ 0 h 1811"/>
                <a:gd name="T14" fmla="*/ 0 w 976"/>
                <a:gd name="T15" fmla="*/ 0 h 1811"/>
                <a:gd name="T16" fmla="*/ 0 w 976"/>
                <a:gd name="T17" fmla="*/ 0 h 1811"/>
                <a:gd name="T18" fmla="*/ 0 w 976"/>
                <a:gd name="T19" fmla="*/ 0 h 1811"/>
                <a:gd name="T20" fmla="*/ 0 w 976"/>
                <a:gd name="T21" fmla="*/ 0 h 1811"/>
                <a:gd name="T22" fmla="*/ 0 w 976"/>
                <a:gd name="T23" fmla="*/ 0 h 1811"/>
                <a:gd name="T24" fmla="*/ 0 w 976"/>
                <a:gd name="T25" fmla="*/ 0 h 1811"/>
                <a:gd name="T26" fmla="*/ 0 w 976"/>
                <a:gd name="T27" fmla="*/ 0 h 1811"/>
                <a:gd name="T28" fmla="*/ 0 w 976"/>
                <a:gd name="T29" fmla="*/ 0 h 1811"/>
                <a:gd name="T30" fmla="*/ 0 w 976"/>
                <a:gd name="T31" fmla="*/ 0 h 1811"/>
                <a:gd name="T32" fmla="*/ 0 w 976"/>
                <a:gd name="T33" fmla="*/ 0 h 1811"/>
                <a:gd name="T34" fmla="*/ 0 w 976"/>
                <a:gd name="T35" fmla="*/ 0 h 1811"/>
                <a:gd name="T36" fmla="*/ 0 w 976"/>
                <a:gd name="T37" fmla="*/ 0 h 1811"/>
                <a:gd name="T38" fmla="*/ 0 w 976"/>
                <a:gd name="T39" fmla="*/ 0 h 1811"/>
                <a:gd name="T40" fmla="*/ 0 w 976"/>
                <a:gd name="T41" fmla="*/ 0 h 1811"/>
                <a:gd name="T42" fmla="*/ 0 w 976"/>
                <a:gd name="T43" fmla="*/ 0 h 1811"/>
                <a:gd name="T44" fmla="*/ 0 w 976"/>
                <a:gd name="T45" fmla="*/ 0 h 1811"/>
                <a:gd name="T46" fmla="*/ 0 w 976"/>
                <a:gd name="T47" fmla="*/ 0 h 1811"/>
                <a:gd name="T48" fmla="*/ 0 w 976"/>
                <a:gd name="T49" fmla="*/ 0 h 1811"/>
                <a:gd name="T50" fmla="*/ 0 w 976"/>
                <a:gd name="T51" fmla="*/ 0 h 1811"/>
                <a:gd name="T52" fmla="*/ 0 w 976"/>
                <a:gd name="T53" fmla="*/ 0 h 1811"/>
                <a:gd name="T54" fmla="*/ 0 w 976"/>
                <a:gd name="T55" fmla="*/ 0 h 1811"/>
                <a:gd name="T56" fmla="*/ 0 w 976"/>
                <a:gd name="T57" fmla="*/ 0 h 1811"/>
                <a:gd name="T58" fmla="*/ 0 w 976"/>
                <a:gd name="T59" fmla="*/ 0 h 1811"/>
                <a:gd name="T60" fmla="*/ 0 w 976"/>
                <a:gd name="T61" fmla="*/ 0 h 1811"/>
                <a:gd name="T62" fmla="*/ 0 w 976"/>
                <a:gd name="T63" fmla="*/ 0 h 1811"/>
                <a:gd name="T64" fmla="*/ 0 w 976"/>
                <a:gd name="T65" fmla="*/ 0 h 1811"/>
                <a:gd name="T66" fmla="*/ 0 w 976"/>
                <a:gd name="T67" fmla="*/ 0 h 1811"/>
                <a:gd name="T68" fmla="*/ 0 w 976"/>
                <a:gd name="T69" fmla="*/ 0 h 1811"/>
                <a:gd name="T70" fmla="*/ 0 w 976"/>
                <a:gd name="T71" fmla="*/ 0 h 181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76"/>
                <a:gd name="T109" fmla="*/ 0 h 1811"/>
                <a:gd name="T110" fmla="*/ 976 w 976"/>
                <a:gd name="T111" fmla="*/ 1811 h 181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76" h="1811">
                  <a:moveTo>
                    <a:pt x="279" y="1669"/>
                  </a:moveTo>
                  <a:lnTo>
                    <a:pt x="338" y="1654"/>
                  </a:lnTo>
                  <a:lnTo>
                    <a:pt x="394" y="1635"/>
                  </a:lnTo>
                  <a:lnTo>
                    <a:pt x="449" y="1612"/>
                  </a:lnTo>
                  <a:lnTo>
                    <a:pt x="502" y="1585"/>
                  </a:lnTo>
                  <a:lnTo>
                    <a:pt x="553" y="1555"/>
                  </a:lnTo>
                  <a:lnTo>
                    <a:pt x="601" y="1520"/>
                  </a:lnTo>
                  <a:lnTo>
                    <a:pt x="651" y="1485"/>
                  </a:lnTo>
                  <a:lnTo>
                    <a:pt x="697" y="1447"/>
                  </a:lnTo>
                  <a:lnTo>
                    <a:pt x="741" y="1405"/>
                  </a:lnTo>
                  <a:lnTo>
                    <a:pt x="782" y="1361"/>
                  </a:lnTo>
                  <a:lnTo>
                    <a:pt x="818" y="1313"/>
                  </a:lnTo>
                  <a:lnTo>
                    <a:pt x="851" y="1263"/>
                  </a:lnTo>
                  <a:lnTo>
                    <a:pt x="882" y="1210"/>
                  </a:lnTo>
                  <a:lnTo>
                    <a:pt x="908" y="1156"/>
                  </a:lnTo>
                  <a:lnTo>
                    <a:pt x="929" y="1100"/>
                  </a:lnTo>
                  <a:lnTo>
                    <a:pt x="947" y="1043"/>
                  </a:lnTo>
                  <a:lnTo>
                    <a:pt x="961" y="984"/>
                  </a:lnTo>
                  <a:lnTo>
                    <a:pt x="970" y="924"/>
                  </a:lnTo>
                  <a:lnTo>
                    <a:pt x="975" y="865"/>
                  </a:lnTo>
                  <a:lnTo>
                    <a:pt x="975" y="804"/>
                  </a:lnTo>
                  <a:lnTo>
                    <a:pt x="972" y="744"/>
                  </a:lnTo>
                  <a:lnTo>
                    <a:pt x="963" y="685"/>
                  </a:lnTo>
                  <a:lnTo>
                    <a:pt x="950" y="625"/>
                  </a:lnTo>
                  <a:lnTo>
                    <a:pt x="935" y="567"/>
                  </a:lnTo>
                  <a:lnTo>
                    <a:pt x="913" y="511"/>
                  </a:lnTo>
                  <a:lnTo>
                    <a:pt x="889" y="456"/>
                  </a:lnTo>
                  <a:lnTo>
                    <a:pt x="859" y="403"/>
                  </a:lnTo>
                  <a:lnTo>
                    <a:pt x="826" y="352"/>
                  </a:lnTo>
                  <a:lnTo>
                    <a:pt x="790" y="304"/>
                  </a:lnTo>
                  <a:lnTo>
                    <a:pt x="751" y="259"/>
                  </a:lnTo>
                  <a:lnTo>
                    <a:pt x="708" y="216"/>
                  </a:lnTo>
                  <a:lnTo>
                    <a:pt x="662" y="178"/>
                  </a:lnTo>
                  <a:lnTo>
                    <a:pt x="614" y="142"/>
                  </a:lnTo>
                  <a:lnTo>
                    <a:pt x="563" y="109"/>
                  </a:lnTo>
                  <a:lnTo>
                    <a:pt x="510" y="81"/>
                  </a:lnTo>
                  <a:lnTo>
                    <a:pt x="455" y="56"/>
                  </a:lnTo>
                  <a:lnTo>
                    <a:pt x="398" y="36"/>
                  </a:lnTo>
                  <a:lnTo>
                    <a:pt x="340" y="20"/>
                  </a:lnTo>
                  <a:lnTo>
                    <a:pt x="281" y="8"/>
                  </a:lnTo>
                  <a:lnTo>
                    <a:pt x="222" y="0"/>
                  </a:lnTo>
                  <a:lnTo>
                    <a:pt x="294" y="112"/>
                  </a:lnTo>
                  <a:lnTo>
                    <a:pt x="369" y="222"/>
                  </a:lnTo>
                  <a:lnTo>
                    <a:pt x="226" y="434"/>
                  </a:lnTo>
                  <a:lnTo>
                    <a:pt x="268" y="446"/>
                  </a:lnTo>
                  <a:lnTo>
                    <a:pt x="306" y="463"/>
                  </a:lnTo>
                  <a:lnTo>
                    <a:pt x="344" y="483"/>
                  </a:lnTo>
                  <a:lnTo>
                    <a:pt x="379" y="508"/>
                  </a:lnTo>
                  <a:lnTo>
                    <a:pt x="411" y="536"/>
                  </a:lnTo>
                  <a:lnTo>
                    <a:pt x="440" y="567"/>
                  </a:lnTo>
                  <a:lnTo>
                    <a:pt x="467" y="601"/>
                  </a:lnTo>
                  <a:lnTo>
                    <a:pt x="489" y="637"/>
                  </a:lnTo>
                  <a:lnTo>
                    <a:pt x="508" y="676"/>
                  </a:lnTo>
                  <a:lnTo>
                    <a:pt x="521" y="716"/>
                  </a:lnTo>
                  <a:lnTo>
                    <a:pt x="531" y="758"/>
                  </a:lnTo>
                  <a:lnTo>
                    <a:pt x="538" y="801"/>
                  </a:lnTo>
                  <a:lnTo>
                    <a:pt x="539" y="843"/>
                  </a:lnTo>
                  <a:lnTo>
                    <a:pt x="536" y="886"/>
                  </a:lnTo>
                  <a:lnTo>
                    <a:pt x="529" y="928"/>
                  </a:lnTo>
                  <a:lnTo>
                    <a:pt x="517" y="969"/>
                  </a:lnTo>
                  <a:lnTo>
                    <a:pt x="501" y="1009"/>
                  </a:lnTo>
                  <a:lnTo>
                    <a:pt x="482" y="1046"/>
                  </a:lnTo>
                  <a:lnTo>
                    <a:pt x="458" y="1082"/>
                  </a:lnTo>
                  <a:lnTo>
                    <a:pt x="431" y="1115"/>
                  </a:lnTo>
                  <a:lnTo>
                    <a:pt x="401" y="1145"/>
                  </a:lnTo>
                  <a:lnTo>
                    <a:pt x="367" y="1172"/>
                  </a:lnTo>
                  <a:lnTo>
                    <a:pt x="331" y="1196"/>
                  </a:lnTo>
                  <a:lnTo>
                    <a:pt x="293" y="1215"/>
                  </a:lnTo>
                  <a:lnTo>
                    <a:pt x="253" y="1230"/>
                  </a:lnTo>
                  <a:lnTo>
                    <a:pt x="253" y="1093"/>
                  </a:lnTo>
                  <a:lnTo>
                    <a:pt x="0" y="1420"/>
                  </a:lnTo>
                  <a:lnTo>
                    <a:pt x="279" y="1810"/>
                  </a:lnTo>
                  <a:lnTo>
                    <a:pt x="279" y="1669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493" name="Freeform 27"/>
            <p:cNvSpPr>
              <a:spLocks/>
            </p:cNvSpPr>
            <p:nvPr>
              <p:custDataLst>
                <p:tags r:id="rId12"/>
              </p:custDataLst>
            </p:nvPr>
          </p:nvSpPr>
          <p:spPr bwMode="blackWhite">
            <a:xfrm>
              <a:off x="5214" y="437"/>
              <a:ext cx="134" cy="78"/>
            </a:xfrm>
            <a:custGeom>
              <a:avLst/>
              <a:gdLst>
                <a:gd name="T0" fmla="*/ 0 w 1429"/>
                <a:gd name="T1" fmla="*/ 0 h 830"/>
                <a:gd name="T2" fmla="*/ 0 w 1429"/>
                <a:gd name="T3" fmla="*/ 0 h 830"/>
                <a:gd name="T4" fmla="*/ 0 w 1429"/>
                <a:gd name="T5" fmla="*/ 0 h 830"/>
                <a:gd name="T6" fmla="*/ 0 w 1429"/>
                <a:gd name="T7" fmla="*/ 0 h 830"/>
                <a:gd name="T8" fmla="*/ 0 w 1429"/>
                <a:gd name="T9" fmla="*/ 0 h 830"/>
                <a:gd name="T10" fmla="*/ 0 w 1429"/>
                <a:gd name="T11" fmla="*/ 0 h 830"/>
                <a:gd name="T12" fmla="*/ 0 w 1429"/>
                <a:gd name="T13" fmla="*/ 0 h 830"/>
                <a:gd name="T14" fmla="*/ 0 w 1429"/>
                <a:gd name="T15" fmla="*/ 0 h 8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29"/>
                <a:gd name="T25" fmla="*/ 0 h 830"/>
                <a:gd name="T26" fmla="*/ 1429 w 1429"/>
                <a:gd name="T27" fmla="*/ 830 h 83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29" h="830">
                  <a:moveTo>
                    <a:pt x="589" y="684"/>
                  </a:moveTo>
                  <a:cubicBezTo>
                    <a:pt x="886" y="685"/>
                    <a:pt x="1191" y="684"/>
                    <a:pt x="1191" y="684"/>
                  </a:cubicBezTo>
                  <a:lnTo>
                    <a:pt x="1191" y="830"/>
                  </a:lnTo>
                  <a:lnTo>
                    <a:pt x="1429" y="404"/>
                  </a:lnTo>
                  <a:lnTo>
                    <a:pt x="1193" y="0"/>
                  </a:lnTo>
                  <a:lnTo>
                    <a:pt x="1194" y="155"/>
                  </a:lnTo>
                  <a:lnTo>
                    <a:pt x="0" y="154"/>
                  </a:lnTo>
                  <a:cubicBezTo>
                    <a:pt x="0" y="154"/>
                    <a:pt x="411" y="237"/>
                    <a:pt x="589" y="684"/>
                  </a:cubicBez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494" name="Freeform 28"/>
            <p:cNvSpPr>
              <a:spLocks/>
            </p:cNvSpPr>
            <p:nvPr>
              <p:custDataLst>
                <p:tags r:id="rId13"/>
              </p:custDataLst>
            </p:nvPr>
          </p:nvSpPr>
          <p:spPr bwMode="blackWhite">
            <a:xfrm>
              <a:off x="5378" y="564"/>
              <a:ext cx="132" cy="90"/>
            </a:xfrm>
            <a:custGeom>
              <a:avLst/>
              <a:gdLst>
                <a:gd name="T0" fmla="*/ 0 w 1485"/>
                <a:gd name="T1" fmla="*/ 0 h 1021"/>
                <a:gd name="T2" fmla="*/ 0 w 1485"/>
                <a:gd name="T3" fmla="*/ 0 h 1021"/>
                <a:gd name="T4" fmla="*/ 0 w 1485"/>
                <a:gd name="T5" fmla="*/ 0 h 1021"/>
                <a:gd name="T6" fmla="*/ 0 w 1485"/>
                <a:gd name="T7" fmla="*/ 0 h 1021"/>
                <a:gd name="T8" fmla="*/ 0 w 1485"/>
                <a:gd name="T9" fmla="*/ 0 h 1021"/>
                <a:gd name="T10" fmla="*/ 0 w 1485"/>
                <a:gd name="T11" fmla="*/ 0 h 1021"/>
                <a:gd name="T12" fmla="*/ 0 w 1485"/>
                <a:gd name="T13" fmla="*/ 0 h 1021"/>
                <a:gd name="T14" fmla="*/ 0 w 1485"/>
                <a:gd name="T15" fmla="*/ 0 h 1021"/>
                <a:gd name="T16" fmla="*/ 0 w 1485"/>
                <a:gd name="T17" fmla="*/ 0 h 1021"/>
                <a:gd name="T18" fmla="*/ 0 w 1485"/>
                <a:gd name="T19" fmla="*/ 0 h 1021"/>
                <a:gd name="T20" fmla="*/ 0 w 1485"/>
                <a:gd name="T21" fmla="*/ 0 h 1021"/>
                <a:gd name="T22" fmla="*/ 0 w 1485"/>
                <a:gd name="T23" fmla="*/ 0 h 10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85"/>
                <a:gd name="T37" fmla="*/ 0 h 1021"/>
                <a:gd name="T38" fmla="*/ 1485 w 1485"/>
                <a:gd name="T39" fmla="*/ 1021 h 102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85" h="1021">
                  <a:moveTo>
                    <a:pt x="61" y="248"/>
                  </a:moveTo>
                  <a:lnTo>
                    <a:pt x="0" y="762"/>
                  </a:lnTo>
                  <a:cubicBezTo>
                    <a:pt x="0" y="762"/>
                    <a:pt x="59" y="684"/>
                    <a:pt x="118" y="606"/>
                  </a:cubicBezTo>
                  <a:cubicBezTo>
                    <a:pt x="136" y="628"/>
                    <a:pt x="994" y="1021"/>
                    <a:pt x="1485" y="146"/>
                  </a:cubicBezTo>
                  <a:lnTo>
                    <a:pt x="1170" y="210"/>
                  </a:lnTo>
                  <a:cubicBezTo>
                    <a:pt x="1170" y="210"/>
                    <a:pt x="1084" y="105"/>
                    <a:pt x="999" y="0"/>
                  </a:cubicBezTo>
                  <a:cubicBezTo>
                    <a:pt x="946" y="83"/>
                    <a:pt x="860" y="137"/>
                    <a:pt x="860" y="137"/>
                  </a:cubicBezTo>
                  <a:lnTo>
                    <a:pt x="778" y="190"/>
                  </a:lnTo>
                  <a:lnTo>
                    <a:pt x="638" y="226"/>
                  </a:lnTo>
                  <a:cubicBezTo>
                    <a:pt x="581" y="226"/>
                    <a:pt x="452" y="219"/>
                    <a:pt x="435" y="191"/>
                  </a:cubicBezTo>
                  <a:cubicBezTo>
                    <a:pt x="485" y="124"/>
                    <a:pt x="535" y="57"/>
                    <a:pt x="535" y="57"/>
                  </a:cubicBezTo>
                  <a:lnTo>
                    <a:pt x="61" y="248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495" name="Freeform 29"/>
            <p:cNvSpPr>
              <a:spLocks/>
            </p:cNvSpPr>
            <p:nvPr>
              <p:custDataLst>
                <p:tags r:id="rId14"/>
              </p:custDataLst>
            </p:nvPr>
          </p:nvSpPr>
          <p:spPr bwMode="blackWhite">
            <a:xfrm>
              <a:off x="5465" y="437"/>
              <a:ext cx="133" cy="78"/>
            </a:xfrm>
            <a:custGeom>
              <a:avLst/>
              <a:gdLst>
                <a:gd name="T0" fmla="*/ 0 w 1429"/>
                <a:gd name="T1" fmla="*/ 0 h 830"/>
                <a:gd name="T2" fmla="*/ 0 w 1429"/>
                <a:gd name="T3" fmla="*/ 0 h 830"/>
                <a:gd name="T4" fmla="*/ 0 w 1429"/>
                <a:gd name="T5" fmla="*/ 0 h 830"/>
                <a:gd name="T6" fmla="*/ 0 w 1429"/>
                <a:gd name="T7" fmla="*/ 0 h 830"/>
                <a:gd name="T8" fmla="*/ 0 w 1429"/>
                <a:gd name="T9" fmla="*/ 0 h 830"/>
                <a:gd name="T10" fmla="*/ 0 w 1429"/>
                <a:gd name="T11" fmla="*/ 0 h 830"/>
                <a:gd name="T12" fmla="*/ 0 w 1429"/>
                <a:gd name="T13" fmla="*/ 0 h 830"/>
                <a:gd name="T14" fmla="*/ 0 w 1429"/>
                <a:gd name="T15" fmla="*/ 0 h 8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29"/>
                <a:gd name="T25" fmla="*/ 0 h 830"/>
                <a:gd name="T26" fmla="*/ 1429 w 1429"/>
                <a:gd name="T27" fmla="*/ 830 h 83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29" h="830">
                  <a:moveTo>
                    <a:pt x="589" y="684"/>
                  </a:moveTo>
                  <a:cubicBezTo>
                    <a:pt x="886" y="685"/>
                    <a:pt x="1191" y="684"/>
                    <a:pt x="1191" y="684"/>
                  </a:cubicBezTo>
                  <a:lnTo>
                    <a:pt x="1191" y="830"/>
                  </a:lnTo>
                  <a:lnTo>
                    <a:pt x="1429" y="404"/>
                  </a:lnTo>
                  <a:lnTo>
                    <a:pt x="1193" y="0"/>
                  </a:lnTo>
                  <a:lnTo>
                    <a:pt x="1194" y="155"/>
                  </a:lnTo>
                  <a:lnTo>
                    <a:pt x="0" y="154"/>
                  </a:lnTo>
                  <a:cubicBezTo>
                    <a:pt x="0" y="154"/>
                    <a:pt x="411" y="237"/>
                    <a:pt x="589" y="684"/>
                  </a:cubicBez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496" name="Freeform 30"/>
            <p:cNvSpPr>
              <a:spLocks/>
            </p:cNvSpPr>
            <p:nvPr>
              <p:custDataLst>
                <p:tags r:id="rId15"/>
              </p:custDataLst>
            </p:nvPr>
          </p:nvSpPr>
          <p:spPr bwMode="blackWhite">
            <a:xfrm>
              <a:off x="5430" y="450"/>
              <a:ext cx="99" cy="128"/>
            </a:xfrm>
            <a:custGeom>
              <a:avLst/>
              <a:gdLst>
                <a:gd name="T0" fmla="*/ 0 w 1115"/>
                <a:gd name="T1" fmla="*/ 0 h 1441"/>
                <a:gd name="T2" fmla="*/ 0 w 1115"/>
                <a:gd name="T3" fmla="*/ 0 h 1441"/>
                <a:gd name="T4" fmla="*/ 0 w 1115"/>
                <a:gd name="T5" fmla="*/ 0 h 1441"/>
                <a:gd name="T6" fmla="*/ 0 w 1115"/>
                <a:gd name="T7" fmla="*/ 0 h 1441"/>
                <a:gd name="T8" fmla="*/ 0 w 1115"/>
                <a:gd name="T9" fmla="*/ 0 h 1441"/>
                <a:gd name="T10" fmla="*/ 0 w 1115"/>
                <a:gd name="T11" fmla="*/ 0 h 1441"/>
                <a:gd name="T12" fmla="*/ 0 w 1115"/>
                <a:gd name="T13" fmla="*/ 0 h 1441"/>
                <a:gd name="T14" fmla="*/ 0 w 1115"/>
                <a:gd name="T15" fmla="*/ 0 h 1441"/>
                <a:gd name="T16" fmla="*/ 0 w 1115"/>
                <a:gd name="T17" fmla="*/ 0 h 1441"/>
                <a:gd name="T18" fmla="*/ 0 w 1115"/>
                <a:gd name="T19" fmla="*/ 0 h 1441"/>
                <a:gd name="T20" fmla="*/ 0 w 1115"/>
                <a:gd name="T21" fmla="*/ 0 h 1441"/>
                <a:gd name="T22" fmla="*/ 0 w 1115"/>
                <a:gd name="T23" fmla="*/ 0 h 144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115"/>
                <a:gd name="T37" fmla="*/ 0 h 1441"/>
                <a:gd name="T38" fmla="*/ 1115 w 1115"/>
                <a:gd name="T39" fmla="*/ 1441 h 144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115" h="1441">
                  <a:moveTo>
                    <a:pt x="609" y="1441"/>
                  </a:moveTo>
                  <a:lnTo>
                    <a:pt x="1115" y="1321"/>
                  </a:lnTo>
                  <a:lnTo>
                    <a:pt x="956" y="1274"/>
                  </a:lnTo>
                  <a:cubicBezTo>
                    <a:pt x="1096" y="922"/>
                    <a:pt x="928" y="37"/>
                    <a:pt x="0" y="0"/>
                  </a:cubicBezTo>
                  <a:cubicBezTo>
                    <a:pt x="90" y="114"/>
                    <a:pt x="178" y="244"/>
                    <a:pt x="178" y="244"/>
                  </a:cubicBezTo>
                  <a:cubicBezTo>
                    <a:pt x="178" y="244"/>
                    <a:pt x="120" y="371"/>
                    <a:pt x="67" y="503"/>
                  </a:cubicBezTo>
                  <a:cubicBezTo>
                    <a:pt x="249" y="531"/>
                    <a:pt x="357" y="655"/>
                    <a:pt x="357" y="655"/>
                  </a:cubicBezTo>
                  <a:lnTo>
                    <a:pt x="431" y="740"/>
                  </a:lnTo>
                  <a:lnTo>
                    <a:pt x="469" y="839"/>
                  </a:lnTo>
                  <a:cubicBezTo>
                    <a:pt x="523" y="963"/>
                    <a:pt x="478" y="1116"/>
                    <a:pt x="478" y="1116"/>
                  </a:cubicBezTo>
                  <a:lnTo>
                    <a:pt x="287" y="1060"/>
                  </a:lnTo>
                  <a:lnTo>
                    <a:pt x="609" y="1441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497" name="Freeform 31"/>
            <p:cNvSpPr>
              <a:spLocks/>
            </p:cNvSpPr>
            <p:nvPr>
              <p:custDataLst>
                <p:tags r:id="rId16"/>
              </p:custDataLst>
            </p:nvPr>
          </p:nvSpPr>
          <p:spPr bwMode="blackWhite">
            <a:xfrm>
              <a:off x="5591" y="437"/>
              <a:ext cx="98" cy="78"/>
            </a:xfrm>
            <a:custGeom>
              <a:avLst/>
              <a:gdLst>
                <a:gd name="T0" fmla="*/ 0 w 854"/>
                <a:gd name="T1" fmla="*/ 0 h 675"/>
                <a:gd name="T2" fmla="*/ 0 w 854"/>
                <a:gd name="T3" fmla="*/ 0 h 675"/>
                <a:gd name="T4" fmla="*/ 0 w 854"/>
                <a:gd name="T5" fmla="*/ 0 h 675"/>
                <a:gd name="T6" fmla="*/ 0 w 854"/>
                <a:gd name="T7" fmla="*/ 0 h 675"/>
                <a:gd name="T8" fmla="*/ 0 w 854"/>
                <a:gd name="T9" fmla="*/ 0 h 675"/>
                <a:gd name="T10" fmla="*/ 0 w 854"/>
                <a:gd name="T11" fmla="*/ 0 h 675"/>
                <a:gd name="T12" fmla="*/ 0 w 854"/>
                <a:gd name="T13" fmla="*/ 0 h 675"/>
                <a:gd name="T14" fmla="*/ 0 w 854"/>
                <a:gd name="T15" fmla="*/ 0 h 675"/>
                <a:gd name="T16" fmla="*/ 0 w 854"/>
                <a:gd name="T17" fmla="*/ 0 h 6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54"/>
                <a:gd name="T28" fmla="*/ 0 h 675"/>
                <a:gd name="T29" fmla="*/ 854 w 854"/>
                <a:gd name="T30" fmla="*/ 675 h 6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54" h="675">
                  <a:moveTo>
                    <a:pt x="0" y="558"/>
                  </a:moveTo>
                  <a:lnTo>
                    <a:pt x="660" y="556"/>
                  </a:lnTo>
                  <a:lnTo>
                    <a:pt x="660" y="675"/>
                  </a:lnTo>
                  <a:lnTo>
                    <a:pt x="854" y="329"/>
                  </a:lnTo>
                  <a:lnTo>
                    <a:pt x="662" y="0"/>
                  </a:lnTo>
                  <a:lnTo>
                    <a:pt x="663" y="126"/>
                  </a:lnTo>
                  <a:lnTo>
                    <a:pt x="12" y="126"/>
                  </a:lnTo>
                  <a:lnTo>
                    <a:pt x="124" y="3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506" name="Rectangle 2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1" name="think-cell Slide" r:id="rId11" imgW="0" imgH="0" progId="TCLayout.ActiveDocument.1">
                  <p:embed/>
                </p:oleObj>
              </mc:Choice>
              <mc:Fallback>
                <p:oleObj name="think-cell Slide" r:id="rId11" imgW="0" imgH="0" progId="TCLayout.ActiveDocument.1">
                  <p:embed/>
                  <p:pic>
                    <p:nvPicPr>
                      <p:cNvPr id="0" name="Rectangle 25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07" name="Text Box 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54075" y="2082800"/>
            <a:ext cx="3595688" cy="304800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sz="1400" b="1">
                <a:solidFill>
                  <a:schemeClr val="bg1"/>
                </a:solidFill>
                <a:cs typeface="Arial" pitchFamily="34" charset="0"/>
              </a:rPr>
              <a:t>Impact of Phase I on $ Sales Growth </a:t>
            </a:r>
            <a:r>
              <a:rPr lang="en-US" sz="1400" b="1" baseline="30000">
                <a:solidFill>
                  <a:schemeClr val="bg1"/>
                </a:solidFill>
                <a:cs typeface="Arial" pitchFamily="34" charset="0"/>
              </a:rPr>
              <a:t>(a)</a:t>
            </a:r>
          </a:p>
        </p:txBody>
      </p:sp>
      <p:grpSp>
        <p:nvGrpSpPr>
          <p:cNvPr id="21508" name="Group 15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4989513" y="4368800"/>
            <a:ext cx="3819525" cy="2057400"/>
            <a:chOff x="3072" y="672"/>
            <a:chExt cx="2592" cy="1296"/>
          </a:xfrm>
        </p:grpSpPr>
        <p:sp>
          <p:nvSpPr>
            <p:cNvPr id="21515" name="Text Box 6"/>
            <p:cNvSpPr txBox="1">
              <a:spLocks noChangeArrowheads="1"/>
            </p:cNvSpPr>
            <p:nvPr/>
          </p:nvSpPr>
          <p:spPr bwMode="auto">
            <a:xfrm>
              <a:off x="3072" y="672"/>
              <a:ext cx="2592" cy="192"/>
            </a:xfrm>
            <a:prstGeom prst="rect">
              <a:avLst/>
            </a:pr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0" tIns="45716" rIns="91430" bIns="45716">
              <a:spAutoFit/>
            </a:bodyPr>
            <a:lstStyle>
              <a:lvl1pPr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sz="1400" b="1">
                  <a:solidFill>
                    <a:schemeClr val="bg1"/>
                  </a:solidFill>
                  <a:cs typeface="Arial" pitchFamily="34" charset="0"/>
                </a:rPr>
                <a:t>Key Insights</a:t>
              </a:r>
              <a:endParaRPr lang="en-US" sz="1400" b="1" baseline="3000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21516" name="Rectangle 7"/>
            <p:cNvSpPr>
              <a:spLocks noChangeArrowheads="1"/>
            </p:cNvSpPr>
            <p:nvPr/>
          </p:nvSpPr>
          <p:spPr bwMode="auto">
            <a:xfrm>
              <a:off x="3072" y="864"/>
              <a:ext cx="2592" cy="11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0" tIns="45716" rIns="91430" bIns="45716"/>
            <a:lstStyle/>
            <a:p>
              <a:pPr defTabSz="912813">
                <a:spcBef>
                  <a:spcPct val="20000"/>
                </a:spcBef>
                <a:spcAft>
                  <a:spcPct val="20000"/>
                </a:spcAft>
                <a:buSzPct val="75000"/>
              </a:pPr>
              <a:r>
                <a:rPr lang="en-US" sz="1600">
                  <a:cs typeface="Arial" pitchFamily="34" charset="0"/>
                </a:rPr>
                <a:t>The impact of training is not </a:t>
              </a:r>
              <a:r>
                <a:rPr lang="en-US" sz="1600" i="1">
                  <a:cs typeface="Arial" pitchFamily="34" charset="0"/>
                </a:rPr>
                <a:t>statistically </a:t>
              </a:r>
              <a:r>
                <a:rPr lang="en-US" sz="1600">
                  <a:cs typeface="Arial" pitchFamily="34" charset="0"/>
                </a:rPr>
                <a:t>significant at a 95% level.  This means that there is a very good chance that it does have an impact. </a:t>
              </a:r>
            </a:p>
            <a:p>
              <a:pPr defTabSz="912813">
                <a:spcBef>
                  <a:spcPct val="20000"/>
                </a:spcBef>
                <a:spcAft>
                  <a:spcPct val="20000"/>
                </a:spcAft>
                <a:buSzPct val="75000"/>
              </a:pPr>
              <a:r>
                <a:rPr lang="en-US" sz="1600" b="1">
                  <a:cs typeface="Arial" pitchFamily="34" charset="0"/>
                </a:rPr>
                <a:t>The standalone impact of Phase I is ambiguous</a:t>
              </a:r>
            </a:p>
            <a:p>
              <a:pPr defTabSz="912813">
                <a:spcBef>
                  <a:spcPct val="20000"/>
                </a:spcBef>
                <a:spcAft>
                  <a:spcPct val="20000"/>
                </a:spcAft>
                <a:buSzPct val="75000"/>
              </a:pPr>
              <a:endParaRPr lang="en-US" sz="1600">
                <a:cs typeface="Arial" pitchFamily="34" charset="0"/>
              </a:endParaRPr>
            </a:p>
            <a:p>
              <a:pPr defTabSz="912813">
                <a:spcBef>
                  <a:spcPct val="20000"/>
                </a:spcBef>
                <a:spcAft>
                  <a:spcPct val="20000"/>
                </a:spcAft>
                <a:buSzPct val="75000"/>
                <a:buFontTx/>
                <a:buChar char="•"/>
              </a:pPr>
              <a:endParaRPr lang="en-US" sz="1600">
                <a:cs typeface="Arial" pitchFamily="34" charset="0"/>
              </a:endParaRPr>
            </a:p>
            <a:p>
              <a:pPr defTabSz="912813">
                <a:spcBef>
                  <a:spcPct val="20000"/>
                </a:spcBef>
                <a:spcAft>
                  <a:spcPct val="20000"/>
                </a:spcAft>
                <a:buSzPct val="75000"/>
                <a:buFontTx/>
                <a:buChar char="•"/>
              </a:pPr>
              <a:endParaRPr lang="en-US" sz="1800">
                <a:cs typeface="Arial" pitchFamily="34" charset="0"/>
              </a:endParaRPr>
            </a:p>
          </p:txBody>
        </p:sp>
      </p:grpSp>
      <p:sp>
        <p:nvSpPr>
          <p:cNvPr id="21509" name="Text Box 12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63513" y="6456363"/>
            <a:ext cx="6402387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000">
                <a:cs typeface="Arial" pitchFamily="34" charset="0"/>
              </a:rPr>
              <a:t>(a)  Based on multiple regression analysis, controlling for age, gender, year, country and selection bias.  Other factors include these variables as well as unobserved differences.  </a:t>
            </a:r>
          </a:p>
        </p:txBody>
      </p:sp>
      <p:pic>
        <p:nvPicPr>
          <p:cNvPr id="21510" name="Picture 14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883" r="51758"/>
          <a:stretch>
            <a:fillRect/>
          </a:stretch>
        </p:blipFill>
        <p:spPr bwMode="auto">
          <a:xfrm>
            <a:off x="1001713" y="2400300"/>
            <a:ext cx="3516312" cy="409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1511" name="Group 18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4989513" y="2082800"/>
            <a:ext cx="3819525" cy="2133600"/>
            <a:chOff x="3120" y="624"/>
            <a:chExt cx="2592" cy="1344"/>
          </a:xfrm>
        </p:grpSpPr>
        <p:sp>
          <p:nvSpPr>
            <p:cNvPr id="21513" name="Text Box 16"/>
            <p:cNvSpPr txBox="1">
              <a:spLocks noChangeArrowheads="1"/>
            </p:cNvSpPr>
            <p:nvPr/>
          </p:nvSpPr>
          <p:spPr bwMode="auto">
            <a:xfrm>
              <a:off x="3120" y="624"/>
              <a:ext cx="2592" cy="192"/>
            </a:xfrm>
            <a:prstGeom prst="rect">
              <a:avLst/>
            </a:pr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0" tIns="45716" rIns="91430" bIns="45716">
              <a:spAutoFit/>
            </a:bodyPr>
            <a:lstStyle>
              <a:lvl1pPr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sz="1400" b="1">
                  <a:solidFill>
                    <a:schemeClr val="bg1"/>
                  </a:solidFill>
                  <a:cs typeface="Arial" pitchFamily="34" charset="0"/>
                </a:rPr>
                <a:t>Notes on Analysis</a:t>
              </a:r>
              <a:endParaRPr lang="en-US" sz="1400" b="1" baseline="3000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21514" name="Rectangle 7"/>
            <p:cNvSpPr>
              <a:spLocks noChangeArrowheads="1"/>
            </p:cNvSpPr>
            <p:nvPr/>
          </p:nvSpPr>
          <p:spPr bwMode="auto">
            <a:xfrm>
              <a:off x="3120" y="864"/>
              <a:ext cx="2592" cy="11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0" tIns="45716" rIns="91430" bIns="45716"/>
            <a:lstStyle/>
            <a:p>
              <a:pPr marL="342900" indent="-342900" defTabSz="912813">
                <a:spcBef>
                  <a:spcPct val="20000"/>
                </a:spcBef>
                <a:spcAft>
                  <a:spcPct val="20000"/>
                </a:spcAft>
                <a:buSzPct val="75000"/>
                <a:buFontTx/>
                <a:buBlip>
                  <a:blip r:embed="rId13"/>
                </a:buBlip>
              </a:pPr>
              <a:r>
                <a:rPr lang="en-US" sz="1600">
                  <a:cs typeface="Arial" pitchFamily="34" charset="0"/>
                </a:rPr>
                <a:t>Neither multiple regression nor other methods found a significant impact of phase I, BUT </a:t>
              </a:r>
              <a:r>
                <a:rPr lang="en-US" sz="1600" i="1">
                  <a:cs typeface="Arial" pitchFamily="34" charset="0"/>
                </a:rPr>
                <a:t>data set is small and selection bias exists</a:t>
              </a:r>
            </a:p>
            <a:p>
              <a:pPr marL="342900" indent="-342900" defTabSz="912813">
                <a:spcBef>
                  <a:spcPct val="20000"/>
                </a:spcBef>
                <a:spcAft>
                  <a:spcPct val="20000"/>
                </a:spcAft>
                <a:buSzPct val="75000"/>
                <a:buFontTx/>
                <a:buBlip>
                  <a:blip r:embed="rId13"/>
                </a:buBlip>
              </a:pPr>
              <a:r>
                <a:rPr lang="en-US" sz="1600">
                  <a:cs typeface="Arial" pitchFamily="34" charset="0"/>
                </a:rPr>
                <a:t>Impact of Phase I not found across other KPI</a:t>
              </a:r>
              <a:r>
                <a:rPr lang="ja-JP" altLang="en-US" sz="1600"/>
                <a:t>’</a:t>
              </a:r>
              <a:r>
                <a:rPr lang="en-US" altLang="ja-JP" sz="1600">
                  <a:cs typeface="Arial" pitchFamily="34" charset="0"/>
                </a:rPr>
                <a:t>s</a:t>
              </a:r>
              <a:endParaRPr lang="en-US" altLang="ja-JP" sz="1800">
                <a:cs typeface="Arial" pitchFamily="34" charset="0"/>
              </a:endParaRPr>
            </a:p>
            <a:p>
              <a:pPr marL="342900" indent="-342900" defTabSz="912813">
                <a:spcBef>
                  <a:spcPct val="20000"/>
                </a:spcBef>
                <a:spcAft>
                  <a:spcPct val="60000"/>
                </a:spcAft>
                <a:buSzPct val="75000"/>
                <a:buFontTx/>
                <a:buBlip>
                  <a:blip r:embed="rId13"/>
                </a:buBlip>
              </a:pPr>
              <a:endParaRPr lang="en-US" sz="1800">
                <a:cs typeface="Arial" pitchFamily="34" charset="0"/>
              </a:endParaRPr>
            </a:p>
          </p:txBody>
        </p:sp>
      </p:grpSp>
      <p:sp>
        <p:nvSpPr>
          <p:cNvPr id="21512" name="Rectangle 15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>
          <a:xfrm>
            <a:off x="685800" y="1447800"/>
            <a:ext cx="8220075" cy="609600"/>
          </a:xfrm>
        </p:spPr>
        <p:txBody>
          <a:bodyPr/>
          <a:lstStyle/>
          <a:p>
            <a:r>
              <a:rPr lang="en-US" sz="2200" smtClean="0">
                <a:ea typeface="ＭＳ Ｐゴシック" pitchFamily="34" charset="-128"/>
                <a:cs typeface="Arial" pitchFamily="34" charset="0"/>
              </a:rPr>
              <a:t>Phase I </a:t>
            </a:r>
            <a:r>
              <a:rPr lang="en-US" sz="2200" smtClean="0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>(Business Plan Training) </a:t>
            </a:r>
            <a:r>
              <a:rPr lang="en-US" sz="2200" smtClean="0">
                <a:ea typeface="ＭＳ Ｐゴシック" pitchFamily="34" charset="-128"/>
                <a:cs typeface="Arial" pitchFamily="34" charset="0"/>
              </a:rPr>
              <a:t>Appears to Have an Impac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Rectangle 1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5" name="think-cell Slide" r:id="rId11" imgW="0" imgH="0" progId="TCLayout.ActiveDocument.1">
                  <p:embed/>
                </p:oleObj>
              </mc:Choice>
              <mc:Fallback>
                <p:oleObj name="think-cell Slide" r:id="rId11" imgW="0" imgH="0" progId="TCLayout.ActiveDocument.1">
                  <p:embed/>
                  <p:pic>
                    <p:nvPicPr>
                      <p:cNvPr id="0" name="Rectangle 17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531" name="Text Box 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09650" y="2359025"/>
            <a:ext cx="3571875" cy="304800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sz="1400" b="1">
                <a:solidFill>
                  <a:schemeClr val="bg1"/>
                </a:solidFill>
                <a:cs typeface="Arial" pitchFamily="34" charset="0"/>
              </a:rPr>
              <a:t>Impact of Training on Sales Growth</a:t>
            </a:r>
            <a:r>
              <a:rPr lang="en-US" sz="1400" b="1" baseline="30000">
                <a:solidFill>
                  <a:schemeClr val="bg1"/>
                </a:solidFill>
                <a:cs typeface="Arial" pitchFamily="34" charset="0"/>
              </a:rPr>
              <a:t>(a)</a:t>
            </a:r>
          </a:p>
        </p:txBody>
      </p:sp>
      <p:grpSp>
        <p:nvGrpSpPr>
          <p:cNvPr id="22532" name="Group 20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5021263" y="4805363"/>
            <a:ext cx="3825875" cy="2057400"/>
            <a:chOff x="3072" y="672"/>
            <a:chExt cx="2688" cy="1296"/>
          </a:xfrm>
        </p:grpSpPr>
        <p:sp>
          <p:nvSpPr>
            <p:cNvPr id="22539" name="Text Box 6"/>
            <p:cNvSpPr txBox="1">
              <a:spLocks noChangeArrowheads="1"/>
            </p:cNvSpPr>
            <p:nvPr/>
          </p:nvSpPr>
          <p:spPr bwMode="auto">
            <a:xfrm>
              <a:off x="3072" y="672"/>
              <a:ext cx="2592" cy="192"/>
            </a:xfrm>
            <a:prstGeom prst="rect">
              <a:avLst/>
            </a:pr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0" tIns="45716" rIns="91430" bIns="45716">
              <a:spAutoFit/>
            </a:bodyPr>
            <a:lstStyle>
              <a:lvl1pPr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sz="1400" b="1">
                  <a:solidFill>
                    <a:schemeClr val="bg1"/>
                  </a:solidFill>
                  <a:cs typeface="Arial" pitchFamily="34" charset="0"/>
                </a:rPr>
                <a:t>Key Insights</a:t>
              </a:r>
              <a:endParaRPr lang="en-US" sz="1400" b="1" baseline="3000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22540" name="Rectangle 7"/>
            <p:cNvSpPr>
              <a:spLocks noChangeArrowheads="1"/>
            </p:cNvSpPr>
            <p:nvPr/>
          </p:nvSpPr>
          <p:spPr bwMode="auto">
            <a:xfrm>
              <a:off x="3168" y="864"/>
              <a:ext cx="2592" cy="11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0" tIns="45716" rIns="91430" bIns="45716"/>
            <a:lstStyle/>
            <a:p>
              <a:pPr defTabSz="912813">
                <a:spcBef>
                  <a:spcPct val="20000"/>
                </a:spcBef>
                <a:spcAft>
                  <a:spcPct val="20000"/>
                </a:spcAft>
                <a:buSzPct val="75000"/>
                <a:tabLst>
                  <a:tab pos="0" algn="l"/>
                </a:tabLst>
              </a:pPr>
              <a:r>
                <a:rPr lang="en-US" sz="1600" b="1">
                  <a:cs typeface="Arial" pitchFamily="34" charset="0"/>
                </a:rPr>
                <a:t>The second round of training combined with the possibility of the prize has a significant impact on business success and growth</a:t>
              </a:r>
            </a:p>
          </p:txBody>
        </p:sp>
      </p:grpSp>
      <p:grpSp>
        <p:nvGrpSpPr>
          <p:cNvPr id="22533" name="Group 19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5021263" y="2359025"/>
            <a:ext cx="3825875" cy="2133600"/>
            <a:chOff x="3072" y="2064"/>
            <a:chExt cx="2688" cy="1344"/>
          </a:xfrm>
        </p:grpSpPr>
        <p:sp>
          <p:nvSpPr>
            <p:cNvPr id="22537" name="Text Box 7"/>
            <p:cNvSpPr txBox="1">
              <a:spLocks noChangeArrowheads="1"/>
            </p:cNvSpPr>
            <p:nvPr/>
          </p:nvSpPr>
          <p:spPr bwMode="auto">
            <a:xfrm>
              <a:off x="3072" y="2064"/>
              <a:ext cx="2592" cy="192"/>
            </a:xfrm>
            <a:prstGeom prst="rect">
              <a:avLst/>
            </a:pr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0" tIns="45716" rIns="91430" bIns="45716">
              <a:spAutoFit/>
            </a:bodyPr>
            <a:lstStyle>
              <a:lvl1pPr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sz="1400" b="1">
                  <a:solidFill>
                    <a:schemeClr val="bg1"/>
                  </a:solidFill>
                  <a:cs typeface="Arial" pitchFamily="34" charset="0"/>
                </a:rPr>
                <a:t>Notes on Analysis</a:t>
              </a:r>
              <a:endParaRPr lang="en-US" sz="1400" b="1" baseline="3000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22538" name="Rectangle 7"/>
            <p:cNvSpPr>
              <a:spLocks noChangeArrowheads="1"/>
            </p:cNvSpPr>
            <p:nvPr/>
          </p:nvSpPr>
          <p:spPr bwMode="auto">
            <a:xfrm>
              <a:off x="3168" y="2304"/>
              <a:ext cx="2592" cy="11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0" tIns="45716" rIns="91430" bIns="45716"/>
            <a:lstStyle/>
            <a:p>
              <a:pPr marL="342900" indent="-342900" defTabSz="912813">
                <a:spcBef>
                  <a:spcPct val="20000"/>
                </a:spcBef>
                <a:spcAft>
                  <a:spcPct val="20000"/>
                </a:spcAft>
                <a:buSzPct val="75000"/>
                <a:buFontTx/>
                <a:buBlip>
                  <a:blip r:embed="rId12"/>
                </a:buBlip>
              </a:pPr>
              <a:r>
                <a:rPr lang="en-US" sz="1600">
                  <a:cs typeface="Arial" pitchFamily="34" charset="0"/>
                </a:rPr>
                <a:t>Regression analysis, controlling for age, gender, country, year, selection bias shows strong predicted impact, even controlling for effect of prize</a:t>
              </a:r>
            </a:p>
            <a:p>
              <a:pPr marL="342900" indent="-342900" defTabSz="912813">
                <a:spcBef>
                  <a:spcPct val="20000"/>
                </a:spcBef>
                <a:spcAft>
                  <a:spcPct val="20000"/>
                </a:spcAft>
                <a:buSzPct val="75000"/>
                <a:buFontTx/>
                <a:buBlip>
                  <a:blip r:embed="rId12"/>
                </a:buBlip>
              </a:pPr>
              <a:r>
                <a:rPr lang="en-US" sz="1600">
                  <a:cs typeface="Arial" pitchFamily="34" charset="0"/>
                </a:rPr>
                <a:t>Results robust through a variety of techniques and across other KPI</a:t>
              </a:r>
              <a:r>
                <a:rPr lang="ja-JP" altLang="en-US" sz="1600"/>
                <a:t>’</a:t>
              </a:r>
              <a:r>
                <a:rPr lang="en-US" altLang="ja-JP" sz="1600">
                  <a:cs typeface="Arial" pitchFamily="34" charset="0"/>
                </a:rPr>
                <a:t>s</a:t>
              </a:r>
              <a:endParaRPr lang="en-US" altLang="ja-JP" sz="1800">
                <a:cs typeface="Arial" pitchFamily="34" charset="0"/>
              </a:endParaRPr>
            </a:p>
            <a:p>
              <a:pPr marL="342900" indent="-342900" defTabSz="912813">
                <a:spcBef>
                  <a:spcPct val="20000"/>
                </a:spcBef>
                <a:spcAft>
                  <a:spcPct val="60000"/>
                </a:spcAft>
                <a:buSzPct val="75000"/>
                <a:buFontTx/>
                <a:buBlip>
                  <a:blip r:embed="rId12"/>
                </a:buBlip>
              </a:pPr>
              <a:endParaRPr lang="en-US" sz="1800">
                <a:cs typeface="Arial" pitchFamily="34" charset="0"/>
              </a:endParaRPr>
            </a:p>
          </p:txBody>
        </p:sp>
      </p:grpSp>
      <p:sp>
        <p:nvSpPr>
          <p:cNvPr id="22534" name="Text Box 12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53988" y="6613525"/>
            <a:ext cx="64023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000">
                <a:cs typeface="Arial" pitchFamily="34" charset="0"/>
              </a:rPr>
              <a:t>(a)  Based on multiple regression analysis, controlling for age, gender, year, country and selection bias.  </a:t>
            </a:r>
          </a:p>
        </p:txBody>
      </p:sp>
      <p:pic>
        <p:nvPicPr>
          <p:cNvPr id="22535" name="Picture 32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039" r="52338"/>
          <a:stretch>
            <a:fillRect/>
          </a:stretch>
        </p:blipFill>
        <p:spPr bwMode="auto">
          <a:xfrm>
            <a:off x="987425" y="2713038"/>
            <a:ext cx="3271838" cy="3848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6" name="Rectangle 16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 smtClean="0">
                <a:ea typeface="ＭＳ Ｐゴシック" pitchFamily="34" charset="-128"/>
                <a:cs typeface="Arial" pitchFamily="34" charset="0"/>
              </a:rPr>
              <a:t>Phase II </a:t>
            </a:r>
            <a:r>
              <a:rPr lang="en-US" smtClean="0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>(Business Plan Improvement) and the Prize Awarding </a:t>
            </a:r>
            <a:r>
              <a:rPr lang="en-US" smtClean="0">
                <a:ea typeface="ＭＳ Ｐゴシック" pitchFamily="34" charset="-128"/>
                <a:cs typeface="Arial" pitchFamily="34" charset="0"/>
              </a:rPr>
              <a:t>Have a Strong Impac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7" name="think-cell Slide" r:id="rId25" imgW="0" imgH="0" progId="TCLayout.ActiveDocument.1">
                  <p:embed/>
                </p:oleObj>
              </mc:Choice>
              <mc:Fallback>
                <p:oleObj name="think-cell Slide" r:id="rId25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6396" name="AutoShape 2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52475" y="2247900"/>
            <a:ext cx="1792288" cy="2681288"/>
          </a:xfrm>
          <a:prstGeom prst="roundRect">
            <a:avLst>
              <a:gd name="adj" fmla="val 14542"/>
            </a:avLst>
          </a:prstGeom>
          <a:solidFill>
            <a:srgbClr val="808080">
              <a:alpha val="50195"/>
            </a:srgbClr>
          </a:solidFill>
          <a:ln w="9525">
            <a:solidFill>
              <a:schemeClr val="accent2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defTabSz="933450"/>
            <a:endParaRPr lang="en-US" sz="1400" b="1">
              <a:latin typeface="Calibri" pitchFamily="34" charset="0"/>
            </a:endParaRPr>
          </a:p>
        </p:txBody>
      </p:sp>
      <p:grpSp>
        <p:nvGrpSpPr>
          <p:cNvPr id="2" name="Group 34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752475" y="2247900"/>
            <a:ext cx="1792288" cy="2681288"/>
            <a:chOff x="474" y="1416"/>
            <a:chExt cx="1129" cy="1689"/>
          </a:xfrm>
        </p:grpSpPr>
        <p:sp>
          <p:nvSpPr>
            <p:cNvPr id="5140" name="AutoShape 24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474" y="1416"/>
              <a:ext cx="1129" cy="1689"/>
            </a:xfrm>
            <a:prstGeom prst="roundRect">
              <a:avLst>
                <a:gd name="adj" fmla="val 14542"/>
              </a:avLst>
            </a:prstGeom>
            <a:solidFill>
              <a:srgbClr val="EAEAEA">
                <a:alpha val="50195"/>
              </a:srgbClr>
            </a:soli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 wrap="none" lIns="93296" tIns="46648" rIns="93296" bIns="46648" anchor="ctr"/>
            <a:lstStyle/>
            <a:p>
              <a:pPr defTabSz="933450"/>
              <a:endParaRPr lang="en-US" sz="1400" b="1">
                <a:latin typeface="Calibri" pitchFamily="34" charset="0"/>
              </a:endParaRPr>
            </a:p>
          </p:txBody>
        </p:sp>
        <p:sp>
          <p:nvSpPr>
            <p:cNvPr id="5141" name="Rectangle 2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528" y="1693"/>
              <a:ext cx="1005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ctr" defTabSz="912813"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None/>
              </a:pPr>
              <a:r>
                <a:rPr lang="en-US" sz="1400" b="1">
                  <a:solidFill>
                    <a:schemeClr val="tx2"/>
                  </a:solidFill>
                  <a:cs typeface="Arial" pitchFamily="34" charset="0"/>
                </a:rPr>
                <a:t>Who</a:t>
              </a:r>
              <a:r>
                <a:rPr lang="en-US" altLang="ja-JP" sz="1400" b="1">
                  <a:solidFill>
                    <a:schemeClr val="tx2"/>
                  </a:solidFill>
                  <a:cs typeface="Arial" pitchFamily="34" charset="0"/>
                </a:rPr>
                <a:t> we are</a:t>
              </a:r>
              <a:endParaRPr lang="en-US" sz="1400" b="1">
                <a:solidFill>
                  <a:schemeClr val="tx2"/>
                </a:solidFill>
                <a:cs typeface="Arial" pitchFamily="34" charset="0"/>
              </a:endParaRPr>
            </a:p>
          </p:txBody>
        </p:sp>
        <p:pic>
          <p:nvPicPr>
            <p:cNvPr id="5142" name="Picture 21" descr="TNS_Eng_vertical_logo_RGB_large"/>
            <p:cNvPicPr>
              <a:picLocks noChangeAspect="1" noChangeArrowheads="1"/>
            </p:cNvPicPr>
            <p:nvPr>
              <p:custDataLst>
                <p:tags r:id="rId22"/>
              </p:custDataLst>
            </p:nvPr>
          </p:nvPicPr>
          <p:blipFill>
            <a:blip r:embed="rId2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67" t="12163" r="6067" b="12163"/>
            <a:stretch>
              <a:fillRect/>
            </a:stretch>
          </p:blipFill>
          <p:spPr bwMode="auto">
            <a:xfrm>
              <a:off x="584" y="2160"/>
              <a:ext cx="893" cy="4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125" name="4 Marcador de número de diapositiva"/>
          <p:cNvSpPr txBox="1"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153400" y="6648450"/>
            <a:ext cx="885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143D94A1-81B2-4327-8538-8C87DBEDE73F}" type="slidenum">
              <a:rPr lang="en-US" sz="900">
                <a:solidFill>
                  <a:srgbClr val="7F329A"/>
                </a:solidFill>
                <a:cs typeface="Arial" pitchFamily="34" charset="0"/>
              </a:rPr>
              <a:pPr algn="r" eaLnBrk="1" hangingPunct="1"/>
              <a:t>1</a:t>
            </a:fld>
            <a:endParaRPr lang="en-US" sz="900">
              <a:solidFill>
                <a:srgbClr val="7F329A"/>
              </a:solidFill>
              <a:cs typeface="Arial" pitchFamily="34" charset="0"/>
            </a:endParaRPr>
          </a:p>
        </p:txBody>
      </p:sp>
      <p:grpSp>
        <p:nvGrpSpPr>
          <p:cNvPr id="3" name="Group 31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2914650" y="2247900"/>
            <a:ext cx="1792288" cy="2681288"/>
            <a:chOff x="1836" y="1416"/>
            <a:chExt cx="1129" cy="1689"/>
          </a:xfrm>
        </p:grpSpPr>
        <p:sp>
          <p:nvSpPr>
            <p:cNvPr id="5137" name="AutoShape 24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1836" y="1416"/>
              <a:ext cx="1129" cy="1689"/>
            </a:xfrm>
            <a:prstGeom prst="roundRect">
              <a:avLst>
                <a:gd name="adj" fmla="val 14542"/>
              </a:avLst>
            </a:prstGeom>
            <a:solidFill>
              <a:srgbClr val="EAEAEA">
                <a:alpha val="50195"/>
              </a:srgbClr>
            </a:soli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 wrap="none" lIns="93296" tIns="46648" rIns="93296" bIns="46648" anchor="ctr"/>
            <a:lstStyle/>
            <a:p>
              <a:pPr defTabSz="933450"/>
              <a:endParaRPr lang="en-US" sz="1400" b="1">
                <a:latin typeface="Calibri" pitchFamily="34" charset="0"/>
              </a:endParaRPr>
            </a:p>
          </p:txBody>
        </p:sp>
        <p:sp>
          <p:nvSpPr>
            <p:cNvPr id="5138" name="Rectangle 2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1940" y="1693"/>
              <a:ext cx="911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ctr" defTabSz="912813"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None/>
              </a:pPr>
              <a:r>
                <a:rPr lang="en-US" sz="1400" b="1">
                  <a:solidFill>
                    <a:schemeClr val="tx2"/>
                  </a:solidFill>
                  <a:cs typeface="Arial" pitchFamily="34" charset="0"/>
                </a:rPr>
                <a:t>Background</a:t>
              </a:r>
            </a:p>
          </p:txBody>
        </p:sp>
        <p:sp>
          <p:nvSpPr>
            <p:cNvPr id="5139" name="Rectangle 2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1918" y="2063"/>
              <a:ext cx="954" cy="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marL="133350" indent="-133350" defTabSz="912813"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US" sz="1300">
                  <a:cs typeface="Arial" pitchFamily="34" charset="0"/>
                </a:rPr>
                <a:t>The role of entrepreneurship in poverty reduction</a:t>
              </a:r>
            </a:p>
          </p:txBody>
        </p:sp>
      </p:grpSp>
      <p:grpSp>
        <p:nvGrpSpPr>
          <p:cNvPr id="4" name="Group 32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4949825" y="2247900"/>
            <a:ext cx="1792288" cy="2681288"/>
            <a:chOff x="3118" y="1416"/>
            <a:chExt cx="1129" cy="1689"/>
          </a:xfrm>
        </p:grpSpPr>
        <p:sp>
          <p:nvSpPr>
            <p:cNvPr id="5134" name="AutoShape 28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3118" y="1416"/>
              <a:ext cx="1129" cy="1689"/>
            </a:xfrm>
            <a:prstGeom prst="roundRect">
              <a:avLst>
                <a:gd name="adj" fmla="val 14542"/>
              </a:avLst>
            </a:prstGeom>
            <a:solidFill>
              <a:srgbClr val="EAEAEA">
                <a:alpha val="50195"/>
              </a:srgbClr>
            </a:soli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 wrap="none" lIns="93296" tIns="46648" rIns="93296" bIns="46648" anchor="ctr"/>
            <a:lstStyle/>
            <a:p>
              <a:pPr defTabSz="933450"/>
              <a:endParaRPr lang="en-US" sz="1400" b="1">
                <a:latin typeface="Calibri" pitchFamily="34" charset="0"/>
              </a:endParaRPr>
            </a:p>
          </p:txBody>
        </p:sp>
        <p:sp>
          <p:nvSpPr>
            <p:cNvPr id="5135" name="Rectangle 2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3221" y="1492"/>
              <a:ext cx="911" cy="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ctr" defTabSz="912813"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None/>
              </a:pPr>
              <a:r>
                <a:rPr lang="en-US" sz="1400" b="1">
                  <a:solidFill>
                    <a:schemeClr val="tx2"/>
                  </a:solidFill>
                  <a:cs typeface="Arial" pitchFamily="34" charset="0"/>
                </a:rPr>
                <a:t>The problem at hand and Evaluation of Methodology</a:t>
              </a:r>
            </a:p>
          </p:txBody>
        </p:sp>
        <p:sp>
          <p:nvSpPr>
            <p:cNvPr id="5136" name="Rectangle 2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3221" y="2063"/>
              <a:ext cx="911" cy="9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marL="133350" indent="-133350" defTabSz="912813"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US" sz="1300">
                  <a:cs typeface="Arial" pitchFamily="34" charset="0"/>
                </a:rPr>
                <a:t>Strategic planning</a:t>
              </a:r>
            </a:p>
            <a:p>
              <a:pPr marL="133350" indent="-133350" defTabSz="912813"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US" sz="1300">
                  <a:cs typeface="Arial" pitchFamily="34" charset="0"/>
                </a:rPr>
                <a:t>Access to capital</a:t>
              </a:r>
            </a:p>
            <a:p>
              <a:pPr marL="133350" indent="-133350" defTabSz="912813"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US" sz="1300">
                  <a:cs typeface="Arial" pitchFamily="34" charset="0"/>
                </a:rPr>
                <a:t>Other problems</a:t>
              </a:r>
            </a:p>
            <a:p>
              <a:pPr marL="133350" indent="-133350" defTabSz="912813"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US" sz="1300">
                  <a:cs typeface="Arial" pitchFamily="34" charset="0"/>
                </a:rPr>
                <a:t>Overview of BPC impact study and results</a:t>
              </a:r>
            </a:p>
          </p:txBody>
        </p:sp>
      </p:grpSp>
      <p:grpSp>
        <p:nvGrpSpPr>
          <p:cNvPr id="5" name="Group 33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6999288" y="2247900"/>
            <a:ext cx="1792287" cy="2681288"/>
            <a:chOff x="4409" y="1416"/>
            <a:chExt cx="1129" cy="1689"/>
          </a:xfrm>
        </p:grpSpPr>
        <p:sp>
          <p:nvSpPr>
            <p:cNvPr id="5131" name="AutoShape 3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4409" y="1416"/>
              <a:ext cx="1129" cy="1689"/>
            </a:xfrm>
            <a:prstGeom prst="roundRect">
              <a:avLst>
                <a:gd name="adj" fmla="val 14542"/>
              </a:avLst>
            </a:prstGeom>
            <a:solidFill>
              <a:srgbClr val="EAEAEA">
                <a:alpha val="50195"/>
              </a:srgbClr>
            </a:soli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 wrap="none" lIns="93296" tIns="46648" rIns="93296" bIns="46648" anchor="ctr"/>
            <a:lstStyle/>
            <a:p>
              <a:pPr defTabSz="933450"/>
              <a:endParaRPr lang="en-US" sz="1400" b="1">
                <a:latin typeface="Calibri" pitchFamily="34" charset="0"/>
              </a:endParaRPr>
            </a:p>
          </p:txBody>
        </p:sp>
        <p:sp>
          <p:nvSpPr>
            <p:cNvPr id="5132" name="Rectangle 2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4500" y="1693"/>
              <a:ext cx="912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ctr" defTabSz="912813"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None/>
              </a:pPr>
              <a:r>
                <a:rPr lang="en-US" sz="1400" b="1">
                  <a:solidFill>
                    <a:schemeClr val="tx2"/>
                  </a:solidFill>
                  <a:cs typeface="Arial" pitchFamily="34" charset="0"/>
                </a:rPr>
                <a:t>Next Steps</a:t>
              </a:r>
            </a:p>
          </p:txBody>
        </p:sp>
        <p:sp>
          <p:nvSpPr>
            <p:cNvPr id="5133" name="Rectangle 2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4513" y="2063"/>
              <a:ext cx="910" cy="4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marL="133350" indent="-133350" defTabSz="912813"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US" sz="1300">
                  <a:cs typeface="Arial" pitchFamily="34" charset="0"/>
                </a:rPr>
                <a:t>Results</a:t>
              </a:r>
            </a:p>
            <a:p>
              <a:pPr marL="133350" indent="-133350" defTabSz="912813"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US" sz="1300">
                  <a:cs typeface="Arial" pitchFamily="34" charset="0"/>
                </a:rPr>
                <a:t>Lessons learned</a:t>
              </a:r>
            </a:p>
            <a:p>
              <a:pPr marL="133350" indent="-133350" defTabSz="912813"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US" sz="1300">
                  <a:cs typeface="Arial" pitchFamily="34" charset="0"/>
                </a:rPr>
                <a:t>Beyond BPC</a:t>
              </a:r>
              <a:r>
                <a:rPr lang="ja-JP" altLang="en-US" sz="1300"/>
                <a:t>’</a:t>
              </a:r>
              <a:r>
                <a:rPr lang="en-US" altLang="ja-JP" sz="1300">
                  <a:cs typeface="Arial" pitchFamily="34" charset="0"/>
                </a:rPr>
                <a:t>s</a:t>
              </a:r>
              <a:endParaRPr lang="en-US" sz="1300">
                <a:cs typeface="Arial" pitchFamily="34" charset="0"/>
              </a:endParaRPr>
            </a:p>
          </p:txBody>
        </p:sp>
      </p:grpSp>
      <p:sp>
        <p:nvSpPr>
          <p:cNvPr id="56359" name="AutoShape 39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52475" y="5195888"/>
            <a:ext cx="8058150" cy="534987"/>
          </a:xfrm>
          <a:prstGeom prst="roundRect">
            <a:avLst>
              <a:gd name="adj" fmla="val 32120"/>
            </a:avLst>
          </a:prstGeom>
          <a:solidFill>
            <a:srgbClr val="EAEAEA">
              <a:alpha val="50195"/>
            </a:srgbClr>
          </a:soli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algn="ctr" defTabSz="933450"/>
            <a:r>
              <a:rPr lang="en-US" sz="1600" b="1">
                <a:cs typeface="Arial" pitchFamily="34" charset="0"/>
              </a:rPr>
              <a:t>Q and A</a:t>
            </a:r>
          </a:p>
        </p:txBody>
      </p:sp>
      <p:sp>
        <p:nvSpPr>
          <p:cNvPr id="5130" name="Rectangle 27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smtClean="0">
                <a:ea typeface="ＭＳ Ｐゴシック" pitchFamily="34" charset="-128"/>
                <a:cs typeface="Arial" pitchFamily="34" charset="0"/>
              </a:rPr>
              <a:t>Introduc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63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3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63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63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63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6396" grpId="0" animBg="1"/>
      <p:bldP spid="56359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Rectangle 1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8" name="think-cell Slide" r:id="rId12" imgW="0" imgH="0" progId="TCLayout.ActiveDocument.1">
                  <p:embed/>
                </p:oleObj>
              </mc:Choice>
              <mc:Fallback>
                <p:oleObj name="think-cell Slide" r:id="rId12" imgW="0" imgH="0" progId="TCLayout.ActiveDocument.1">
                  <p:embed/>
                  <p:pic>
                    <p:nvPicPr>
                      <p:cNvPr id="0" name="Rectangle 17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ext Box 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47750" y="2049463"/>
            <a:ext cx="3498850" cy="306387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sz="1400" b="1">
                <a:solidFill>
                  <a:schemeClr val="bg1"/>
                </a:solidFill>
                <a:cs typeface="Arial" pitchFamily="34" charset="0"/>
              </a:rPr>
              <a:t>Impact of Prize on Sales Growth</a:t>
            </a:r>
            <a:r>
              <a:rPr lang="en-US" sz="1400" b="1" baseline="30000">
                <a:solidFill>
                  <a:schemeClr val="bg1"/>
                </a:solidFill>
                <a:cs typeface="Arial" pitchFamily="34" charset="0"/>
              </a:rPr>
              <a:t>(a)</a:t>
            </a:r>
          </a:p>
        </p:txBody>
      </p:sp>
      <p:grpSp>
        <p:nvGrpSpPr>
          <p:cNvPr id="23556" name="Group 7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5024438" y="4003675"/>
            <a:ext cx="3751262" cy="2057400"/>
            <a:chOff x="3072" y="672"/>
            <a:chExt cx="2688" cy="1296"/>
          </a:xfrm>
        </p:grpSpPr>
        <p:sp>
          <p:nvSpPr>
            <p:cNvPr id="23562" name="Text Box 8"/>
            <p:cNvSpPr txBox="1">
              <a:spLocks noChangeArrowheads="1"/>
            </p:cNvSpPr>
            <p:nvPr/>
          </p:nvSpPr>
          <p:spPr bwMode="auto">
            <a:xfrm>
              <a:off x="3072" y="672"/>
              <a:ext cx="2592" cy="192"/>
            </a:xfrm>
            <a:prstGeom prst="rect">
              <a:avLst/>
            </a:pr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0" tIns="45716" rIns="91430" bIns="45716">
              <a:spAutoFit/>
            </a:bodyPr>
            <a:lstStyle>
              <a:lvl1pPr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sz="1400" b="1">
                  <a:solidFill>
                    <a:schemeClr val="bg1"/>
                  </a:solidFill>
                  <a:cs typeface="Arial" pitchFamily="34" charset="0"/>
                </a:rPr>
                <a:t>Key Insights</a:t>
              </a:r>
              <a:endParaRPr lang="en-US" sz="1400" b="1" baseline="3000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23563" name="Rectangle 7"/>
            <p:cNvSpPr>
              <a:spLocks noChangeArrowheads="1"/>
            </p:cNvSpPr>
            <p:nvPr/>
          </p:nvSpPr>
          <p:spPr bwMode="auto">
            <a:xfrm>
              <a:off x="3168" y="864"/>
              <a:ext cx="2592" cy="11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0" tIns="45716" rIns="91430" bIns="45716"/>
            <a:lstStyle/>
            <a:p>
              <a:pPr marL="342900" indent="-342900" defTabSz="912813">
                <a:spcBef>
                  <a:spcPct val="20000"/>
                </a:spcBef>
                <a:spcAft>
                  <a:spcPct val="20000"/>
                </a:spcAft>
                <a:buSzPct val="75000"/>
                <a:buFontTx/>
                <a:buBlip>
                  <a:blip r:embed="rId13"/>
                </a:buBlip>
              </a:pPr>
              <a:r>
                <a:rPr lang="en-US" sz="1600">
                  <a:cs typeface="Arial" pitchFamily="34" charset="0"/>
                </a:rPr>
                <a:t>The prize is a major advantage, however we could not test the impact of the prize without training.  </a:t>
              </a:r>
            </a:p>
            <a:p>
              <a:pPr marL="342900" indent="-342900" defTabSz="912813">
                <a:spcBef>
                  <a:spcPct val="20000"/>
                </a:spcBef>
                <a:spcAft>
                  <a:spcPct val="20000"/>
                </a:spcAft>
                <a:buSzPct val="75000"/>
                <a:buFontTx/>
                <a:buBlip>
                  <a:blip r:embed="rId13"/>
                </a:buBlip>
              </a:pPr>
              <a:r>
                <a:rPr lang="en-US" sz="1600">
                  <a:cs typeface="Arial" pitchFamily="34" charset="0"/>
                </a:rPr>
                <a:t>Focus groups and 1-on-1 interviews suggest that the prize</a:t>
              </a:r>
              <a:r>
                <a:rPr lang="ja-JP" altLang="en-US" sz="1600">
                  <a:cs typeface="Arial" pitchFamily="34" charset="0"/>
                </a:rPr>
                <a:t>’</a:t>
              </a:r>
              <a:r>
                <a:rPr lang="en-US" altLang="ja-JP" sz="1600">
                  <a:cs typeface="Arial" pitchFamily="34" charset="0"/>
                </a:rPr>
                <a:t>s impact was multiplied by the training. </a:t>
              </a:r>
              <a:endParaRPr lang="en-US" sz="1600">
                <a:cs typeface="Arial" pitchFamily="34" charset="0"/>
              </a:endParaRPr>
            </a:p>
          </p:txBody>
        </p:sp>
      </p:grpSp>
      <p:sp>
        <p:nvSpPr>
          <p:cNvPr id="23557" name="Text Box 12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024438" y="2049463"/>
            <a:ext cx="3616325" cy="306387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sz="1400" b="1">
                <a:solidFill>
                  <a:schemeClr val="bg1"/>
                </a:solidFill>
                <a:cs typeface="Arial" pitchFamily="34" charset="0"/>
              </a:rPr>
              <a:t>Notes on Analysis</a:t>
            </a:r>
            <a:endParaRPr lang="en-US" sz="1400" b="1" baseline="3000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3558" name="Rectangle 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159375" y="2428875"/>
            <a:ext cx="3616325" cy="175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/>
          <a:lstStyle/>
          <a:p>
            <a:pPr marL="342900" indent="-342900" defTabSz="912813">
              <a:spcBef>
                <a:spcPct val="20000"/>
              </a:spcBef>
              <a:spcAft>
                <a:spcPct val="20000"/>
              </a:spcAft>
              <a:buSzPct val="75000"/>
              <a:buFontTx/>
              <a:buBlip>
                <a:blip r:embed="rId13"/>
              </a:buBlip>
            </a:pPr>
            <a:r>
              <a:rPr lang="en-US" sz="1600">
                <a:cs typeface="Arial" pitchFamily="34" charset="0"/>
              </a:rPr>
              <a:t>Results robust through a variety of techniques and across other KPI</a:t>
            </a:r>
            <a:r>
              <a:rPr lang="ja-JP" altLang="en-US" sz="1600"/>
              <a:t>’</a:t>
            </a:r>
            <a:r>
              <a:rPr lang="en-US" altLang="ja-JP" sz="1600">
                <a:cs typeface="Arial" pitchFamily="34" charset="0"/>
              </a:rPr>
              <a:t>s</a:t>
            </a:r>
          </a:p>
          <a:p>
            <a:pPr marL="342900" indent="-342900" defTabSz="912813">
              <a:spcBef>
                <a:spcPct val="20000"/>
              </a:spcBef>
              <a:spcAft>
                <a:spcPct val="60000"/>
              </a:spcAft>
              <a:buSzPct val="75000"/>
              <a:buFontTx/>
              <a:buBlip>
                <a:blip r:embed="rId13"/>
              </a:buBlip>
            </a:pPr>
            <a:r>
              <a:rPr lang="en-US" sz="1600">
                <a:cs typeface="Arial" pitchFamily="34" charset="0"/>
              </a:rPr>
              <a:t>Selection bias is not controlled for due to a small sample size</a:t>
            </a:r>
          </a:p>
        </p:txBody>
      </p:sp>
      <p:sp>
        <p:nvSpPr>
          <p:cNvPr id="23559" name="Text Box 14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52400" y="6461125"/>
            <a:ext cx="86233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000">
                <a:cs typeface="Arial" pitchFamily="34" charset="0"/>
              </a:rPr>
              <a:t>(a)  Based on multiple regression analysis, controlling for age, gender, year, and country.  Selection bias is not controlled for as all finalists are assumed to be of high-quality.  </a:t>
            </a:r>
          </a:p>
        </p:txBody>
      </p:sp>
      <p:pic>
        <p:nvPicPr>
          <p:cNvPr id="23560" name="Picture 19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382" r="54199"/>
          <a:stretch>
            <a:fillRect/>
          </a:stretch>
        </p:blipFill>
        <p:spPr bwMode="auto">
          <a:xfrm>
            <a:off x="942975" y="2476500"/>
            <a:ext cx="3270250" cy="398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561" name="Rectangle 15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 smtClean="0">
                <a:ea typeface="ＭＳ Ｐゴシック" pitchFamily="34" charset="-128"/>
                <a:cs typeface="Arial" pitchFamily="34" charset="0"/>
              </a:rPr>
              <a:t>Prize </a:t>
            </a:r>
            <a:r>
              <a:rPr lang="en-US" smtClean="0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>Awarding</a:t>
            </a:r>
            <a:r>
              <a:rPr lang="en-US" smtClean="0">
                <a:solidFill>
                  <a:srgbClr val="FF0000"/>
                </a:solidFill>
                <a:ea typeface="ＭＳ Ｐゴシック" pitchFamily="34" charset="-128"/>
                <a:cs typeface="Arial" pitchFamily="34" charset="0"/>
              </a:rPr>
              <a:t> </a:t>
            </a:r>
            <a:r>
              <a:rPr lang="en-US" smtClean="0">
                <a:ea typeface="ＭＳ Ｐゴシック" pitchFamily="34" charset="-128"/>
                <a:cs typeface="Arial" pitchFamily="34" charset="0"/>
              </a:rPr>
              <a:t>Has a Very Substantial Impac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578" name="Group 11"/>
          <p:cNvGrpSpPr>
            <a:grpSpLocks/>
          </p:cNvGrpSpPr>
          <p:nvPr/>
        </p:nvGrpSpPr>
        <p:grpSpPr bwMode="auto">
          <a:xfrm>
            <a:off x="1254125" y="2370138"/>
            <a:ext cx="6915150" cy="4230687"/>
            <a:chOff x="544" y="860"/>
            <a:chExt cx="5076" cy="3106"/>
          </a:xfrm>
        </p:grpSpPr>
        <p:sp>
          <p:nvSpPr>
            <p:cNvPr id="24580" name="Text Box 5"/>
            <p:cNvSpPr txBox="1">
              <a:spLocks noChangeArrowheads="1"/>
            </p:cNvSpPr>
            <p:nvPr/>
          </p:nvSpPr>
          <p:spPr bwMode="auto">
            <a:xfrm>
              <a:off x="3399" y="860"/>
              <a:ext cx="2221" cy="224"/>
            </a:xfrm>
            <a:prstGeom prst="rect">
              <a:avLst/>
            </a:pr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0" tIns="45716" rIns="91430" bIns="45716">
              <a:spAutoFit/>
            </a:bodyPr>
            <a:lstStyle>
              <a:lvl1pPr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sz="1400" b="1">
                  <a:solidFill>
                    <a:schemeClr val="bg1"/>
                  </a:solidFill>
                  <a:cs typeface="Arial" pitchFamily="34" charset="0"/>
                </a:rPr>
                <a:t>Final Selection Round</a:t>
              </a:r>
              <a:endParaRPr lang="en-US" sz="1400" b="1" baseline="30000">
                <a:solidFill>
                  <a:schemeClr val="bg1"/>
                </a:solidFill>
                <a:cs typeface="Arial" pitchFamily="34" charset="0"/>
              </a:endParaRPr>
            </a:p>
          </p:txBody>
        </p:sp>
        <p:pic>
          <p:nvPicPr>
            <p:cNvPr id="24581" name="Picture 18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2066" r="62193"/>
            <a:stretch>
              <a:fillRect/>
            </a:stretch>
          </p:blipFill>
          <p:spPr bwMode="auto">
            <a:xfrm>
              <a:off x="3330" y="1139"/>
              <a:ext cx="2274" cy="27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582" name="Text Box 12"/>
            <p:cNvSpPr txBox="1">
              <a:spLocks noChangeArrowheads="1"/>
            </p:cNvSpPr>
            <p:nvPr/>
          </p:nvSpPr>
          <p:spPr bwMode="auto">
            <a:xfrm>
              <a:off x="834" y="860"/>
              <a:ext cx="2319" cy="224"/>
            </a:xfrm>
            <a:prstGeom prst="rect">
              <a:avLst/>
            </a:pr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0" tIns="45716" rIns="91430" bIns="45716">
              <a:spAutoFit/>
            </a:bodyPr>
            <a:lstStyle>
              <a:lvl1pPr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sz="1400" b="1">
                  <a:solidFill>
                    <a:schemeClr val="bg1"/>
                  </a:solidFill>
                  <a:cs typeface="Arial" pitchFamily="34" charset="0"/>
                </a:rPr>
                <a:t>Adjusted Score vs. Sales Growth</a:t>
              </a:r>
              <a:endParaRPr lang="en-US" sz="1400" b="1" baseline="30000">
                <a:solidFill>
                  <a:schemeClr val="bg1"/>
                </a:solidFill>
                <a:cs typeface="Arial" pitchFamily="34" charset="0"/>
              </a:endParaRPr>
            </a:p>
          </p:txBody>
        </p:sp>
        <p:pic>
          <p:nvPicPr>
            <p:cNvPr id="24583" name="Picture 4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8037" r="48174"/>
            <a:stretch>
              <a:fillRect/>
            </a:stretch>
          </p:blipFill>
          <p:spPr bwMode="auto">
            <a:xfrm>
              <a:off x="544" y="1052"/>
              <a:ext cx="2695" cy="29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4579" name="Rectangle 1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ea typeface="ＭＳ Ｐゴシック" pitchFamily="34" charset="-128"/>
                <a:cs typeface="Arial" pitchFamily="34" charset="0"/>
              </a:rPr>
              <a:t>TechnoServe’</a:t>
            </a:r>
            <a:r>
              <a:rPr lang="en-US" altLang="ja-JP" dirty="0" err="1" smtClean="0">
                <a:ea typeface="ＭＳ Ｐゴシック" pitchFamily="34" charset="-128"/>
                <a:cs typeface="Arial" pitchFamily="34" charset="0"/>
              </a:rPr>
              <a:t>s</a:t>
            </a:r>
            <a:r>
              <a:rPr lang="en-US" altLang="ja-JP" dirty="0" smtClean="0">
                <a:ea typeface="ＭＳ Ｐゴシック" pitchFamily="34" charset="-128"/>
                <a:cs typeface="Arial" pitchFamily="34" charset="0"/>
              </a:rPr>
              <a:t> Original Participant Selection </a:t>
            </a:r>
            <a:br>
              <a:rPr lang="en-US" altLang="ja-JP" dirty="0" smtClean="0">
                <a:ea typeface="ＭＳ Ｐゴシック" pitchFamily="34" charset="-128"/>
                <a:cs typeface="Arial" pitchFamily="34" charset="0"/>
              </a:rPr>
            </a:br>
            <a:r>
              <a:rPr lang="en-US" altLang="ja-JP" dirty="0" smtClean="0">
                <a:ea typeface="ＭＳ Ｐゴシック" pitchFamily="34" charset="-128"/>
                <a:cs typeface="Arial" pitchFamily="34" charset="0"/>
              </a:rPr>
              <a:t>Methodology was Not a Predictor of Success</a:t>
            </a:r>
            <a:endParaRPr lang="en-US" dirty="0" smtClean="0">
              <a:ea typeface="ＭＳ Ｐゴシック" pitchFamily="34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Box 10"/>
          <p:cNvSpPr txBox="1">
            <a:spLocks noChangeArrowheads="1"/>
          </p:cNvSpPr>
          <p:nvPr/>
        </p:nvSpPr>
        <p:spPr bwMode="auto">
          <a:xfrm>
            <a:off x="4911725" y="2774950"/>
            <a:ext cx="3560763" cy="523875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sz="1400" b="1">
                <a:solidFill>
                  <a:schemeClr val="bg1"/>
                </a:solidFill>
                <a:cs typeface="Arial" pitchFamily="34" charset="0"/>
              </a:rPr>
              <a:t>Sales Growth Breakout - New Businesses </a:t>
            </a:r>
          </a:p>
        </p:txBody>
      </p:sp>
      <p:sp>
        <p:nvSpPr>
          <p:cNvPr id="25603" name="Text Box 11"/>
          <p:cNvSpPr txBox="1">
            <a:spLocks noChangeArrowheads="1"/>
          </p:cNvSpPr>
          <p:nvPr/>
        </p:nvSpPr>
        <p:spPr bwMode="auto">
          <a:xfrm>
            <a:off x="942975" y="2774950"/>
            <a:ext cx="3560763" cy="523875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sz="1400" b="1">
                <a:solidFill>
                  <a:schemeClr val="bg1"/>
                </a:solidFill>
                <a:cs typeface="Arial" pitchFamily="34" charset="0"/>
              </a:rPr>
              <a:t>Sales Growth Breakout - Existing Business</a:t>
            </a:r>
            <a:endParaRPr lang="en-US" sz="1400" b="1" baseline="3000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5604" name="Rectangle 7"/>
          <p:cNvSpPr>
            <a:spLocks noChangeArrowheads="1"/>
          </p:cNvSpPr>
          <p:nvPr/>
        </p:nvSpPr>
        <p:spPr bwMode="auto">
          <a:xfrm>
            <a:off x="933450" y="2114550"/>
            <a:ext cx="78867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/>
          <a:lstStyle/>
          <a:p>
            <a:pPr marL="209550" indent="-209550" defTabSz="912813">
              <a:spcAft>
                <a:spcPts val="4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cs typeface="Arial" pitchFamily="34" charset="0"/>
              </a:rPr>
              <a:t>In both new businesses and existing businesses, the distribution of sales growth is very uneven</a:t>
            </a:r>
          </a:p>
          <a:p>
            <a:pPr marL="209550" indent="-209550" defTabSz="912813">
              <a:spcAft>
                <a:spcPts val="4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 b="1">
                <a:cs typeface="Arial" pitchFamily="34" charset="0"/>
              </a:rPr>
              <a:t>As in venture capital, our impact relies on a few very successful businesses</a:t>
            </a:r>
          </a:p>
        </p:txBody>
      </p:sp>
      <p:pic>
        <p:nvPicPr>
          <p:cNvPr id="25605" name="Picture 3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947" r="52635"/>
          <a:stretch>
            <a:fillRect/>
          </a:stretch>
        </p:blipFill>
        <p:spPr bwMode="auto">
          <a:xfrm>
            <a:off x="4557713" y="3257550"/>
            <a:ext cx="4108450" cy="2967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06" name="Text Box 35"/>
          <p:cNvSpPr txBox="1">
            <a:spLocks noChangeArrowheads="1"/>
          </p:cNvSpPr>
          <p:nvPr/>
        </p:nvSpPr>
        <p:spPr bwMode="auto">
          <a:xfrm>
            <a:off x="2052638" y="5969000"/>
            <a:ext cx="20574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000" i="1">
                <a:cs typeface="Arial" pitchFamily="34" charset="0"/>
              </a:rPr>
              <a:t>Range of 2-Year Sales Growth</a:t>
            </a:r>
          </a:p>
        </p:txBody>
      </p:sp>
      <p:sp>
        <p:nvSpPr>
          <p:cNvPr id="25607" name="Text Box 36"/>
          <p:cNvSpPr txBox="1">
            <a:spLocks noChangeArrowheads="1"/>
          </p:cNvSpPr>
          <p:nvPr/>
        </p:nvSpPr>
        <p:spPr bwMode="auto">
          <a:xfrm>
            <a:off x="6172200" y="5969000"/>
            <a:ext cx="205898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000" i="1">
                <a:cs typeface="Arial" pitchFamily="34" charset="0"/>
              </a:rPr>
              <a:t>Range of 2-Year Sales Growth</a:t>
            </a:r>
          </a:p>
        </p:txBody>
      </p:sp>
      <p:pic>
        <p:nvPicPr>
          <p:cNvPr id="25608" name="Picture 3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516" r="56149"/>
          <a:stretch>
            <a:fillRect/>
          </a:stretch>
        </p:blipFill>
        <p:spPr bwMode="auto">
          <a:xfrm>
            <a:off x="915988" y="3370263"/>
            <a:ext cx="3802062" cy="281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09" name="Rectangle 1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>
                <a:ea typeface="ＭＳ Ｐゴシック" pitchFamily="34" charset="-128"/>
                <a:cs typeface="Arial" pitchFamily="34" charset="0"/>
              </a:rPr>
              <a:t>Distribution of Impact </a:t>
            </a:r>
            <a:r>
              <a:rPr lang="en-US" smtClean="0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>was Found to be Extrem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ext Box 10"/>
          <p:cNvSpPr txBox="1">
            <a:spLocks noChangeArrowheads="1"/>
          </p:cNvSpPr>
          <p:nvPr/>
        </p:nvSpPr>
        <p:spPr bwMode="auto">
          <a:xfrm>
            <a:off x="5259388" y="2484438"/>
            <a:ext cx="3348037" cy="304800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sz="1400" b="1">
                <a:solidFill>
                  <a:schemeClr val="bg1"/>
                </a:solidFill>
                <a:cs typeface="Arial" pitchFamily="34" charset="0"/>
              </a:rPr>
              <a:t>2 Year Survival Rate </a:t>
            </a:r>
            <a:r>
              <a:rPr lang="en-US" sz="1400" b="1" baseline="30000">
                <a:solidFill>
                  <a:schemeClr val="bg1"/>
                </a:solidFill>
                <a:cs typeface="Arial" pitchFamily="34" charset="0"/>
              </a:rPr>
              <a:t>(2)</a:t>
            </a:r>
          </a:p>
        </p:txBody>
      </p:sp>
      <p:sp>
        <p:nvSpPr>
          <p:cNvPr id="26627" name="Text Box 11"/>
          <p:cNvSpPr txBox="1">
            <a:spLocks noChangeArrowheads="1"/>
          </p:cNvSpPr>
          <p:nvPr/>
        </p:nvSpPr>
        <p:spPr bwMode="auto">
          <a:xfrm>
            <a:off x="787400" y="2484438"/>
            <a:ext cx="4108450" cy="304800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sz="1400" b="1">
                <a:solidFill>
                  <a:schemeClr val="bg1"/>
                </a:solidFill>
                <a:cs typeface="Arial" pitchFamily="34" charset="0"/>
              </a:rPr>
              <a:t>Self-Described Success Rate </a:t>
            </a:r>
            <a:r>
              <a:rPr lang="en-US" sz="1400" b="1" baseline="30000">
                <a:solidFill>
                  <a:schemeClr val="bg1"/>
                </a:solidFill>
                <a:cs typeface="Arial" pitchFamily="34" charset="0"/>
              </a:rPr>
              <a:t>(1)</a:t>
            </a:r>
          </a:p>
        </p:txBody>
      </p:sp>
      <p:graphicFrame>
        <p:nvGraphicFramePr>
          <p:cNvPr id="17" name="Chart 16"/>
          <p:cNvGraphicFramePr/>
          <p:nvPr/>
        </p:nvGraphicFramePr>
        <p:xfrm>
          <a:off x="673781" y="2759688"/>
          <a:ext cx="3243749" cy="35385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" name="Right Brace 17"/>
          <p:cNvSpPr>
            <a:spLocks/>
          </p:cNvSpPr>
          <p:nvPr/>
        </p:nvSpPr>
        <p:spPr bwMode="auto">
          <a:xfrm>
            <a:off x="3644900" y="3463925"/>
            <a:ext cx="177800" cy="206375"/>
          </a:xfrm>
          <a:prstGeom prst="rightBrace">
            <a:avLst>
              <a:gd name="adj1" fmla="val 8383"/>
              <a:gd name="adj2" fmla="val 50000"/>
            </a:avLst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  <p:txBody>
          <a:bodyPr lIns="93296" tIns="46648" rIns="93296" bIns="46648" anchor="ctr"/>
          <a:lstStyle/>
          <a:p>
            <a:pPr algn="ctr" defTabSz="933450">
              <a:defRPr/>
            </a:pPr>
            <a:endParaRPr lang="en-US" sz="1600" b="1">
              <a:latin typeface="Trebuchet MS" charset="0"/>
              <a:ea typeface="MS PGothic" charset="0"/>
              <a:cs typeface="MS PGothic" charset="0"/>
            </a:endParaRPr>
          </a:p>
        </p:txBody>
      </p:sp>
      <p:sp>
        <p:nvSpPr>
          <p:cNvPr id="19" name="Right Brace 18"/>
          <p:cNvSpPr>
            <a:spLocks/>
          </p:cNvSpPr>
          <p:nvPr/>
        </p:nvSpPr>
        <p:spPr bwMode="auto">
          <a:xfrm>
            <a:off x="3617913" y="3754438"/>
            <a:ext cx="220662" cy="655637"/>
          </a:xfrm>
          <a:prstGeom prst="rightBrace">
            <a:avLst>
              <a:gd name="adj1" fmla="val 8253"/>
              <a:gd name="adj2" fmla="val 50000"/>
            </a:avLst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  <p:txBody>
          <a:bodyPr lIns="93296" tIns="46648" rIns="93296" bIns="46648" anchor="ctr"/>
          <a:lstStyle/>
          <a:p>
            <a:pPr algn="ctr" defTabSz="933450">
              <a:defRPr/>
            </a:pPr>
            <a:endParaRPr lang="en-US" sz="1600" b="1">
              <a:latin typeface="Trebuchet MS" charset="0"/>
              <a:ea typeface="MS PGothic" charset="0"/>
              <a:cs typeface="MS PGothic" charset="0"/>
            </a:endParaRPr>
          </a:p>
        </p:txBody>
      </p:sp>
      <p:sp>
        <p:nvSpPr>
          <p:cNvPr id="26631" name="TextBox 19"/>
          <p:cNvSpPr txBox="1">
            <a:spLocks noChangeArrowheads="1"/>
          </p:cNvSpPr>
          <p:nvPr/>
        </p:nvSpPr>
        <p:spPr bwMode="auto">
          <a:xfrm>
            <a:off x="3944938" y="3338513"/>
            <a:ext cx="130175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96" tIns="46648" rIns="93296" bIns="46648">
            <a:spAutoFit/>
          </a:bodyPr>
          <a:lstStyle>
            <a:lvl1pPr defTabSz="9334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334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334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334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334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1100" b="1">
                <a:cs typeface="Arial" pitchFamily="34" charset="0"/>
              </a:rPr>
              <a:t>Impact of </a:t>
            </a:r>
            <a:br>
              <a:rPr lang="en-US" sz="1100" b="1">
                <a:cs typeface="Arial" pitchFamily="34" charset="0"/>
              </a:rPr>
            </a:br>
            <a:r>
              <a:rPr lang="en-US" sz="1100" b="1">
                <a:cs typeface="Arial" pitchFamily="34" charset="0"/>
              </a:rPr>
              <a:t>other factors</a:t>
            </a:r>
          </a:p>
        </p:txBody>
      </p:sp>
      <p:sp>
        <p:nvSpPr>
          <p:cNvPr id="26632" name="TextBox 20"/>
          <p:cNvSpPr txBox="1">
            <a:spLocks noChangeArrowheads="1"/>
          </p:cNvSpPr>
          <p:nvPr/>
        </p:nvSpPr>
        <p:spPr bwMode="auto">
          <a:xfrm>
            <a:off x="3946525" y="3848100"/>
            <a:ext cx="130175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96" tIns="46648" rIns="93296" bIns="46648">
            <a:spAutoFit/>
          </a:bodyPr>
          <a:lstStyle>
            <a:lvl1pPr defTabSz="9334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334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334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334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334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1100" b="1">
                <a:cs typeface="Arial" pitchFamily="34" charset="0"/>
              </a:rPr>
              <a:t>Impact of </a:t>
            </a:r>
            <a:br>
              <a:rPr lang="en-US" sz="1100" b="1">
                <a:cs typeface="Arial" pitchFamily="34" charset="0"/>
              </a:rPr>
            </a:br>
            <a:r>
              <a:rPr lang="en-US" sz="1100" b="1">
                <a:cs typeface="Arial" pitchFamily="34" charset="0"/>
              </a:rPr>
              <a:t>BPC</a:t>
            </a:r>
          </a:p>
        </p:txBody>
      </p:sp>
      <p:graphicFrame>
        <p:nvGraphicFramePr>
          <p:cNvPr id="22" name="Chart 21"/>
          <p:cNvGraphicFramePr/>
          <p:nvPr/>
        </p:nvGraphicFramePr>
        <p:xfrm>
          <a:off x="5139808" y="2850703"/>
          <a:ext cx="2713002" cy="32604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6634" name="TextBox 24"/>
          <p:cNvSpPr txBox="1">
            <a:spLocks noChangeArrowheads="1"/>
          </p:cNvSpPr>
          <p:nvPr/>
        </p:nvSpPr>
        <p:spPr bwMode="auto">
          <a:xfrm>
            <a:off x="7718425" y="3659188"/>
            <a:ext cx="1300163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96" tIns="46648" rIns="93296" bIns="46648">
            <a:spAutoFit/>
          </a:bodyPr>
          <a:lstStyle>
            <a:lvl1pPr defTabSz="9334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334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334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334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334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1100" b="1">
                <a:cs typeface="Arial" pitchFamily="34" charset="0"/>
              </a:rPr>
              <a:t>Impact of </a:t>
            </a:r>
            <a:br>
              <a:rPr lang="en-US" sz="1100" b="1">
                <a:cs typeface="Arial" pitchFamily="34" charset="0"/>
              </a:rPr>
            </a:br>
            <a:r>
              <a:rPr lang="en-US" sz="1100" b="1">
                <a:cs typeface="Arial" pitchFamily="34" charset="0"/>
              </a:rPr>
              <a:t>BPC</a:t>
            </a:r>
          </a:p>
        </p:txBody>
      </p:sp>
      <p:sp>
        <p:nvSpPr>
          <p:cNvPr id="26635" name="TextBox 25"/>
          <p:cNvSpPr txBox="1">
            <a:spLocks noChangeArrowheads="1"/>
          </p:cNvSpPr>
          <p:nvPr/>
        </p:nvSpPr>
        <p:spPr bwMode="auto">
          <a:xfrm>
            <a:off x="7689850" y="5300663"/>
            <a:ext cx="130175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96" tIns="46648" rIns="93296" bIns="46648">
            <a:spAutoFit/>
          </a:bodyPr>
          <a:lstStyle>
            <a:lvl1pPr defTabSz="9334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334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334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334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334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1100" b="1">
                <a:cs typeface="Arial" pitchFamily="34" charset="0"/>
              </a:rPr>
              <a:t>Impact of </a:t>
            </a:r>
            <a:br>
              <a:rPr lang="en-US" sz="1100" b="1">
                <a:cs typeface="Arial" pitchFamily="34" charset="0"/>
              </a:rPr>
            </a:br>
            <a:r>
              <a:rPr lang="en-US" sz="1100" b="1">
                <a:cs typeface="Arial" pitchFamily="34" charset="0"/>
              </a:rPr>
              <a:t>other factors</a:t>
            </a:r>
          </a:p>
        </p:txBody>
      </p:sp>
      <p:sp>
        <p:nvSpPr>
          <p:cNvPr id="27" name="Right Brace 26"/>
          <p:cNvSpPr>
            <a:spLocks/>
          </p:cNvSpPr>
          <p:nvPr/>
        </p:nvSpPr>
        <p:spPr bwMode="auto">
          <a:xfrm>
            <a:off x="7523163" y="3549650"/>
            <a:ext cx="219075" cy="657225"/>
          </a:xfrm>
          <a:prstGeom prst="rightBrace">
            <a:avLst>
              <a:gd name="adj1" fmla="val 8333"/>
              <a:gd name="adj2" fmla="val 50000"/>
            </a:avLst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  <p:txBody>
          <a:bodyPr lIns="93296" tIns="46648" rIns="93296" bIns="46648" anchor="ctr"/>
          <a:lstStyle/>
          <a:p>
            <a:pPr algn="ctr" defTabSz="933450">
              <a:defRPr/>
            </a:pPr>
            <a:endParaRPr lang="en-US" sz="1600" b="1">
              <a:latin typeface="Trebuchet MS" charset="0"/>
              <a:ea typeface="MS PGothic" charset="0"/>
              <a:cs typeface="MS PGothic" charset="0"/>
            </a:endParaRPr>
          </a:p>
        </p:txBody>
      </p:sp>
      <p:sp>
        <p:nvSpPr>
          <p:cNvPr id="28" name="Right Brace 27"/>
          <p:cNvSpPr>
            <a:spLocks/>
          </p:cNvSpPr>
          <p:nvPr/>
        </p:nvSpPr>
        <p:spPr bwMode="auto">
          <a:xfrm>
            <a:off x="7546975" y="5273675"/>
            <a:ext cx="150813" cy="409575"/>
          </a:xfrm>
          <a:prstGeom prst="rightBrace">
            <a:avLst>
              <a:gd name="adj1" fmla="val 8474"/>
              <a:gd name="adj2" fmla="val 50000"/>
            </a:avLst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  <p:txBody>
          <a:bodyPr lIns="93296" tIns="46648" rIns="93296" bIns="46648" anchor="ctr"/>
          <a:lstStyle/>
          <a:p>
            <a:pPr algn="ctr" defTabSz="933450">
              <a:defRPr/>
            </a:pPr>
            <a:endParaRPr lang="en-US" sz="1600" b="1">
              <a:latin typeface="Trebuchet MS" charset="0"/>
              <a:ea typeface="MS PGothic" charset="0"/>
              <a:cs typeface="MS PGothic" charset="0"/>
            </a:endParaRPr>
          </a:p>
        </p:txBody>
      </p:sp>
      <p:sp>
        <p:nvSpPr>
          <p:cNvPr id="26638" name="TextBox 28"/>
          <p:cNvSpPr txBox="1">
            <a:spLocks noChangeArrowheads="1"/>
          </p:cNvSpPr>
          <p:nvPr/>
        </p:nvSpPr>
        <p:spPr bwMode="auto">
          <a:xfrm>
            <a:off x="134938" y="6402388"/>
            <a:ext cx="68135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96" tIns="46648" rIns="93296" bIns="46648">
            <a:spAutoFit/>
          </a:bodyPr>
          <a:lstStyle>
            <a:lvl1pPr marL="200025" indent="-200025" defTabSz="9334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334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334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334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334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FontTx/>
              <a:buAutoNum type="arabicParenBoth"/>
            </a:pPr>
            <a:r>
              <a:rPr lang="en-US" sz="1000">
                <a:cs typeface="Arial" pitchFamily="34" charset="0"/>
              </a:rPr>
              <a:t>Answer to the question </a:t>
            </a:r>
            <a:r>
              <a:rPr lang="ja-JP" altLang="en-US" sz="1000">
                <a:cs typeface="Arial" pitchFamily="34" charset="0"/>
              </a:rPr>
              <a:t>“</a:t>
            </a:r>
            <a:r>
              <a:rPr lang="en-US" altLang="ja-JP" sz="1000">
                <a:cs typeface="Arial" pitchFamily="34" charset="0"/>
              </a:rPr>
              <a:t>were you successful in founding or expanding your business?</a:t>
            </a:r>
          </a:p>
          <a:p>
            <a:pPr eaLnBrk="1" hangingPunct="1">
              <a:buFontTx/>
              <a:buAutoNum type="arabicParenBoth"/>
            </a:pPr>
            <a:r>
              <a:rPr lang="en-US" sz="1000">
                <a:cs typeface="Arial" pitchFamily="34" charset="0"/>
              </a:rPr>
              <a:t>Only includes new businesses. </a:t>
            </a:r>
          </a:p>
        </p:txBody>
      </p:sp>
      <p:sp>
        <p:nvSpPr>
          <p:cNvPr id="26639" name="Rectangle 2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>
                <a:ea typeface="ＭＳ Ｐゴシック" pitchFamily="34" charset="-128"/>
                <a:cs typeface="Arial" pitchFamily="34" charset="0"/>
              </a:rPr>
              <a:t>The BPCs also had a Strong Impact on Success </a:t>
            </a:r>
            <a:br>
              <a:rPr lang="en-US" smtClean="0">
                <a:ea typeface="ＭＳ Ｐゴシック" pitchFamily="34" charset="-128"/>
                <a:cs typeface="Arial" pitchFamily="34" charset="0"/>
              </a:rPr>
            </a:br>
            <a:r>
              <a:rPr lang="en-US" smtClean="0">
                <a:ea typeface="ＭＳ Ｐゴシック" pitchFamily="34" charset="-128"/>
                <a:cs typeface="Arial" pitchFamily="34" charset="0"/>
              </a:rPr>
              <a:t>and Survival Rat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1" name="think-cell Slide" r:id="rId20" imgW="0" imgH="0" progId="TCLayout.ActiveDocument.1">
                  <p:embed/>
                </p:oleObj>
              </mc:Choice>
              <mc:Fallback>
                <p:oleObj name="think-cell Slide" r:id="rId20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651" name="AutoShape 3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999288" y="2247900"/>
            <a:ext cx="1792287" cy="2681288"/>
          </a:xfrm>
          <a:prstGeom prst="roundRect">
            <a:avLst>
              <a:gd name="adj" fmla="val 14542"/>
            </a:avLst>
          </a:prstGeom>
          <a:solidFill>
            <a:srgbClr val="EAEAEA">
              <a:alpha val="50195"/>
            </a:srgbClr>
          </a:soli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defTabSz="933450"/>
            <a:endParaRPr lang="en-US" sz="1400" b="1">
              <a:latin typeface="Calibri" pitchFamily="34" charset="0"/>
            </a:endParaRPr>
          </a:p>
        </p:txBody>
      </p:sp>
      <p:sp>
        <p:nvSpPr>
          <p:cNvPr id="27652" name="AutoShape 2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949825" y="2247900"/>
            <a:ext cx="1792288" cy="2681288"/>
          </a:xfrm>
          <a:prstGeom prst="roundRect">
            <a:avLst>
              <a:gd name="adj" fmla="val 14542"/>
            </a:avLst>
          </a:prstGeom>
          <a:solidFill>
            <a:srgbClr val="EAEAEA">
              <a:alpha val="50195"/>
            </a:srgbClr>
          </a:soli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defTabSz="933450"/>
            <a:endParaRPr lang="en-US" sz="1400" b="1">
              <a:latin typeface="Calibri" pitchFamily="34" charset="0"/>
            </a:endParaRPr>
          </a:p>
        </p:txBody>
      </p:sp>
      <p:sp>
        <p:nvSpPr>
          <p:cNvPr id="27653" name="AutoShape 2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14650" y="2247900"/>
            <a:ext cx="1792288" cy="2681288"/>
          </a:xfrm>
          <a:prstGeom prst="roundRect">
            <a:avLst>
              <a:gd name="adj" fmla="val 14542"/>
            </a:avLst>
          </a:prstGeom>
          <a:solidFill>
            <a:srgbClr val="EAEAEA">
              <a:alpha val="50195"/>
            </a:srgbClr>
          </a:soli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defTabSz="933450"/>
            <a:endParaRPr lang="en-US" sz="1400" b="1">
              <a:latin typeface="Calibri" pitchFamily="34" charset="0"/>
            </a:endParaRPr>
          </a:p>
        </p:txBody>
      </p:sp>
      <p:sp>
        <p:nvSpPr>
          <p:cNvPr id="27654" name="AutoShape 2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52475" y="2247900"/>
            <a:ext cx="1792288" cy="2681288"/>
          </a:xfrm>
          <a:prstGeom prst="roundRect">
            <a:avLst>
              <a:gd name="adj" fmla="val 14542"/>
            </a:avLst>
          </a:prstGeom>
          <a:solidFill>
            <a:srgbClr val="EAEAEA">
              <a:alpha val="50195"/>
            </a:srgbClr>
          </a:soli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defTabSz="933450"/>
            <a:endParaRPr lang="en-US" sz="1400" b="1">
              <a:latin typeface="Calibri" pitchFamily="34" charset="0"/>
            </a:endParaRPr>
          </a:p>
        </p:txBody>
      </p:sp>
      <p:sp>
        <p:nvSpPr>
          <p:cNvPr id="199685" name="AutoShape 2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999288" y="2247900"/>
            <a:ext cx="1792287" cy="2681288"/>
          </a:xfrm>
          <a:prstGeom prst="roundRect">
            <a:avLst>
              <a:gd name="adj" fmla="val 14542"/>
            </a:avLst>
          </a:prstGeom>
          <a:solidFill>
            <a:srgbClr val="808080">
              <a:alpha val="50195"/>
            </a:srgbClr>
          </a:solidFill>
          <a:ln w="9525">
            <a:solidFill>
              <a:schemeClr val="accent2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defTabSz="933450"/>
            <a:endParaRPr lang="en-US" sz="1400" b="1">
              <a:latin typeface="Calibri" pitchFamily="34" charset="0"/>
            </a:endParaRPr>
          </a:p>
        </p:txBody>
      </p:sp>
      <p:sp>
        <p:nvSpPr>
          <p:cNvPr id="27656" name="4 Marcador de número de diapositiva"/>
          <p:cNvSpPr txBox="1"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153400" y="6648450"/>
            <a:ext cx="885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BE04DD1D-BFB4-44B9-96EA-D7191F7000C0}" type="slidenum">
              <a:rPr lang="en-US" sz="900">
                <a:solidFill>
                  <a:srgbClr val="7F329A"/>
                </a:solidFill>
                <a:cs typeface="Arial" pitchFamily="34" charset="0"/>
              </a:rPr>
              <a:pPr algn="r" eaLnBrk="1" hangingPunct="1"/>
              <a:t>23</a:t>
            </a:fld>
            <a:endParaRPr lang="en-US" sz="900">
              <a:solidFill>
                <a:srgbClr val="7F329A"/>
              </a:solidFill>
              <a:cs typeface="Arial" pitchFamily="34" charset="0"/>
            </a:endParaRPr>
          </a:p>
        </p:txBody>
      </p:sp>
      <p:sp>
        <p:nvSpPr>
          <p:cNvPr id="27657" name="Rectangle 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38200" y="2687638"/>
            <a:ext cx="15954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sz="1400" b="1">
                <a:solidFill>
                  <a:schemeClr val="tx2"/>
                </a:solidFill>
                <a:cs typeface="Arial" pitchFamily="34" charset="0"/>
              </a:rPr>
              <a:t>Who</a:t>
            </a:r>
            <a:r>
              <a:rPr lang="en-US" altLang="ja-JP" sz="1400" b="1">
                <a:solidFill>
                  <a:schemeClr val="tx2"/>
                </a:solidFill>
                <a:cs typeface="Arial" pitchFamily="34" charset="0"/>
              </a:rPr>
              <a:t> we are</a:t>
            </a:r>
            <a:endParaRPr lang="en-US" sz="1400" b="1">
              <a:solidFill>
                <a:schemeClr val="tx2"/>
              </a:solidFill>
              <a:cs typeface="Arial" pitchFamily="34" charset="0"/>
            </a:endParaRPr>
          </a:p>
        </p:txBody>
      </p:sp>
      <p:sp>
        <p:nvSpPr>
          <p:cNvPr id="27658" name="Rectangle 2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079750" y="2687638"/>
            <a:ext cx="1446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sz="1400" b="1">
                <a:solidFill>
                  <a:schemeClr val="tx2"/>
                </a:solidFill>
                <a:cs typeface="Arial" pitchFamily="34" charset="0"/>
              </a:rPr>
              <a:t>Background</a:t>
            </a:r>
          </a:p>
        </p:txBody>
      </p:sp>
      <p:sp>
        <p:nvSpPr>
          <p:cNvPr id="27659" name="Rectangle 2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044825" y="3275013"/>
            <a:ext cx="1514475" cy="793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33350" indent="-133350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cs typeface="Arial" pitchFamily="34" charset="0"/>
              </a:rPr>
              <a:t>The role of entrepreneurship in poverty reduction</a:t>
            </a:r>
          </a:p>
        </p:txBody>
      </p:sp>
      <p:sp>
        <p:nvSpPr>
          <p:cNvPr id="27660" name="Rectangle 2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113338" y="2368550"/>
            <a:ext cx="1446212" cy="850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sz="1400" b="1">
                <a:solidFill>
                  <a:schemeClr val="tx2"/>
                </a:solidFill>
                <a:cs typeface="Arial" pitchFamily="34" charset="0"/>
              </a:rPr>
              <a:t>The problem at hand and Evaluation of Methodology</a:t>
            </a:r>
          </a:p>
        </p:txBody>
      </p:sp>
      <p:sp>
        <p:nvSpPr>
          <p:cNvPr id="27661" name="Rectangle 2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5113338" y="3275013"/>
            <a:ext cx="1446212" cy="146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33350" indent="-133350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cs typeface="Arial" pitchFamily="34" charset="0"/>
              </a:rPr>
              <a:t>Strategic planning</a:t>
            </a:r>
          </a:p>
          <a:p>
            <a:pPr marL="133350" indent="-133350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cs typeface="Arial" pitchFamily="34" charset="0"/>
              </a:rPr>
              <a:t>Access to capital</a:t>
            </a:r>
          </a:p>
          <a:p>
            <a:pPr marL="133350" indent="-133350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cs typeface="Arial" pitchFamily="34" charset="0"/>
              </a:rPr>
              <a:t>Other problems</a:t>
            </a:r>
          </a:p>
          <a:p>
            <a:pPr marL="133350" indent="-133350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cs typeface="Arial" pitchFamily="34" charset="0"/>
              </a:rPr>
              <a:t>Overview of BPC impact study and results</a:t>
            </a:r>
          </a:p>
        </p:txBody>
      </p:sp>
      <p:sp>
        <p:nvSpPr>
          <p:cNvPr id="27662" name="Rectangle 2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7143750" y="2687638"/>
            <a:ext cx="14478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sz="1400" b="1">
                <a:solidFill>
                  <a:schemeClr val="tx2"/>
                </a:solidFill>
                <a:cs typeface="Arial" pitchFamily="34" charset="0"/>
              </a:rPr>
              <a:t>Next Steps</a:t>
            </a:r>
          </a:p>
        </p:txBody>
      </p:sp>
      <p:sp>
        <p:nvSpPr>
          <p:cNvPr id="27663" name="Rectangle 2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164388" y="3275013"/>
            <a:ext cx="1444625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33350" indent="-133350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cs typeface="Arial" pitchFamily="34" charset="0"/>
              </a:rPr>
              <a:t>Results</a:t>
            </a:r>
          </a:p>
          <a:p>
            <a:pPr marL="133350" indent="-133350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cs typeface="Arial" pitchFamily="34" charset="0"/>
              </a:rPr>
              <a:t>Lessons learned</a:t>
            </a:r>
          </a:p>
          <a:p>
            <a:pPr marL="133350" indent="-133350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cs typeface="Arial" pitchFamily="34" charset="0"/>
              </a:rPr>
              <a:t>Beyond BPC</a:t>
            </a:r>
            <a:r>
              <a:rPr lang="ja-JP" altLang="en-US" sz="1300"/>
              <a:t>’</a:t>
            </a:r>
            <a:r>
              <a:rPr lang="en-US" altLang="ja-JP" sz="1300">
                <a:cs typeface="Arial" pitchFamily="34" charset="0"/>
              </a:rPr>
              <a:t>s</a:t>
            </a:r>
            <a:endParaRPr lang="en-US" sz="1300">
              <a:cs typeface="Arial" pitchFamily="34" charset="0"/>
            </a:endParaRPr>
          </a:p>
        </p:txBody>
      </p:sp>
      <p:sp>
        <p:nvSpPr>
          <p:cNvPr id="27664" name="AutoShape 39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52475" y="5195888"/>
            <a:ext cx="8058150" cy="534987"/>
          </a:xfrm>
          <a:prstGeom prst="roundRect">
            <a:avLst>
              <a:gd name="adj" fmla="val 32120"/>
            </a:avLst>
          </a:prstGeom>
          <a:solidFill>
            <a:srgbClr val="EAEAEA">
              <a:alpha val="50195"/>
            </a:srgbClr>
          </a:soli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algn="ctr" defTabSz="933450"/>
            <a:r>
              <a:rPr lang="en-US" sz="1600" b="1">
                <a:cs typeface="Arial" pitchFamily="34" charset="0"/>
              </a:rPr>
              <a:t>Q and A</a:t>
            </a:r>
          </a:p>
        </p:txBody>
      </p:sp>
      <p:pic>
        <p:nvPicPr>
          <p:cNvPr id="27665" name="Picture 21" descr="TNS_Eng_vertical_logo_RGB_large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67" t="12163" r="6067" b="12163"/>
          <a:stretch>
            <a:fillRect/>
          </a:stretch>
        </p:blipFill>
        <p:spPr bwMode="auto">
          <a:xfrm>
            <a:off x="927100" y="3429000"/>
            <a:ext cx="1417638" cy="757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666" name="Rectangle 1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>
                <a:ea typeface="ＭＳ Ｐゴシック" pitchFamily="34" charset="-128"/>
                <a:cs typeface="Arial" pitchFamily="34" charset="0"/>
              </a:rPr>
              <a:t>Agenda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6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996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996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996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9685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49300" y="2600325"/>
            <a:ext cx="2154238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defTabSz="912813">
              <a:buSzPct val="120000"/>
            </a:pPr>
            <a:r>
              <a:rPr lang="en-US" sz="1300" b="1">
                <a:solidFill>
                  <a:schemeClr val="accent2"/>
                </a:solidFill>
                <a:cs typeface="Arial" pitchFamily="34" charset="0"/>
              </a:rPr>
              <a:t>Take away from C.A. Study</a:t>
            </a:r>
          </a:p>
        </p:txBody>
      </p:sp>
      <p:sp>
        <p:nvSpPr>
          <p:cNvPr id="28675" name="Line 5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749300" y="2871788"/>
            <a:ext cx="2192338" cy="1587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676" name="Rectangle 6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49300" y="3149600"/>
            <a:ext cx="218757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47638" lvl="1" indent="-146050" defTabSz="912813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solidFill>
                  <a:srgbClr val="000000"/>
                </a:solidFill>
                <a:cs typeface="Arial" pitchFamily="34" charset="0"/>
              </a:rPr>
              <a:t>Primary selection non-predictive</a:t>
            </a:r>
          </a:p>
        </p:txBody>
      </p:sp>
      <p:sp>
        <p:nvSpPr>
          <p:cNvPr id="28677" name="Rectangle 60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49300" y="4000500"/>
            <a:ext cx="2187575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47638" lvl="1" indent="-146050" defTabSz="912813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solidFill>
                  <a:srgbClr val="000000"/>
                </a:solidFill>
                <a:cs typeface="Arial" pitchFamily="34" charset="0"/>
              </a:rPr>
              <a:t>Winner selection too simple</a:t>
            </a:r>
          </a:p>
        </p:txBody>
      </p:sp>
      <p:sp>
        <p:nvSpPr>
          <p:cNvPr id="28678" name="Rectangle 6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49300" y="4894263"/>
            <a:ext cx="218757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47638" lvl="1" indent="-146050" defTabSz="912813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solidFill>
                  <a:srgbClr val="000000"/>
                </a:solidFill>
                <a:cs typeface="Arial" pitchFamily="34" charset="0"/>
              </a:rPr>
              <a:t>Training follow-up lacking</a:t>
            </a:r>
          </a:p>
        </p:txBody>
      </p:sp>
      <p:sp>
        <p:nvSpPr>
          <p:cNvPr id="28679" name="Rectangle 60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49300" y="5619750"/>
            <a:ext cx="2187575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47638" lvl="1" indent="-146050" defTabSz="912813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solidFill>
                  <a:srgbClr val="000000"/>
                </a:solidFill>
                <a:cs typeface="Arial" pitchFamily="34" charset="0"/>
              </a:rPr>
              <a:t>Additional marketing and financing training required</a:t>
            </a:r>
          </a:p>
        </p:txBody>
      </p:sp>
      <p:sp>
        <p:nvSpPr>
          <p:cNvPr id="28680" name="Rectangle 5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smtClean="0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>Following the evaluation insights, we modified our approach</a:t>
            </a:r>
          </a:p>
        </p:txBody>
      </p:sp>
      <p:sp>
        <p:nvSpPr>
          <p:cNvPr id="28681" name="Rectangle 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143250" y="2600325"/>
            <a:ext cx="2503488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defTabSz="912813">
              <a:buSzPct val="120000"/>
            </a:pPr>
            <a:r>
              <a:rPr lang="en-US" sz="1300" b="1">
                <a:solidFill>
                  <a:schemeClr val="accent2"/>
                </a:solidFill>
                <a:cs typeface="Arial" pitchFamily="34" charset="0"/>
              </a:rPr>
              <a:t>Improvement from 2008 and on</a:t>
            </a:r>
          </a:p>
        </p:txBody>
      </p:sp>
      <p:sp>
        <p:nvSpPr>
          <p:cNvPr id="28682" name="Line 5"/>
          <p:cNvSpPr>
            <a:spLocks noChangeShapeType="1"/>
          </p:cNvSpPr>
          <p:nvPr>
            <p:custDataLst>
              <p:tags r:id="rId8"/>
            </p:custDataLst>
          </p:nvPr>
        </p:nvSpPr>
        <p:spPr bwMode="auto">
          <a:xfrm>
            <a:off x="3143250" y="2871788"/>
            <a:ext cx="2549525" cy="1587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683" name="Rectangle 60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143250" y="3149600"/>
            <a:ext cx="2544763" cy="59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47638" lvl="1" indent="-146050" defTabSz="912813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solidFill>
                  <a:srgbClr val="000000"/>
                </a:solidFill>
                <a:cs typeface="Arial" pitchFamily="34" charset="0"/>
              </a:rPr>
              <a:t>Incorporated psychometric testing in collaboration with Harvard University</a:t>
            </a:r>
          </a:p>
        </p:txBody>
      </p:sp>
      <p:grpSp>
        <p:nvGrpSpPr>
          <p:cNvPr id="28684" name="Group 30"/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auto">
          <a:xfrm>
            <a:off x="6154738" y="3125788"/>
            <a:ext cx="285750" cy="288925"/>
            <a:chOff x="1943" y="1746"/>
            <a:chExt cx="223" cy="225"/>
          </a:xfrm>
        </p:grpSpPr>
        <p:sp>
          <p:nvSpPr>
            <p:cNvPr id="28717" name="Oval 439"/>
            <p:cNvSpPr>
              <a:spLocks noChangeAspect="1" noChangeArrowheads="1"/>
            </p:cNvSpPr>
            <p:nvPr>
              <p:custDataLst>
                <p:tags r:id="rId42"/>
              </p:custDataLst>
            </p:nvPr>
          </p:nvSpPr>
          <p:spPr bwMode="blackWhite">
            <a:xfrm>
              <a:off x="1943" y="1746"/>
              <a:ext cx="222" cy="222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2960"/>
              </a:solidFill>
              <a:round/>
              <a:headEnd/>
              <a:tailEnd/>
            </a:ln>
          </p:spPr>
          <p:txBody>
            <a:bodyPr wrap="none" lIns="93296" tIns="46648" rIns="93296" bIns="46648" anchor="ctr"/>
            <a:lstStyle/>
            <a:p>
              <a:pPr defTabSz="933450"/>
              <a:endParaRPr lang="en-US" sz="1300" b="1"/>
            </a:p>
          </p:txBody>
        </p:sp>
        <p:sp>
          <p:nvSpPr>
            <p:cNvPr id="28718" name="Arc 440"/>
            <p:cNvSpPr>
              <a:spLocks noChangeAspect="1"/>
            </p:cNvSpPr>
            <p:nvPr>
              <p:custDataLst>
                <p:tags r:id="rId43"/>
              </p:custDataLst>
            </p:nvPr>
          </p:nvSpPr>
          <p:spPr bwMode="black">
            <a:xfrm>
              <a:off x="1944" y="1747"/>
              <a:ext cx="222" cy="224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rgbClr val="002960"/>
            </a:solidFill>
            <a:ln w="12700">
              <a:solidFill>
                <a:srgbClr val="00296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28685" name="Group 55"/>
          <p:cNvGrpSpPr>
            <a:grpSpLocks noChangeAspect="1"/>
          </p:cNvGrpSpPr>
          <p:nvPr>
            <p:custDataLst>
              <p:tags r:id="rId11"/>
            </p:custDataLst>
          </p:nvPr>
        </p:nvGrpSpPr>
        <p:grpSpPr bwMode="auto">
          <a:xfrm>
            <a:off x="6154738" y="3976688"/>
            <a:ext cx="285750" cy="288925"/>
            <a:chOff x="1943" y="1746"/>
            <a:chExt cx="223" cy="225"/>
          </a:xfrm>
        </p:grpSpPr>
        <p:sp>
          <p:nvSpPr>
            <p:cNvPr id="28715" name="Oval 439"/>
            <p:cNvSpPr>
              <a:spLocks noChangeAspect="1" noChangeArrowheads="1"/>
            </p:cNvSpPr>
            <p:nvPr>
              <p:custDataLst>
                <p:tags r:id="rId40"/>
              </p:custDataLst>
            </p:nvPr>
          </p:nvSpPr>
          <p:spPr bwMode="blackWhite">
            <a:xfrm>
              <a:off x="1943" y="1746"/>
              <a:ext cx="222" cy="222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2960"/>
              </a:solidFill>
              <a:round/>
              <a:headEnd/>
              <a:tailEnd/>
            </a:ln>
          </p:spPr>
          <p:txBody>
            <a:bodyPr wrap="none" lIns="93296" tIns="46648" rIns="93296" bIns="46648" anchor="ctr"/>
            <a:lstStyle/>
            <a:p>
              <a:pPr defTabSz="933450"/>
              <a:endParaRPr lang="en-US" sz="1300" b="1"/>
            </a:p>
          </p:txBody>
        </p:sp>
        <p:sp>
          <p:nvSpPr>
            <p:cNvPr id="28716" name="Arc 440"/>
            <p:cNvSpPr>
              <a:spLocks noChangeAspect="1"/>
            </p:cNvSpPr>
            <p:nvPr>
              <p:custDataLst>
                <p:tags r:id="rId41"/>
              </p:custDataLst>
            </p:nvPr>
          </p:nvSpPr>
          <p:spPr bwMode="black">
            <a:xfrm>
              <a:off x="1944" y="1747"/>
              <a:ext cx="222" cy="224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rgbClr val="002960"/>
            </a:solidFill>
            <a:ln w="12700">
              <a:solidFill>
                <a:srgbClr val="00296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28686" name="Group 66"/>
          <p:cNvGrpSpPr>
            <a:grpSpLocks noChangeAspect="1"/>
          </p:cNvGrpSpPr>
          <p:nvPr>
            <p:custDataLst>
              <p:tags r:id="rId12"/>
            </p:custDataLst>
          </p:nvPr>
        </p:nvGrpSpPr>
        <p:grpSpPr bwMode="auto">
          <a:xfrm>
            <a:off x="6154738" y="4856163"/>
            <a:ext cx="284162" cy="288925"/>
            <a:chOff x="1943" y="1746"/>
            <a:chExt cx="223" cy="225"/>
          </a:xfrm>
        </p:grpSpPr>
        <p:sp>
          <p:nvSpPr>
            <p:cNvPr id="28713" name="Oval 439"/>
            <p:cNvSpPr>
              <a:spLocks noChangeAspect="1" noChangeArrowheads="1"/>
            </p:cNvSpPr>
            <p:nvPr>
              <p:custDataLst>
                <p:tags r:id="rId38"/>
              </p:custDataLst>
            </p:nvPr>
          </p:nvSpPr>
          <p:spPr bwMode="blackWhite">
            <a:xfrm>
              <a:off x="1943" y="1746"/>
              <a:ext cx="222" cy="222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2960"/>
              </a:solidFill>
              <a:round/>
              <a:headEnd/>
              <a:tailEnd/>
            </a:ln>
          </p:spPr>
          <p:txBody>
            <a:bodyPr wrap="none" lIns="93296" tIns="46648" rIns="93296" bIns="46648" anchor="ctr"/>
            <a:lstStyle/>
            <a:p>
              <a:pPr defTabSz="933450"/>
              <a:endParaRPr lang="en-US" sz="1300" b="1"/>
            </a:p>
          </p:txBody>
        </p:sp>
        <p:sp>
          <p:nvSpPr>
            <p:cNvPr id="28714" name="Arc 440"/>
            <p:cNvSpPr>
              <a:spLocks noChangeAspect="1"/>
            </p:cNvSpPr>
            <p:nvPr>
              <p:custDataLst>
                <p:tags r:id="rId39"/>
              </p:custDataLst>
            </p:nvPr>
          </p:nvSpPr>
          <p:spPr bwMode="black">
            <a:xfrm>
              <a:off x="1944" y="1747"/>
              <a:ext cx="222" cy="224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rgbClr val="002960"/>
            </a:solidFill>
            <a:ln w="12700">
              <a:solidFill>
                <a:srgbClr val="00296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28687" name="Group 79"/>
          <p:cNvGrpSpPr>
            <a:grpSpLocks noChangeAspect="1"/>
          </p:cNvGrpSpPr>
          <p:nvPr>
            <p:custDataLst>
              <p:tags r:id="rId13"/>
            </p:custDataLst>
          </p:nvPr>
        </p:nvGrpSpPr>
        <p:grpSpPr bwMode="auto">
          <a:xfrm>
            <a:off x="6154738" y="5599113"/>
            <a:ext cx="285750" cy="288925"/>
            <a:chOff x="2566" y="2458"/>
            <a:chExt cx="227" cy="229"/>
          </a:xfrm>
        </p:grpSpPr>
        <p:sp>
          <p:nvSpPr>
            <p:cNvPr id="28711" name="Oval 439"/>
            <p:cNvSpPr>
              <a:spLocks noChangeAspect="1" noChangeArrowheads="1"/>
            </p:cNvSpPr>
            <p:nvPr>
              <p:custDataLst>
                <p:tags r:id="rId36"/>
              </p:custDataLst>
            </p:nvPr>
          </p:nvSpPr>
          <p:spPr bwMode="blackWhite">
            <a:xfrm>
              <a:off x="2566" y="2458"/>
              <a:ext cx="226" cy="226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2960"/>
              </a:solidFill>
              <a:round/>
              <a:headEnd/>
              <a:tailEnd/>
            </a:ln>
          </p:spPr>
          <p:txBody>
            <a:bodyPr wrap="none" lIns="93296" tIns="46648" rIns="93296" bIns="46648" anchor="ctr"/>
            <a:lstStyle/>
            <a:p>
              <a:pPr defTabSz="933450"/>
              <a:endParaRPr lang="en-US" sz="1300" b="1"/>
            </a:p>
          </p:txBody>
        </p:sp>
        <p:sp>
          <p:nvSpPr>
            <p:cNvPr id="28712" name="Arc 440"/>
            <p:cNvSpPr>
              <a:spLocks noChangeAspect="1" noChangeArrowheads="1"/>
            </p:cNvSpPr>
            <p:nvPr>
              <p:custDataLst>
                <p:tags r:id="rId37"/>
              </p:custDataLst>
            </p:nvPr>
          </p:nvSpPr>
          <p:spPr bwMode="black">
            <a:xfrm>
              <a:off x="2566" y="2458"/>
              <a:ext cx="227" cy="229"/>
            </a:xfrm>
            <a:prstGeom prst="ellipse">
              <a:avLst/>
            </a:prstGeom>
            <a:solidFill>
              <a:srgbClr val="002960"/>
            </a:solidFill>
            <a:ln w="12700">
              <a:solidFill>
                <a:srgbClr val="002960"/>
              </a:solidFill>
              <a:round/>
              <a:headEnd/>
              <a:tailEnd/>
            </a:ln>
          </p:spPr>
          <p:txBody>
            <a:bodyPr wrap="none" lIns="93296" tIns="46648" rIns="93296" bIns="46648" anchor="ctr"/>
            <a:lstStyle/>
            <a:p>
              <a:pPr defTabSz="933450"/>
              <a:endParaRPr lang="en-US" sz="1300" b="1"/>
            </a:p>
          </p:txBody>
        </p:sp>
      </p:grpSp>
      <p:sp>
        <p:nvSpPr>
          <p:cNvPr id="28688" name="Rectangle 60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143250" y="4000500"/>
            <a:ext cx="2544763" cy="59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47638" lvl="1" indent="-146050" defTabSz="912813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solidFill>
                  <a:srgbClr val="000000"/>
                </a:solidFill>
                <a:cs typeface="Arial" pitchFamily="34" charset="0"/>
              </a:rPr>
              <a:t>Introduced psychological interviews and panel presentations</a:t>
            </a:r>
          </a:p>
        </p:txBody>
      </p:sp>
      <p:sp>
        <p:nvSpPr>
          <p:cNvPr id="28689" name="Rectangle 60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143250" y="4894263"/>
            <a:ext cx="2544763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47638" lvl="1" indent="-146050" defTabSz="912813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solidFill>
                  <a:srgbClr val="000000"/>
                </a:solidFill>
                <a:cs typeface="Arial" pitchFamily="34" charset="0"/>
              </a:rPr>
              <a:t>Introduced 1 year </a:t>
            </a:r>
            <a:r>
              <a:rPr lang="ja-JP" altLang="en-US" sz="1300">
                <a:solidFill>
                  <a:srgbClr val="000000"/>
                </a:solidFill>
                <a:cs typeface="Arial" pitchFamily="34" charset="0"/>
              </a:rPr>
              <a:t>‘</a:t>
            </a:r>
            <a:r>
              <a:rPr lang="en-US" altLang="ja-JP" sz="1300">
                <a:solidFill>
                  <a:srgbClr val="000000"/>
                </a:solidFill>
                <a:cs typeface="Arial" pitchFamily="34" charset="0"/>
              </a:rPr>
              <a:t>aftercare</a:t>
            </a:r>
            <a:r>
              <a:rPr lang="ja-JP" altLang="en-US" sz="1300">
                <a:solidFill>
                  <a:srgbClr val="000000"/>
                </a:solidFill>
                <a:cs typeface="Arial" pitchFamily="34" charset="0"/>
              </a:rPr>
              <a:t>’</a:t>
            </a:r>
            <a:endParaRPr lang="en-US" sz="13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8690" name="Rectangle 60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143250" y="5619750"/>
            <a:ext cx="2544763" cy="793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47638" lvl="1" indent="-146050" defTabSz="912813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solidFill>
                  <a:srgbClr val="000000"/>
                </a:solidFill>
                <a:cs typeface="Arial" pitchFamily="34" charset="0"/>
              </a:rPr>
              <a:t>Developed pilot to focus on training for extra 6-12 months in market linkages and access to capital</a:t>
            </a:r>
          </a:p>
        </p:txBody>
      </p:sp>
      <p:sp>
        <p:nvSpPr>
          <p:cNvPr id="28691" name="Rectangle 4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916738" y="2600325"/>
            <a:ext cx="1827212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defTabSz="912813">
              <a:buSzPct val="120000"/>
            </a:pPr>
            <a:r>
              <a:rPr lang="en-US" sz="1300" b="1">
                <a:solidFill>
                  <a:schemeClr val="accent2"/>
                </a:solidFill>
                <a:cs typeface="Arial" pitchFamily="34" charset="0"/>
              </a:rPr>
              <a:t>Comment</a:t>
            </a:r>
          </a:p>
        </p:txBody>
      </p:sp>
      <p:sp>
        <p:nvSpPr>
          <p:cNvPr id="28692" name="Line 5"/>
          <p:cNvSpPr>
            <a:spLocks noChangeShapeType="1"/>
          </p:cNvSpPr>
          <p:nvPr>
            <p:custDataLst>
              <p:tags r:id="rId18"/>
            </p:custDataLst>
          </p:nvPr>
        </p:nvSpPr>
        <p:spPr bwMode="auto">
          <a:xfrm>
            <a:off x="6916738" y="2871788"/>
            <a:ext cx="1860550" cy="1587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693" name="Rectangle 60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916738" y="3149600"/>
            <a:ext cx="1855787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47638" lvl="1" indent="-146050" defTabSz="912813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solidFill>
                  <a:srgbClr val="000000"/>
                </a:solidFill>
                <a:cs typeface="Arial" pitchFamily="34" charset="0"/>
              </a:rPr>
              <a:t>Increased commitment from participants</a:t>
            </a:r>
          </a:p>
        </p:txBody>
      </p:sp>
      <p:sp>
        <p:nvSpPr>
          <p:cNvPr id="28694" name="Rectangle 60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6916738" y="4000500"/>
            <a:ext cx="1855787" cy="59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47638" lvl="1" indent="-146050" defTabSz="912813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solidFill>
                  <a:srgbClr val="000000"/>
                </a:solidFill>
                <a:cs typeface="Arial" pitchFamily="34" charset="0"/>
              </a:rPr>
              <a:t>Allowed assertive segmentation of the groups</a:t>
            </a:r>
          </a:p>
        </p:txBody>
      </p:sp>
      <p:sp>
        <p:nvSpPr>
          <p:cNvPr id="28695" name="Rectangle 60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6916738" y="4894263"/>
            <a:ext cx="1855787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47638" lvl="1" indent="-146050" defTabSz="912813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solidFill>
                  <a:srgbClr val="000000"/>
                </a:solidFill>
                <a:cs typeface="Arial" pitchFamily="34" charset="0"/>
              </a:rPr>
              <a:t>Provided means to continuously follow-up</a:t>
            </a:r>
          </a:p>
        </p:txBody>
      </p:sp>
      <p:sp>
        <p:nvSpPr>
          <p:cNvPr id="28696" name="Rectangle 60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6916738" y="5619750"/>
            <a:ext cx="1855787" cy="59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47638" lvl="1" indent="-146050" defTabSz="912813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solidFill>
                  <a:srgbClr val="000000"/>
                </a:solidFill>
                <a:cs typeface="Arial" pitchFamily="34" charset="0"/>
              </a:rPr>
              <a:t>Created practical approach and short term results</a:t>
            </a:r>
          </a:p>
        </p:txBody>
      </p:sp>
      <p:sp>
        <p:nvSpPr>
          <p:cNvPr id="28697" name="Rectangle 4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5889625" y="2401888"/>
            <a:ext cx="814388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algn="ctr" defTabSz="912813">
              <a:buSzPct val="120000"/>
            </a:pPr>
            <a:r>
              <a:rPr lang="en-US" sz="1300" b="1">
                <a:solidFill>
                  <a:schemeClr val="accent2"/>
                </a:solidFill>
                <a:cs typeface="Arial" pitchFamily="34" charset="0"/>
              </a:rPr>
              <a:t>Impact observed</a:t>
            </a:r>
          </a:p>
        </p:txBody>
      </p:sp>
      <p:sp>
        <p:nvSpPr>
          <p:cNvPr id="28698" name="Line 5"/>
          <p:cNvSpPr>
            <a:spLocks noChangeShapeType="1"/>
          </p:cNvSpPr>
          <p:nvPr>
            <p:custDataLst>
              <p:tags r:id="rId24"/>
            </p:custDataLst>
          </p:nvPr>
        </p:nvSpPr>
        <p:spPr bwMode="auto">
          <a:xfrm>
            <a:off x="5883275" y="2871788"/>
            <a:ext cx="828675" cy="1587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28699" name="Group 84"/>
          <p:cNvGrpSpPr>
            <a:grpSpLocks/>
          </p:cNvGrpSpPr>
          <p:nvPr/>
        </p:nvGrpSpPr>
        <p:grpSpPr bwMode="auto">
          <a:xfrm>
            <a:off x="8056563" y="693738"/>
            <a:ext cx="974725" cy="344487"/>
            <a:chOff x="5075" y="437"/>
            <a:chExt cx="614" cy="217"/>
          </a:xfrm>
        </p:grpSpPr>
        <p:sp>
          <p:nvSpPr>
            <p:cNvPr id="28700" name="Freeform 85"/>
            <p:cNvSpPr>
              <a:spLocks/>
            </p:cNvSpPr>
            <p:nvPr>
              <p:custDataLst>
                <p:tags r:id="rId25"/>
              </p:custDataLst>
            </p:nvPr>
          </p:nvSpPr>
          <p:spPr bwMode="blackWhite">
            <a:xfrm>
              <a:off x="5342" y="437"/>
              <a:ext cx="98" cy="78"/>
            </a:xfrm>
            <a:custGeom>
              <a:avLst/>
              <a:gdLst>
                <a:gd name="T0" fmla="*/ 0 w 854"/>
                <a:gd name="T1" fmla="*/ 0 h 675"/>
                <a:gd name="T2" fmla="*/ 0 w 854"/>
                <a:gd name="T3" fmla="*/ 0 h 675"/>
                <a:gd name="T4" fmla="*/ 0 w 854"/>
                <a:gd name="T5" fmla="*/ 0 h 675"/>
                <a:gd name="T6" fmla="*/ 0 w 854"/>
                <a:gd name="T7" fmla="*/ 0 h 675"/>
                <a:gd name="T8" fmla="*/ 0 w 854"/>
                <a:gd name="T9" fmla="*/ 0 h 675"/>
                <a:gd name="T10" fmla="*/ 0 w 854"/>
                <a:gd name="T11" fmla="*/ 0 h 675"/>
                <a:gd name="T12" fmla="*/ 0 w 854"/>
                <a:gd name="T13" fmla="*/ 0 h 675"/>
                <a:gd name="T14" fmla="*/ 0 w 854"/>
                <a:gd name="T15" fmla="*/ 0 h 675"/>
                <a:gd name="T16" fmla="*/ 0 w 854"/>
                <a:gd name="T17" fmla="*/ 0 h 6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54"/>
                <a:gd name="T28" fmla="*/ 0 h 675"/>
                <a:gd name="T29" fmla="*/ 854 w 854"/>
                <a:gd name="T30" fmla="*/ 675 h 6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54" h="675">
                  <a:moveTo>
                    <a:pt x="0" y="558"/>
                  </a:moveTo>
                  <a:lnTo>
                    <a:pt x="660" y="556"/>
                  </a:lnTo>
                  <a:lnTo>
                    <a:pt x="660" y="675"/>
                  </a:lnTo>
                  <a:lnTo>
                    <a:pt x="854" y="329"/>
                  </a:lnTo>
                  <a:lnTo>
                    <a:pt x="662" y="0"/>
                  </a:lnTo>
                  <a:lnTo>
                    <a:pt x="663" y="126"/>
                  </a:lnTo>
                  <a:lnTo>
                    <a:pt x="12" y="126"/>
                  </a:lnTo>
                  <a:lnTo>
                    <a:pt x="124" y="3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701" name="Freeform 86"/>
            <p:cNvSpPr>
              <a:spLocks/>
            </p:cNvSpPr>
            <p:nvPr>
              <p:custDataLst>
                <p:tags r:id="rId26"/>
              </p:custDataLst>
            </p:nvPr>
          </p:nvSpPr>
          <p:spPr bwMode="blackWhite">
            <a:xfrm>
              <a:off x="5075" y="437"/>
              <a:ext cx="126" cy="78"/>
            </a:xfrm>
            <a:custGeom>
              <a:avLst/>
              <a:gdLst>
                <a:gd name="T0" fmla="*/ 0 w 1094"/>
                <a:gd name="T1" fmla="*/ 0 h 675"/>
                <a:gd name="T2" fmla="*/ 0 w 1094"/>
                <a:gd name="T3" fmla="*/ 0 h 675"/>
                <a:gd name="T4" fmla="*/ 0 w 1094"/>
                <a:gd name="T5" fmla="*/ 0 h 675"/>
                <a:gd name="T6" fmla="*/ 0 w 1094"/>
                <a:gd name="T7" fmla="*/ 0 h 675"/>
                <a:gd name="T8" fmla="*/ 0 w 1094"/>
                <a:gd name="T9" fmla="*/ 0 h 675"/>
                <a:gd name="T10" fmla="*/ 0 w 1094"/>
                <a:gd name="T11" fmla="*/ 0 h 675"/>
                <a:gd name="T12" fmla="*/ 0 w 1094"/>
                <a:gd name="T13" fmla="*/ 0 h 675"/>
                <a:gd name="T14" fmla="*/ 0 w 1094"/>
                <a:gd name="T15" fmla="*/ 0 h 67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94"/>
                <a:gd name="T25" fmla="*/ 0 h 675"/>
                <a:gd name="T26" fmla="*/ 1094 w 1094"/>
                <a:gd name="T27" fmla="*/ 675 h 67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94" h="675">
                  <a:moveTo>
                    <a:pt x="0" y="558"/>
                  </a:moveTo>
                  <a:lnTo>
                    <a:pt x="845" y="556"/>
                  </a:lnTo>
                  <a:lnTo>
                    <a:pt x="845" y="675"/>
                  </a:lnTo>
                  <a:lnTo>
                    <a:pt x="1094" y="329"/>
                  </a:lnTo>
                  <a:lnTo>
                    <a:pt x="848" y="0"/>
                  </a:lnTo>
                  <a:lnTo>
                    <a:pt x="849" y="126"/>
                  </a:lnTo>
                  <a:lnTo>
                    <a:pt x="4" y="1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702" name="Line 87"/>
            <p:cNvSpPr>
              <a:spLocks noChangeShapeType="1"/>
            </p:cNvSpPr>
            <p:nvPr>
              <p:custDataLst>
                <p:tags r:id="rId27"/>
              </p:custDataLst>
            </p:nvPr>
          </p:nvSpPr>
          <p:spPr bwMode="auto">
            <a:xfrm>
              <a:off x="5506" y="500"/>
              <a:ext cx="18" cy="1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8703" name="Freeform 88"/>
            <p:cNvSpPr>
              <a:spLocks/>
            </p:cNvSpPr>
            <p:nvPr>
              <p:custDataLst>
                <p:tags r:id="rId28"/>
              </p:custDataLst>
            </p:nvPr>
          </p:nvSpPr>
          <p:spPr bwMode="blackWhite">
            <a:xfrm>
              <a:off x="5320" y="496"/>
              <a:ext cx="83" cy="113"/>
            </a:xfrm>
            <a:custGeom>
              <a:avLst/>
              <a:gdLst>
                <a:gd name="T0" fmla="*/ 0 w 933"/>
                <a:gd name="T1" fmla="*/ 0 h 1276"/>
                <a:gd name="T2" fmla="*/ 0 w 933"/>
                <a:gd name="T3" fmla="*/ 0 h 1276"/>
                <a:gd name="T4" fmla="*/ 0 w 933"/>
                <a:gd name="T5" fmla="*/ 0 h 1276"/>
                <a:gd name="T6" fmla="*/ 0 w 933"/>
                <a:gd name="T7" fmla="*/ 0 h 1276"/>
                <a:gd name="T8" fmla="*/ 0 w 933"/>
                <a:gd name="T9" fmla="*/ 0 h 1276"/>
                <a:gd name="T10" fmla="*/ 0 w 933"/>
                <a:gd name="T11" fmla="*/ 0 h 1276"/>
                <a:gd name="T12" fmla="*/ 0 w 933"/>
                <a:gd name="T13" fmla="*/ 0 h 1276"/>
                <a:gd name="T14" fmla="*/ 0 w 933"/>
                <a:gd name="T15" fmla="*/ 0 h 1276"/>
                <a:gd name="T16" fmla="*/ 0 w 933"/>
                <a:gd name="T17" fmla="*/ 0 h 1276"/>
                <a:gd name="T18" fmla="*/ 0 w 933"/>
                <a:gd name="T19" fmla="*/ 0 h 1276"/>
                <a:gd name="T20" fmla="*/ 0 w 933"/>
                <a:gd name="T21" fmla="*/ 0 h 1276"/>
                <a:gd name="T22" fmla="*/ 0 w 933"/>
                <a:gd name="T23" fmla="*/ 0 h 127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33"/>
                <a:gd name="T37" fmla="*/ 0 h 1276"/>
                <a:gd name="T38" fmla="*/ 933 w 933"/>
                <a:gd name="T39" fmla="*/ 1276 h 127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33" h="1276">
                  <a:moveTo>
                    <a:pt x="662" y="0"/>
                  </a:moveTo>
                  <a:lnTo>
                    <a:pt x="156" y="1"/>
                  </a:lnTo>
                  <a:lnTo>
                    <a:pt x="314" y="93"/>
                  </a:lnTo>
                  <a:cubicBezTo>
                    <a:pt x="314" y="93"/>
                    <a:pt x="0" y="771"/>
                    <a:pt x="637" y="1276"/>
                  </a:cubicBezTo>
                  <a:lnTo>
                    <a:pt x="679" y="978"/>
                  </a:lnTo>
                  <a:cubicBezTo>
                    <a:pt x="679" y="978"/>
                    <a:pt x="813" y="923"/>
                    <a:pt x="933" y="872"/>
                  </a:cubicBezTo>
                  <a:cubicBezTo>
                    <a:pt x="885" y="843"/>
                    <a:pt x="838" y="779"/>
                    <a:pt x="838" y="779"/>
                  </a:cubicBezTo>
                  <a:lnTo>
                    <a:pt x="788" y="711"/>
                  </a:lnTo>
                  <a:lnTo>
                    <a:pt x="752" y="600"/>
                  </a:lnTo>
                  <a:cubicBezTo>
                    <a:pt x="752" y="600"/>
                    <a:pt x="719" y="481"/>
                    <a:pt x="755" y="348"/>
                  </a:cubicBezTo>
                  <a:cubicBezTo>
                    <a:pt x="839" y="395"/>
                    <a:pt x="923" y="444"/>
                    <a:pt x="923" y="444"/>
                  </a:cubicBezTo>
                  <a:lnTo>
                    <a:pt x="662" y="0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704" name="Freeform 89"/>
            <p:cNvSpPr>
              <a:spLocks/>
            </p:cNvSpPr>
            <p:nvPr>
              <p:custDataLst>
                <p:tags r:id="rId29"/>
              </p:custDataLst>
            </p:nvPr>
          </p:nvSpPr>
          <p:spPr bwMode="blackWhite">
            <a:xfrm rot="4209998">
              <a:off x="5059" y="527"/>
              <a:ext cx="131" cy="90"/>
            </a:xfrm>
            <a:custGeom>
              <a:avLst/>
              <a:gdLst>
                <a:gd name="T0" fmla="*/ 0 w 1485"/>
                <a:gd name="T1" fmla="*/ 0 h 1021"/>
                <a:gd name="T2" fmla="*/ 0 w 1485"/>
                <a:gd name="T3" fmla="*/ 0 h 1021"/>
                <a:gd name="T4" fmla="*/ 0 w 1485"/>
                <a:gd name="T5" fmla="*/ 0 h 1021"/>
                <a:gd name="T6" fmla="*/ 0 w 1485"/>
                <a:gd name="T7" fmla="*/ 0 h 1021"/>
                <a:gd name="T8" fmla="*/ 0 w 1485"/>
                <a:gd name="T9" fmla="*/ 0 h 1021"/>
                <a:gd name="T10" fmla="*/ 0 w 1485"/>
                <a:gd name="T11" fmla="*/ 0 h 1021"/>
                <a:gd name="T12" fmla="*/ 0 w 1485"/>
                <a:gd name="T13" fmla="*/ 0 h 1021"/>
                <a:gd name="T14" fmla="*/ 0 w 1485"/>
                <a:gd name="T15" fmla="*/ 0 h 1021"/>
                <a:gd name="T16" fmla="*/ 0 w 1485"/>
                <a:gd name="T17" fmla="*/ 0 h 1021"/>
                <a:gd name="T18" fmla="*/ 0 w 1485"/>
                <a:gd name="T19" fmla="*/ 0 h 1021"/>
                <a:gd name="T20" fmla="*/ 0 w 1485"/>
                <a:gd name="T21" fmla="*/ 0 h 1021"/>
                <a:gd name="T22" fmla="*/ 0 w 1485"/>
                <a:gd name="T23" fmla="*/ 0 h 10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85"/>
                <a:gd name="T37" fmla="*/ 0 h 1021"/>
                <a:gd name="T38" fmla="*/ 1485 w 1485"/>
                <a:gd name="T39" fmla="*/ 1021 h 102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85" h="1021">
                  <a:moveTo>
                    <a:pt x="61" y="248"/>
                  </a:moveTo>
                  <a:lnTo>
                    <a:pt x="0" y="762"/>
                  </a:lnTo>
                  <a:cubicBezTo>
                    <a:pt x="0" y="762"/>
                    <a:pt x="59" y="684"/>
                    <a:pt x="118" y="606"/>
                  </a:cubicBezTo>
                  <a:cubicBezTo>
                    <a:pt x="136" y="628"/>
                    <a:pt x="994" y="1021"/>
                    <a:pt x="1485" y="146"/>
                  </a:cubicBezTo>
                  <a:lnTo>
                    <a:pt x="1170" y="210"/>
                  </a:lnTo>
                  <a:cubicBezTo>
                    <a:pt x="1170" y="210"/>
                    <a:pt x="1084" y="105"/>
                    <a:pt x="999" y="0"/>
                  </a:cubicBezTo>
                  <a:cubicBezTo>
                    <a:pt x="946" y="83"/>
                    <a:pt x="860" y="137"/>
                    <a:pt x="860" y="137"/>
                  </a:cubicBezTo>
                  <a:lnTo>
                    <a:pt x="778" y="190"/>
                  </a:lnTo>
                  <a:lnTo>
                    <a:pt x="638" y="226"/>
                  </a:lnTo>
                  <a:cubicBezTo>
                    <a:pt x="581" y="226"/>
                    <a:pt x="452" y="219"/>
                    <a:pt x="435" y="191"/>
                  </a:cubicBezTo>
                  <a:cubicBezTo>
                    <a:pt x="485" y="124"/>
                    <a:pt x="535" y="57"/>
                    <a:pt x="535" y="57"/>
                  </a:cubicBezTo>
                  <a:lnTo>
                    <a:pt x="61" y="248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705" name="Freeform 90"/>
            <p:cNvSpPr>
              <a:spLocks/>
            </p:cNvSpPr>
            <p:nvPr>
              <p:custDataLst>
                <p:tags r:id="rId30"/>
              </p:custDataLst>
            </p:nvPr>
          </p:nvSpPr>
          <p:spPr bwMode="blackWhite">
            <a:xfrm>
              <a:off x="5173" y="453"/>
              <a:ext cx="99" cy="185"/>
            </a:xfrm>
            <a:custGeom>
              <a:avLst/>
              <a:gdLst>
                <a:gd name="T0" fmla="*/ 0 w 976"/>
                <a:gd name="T1" fmla="*/ 0 h 1811"/>
                <a:gd name="T2" fmla="*/ 0 w 976"/>
                <a:gd name="T3" fmla="*/ 0 h 1811"/>
                <a:gd name="T4" fmla="*/ 0 w 976"/>
                <a:gd name="T5" fmla="*/ 0 h 1811"/>
                <a:gd name="T6" fmla="*/ 0 w 976"/>
                <a:gd name="T7" fmla="*/ 0 h 1811"/>
                <a:gd name="T8" fmla="*/ 0 w 976"/>
                <a:gd name="T9" fmla="*/ 0 h 1811"/>
                <a:gd name="T10" fmla="*/ 0 w 976"/>
                <a:gd name="T11" fmla="*/ 0 h 1811"/>
                <a:gd name="T12" fmla="*/ 0 w 976"/>
                <a:gd name="T13" fmla="*/ 0 h 1811"/>
                <a:gd name="T14" fmla="*/ 0 w 976"/>
                <a:gd name="T15" fmla="*/ 0 h 1811"/>
                <a:gd name="T16" fmla="*/ 0 w 976"/>
                <a:gd name="T17" fmla="*/ 0 h 1811"/>
                <a:gd name="T18" fmla="*/ 0 w 976"/>
                <a:gd name="T19" fmla="*/ 0 h 1811"/>
                <a:gd name="T20" fmla="*/ 0 w 976"/>
                <a:gd name="T21" fmla="*/ 0 h 1811"/>
                <a:gd name="T22" fmla="*/ 0 w 976"/>
                <a:gd name="T23" fmla="*/ 0 h 1811"/>
                <a:gd name="T24" fmla="*/ 0 w 976"/>
                <a:gd name="T25" fmla="*/ 0 h 1811"/>
                <a:gd name="T26" fmla="*/ 0 w 976"/>
                <a:gd name="T27" fmla="*/ 0 h 1811"/>
                <a:gd name="T28" fmla="*/ 0 w 976"/>
                <a:gd name="T29" fmla="*/ 0 h 1811"/>
                <a:gd name="T30" fmla="*/ 0 w 976"/>
                <a:gd name="T31" fmla="*/ 0 h 1811"/>
                <a:gd name="T32" fmla="*/ 0 w 976"/>
                <a:gd name="T33" fmla="*/ 0 h 1811"/>
                <a:gd name="T34" fmla="*/ 0 w 976"/>
                <a:gd name="T35" fmla="*/ 0 h 1811"/>
                <a:gd name="T36" fmla="*/ 0 w 976"/>
                <a:gd name="T37" fmla="*/ 0 h 1811"/>
                <a:gd name="T38" fmla="*/ 0 w 976"/>
                <a:gd name="T39" fmla="*/ 0 h 1811"/>
                <a:gd name="T40" fmla="*/ 0 w 976"/>
                <a:gd name="T41" fmla="*/ 0 h 1811"/>
                <a:gd name="T42" fmla="*/ 0 w 976"/>
                <a:gd name="T43" fmla="*/ 0 h 1811"/>
                <a:gd name="T44" fmla="*/ 0 w 976"/>
                <a:gd name="T45" fmla="*/ 0 h 1811"/>
                <a:gd name="T46" fmla="*/ 0 w 976"/>
                <a:gd name="T47" fmla="*/ 0 h 1811"/>
                <a:gd name="T48" fmla="*/ 0 w 976"/>
                <a:gd name="T49" fmla="*/ 0 h 1811"/>
                <a:gd name="T50" fmla="*/ 0 w 976"/>
                <a:gd name="T51" fmla="*/ 0 h 1811"/>
                <a:gd name="T52" fmla="*/ 0 w 976"/>
                <a:gd name="T53" fmla="*/ 0 h 1811"/>
                <a:gd name="T54" fmla="*/ 0 w 976"/>
                <a:gd name="T55" fmla="*/ 0 h 1811"/>
                <a:gd name="T56" fmla="*/ 0 w 976"/>
                <a:gd name="T57" fmla="*/ 0 h 1811"/>
                <a:gd name="T58" fmla="*/ 0 w 976"/>
                <a:gd name="T59" fmla="*/ 0 h 1811"/>
                <a:gd name="T60" fmla="*/ 0 w 976"/>
                <a:gd name="T61" fmla="*/ 0 h 1811"/>
                <a:gd name="T62" fmla="*/ 0 w 976"/>
                <a:gd name="T63" fmla="*/ 0 h 1811"/>
                <a:gd name="T64" fmla="*/ 0 w 976"/>
                <a:gd name="T65" fmla="*/ 0 h 1811"/>
                <a:gd name="T66" fmla="*/ 0 w 976"/>
                <a:gd name="T67" fmla="*/ 0 h 1811"/>
                <a:gd name="T68" fmla="*/ 0 w 976"/>
                <a:gd name="T69" fmla="*/ 0 h 1811"/>
                <a:gd name="T70" fmla="*/ 0 w 976"/>
                <a:gd name="T71" fmla="*/ 0 h 181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76"/>
                <a:gd name="T109" fmla="*/ 0 h 1811"/>
                <a:gd name="T110" fmla="*/ 976 w 976"/>
                <a:gd name="T111" fmla="*/ 1811 h 181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76" h="1811">
                  <a:moveTo>
                    <a:pt x="279" y="1669"/>
                  </a:moveTo>
                  <a:lnTo>
                    <a:pt x="338" y="1654"/>
                  </a:lnTo>
                  <a:lnTo>
                    <a:pt x="394" y="1635"/>
                  </a:lnTo>
                  <a:lnTo>
                    <a:pt x="449" y="1612"/>
                  </a:lnTo>
                  <a:lnTo>
                    <a:pt x="502" y="1585"/>
                  </a:lnTo>
                  <a:lnTo>
                    <a:pt x="553" y="1555"/>
                  </a:lnTo>
                  <a:lnTo>
                    <a:pt x="601" y="1520"/>
                  </a:lnTo>
                  <a:lnTo>
                    <a:pt x="651" y="1485"/>
                  </a:lnTo>
                  <a:lnTo>
                    <a:pt x="697" y="1447"/>
                  </a:lnTo>
                  <a:lnTo>
                    <a:pt x="741" y="1405"/>
                  </a:lnTo>
                  <a:lnTo>
                    <a:pt x="782" y="1361"/>
                  </a:lnTo>
                  <a:lnTo>
                    <a:pt x="818" y="1313"/>
                  </a:lnTo>
                  <a:lnTo>
                    <a:pt x="851" y="1263"/>
                  </a:lnTo>
                  <a:lnTo>
                    <a:pt x="882" y="1210"/>
                  </a:lnTo>
                  <a:lnTo>
                    <a:pt x="908" y="1156"/>
                  </a:lnTo>
                  <a:lnTo>
                    <a:pt x="929" y="1100"/>
                  </a:lnTo>
                  <a:lnTo>
                    <a:pt x="947" y="1043"/>
                  </a:lnTo>
                  <a:lnTo>
                    <a:pt x="961" y="984"/>
                  </a:lnTo>
                  <a:lnTo>
                    <a:pt x="970" y="924"/>
                  </a:lnTo>
                  <a:lnTo>
                    <a:pt x="975" y="865"/>
                  </a:lnTo>
                  <a:lnTo>
                    <a:pt x="975" y="804"/>
                  </a:lnTo>
                  <a:lnTo>
                    <a:pt x="972" y="744"/>
                  </a:lnTo>
                  <a:lnTo>
                    <a:pt x="963" y="685"/>
                  </a:lnTo>
                  <a:lnTo>
                    <a:pt x="950" y="625"/>
                  </a:lnTo>
                  <a:lnTo>
                    <a:pt x="935" y="567"/>
                  </a:lnTo>
                  <a:lnTo>
                    <a:pt x="913" y="511"/>
                  </a:lnTo>
                  <a:lnTo>
                    <a:pt x="889" y="456"/>
                  </a:lnTo>
                  <a:lnTo>
                    <a:pt x="859" y="403"/>
                  </a:lnTo>
                  <a:lnTo>
                    <a:pt x="826" y="352"/>
                  </a:lnTo>
                  <a:lnTo>
                    <a:pt x="790" y="304"/>
                  </a:lnTo>
                  <a:lnTo>
                    <a:pt x="751" y="259"/>
                  </a:lnTo>
                  <a:lnTo>
                    <a:pt x="708" y="216"/>
                  </a:lnTo>
                  <a:lnTo>
                    <a:pt x="662" y="178"/>
                  </a:lnTo>
                  <a:lnTo>
                    <a:pt x="614" y="142"/>
                  </a:lnTo>
                  <a:lnTo>
                    <a:pt x="563" y="109"/>
                  </a:lnTo>
                  <a:lnTo>
                    <a:pt x="510" y="81"/>
                  </a:lnTo>
                  <a:lnTo>
                    <a:pt x="455" y="56"/>
                  </a:lnTo>
                  <a:lnTo>
                    <a:pt x="398" y="36"/>
                  </a:lnTo>
                  <a:lnTo>
                    <a:pt x="340" y="20"/>
                  </a:lnTo>
                  <a:lnTo>
                    <a:pt x="281" y="8"/>
                  </a:lnTo>
                  <a:lnTo>
                    <a:pt x="222" y="0"/>
                  </a:lnTo>
                  <a:lnTo>
                    <a:pt x="294" y="112"/>
                  </a:lnTo>
                  <a:lnTo>
                    <a:pt x="369" y="222"/>
                  </a:lnTo>
                  <a:lnTo>
                    <a:pt x="226" y="434"/>
                  </a:lnTo>
                  <a:lnTo>
                    <a:pt x="268" y="446"/>
                  </a:lnTo>
                  <a:lnTo>
                    <a:pt x="306" y="463"/>
                  </a:lnTo>
                  <a:lnTo>
                    <a:pt x="344" y="483"/>
                  </a:lnTo>
                  <a:lnTo>
                    <a:pt x="379" y="508"/>
                  </a:lnTo>
                  <a:lnTo>
                    <a:pt x="411" y="536"/>
                  </a:lnTo>
                  <a:lnTo>
                    <a:pt x="440" y="567"/>
                  </a:lnTo>
                  <a:lnTo>
                    <a:pt x="467" y="601"/>
                  </a:lnTo>
                  <a:lnTo>
                    <a:pt x="489" y="637"/>
                  </a:lnTo>
                  <a:lnTo>
                    <a:pt x="508" y="676"/>
                  </a:lnTo>
                  <a:lnTo>
                    <a:pt x="521" y="716"/>
                  </a:lnTo>
                  <a:lnTo>
                    <a:pt x="531" y="758"/>
                  </a:lnTo>
                  <a:lnTo>
                    <a:pt x="538" y="801"/>
                  </a:lnTo>
                  <a:lnTo>
                    <a:pt x="539" y="843"/>
                  </a:lnTo>
                  <a:lnTo>
                    <a:pt x="536" y="886"/>
                  </a:lnTo>
                  <a:lnTo>
                    <a:pt x="529" y="928"/>
                  </a:lnTo>
                  <a:lnTo>
                    <a:pt x="517" y="969"/>
                  </a:lnTo>
                  <a:lnTo>
                    <a:pt x="501" y="1009"/>
                  </a:lnTo>
                  <a:lnTo>
                    <a:pt x="482" y="1046"/>
                  </a:lnTo>
                  <a:lnTo>
                    <a:pt x="458" y="1082"/>
                  </a:lnTo>
                  <a:lnTo>
                    <a:pt x="431" y="1115"/>
                  </a:lnTo>
                  <a:lnTo>
                    <a:pt x="401" y="1145"/>
                  </a:lnTo>
                  <a:lnTo>
                    <a:pt x="367" y="1172"/>
                  </a:lnTo>
                  <a:lnTo>
                    <a:pt x="331" y="1196"/>
                  </a:lnTo>
                  <a:lnTo>
                    <a:pt x="293" y="1215"/>
                  </a:lnTo>
                  <a:lnTo>
                    <a:pt x="253" y="1230"/>
                  </a:lnTo>
                  <a:lnTo>
                    <a:pt x="253" y="1093"/>
                  </a:lnTo>
                  <a:lnTo>
                    <a:pt x="0" y="1420"/>
                  </a:lnTo>
                  <a:lnTo>
                    <a:pt x="279" y="1810"/>
                  </a:lnTo>
                  <a:lnTo>
                    <a:pt x="279" y="1669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706" name="Freeform 91"/>
            <p:cNvSpPr>
              <a:spLocks/>
            </p:cNvSpPr>
            <p:nvPr>
              <p:custDataLst>
                <p:tags r:id="rId31"/>
              </p:custDataLst>
            </p:nvPr>
          </p:nvSpPr>
          <p:spPr bwMode="blackWhite">
            <a:xfrm>
              <a:off x="5214" y="437"/>
              <a:ext cx="134" cy="78"/>
            </a:xfrm>
            <a:custGeom>
              <a:avLst/>
              <a:gdLst>
                <a:gd name="T0" fmla="*/ 0 w 1429"/>
                <a:gd name="T1" fmla="*/ 0 h 830"/>
                <a:gd name="T2" fmla="*/ 0 w 1429"/>
                <a:gd name="T3" fmla="*/ 0 h 830"/>
                <a:gd name="T4" fmla="*/ 0 w 1429"/>
                <a:gd name="T5" fmla="*/ 0 h 830"/>
                <a:gd name="T6" fmla="*/ 0 w 1429"/>
                <a:gd name="T7" fmla="*/ 0 h 830"/>
                <a:gd name="T8" fmla="*/ 0 w 1429"/>
                <a:gd name="T9" fmla="*/ 0 h 830"/>
                <a:gd name="T10" fmla="*/ 0 w 1429"/>
                <a:gd name="T11" fmla="*/ 0 h 830"/>
                <a:gd name="T12" fmla="*/ 0 w 1429"/>
                <a:gd name="T13" fmla="*/ 0 h 830"/>
                <a:gd name="T14" fmla="*/ 0 w 1429"/>
                <a:gd name="T15" fmla="*/ 0 h 8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29"/>
                <a:gd name="T25" fmla="*/ 0 h 830"/>
                <a:gd name="T26" fmla="*/ 1429 w 1429"/>
                <a:gd name="T27" fmla="*/ 830 h 83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29" h="830">
                  <a:moveTo>
                    <a:pt x="589" y="684"/>
                  </a:moveTo>
                  <a:cubicBezTo>
                    <a:pt x="886" y="685"/>
                    <a:pt x="1191" y="684"/>
                    <a:pt x="1191" y="684"/>
                  </a:cubicBezTo>
                  <a:lnTo>
                    <a:pt x="1191" y="830"/>
                  </a:lnTo>
                  <a:lnTo>
                    <a:pt x="1429" y="404"/>
                  </a:lnTo>
                  <a:lnTo>
                    <a:pt x="1193" y="0"/>
                  </a:lnTo>
                  <a:lnTo>
                    <a:pt x="1194" y="155"/>
                  </a:lnTo>
                  <a:lnTo>
                    <a:pt x="0" y="154"/>
                  </a:lnTo>
                  <a:cubicBezTo>
                    <a:pt x="0" y="154"/>
                    <a:pt x="411" y="237"/>
                    <a:pt x="589" y="684"/>
                  </a:cubicBezTo>
                  <a:close/>
                </a:path>
              </a:pathLst>
            </a:custGeom>
            <a:solidFill>
              <a:schemeClr val="accent2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707" name="Freeform 92"/>
            <p:cNvSpPr>
              <a:spLocks/>
            </p:cNvSpPr>
            <p:nvPr>
              <p:custDataLst>
                <p:tags r:id="rId32"/>
              </p:custDataLst>
            </p:nvPr>
          </p:nvSpPr>
          <p:spPr bwMode="blackWhite">
            <a:xfrm>
              <a:off x="5378" y="564"/>
              <a:ext cx="132" cy="90"/>
            </a:xfrm>
            <a:custGeom>
              <a:avLst/>
              <a:gdLst>
                <a:gd name="T0" fmla="*/ 0 w 1485"/>
                <a:gd name="T1" fmla="*/ 0 h 1021"/>
                <a:gd name="T2" fmla="*/ 0 w 1485"/>
                <a:gd name="T3" fmla="*/ 0 h 1021"/>
                <a:gd name="T4" fmla="*/ 0 w 1485"/>
                <a:gd name="T5" fmla="*/ 0 h 1021"/>
                <a:gd name="T6" fmla="*/ 0 w 1485"/>
                <a:gd name="T7" fmla="*/ 0 h 1021"/>
                <a:gd name="T8" fmla="*/ 0 w 1485"/>
                <a:gd name="T9" fmla="*/ 0 h 1021"/>
                <a:gd name="T10" fmla="*/ 0 w 1485"/>
                <a:gd name="T11" fmla="*/ 0 h 1021"/>
                <a:gd name="T12" fmla="*/ 0 w 1485"/>
                <a:gd name="T13" fmla="*/ 0 h 1021"/>
                <a:gd name="T14" fmla="*/ 0 w 1485"/>
                <a:gd name="T15" fmla="*/ 0 h 1021"/>
                <a:gd name="T16" fmla="*/ 0 w 1485"/>
                <a:gd name="T17" fmla="*/ 0 h 1021"/>
                <a:gd name="T18" fmla="*/ 0 w 1485"/>
                <a:gd name="T19" fmla="*/ 0 h 1021"/>
                <a:gd name="T20" fmla="*/ 0 w 1485"/>
                <a:gd name="T21" fmla="*/ 0 h 1021"/>
                <a:gd name="T22" fmla="*/ 0 w 1485"/>
                <a:gd name="T23" fmla="*/ 0 h 10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85"/>
                <a:gd name="T37" fmla="*/ 0 h 1021"/>
                <a:gd name="T38" fmla="*/ 1485 w 1485"/>
                <a:gd name="T39" fmla="*/ 1021 h 102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85" h="1021">
                  <a:moveTo>
                    <a:pt x="61" y="248"/>
                  </a:moveTo>
                  <a:lnTo>
                    <a:pt x="0" y="762"/>
                  </a:lnTo>
                  <a:cubicBezTo>
                    <a:pt x="0" y="762"/>
                    <a:pt x="59" y="684"/>
                    <a:pt x="118" y="606"/>
                  </a:cubicBezTo>
                  <a:cubicBezTo>
                    <a:pt x="136" y="628"/>
                    <a:pt x="994" y="1021"/>
                    <a:pt x="1485" y="146"/>
                  </a:cubicBezTo>
                  <a:lnTo>
                    <a:pt x="1170" y="210"/>
                  </a:lnTo>
                  <a:cubicBezTo>
                    <a:pt x="1170" y="210"/>
                    <a:pt x="1084" y="105"/>
                    <a:pt x="999" y="0"/>
                  </a:cubicBezTo>
                  <a:cubicBezTo>
                    <a:pt x="946" y="83"/>
                    <a:pt x="860" y="137"/>
                    <a:pt x="860" y="137"/>
                  </a:cubicBezTo>
                  <a:lnTo>
                    <a:pt x="778" y="190"/>
                  </a:lnTo>
                  <a:lnTo>
                    <a:pt x="638" y="226"/>
                  </a:lnTo>
                  <a:cubicBezTo>
                    <a:pt x="581" y="226"/>
                    <a:pt x="452" y="219"/>
                    <a:pt x="435" y="191"/>
                  </a:cubicBezTo>
                  <a:cubicBezTo>
                    <a:pt x="485" y="124"/>
                    <a:pt x="535" y="57"/>
                    <a:pt x="535" y="57"/>
                  </a:cubicBezTo>
                  <a:lnTo>
                    <a:pt x="61" y="248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708" name="Freeform 93"/>
            <p:cNvSpPr>
              <a:spLocks/>
            </p:cNvSpPr>
            <p:nvPr>
              <p:custDataLst>
                <p:tags r:id="rId33"/>
              </p:custDataLst>
            </p:nvPr>
          </p:nvSpPr>
          <p:spPr bwMode="blackWhite">
            <a:xfrm>
              <a:off x="5465" y="437"/>
              <a:ext cx="133" cy="78"/>
            </a:xfrm>
            <a:custGeom>
              <a:avLst/>
              <a:gdLst>
                <a:gd name="T0" fmla="*/ 0 w 1429"/>
                <a:gd name="T1" fmla="*/ 0 h 830"/>
                <a:gd name="T2" fmla="*/ 0 w 1429"/>
                <a:gd name="T3" fmla="*/ 0 h 830"/>
                <a:gd name="T4" fmla="*/ 0 w 1429"/>
                <a:gd name="T5" fmla="*/ 0 h 830"/>
                <a:gd name="T6" fmla="*/ 0 w 1429"/>
                <a:gd name="T7" fmla="*/ 0 h 830"/>
                <a:gd name="T8" fmla="*/ 0 w 1429"/>
                <a:gd name="T9" fmla="*/ 0 h 830"/>
                <a:gd name="T10" fmla="*/ 0 w 1429"/>
                <a:gd name="T11" fmla="*/ 0 h 830"/>
                <a:gd name="T12" fmla="*/ 0 w 1429"/>
                <a:gd name="T13" fmla="*/ 0 h 830"/>
                <a:gd name="T14" fmla="*/ 0 w 1429"/>
                <a:gd name="T15" fmla="*/ 0 h 8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29"/>
                <a:gd name="T25" fmla="*/ 0 h 830"/>
                <a:gd name="T26" fmla="*/ 1429 w 1429"/>
                <a:gd name="T27" fmla="*/ 830 h 83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29" h="830">
                  <a:moveTo>
                    <a:pt x="589" y="684"/>
                  </a:moveTo>
                  <a:cubicBezTo>
                    <a:pt x="886" y="685"/>
                    <a:pt x="1191" y="684"/>
                    <a:pt x="1191" y="684"/>
                  </a:cubicBezTo>
                  <a:lnTo>
                    <a:pt x="1191" y="830"/>
                  </a:lnTo>
                  <a:lnTo>
                    <a:pt x="1429" y="404"/>
                  </a:lnTo>
                  <a:lnTo>
                    <a:pt x="1193" y="0"/>
                  </a:lnTo>
                  <a:lnTo>
                    <a:pt x="1194" y="155"/>
                  </a:lnTo>
                  <a:lnTo>
                    <a:pt x="0" y="154"/>
                  </a:lnTo>
                  <a:cubicBezTo>
                    <a:pt x="0" y="154"/>
                    <a:pt x="411" y="237"/>
                    <a:pt x="589" y="684"/>
                  </a:cubicBez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709" name="Freeform 94"/>
            <p:cNvSpPr>
              <a:spLocks/>
            </p:cNvSpPr>
            <p:nvPr>
              <p:custDataLst>
                <p:tags r:id="rId34"/>
              </p:custDataLst>
            </p:nvPr>
          </p:nvSpPr>
          <p:spPr bwMode="blackWhite">
            <a:xfrm>
              <a:off x="5430" y="450"/>
              <a:ext cx="99" cy="128"/>
            </a:xfrm>
            <a:custGeom>
              <a:avLst/>
              <a:gdLst>
                <a:gd name="T0" fmla="*/ 0 w 1115"/>
                <a:gd name="T1" fmla="*/ 0 h 1441"/>
                <a:gd name="T2" fmla="*/ 0 w 1115"/>
                <a:gd name="T3" fmla="*/ 0 h 1441"/>
                <a:gd name="T4" fmla="*/ 0 w 1115"/>
                <a:gd name="T5" fmla="*/ 0 h 1441"/>
                <a:gd name="T6" fmla="*/ 0 w 1115"/>
                <a:gd name="T7" fmla="*/ 0 h 1441"/>
                <a:gd name="T8" fmla="*/ 0 w 1115"/>
                <a:gd name="T9" fmla="*/ 0 h 1441"/>
                <a:gd name="T10" fmla="*/ 0 w 1115"/>
                <a:gd name="T11" fmla="*/ 0 h 1441"/>
                <a:gd name="T12" fmla="*/ 0 w 1115"/>
                <a:gd name="T13" fmla="*/ 0 h 1441"/>
                <a:gd name="T14" fmla="*/ 0 w 1115"/>
                <a:gd name="T15" fmla="*/ 0 h 1441"/>
                <a:gd name="T16" fmla="*/ 0 w 1115"/>
                <a:gd name="T17" fmla="*/ 0 h 1441"/>
                <a:gd name="T18" fmla="*/ 0 w 1115"/>
                <a:gd name="T19" fmla="*/ 0 h 1441"/>
                <a:gd name="T20" fmla="*/ 0 w 1115"/>
                <a:gd name="T21" fmla="*/ 0 h 1441"/>
                <a:gd name="T22" fmla="*/ 0 w 1115"/>
                <a:gd name="T23" fmla="*/ 0 h 144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115"/>
                <a:gd name="T37" fmla="*/ 0 h 1441"/>
                <a:gd name="T38" fmla="*/ 1115 w 1115"/>
                <a:gd name="T39" fmla="*/ 1441 h 144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115" h="1441">
                  <a:moveTo>
                    <a:pt x="609" y="1441"/>
                  </a:moveTo>
                  <a:lnTo>
                    <a:pt x="1115" y="1321"/>
                  </a:lnTo>
                  <a:lnTo>
                    <a:pt x="956" y="1274"/>
                  </a:lnTo>
                  <a:cubicBezTo>
                    <a:pt x="1096" y="922"/>
                    <a:pt x="928" y="37"/>
                    <a:pt x="0" y="0"/>
                  </a:cubicBezTo>
                  <a:cubicBezTo>
                    <a:pt x="90" y="114"/>
                    <a:pt x="178" y="244"/>
                    <a:pt x="178" y="244"/>
                  </a:cubicBezTo>
                  <a:cubicBezTo>
                    <a:pt x="178" y="244"/>
                    <a:pt x="120" y="371"/>
                    <a:pt x="67" y="503"/>
                  </a:cubicBezTo>
                  <a:cubicBezTo>
                    <a:pt x="249" y="531"/>
                    <a:pt x="357" y="655"/>
                    <a:pt x="357" y="655"/>
                  </a:cubicBezTo>
                  <a:lnTo>
                    <a:pt x="431" y="740"/>
                  </a:lnTo>
                  <a:lnTo>
                    <a:pt x="469" y="839"/>
                  </a:lnTo>
                  <a:cubicBezTo>
                    <a:pt x="523" y="963"/>
                    <a:pt x="478" y="1116"/>
                    <a:pt x="478" y="1116"/>
                  </a:cubicBezTo>
                  <a:lnTo>
                    <a:pt x="287" y="1060"/>
                  </a:lnTo>
                  <a:lnTo>
                    <a:pt x="609" y="1441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710" name="Freeform 95"/>
            <p:cNvSpPr>
              <a:spLocks/>
            </p:cNvSpPr>
            <p:nvPr>
              <p:custDataLst>
                <p:tags r:id="rId35"/>
              </p:custDataLst>
            </p:nvPr>
          </p:nvSpPr>
          <p:spPr bwMode="blackWhite">
            <a:xfrm>
              <a:off x="5591" y="437"/>
              <a:ext cx="98" cy="78"/>
            </a:xfrm>
            <a:custGeom>
              <a:avLst/>
              <a:gdLst>
                <a:gd name="T0" fmla="*/ 0 w 854"/>
                <a:gd name="T1" fmla="*/ 0 h 675"/>
                <a:gd name="T2" fmla="*/ 0 w 854"/>
                <a:gd name="T3" fmla="*/ 0 h 675"/>
                <a:gd name="T4" fmla="*/ 0 w 854"/>
                <a:gd name="T5" fmla="*/ 0 h 675"/>
                <a:gd name="T6" fmla="*/ 0 w 854"/>
                <a:gd name="T7" fmla="*/ 0 h 675"/>
                <a:gd name="T8" fmla="*/ 0 w 854"/>
                <a:gd name="T9" fmla="*/ 0 h 675"/>
                <a:gd name="T10" fmla="*/ 0 w 854"/>
                <a:gd name="T11" fmla="*/ 0 h 675"/>
                <a:gd name="T12" fmla="*/ 0 w 854"/>
                <a:gd name="T13" fmla="*/ 0 h 675"/>
                <a:gd name="T14" fmla="*/ 0 w 854"/>
                <a:gd name="T15" fmla="*/ 0 h 675"/>
                <a:gd name="T16" fmla="*/ 0 w 854"/>
                <a:gd name="T17" fmla="*/ 0 h 6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54"/>
                <a:gd name="T28" fmla="*/ 0 h 675"/>
                <a:gd name="T29" fmla="*/ 854 w 854"/>
                <a:gd name="T30" fmla="*/ 675 h 6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54" h="675">
                  <a:moveTo>
                    <a:pt x="0" y="558"/>
                  </a:moveTo>
                  <a:lnTo>
                    <a:pt x="660" y="556"/>
                  </a:lnTo>
                  <a:lnTo>
                    <a:pt x="660" y="675"/>
                  </a:lnTo>
                  <a:lnTo>
                    <a:pt x="854" y="329"/>
                  </a:lnTo>
                  <a:lnTo>
                    <a:pt x="662" y="0"/>
                  </a:lnTo>
                  <a:lnTo>
                    <a:pt x="663" y="126"/>
                  </a:lnTo>
                  <a:lnTo>
                    <a:pt x="12" y="126"/>
                  </a:lnTo>
                  <a:lnTo>
                    <a:pt x="124" y="3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698" name="Group 29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2749550" y="3011488"/>
            <a:ext cx="1614488" cy="836612"/>
            <a:chOff x="484" y="713"/>
            <a:chExt cx="1244" cy="576"/>
          </a:xfrm>
        </p:grpSpPr>
        <p:sp>
          <p:nvSpPr>
            <p:cNvPr id="2" name="Freeform 30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484" y="713"/>
              <a:ext cx="1244" cy="576"/>
            </a:xfrm>
            <a:custGeom>
              <a:avLst/>
              <a:gdLst>
                <a:gd name="T0" fmla="*/ 0 w 1244"/>
                <a:gd name="T1" fmla="*/ 0 h 576"/>
                <a:gd name="T2" fmla="*/ 1140 w 1244"/>
                <a:gd name="T3" fmla="*/ 0 h 576"/>
                <a:gd name="T4" fmla="*/ 1244 w 1244"/>
                <a:gd name="T5" fmla="*/ 288 h 576"/>
                <a:gd name="T6" fmla="*/ 1140 w 1244"/>
                <a:gd name="T7" fmla="*/ 576 h 576"/>
                <a:gd name="T8" fmla="*/ 0 w 1244"/>
                <a:gd name="T9" fmla="*/ 576 h 576"/>
                <a:gd name="T10" fmla="*/ 0 w 1244"/>
                <a:gd name="T11" fmla="*/ 288 h 576"/>
                <a:gd name="T12" fmla="*/ 0 w 1244"/>
                <a:gd name="T13" fmla="*/ 0 h 57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44"/>
                <a:gd name="T22" fmla="*/ 0 h 576"/>
                <a:gd name="T23" fmla="*/ 1244 w 1244"/>
                <a:gd name="T24" fmla="*/ 576 h 57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44" h="576">
                  <a:moveTo>
                    <a:pt x="0" y="0"/>
                  </a:moveTo>
                  <a:lnTo>
                    <a:pt x="1140" y="0"/>
                  </a:lnTo>
                  <a:lnTo>
                    <a:pt x="1244" y="288"/>
                  </a:lnTo>
                  <a:lnTo>
                    <a:pt x="1140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rgbClr val="675F76">
                    <a:alpha val="50000"/>
                  </a:srgbClr>
                </a:gs>
                <a:gs pos="50000">
                  <a:schemeClr val="accent1">
                    <a:alpha val="50000"/>
                  </a:schemeClr>
                </a:gs>
                <a:gs pos="100000">
                  <a:srgbClr val="675F76">
                    <a:alpha val="50000"/>
                  </a:srgbClr>
                </a:gs>
              </a:gsLst>
              <a:lin ang="5400000" scaled="1"/>
            </a:gradFill>
            <a:ln w="9525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lIns="36000" anchor="ctr"/>
            <a:lstStyle/>
            <a:p>
              <a:pPr>
                <a:defRPr/>
              </a:pPr>
              <a:endParaRPr lang="en-US" sz="1600" b="1">
                <a:latin typeface="Calibri" pitchFamily="34" charset="0"/>
                <a:ea typeface="MS PGothic" pitchFamily="34" charset="-128"/>
              </a:endParaRPr>
            </a:p>
          </p:txBody>
        </p:sp>
        <p:sp>
          <p:nvSpPr>
            <p:cNvPr id="29731" name="Rectangle 3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516" y="745"/>
              <a:ext cx="1108" cy="4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6648" tIns="0" rIns="46648" bIns="0" anchor="ctr"/>
            <a:lstStyle/>
            <a:p>
              <a:pPr defTabSz="912813">
                <a:buSzPct val="120000"/>
              </a:pPr>
              <a:r>
                <a:rPr lang="en-US" sz="1200" b="1">
                  <a:cs typeface="Arial" pitchFamily="34" charset="0"/>
                </a:rPr>
                <a:t>Psychometric test given on-line to </a:t>
              </a:r>
              <a:r>
                <a:rPr lang="en-US" sz="1200" b="1" u="sng">
                  <a:cs typeface="Arial" pitchFamily="34" charset="0"/>
                </a:rPr>
                <a:t>+</a:t>
              </a:r>
              <a:r>
                <a:rPr lang="en-US" sz="1200" b="1">
                  <a:cs typeface="Arial" pitchFamily="34" charset="0"/>
                </a:rPr>
                <a:t>20 participants per country</a:t>
              </a:r>
            </a:p>
          </p:txBody>
        </p:sp>
      </p:grpSp>
      <p:sp>
        <p:nvSpPr>
          <p:cNvPr id="29699" name="Rectangle 2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25500" y="2827338"/>
            <a:ext cx="1628775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912813">
              <a:buSzPct val="120000"/>
            </a:pPr>
            <a:r>
              <a:rPr lang="en-US" sz="1200" b="1">
                <a:solidFill>
                  <a:schemeClr val="accent2"/>
                </a:solidFill>
                <a:cs typeface="Arial" pitchFamily="34" charset="0"/>
              </a:rPr>
              <a:t>2008-2009</a:t>
            </a:r>
          </a:p>
        </p:txBody>
      </p:sp>
      <p:sp>
        <p:nvSpPr>
          <p:cNvPr id="29700" name="Rectangle 3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ea typeface="ＭＳ Ｐゴシック" pitchFamily="34" charset="-128"/>
                <a:cs typeface="Arial" pitchFamily="34" charset="0"/>
              </a:rPr>
              <a:t>To improve the primary selection we </a:t>
            </a:r>
            <a:r>
              <a:rPr lang="en-US" dirty="0" smtClean="0">
                <a:solidFill>
                  <a:srgbClr val="000000"/>
                </a:solidFill>
                <a:ea typeface="ＭＳ Ｐゴシック" pitchFamily="34" charset="-128"/>
                <a:cs typeface="Arial" pitchFamily="34" charset="0"/>
              </a:rPr>
              <a:t>collaborated</a:t>
            </a:r>
            <a:r>
              <a:rPr lang="en-US" dirty="0" smtClean="0">
                <a:solidFill>
                  <a:srgbClr val="FF0000"/>
                </a:solidFill>
                <a:ea typeface="ＭＳ Ｐゴシック" pitchFamily="34" charset="-128"/>
                <a:cs typeface="Arial" pitchFamily="34" charset="0"/>
              </a:rPr>
              <a:t> </a:t>
            </a:r>
            <a:r>
              <a:rPr lang="en-US" dirty="0" smtClean="0">
                <a:ea typeface="ＭＳ Ｐゴシック" pitchFamily="34" charset="-128"/>
                <a:cs typeface="Arial" pitchFamily="34" charset="0"/>
              </a:rPr>
              <a:t>with Harvard University’</a:t>
            </a:r>
            <a:r>
              <a:rPr lang="en-US" altLang="ja-JP" dirty="0" smtClean="0">
                <a:ea typeface="ＭＳ Ｐゴシック" pitchFamily="34" charset="-128"/>
                <a:cs typeface="Arial" pitchFamily="34" charset="0"/>
              </a:rPr>
              <a:t>s CID in 2008</a:t>
            </a:r>
            <a:endParaRPr lang="en-US" dirty="0" smtClean="0"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29701" name="Line 63"/>
          <p:cNvSpPr>
            <a:spLocks noChangeShapeType="1"/>
          </p:cNvSpPr>
          <p:nvPr/>
        </p:nvSpPr>
        <p:spPr bwMode="auto">
          <a:xfrm>
            <a:off x="2743200" y="2924175"/>
            <a:ext cx="29511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1360" name="Rectangle 64"/>
          <p:cNvSpPr>
            <a:spLocks noChangeArrowheads="1"/>
          </p:cNvSpPr>
          <p:nvPr/>
        </p:nvSpPr>
        <p:spPr bwMode="blackWhite">
          <a:xfrm>
            <a:off x="3176588" y="2659063"/>
            <a:ext cx="2085975" cy="182562"/>
          </a:xfrm>
          <a:prstGeom prst="rect">
            <a:avLst/>
          </a:prstGeom>
          <a:noFill/>
          <a:ln>
            <a:noFill/>
          </a:ln>
          <a:effectLst>
            <a:outerShdw blurRad="63500" dist="17961" dir="2700000" algn="ctr" rotWithShape="0">
              <a:schemeClr val="bg1">
                <a:alpha val="74998"/>
              </a:schemeClr>
            </a:outerShdw>
          </a:effectLst>
          <a:extLst/>
        </p:spPr>
        <p:txBody>
          <a:bodyPr lIns="0" tIns="0" rIns="0" bIns="0" anchor="ctr" anchorCtr="1">
            <a:spAutoFit/>
          </a:bodyPr>
          <a:lstStyle/>
          <a:p>
            <a:pPr algn="ctr" defTabSz="787400" eaLnBrk="0" hangingPunct="0">
              <a:spcBef>
                <a:spcPct val="20000"/>
              </a:spcBef>
              <a:defRPr/>
            </a:pPr>
            <a:r>
              <a:rPr lang="en-US" sz="1200" b="1" i="1">
                <a:solidFill>
                  <a:srgbClr val="666666"/>
                </a:solidFill>
                <a:latin typeface="Arial" charset="0"/>
                <a:ea typeface="ＭＳ Ｐゴシック" charset="0"/>
                <a:cs typeface="Arial" charset="0"/>
              </a:rPr>
              <a:t>2008</a:t>
            </a:r>
          </a:p>
        </p:txBody>
      </p:sp>
      <p:grpSp>
        <p:nvGrpSpPr>
          <p:cNvPr id="29703" name="Group 29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825500" y="3032125"/>
            <a:ext cx="1614488" cy="3059113"/>
            <a:chOff x="484" y="705"/>
            <a:chExt cx="1244" cy="576"/>
          </a:xfrm>
        </p:grpSpPr>
        <p:sp>
          <p:nvSpPr>
            <p:cNvPr id="29728" name="Freeform 30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484" y="705"/>
              <a:ext cx="1244" cy="576"/>
            </a:xfrm>
            <a:custGeom>
              <a:avLst/>
              <a:gdLst>
                <a:gd name="T0" fmla="*/ 0 w 1244"/>
                <a:gd name="T1" fmla="*/ 0 h 576"/>
                <a:gd name="T2" fmla="*/ 1140 w 1244"/>
                <a:gd name="T3" fmla="*/ 0 h 576"/>
                <a:gd name="T4" fmla="*/ 1244 w 1244"/>
                <a:gd name="T5" fmla="*/ 288 h 576"/>
                <a:gd name="T6" fmla="*/ 1140 w 1244"/>
                <a:gd name="T7" fmla="*/ 576 h 576"/>
                <a:gd name="T8" fmla="*/ 0 w 1244"/>
                <a:gd name="T9" fmla="*/ 576 h 576"/>
                <a:gd name="T10" fmla="*/ 0 w 1244"/>
                <a:gd name="T11" fmla="*/ 288 h 576"/>
                <a:gd name="T12" fmla="*/ 0 w 1244"/>
                <a:gd name="T13" fmla="*/ 0 h 57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44"/>
                <a:gd name="T22" fmla="*/ 0 h 576"/>
                <a:gd name="T23" fmla="*/ 1244 w 1244"/>
                <a:gd name="T24" fmla="*/ 576 h 57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44" h="576">
                  <a:moveTo>
                    <a:pt x="0" y="0"/>
                  </a:moveTo>
                  <a:lnTo>
                    <a:pt x="1140" y="0"/>
                  </a:lnTo>
                  <a:lnTo>
                    <a:pt x="1244" y="288"/>
                  </a:lnTo>
                  <a:lnTo>
                    <a:pt x="1140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>
                <a:alpha val="50195"/>
              </a:srgbClr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36000" anchor="ctr"/>
            <a:lstStyle/>
            <a:p>
              <a:endParaRPr lang="en-US"/>
            </a:p>
          </p:txBody>
        </p:sp>
        <p:sp>
          <p:nvSpPr>
            <p:cNvPr id="29729" name="Rectangle 31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516" y="745"/>
              <a:ext cx="1108" cy="4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6648" tIns="0" rIns="46648" bIns="0" anchor="ctr"/>
            <a:lstStyle/>
            <a:p>
              <a:pPr marL="114300" lvl="1" indent="-112713" defTabSz="912813"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US" sz="1200">
                  <a:cs typeface="Arial" pitchFamily="34" charset="0"/>
                </a:rPr>
                <a:t>Winners of Colombia, Peru, Chile, and Tanzania competitions were given 90 minute test to assess personality and intelligence</a:t>
              </a:r>
            </a:p>
            <a:p>
              <a:pPr marL="114300" lvl="1" indent="-112713" defTabSz="912813">
                <a:buClr>
                  <a:schemeClr val="accent2"/>
                </a:buClr>
                <a:buFont typeface="Wingdings" pitchFamily="2" charset="2"/>
                <a:buChar char="§"/>
              </a:pPr>
              <a:endParaRPr lang="en-US" sz="1200">
                <a:cs typeface="Arial" pitchFamily="34" charset="0"/>
              </a:endParaRPr>
            </a:p>
            <a:p>
              <a:pPr marL="114300" lvl="1" indent="-112713" defTabSz="912813"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s-ES_tradnl" sz="1200">
                  <a:cs typeface="Arial" pitchFamily="34" charset="0"/>
                </a:rPr>
                <a:t>First selection participants in Ecuador competition pilot tested to provide data for first selection</a:t>
              </a:r>
              <a:endParaRPr lang="en-US" sz="1200">
                <a:cs typeface="Arial" pitchFamily="34" charset="0"/>
              </a:endParaRPr>
            </a:p>
          </p:txBody>
        </p:sp>
      </p:grpSp>
      <p:grpSp>
        <p:nvGrpSpPr>
          <p:cNvPr id="29704" name="Group 29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4235450" y="3862388"/>
            <a:ext cx="1614488" cy="677862"/>
            <a:chOff x="484" y="713"/>
            <a:chExt cx="1244" cy="576"/>
          </a:xfrm>
        </p:grpSpPr>
        <p:sp>
          <p:nvSpPr>
            <p:cNvPr id="4" name="Freeform 30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484" y="713"/>
              <a:ext cx="1244" cy="576"/>
            </a:xfrm>
            <a:custGeom>
              <a:avLst/>
              <a:gdLst>
                <a:gd name="T0" fmla="*/ 0 w 1244"/>
                <a:gd name="T1" fmla="*/ 0 h 576"/>
                <a:gd name="T2" fmla="*/ 1140 w 1244"/>
                <a:gd name="T3" fmla="*/ 0 h 576"/>
                <a:gd name="T4" fmla="*/ 1244 w 1244"/>
                <a:gd name="T5" fmla="*/ 288 h 576"/>
                <a:gd name="T6" fmla="*/ 1140 w 1244"/>
                <a:gd name="T7" fmla="*/ 576 h 576"/>
                <a:gd name="T8" fmla="*/ 0 w 1244"/>
                <a:gd name="T9" fmla="*/ 576 h 576"/>
                <a:gd name="T10" fmla="*/ 0 w 1244"/>
                <a:gd name="T11" fmla="*/ 288 h 576"/>
                <a:gd name="T12" fmla="*/ 0 w 1244"/>
                <a:gd name="T13" fmla="*/ 0 h 57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44"/>
                <a:gd name="T22" fmla="*/ 0 h 576"/>
                <a:gd name="T23" fmla="*/ 1244 w 1244"/>
                <a:gd name="T24" fmla="*/ 576 h 57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44" h="576">
                  <a:moveTo>
                    <a:pt x="0" y="0"/>
                  </a:moveTo>
                  <a:lnTo>
                    <a:pt x="1140" y="0"/>
                  </a:lnTo>
                  <a:lnTo>
                    <a:pt x="1244" y="288"/>
                  </a:lnTo>
                  <a:lnTo>
                    <a:pt x="1140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rgbClr val="675F76">
                    <a:alpha val="50000"/>
                  </a:srgbClr>
                </a:gs>
                <a:gs pos="50000">
                  <a:schemeClr val="accent1">
                    <a:alpha val="50000"/>
                  </a:schemeClr>
                </a:gs>
                <a:gs pos="100000">
                  <a:srgbClr val="675F76">
                    <a:alpha val="50000"/>
                  </a:srgbClr>
                </a:gs>
              </a:gsLst>
              <a:lin ang="5400000" scaled="1"/>
            </a:gradFill>
            <a:ln w="9525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lIns="36000" anchor="ctr"/>
            <a:lstStyle/>
            <a:p>
              <a:pPr>
                <a:defRPr/>
              </a:pPr>
              <a:endParaRPr lang="en-US" sz="1600" b="1">
                <a:latin typeface="Calibri" pitchFamily="34" charset="0"/>
                <a:ea typeface="MS PGothic" pitchFamily="34" charset="-128"/>
              </a:endParaRPr>
            </a:p>
          </p:txBody>
        </p:sp>
        <p:sp>
          <p:nvSpPr>
            <p:cNvPr id="29727" name="Rectangle 31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516" y="745"/>
              <a:ext cx="1108" cy="4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6648" tIns="0" rIns="46648" bIns="0" anchor="ctr"/>
            <a:lstStyle/>
            <a:p>
              <a:pPr defTabSz="912813">
                <a:buSzPct val="120000"/>
              </a:pPr>
              <a:r>
                <a:rPr lang="en-US" sz="1200" b="1">
                  <a:cs typeface="Arial" pitchFamily="34" charset="0"/>
                </a:rPr>
                <a:t>Results used to fine tune test</a:t>
              </a:r>
            </a:p>
          </p:txBody>
        </p:sp>
      </p:grpSp>
      <p:grpSp>
        <p:nvGrpSpPr>
          <p:cNvPr id="29705" name="Group 29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5721350" y="4651375"/>
            <a:ext cx="1614488" cy="677863"/>
            <a:chOff x="484" y="713"/>
            <a:chExt cx="1244" cy="576"/>
          </a:xfrm>
        </p:grpSpPr>
        <p:sp>
          <p:nvSpPr>
            <p:cNvPr id="5" name="Freeform 30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484" y="713"/>
              <a:ext cx="1244" cy="576"/>
            </a:xfrm>
            <a:custGeom>
              <a:avLst/>
              <a:gdLst>
                <a:gd name="T0" fmla="*/ 0 w 1244"/>
                <a:gd name="T1" fmla="*/ 0 h 576"/>
                <a:gd name="T2" fmla="*/ 1140 w 1244"/>
                <a:gd name="T3" fmla="*/ 0 h 576"/>
                <a:gd name="T4" fmla="*/ 1244 w 1244"/>
                <a:gd name="T5" fmla="*/ 288 h 576"/>
                <a:gd name="T6" fmla="*/ 1140 w 1244"/>
                <a:gd name="T7" fmla="*/ 576 h 576"/>
                <a:gd name="T8" fmla="*/ 0 w 1244"/>
                <a:gd name="T9" fmla="*/ 576 h 576"/>
                <a:gd name="T10" fmla="*/ 0 w 1244"/>
                <a:gd name="T11" fmla="*/ 288 h 576"/>
                <a:gd name="T12" fmla="*/ 0 w 1244"/>
                <a:gd name="T13" fmla="*/ 0 h 57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44"/>
                <a:gd name="T22" fmla="*/ 0 h 576"/>
                <a:gd name="T23" fmla="*/ 1244 w 1244"/>
                <a:gd name="T24" fmla="*/ 576 h 57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44" h="576">
                  <a:moveTo>
                    <a:pt x="0" y="0"/>
                  </a:moveTo>
                  <a:lnTo>
                    <a:pt x="1140" y="0"/>
                  </a:lnTo>
                  <a:lnTo>
                    <a:pt x="1244" y="288"/>
                  </a:lnTo>
                  <a:lnTo>
                    <a:pt x="1140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rgbClr val="675F76">
                    <a:alpha val="50000"/>
                  </a:srgbClr>
                </a:gs>
                <a:gs pos="50000">
                  <a:schemeClr val="accent1">
                    <a:alpha val="50000"/>
                  </a:schemeClr>
                </a:gs>
                <a:gs pos="100000">
                  <a:srgbClr val="675F76">
                    <a:alpha val="50000"/>
                  </a:srgbClr>
                </a:gs>
              </a:gsLst>
              <a:lin ang="5400000" scaled="1"/>
            </a:gradFill>
            <a:ln w="9525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lIns="36000" anchor="ctr"/>
            <a:lstStyle/>
            <a:p>
              <a:pPr>
                <a:defRPr/>
              </a:pPr>
              <a:endParaRPr lang="en-US" sz="1600" b="1">
                <a:latin typeface="Calibri" pitchFamily="34" charset="0"/>
                <a:ea typeface="MS PGothic" pitchFamily="34" charset="-128"/>
              </a:endParaRPr>
            </a:p>
          </p:txBody>
        </p:sp>
        <p:sp>
          <p:nvSpPr>
            <p:cNvPr id="29725" name="Rectangle 31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516" y="745"/>
              <a:ext cx="1108" cy="4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6648" tIns="0" rIns="46648" bIns="0" anchor="ctr"/>
            <a:lstStyle/>
            <a:p>
              <a:pPr defTabSz="912813">
                <a:buSzPct val="120000"/>
              </a:pPr>
              <a:r>
                <a:rPr lang="en-US" sz="1200" b="1">
                  <a:cs typeface="Arial" pitchFamily="34" charset="0"/>
                </a:rPr>
                <a:t>Test reduced to 1 hour given on paper</a:t>
              </a:r>
            </a:p>
          </p:txBody>
        </p:sp>
      </p:grpSp>
      <p:sp>
        <p:nvSpPr>
          <p:cNvPr id="29706" name="Line 82"/>
          <p:cNvSpPr>
            <a:spLocks noChangeShapeType="1"/>
          </p:cNvSpPr>
          <p:nvPr/>
        </p:nvSpPr>
        <p:spPr bwMode="auto">
          <a:xfrm>
            <a:off x="5715000" y="2924175"/>
            <a:ext cx="29511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1379" name="Rectangle 83"/>
          <p:cNvSpPr>
            <a:spLocks noChangeArrowheads="1"/>
          </p:cNvSpPr>
          <p:nvPr/>
        </p:nvSpPr>
        <p:spPr bwMode="blackWhite">
          <a:xfrm>
            <a:off x="6148388" y="2659063"/>
            <a:ext cx="2085975" cy="182562"/>
          </a:xfrm>
          <a:prstGeom prst="rect">
            <a:avLst/>
          </a:prstGeom>
          <a:noFill/>
          <a:ln>
            <a:noFill/>
          </a:ln>
          <a:effectLst>
            <a:outerShdw blurRad="63500" dist="17961" dir="2700000" algn="ctr" rotWithShape="0">
              <a:schemeClr val="bg1">
                <a:alpha val="74998"/>
              </a:schemeClr>
            </a:outerShdw>
          </a:effectLst>
          <a:extLst/>
        </p:spPr>
        <p:txBody>
          <a:bodyPr lIns="0" tIns="0" rIns="0" bIns="0" anchor="ctr" anchorCtr="1">
            <a:spAutoFit/>
          </a:bodyPr>
          <a:lstStyle/>
          <a:p>
            <a:pPr algn="ctr" defTabSz="787400" eaLnBrk="0" hangingPunct="0">
              <a:spcBef>
                <a:spcPct val="20000"/>
              </a:spcBef>
              <a:defRPr/>
            </a:pPr>
            <a:r>
              <a:rPr lang="en-US" sz="1200" b="1" i="1">
                <a:solidFill>
                  <a:srgbClr val="666666"/>
                </a:solidFill>
                <a:latin typeface="Arial" charset="0"/>
                <a:ea typeface="ＭＳ Ｐゴシック" charset="0"/>
                <a:cs typeface="Arial" charset="0"/>
              </a:rPr>
              <a:t>2009-2011</a:t>
            </a:r>
          </a:p>
        </p:txBody>
      </p:sp>
      <p:grpSp>
        <p:nvGrpSpPr>
          <p:cNvPr id="29708" name="Group 105"/>
          <p:cNvGrpSpPr>
            <a:grpSpLocks/>
          </p:cNvGrpSpPr>
          <p:nvPr/>
        </p:nvGrpSpPr>
        <p:grpSpPr bwMode="auto">
          <a:xfrm>
            <a:off x="8056563" y="693738"/>
            <a:ext cx="974725" cy="344487"/>
            <a:chOff x="220" y="1866"/>
            <a:chExt cx="5348" cy="1886"/>
          </a:xfrm>
        </p:grpSpPr>
        <p:sp>
          <p:nvSpPr>
            <p:cNvPr id="29709" name="Line 106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>
              <a:off x="3974" y="2414"/>
              <a:ext cx="157" cy="9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9710" name="Arc 107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2955" y="2361"/>
              <a:ext cx="470" cy="269"/>
            </a:xfrm>
            <a:custGeom>
              <a:avLst/>
              <a:gdLst>
                <a:gd name="T0" fmla="*/ 0 w 24969"/>
                <a:gd name="T1" fmla="*/ 0 h 21600"/>
                <a:gd name="T2" fmla="*/ 0 w 24969"/>
                <a:gd name="T3" fmla="*/ 0 h 21600"/>
                <a:gd name="T4" fmla="*/ 0 w 24969"/>
                <a:gd name="T5" fmla="*/ 0 h 21600"/>
                <a:gd name="T6" fmla="*/ 0 60000 65536"/>
                <a:gd name="T7" fmla="*/ 0 60000 65536"/>
                <a:gd name="T8" fmla="*/ 0 60000 65536"/>
                <a:gd name="T9" fmla="*/ 0 w 24969"/>
                <a:gd name="T10" fmla="*/ 0 h 21600"/>
                <a:gd name="T11" fmla="*/ 24969 w 24969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969" h="21600" fill="none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</a:path>
                <a:path w="24969" h="21600" stroke="0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  <a:lnTo>
                    <a:pt x="21594" y="21600"/>
                  </a:lnTo>
                  <a:lnTo>
                    <a:pt x="-1" y="21094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9711" name="Arc 108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624" y="1988"/>
              <a:ext cx="984" cy="548"/>
            </a:xfrm>
            <a:custGeom>
              <a:avLst/>
              <a:gdLst>
                <a:gd name="T0" fmla="*/ 0 w 24568"/>
                <a:gd name="T1" fmla="*/ 0 h 21600"/>
                <a:gd name="T2" fmla="*/ 0 w 24568"/>
                <a:gd name="T3" fmla="*/ 0 h 21600"/>
                <a:gd name="T4" fmla="*/ 0 w 24568"/>
                <a:gd name="T5" fmla="*/ 0 h 21600"/>
                <a:gd name="T6" fmla="*/ 0 60000 65536"/>
                <a:gd name="T7" fmla="*/ 0 60000 65536"/>
                <a:gd name="T8" fmla="*/ 0 60000 65536"/>
                <a:gd name="T9" fmla="*/ 0 w 24568"/>
                <a:gd name="T10" fmla="*/ 0 h 21600"/>
                <a:gd name="T11" fmla="*/ 24568 w 24568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568" h="21600" fill="none" extrusionOk="0">
                  <a:moveTo>
                    <a:pt x="-1" y="17428"/>
                  </a:moveTo>
                  <a:cubicBezTo>
                    <a:pt x="1992" y="7301"/>
                    <a:pt x="10871" y="-1"/>
                    <a:pt x="21193" y="-1"/>
                  </a:cubicBezTo>
                  <a:cubicBezTo>
                    <a:pt x="22323" y="-1"/>
                    <a:pt x="23451" y="88"/>
                    <a:pt x="24567" y="265"/>
                  </a:cubicBezTo>
                </a:path>
                <a:path w="24568" h="21600" stroke="0" extrusionOk="0">
                  <a:moveTo>
                    <a:pt x="-1" y="17428"/>
                  </a:moveTo>
                  <a:cubicBezTo>
                    <a:pt x="1992" y="7301"/>
                    <a:pt x="10871" y="-1"/>
                    <a:pt x="21193" y="-1"/>
                  </a:cubicBezTo>
                  <a:cubicBezTo>
                    <a:pt x="22323" y="-1"/>
                    <a:pt x="23451" y="88"/>
                    <a:pt x="24567" y="265"/>
                  </a:cubicBezTo>
                  <a:lnTo>
                    <a:pt x="21193" y="21600"/>
                  </a:lnTo>
                  <a:lnTo>
                    <a:pt x="-1" y="17428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9712" name="Freeform 109"/>
            <p:cNvSpPr>
              <a:spLocks/>
            </p:cNvSpPr>
            <p:nvPr>
              <p:custDataLst>
                <p:tags r:id="rId9"/>
              </p:custDataLst>
            </p:nvPr>
          </p:nvSpPr>
          <p:spPr bwMode="blackWhite">
            <a:xfrm>
              <a:off x="2546" y="1866"/>
              <a:ext cx="854" cy="678"/>
            </a:xfrm>
            <a:custGeom>
              <a:avLst/>
              <a:gdLst>
                <a:gd name="T0" fmla="*/ 0 w 854"/>
                <a:gd name="T1" fmla="*/ 570 h 675"/>
                <a:gd name="T2" fmla="*/ 660 w 854"/>
                <a:gd name="T3" fmla="*/ 567 h 675"/>
                <a:gd name="T4" fmla="*/ 660 w 854"/>
                <a:gd name="T5" fmla="*/ 690 h 675"/>
                <a:gd name="T6" fmla="*/ 854 w 854"/>
                <a:gd name="T7" fmla="*/ 334 h 675"/>
                <a:gd name="T8" fmla="*/ 662 w 854"/>
                <a:gd name="T9" fmla="*/ 0 h 675"/>
                <a:gd name="T10" fmla="*/ 663 w 854"/>
                <a:gd name="T11" fmla="*/ 131 h 675"/>
                <a:gd name="T12" fmla="*/ 12 w 854"/>
                <a:gd name="T13" fmla="*/ 131 h 675"/>
                <a:gd name="T14" fmla="*/ 124 w 854"/>
                <a:gd name="T15" fmla="*/ 331 h 675"/>
                <a:gd name="T16" fmla="*/ 0 w 854"/>
                <a:gd name="T17" fmla="*/ 570 h 6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54"/>
                <a:gd name="T28" fmla="*/ 0 h 675"/>
                <a:gd name="T29" fmla="*/ 854 w 854"/>
                <a:gd name="T30" fmla="*/ 675 h 6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54" h="675">
                  <a:moveTo>
                    <a:pt x="0" y="558"/>
                  </a:moveTo>
                  <a:lnTo>
                    <a:pt x="660" y="556"/>
                  </a:lnTo>
                  <a:lnTo>
                    <a:pt x="660" y="675"/>
                  </a:lnTo>
                  <a:lnTo>
                    <a:pt x="854" y="329"/>
                  </a:lnTo>
                  <a:lnTo>
                    <a:pt x="662" y="0"/>
                  </a:lnTo>
                  <a:lnTo>
                    <a:pt x="663" y="126"/>
                  </a:lnTo>
                  <a:lnTo>
                    <a:pt x="12" y="126"/>
                  </a:lnTo>
                  <a:lnTo>
                    <a:pt x="124" y="3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chemeClr val="accent2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713" name="Arc 110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455" y="1988"/>
              <a:ext cx="984" cy="548"/>
            </a:xfrm>
            <a:custGeom>
              <a:avLst/>
              <a:gdLst>
                <a:gd name="T0" fmla="*/ 0 w 24961"/>
                <a:gd name="T1" fmla="*/ 0 h 21600"/>
                <a:gd name="T2" fmla="*/ 0 w 24961"/>
                <a:gd name="T3" fmla="*/ 0 h 21600"/>
                <a:gd name="T4" fmla="*/ 0 w 24961"/>
                <a:gd name="T5" fmla="*/ 0 h 21600"/>
                <a:gd name="T6" fmla="*/ 0 60000 65536"/>
                <a:gd name="T7" fmla="*/ 0 60000 65536"/>
                <a:gd name="T8" fmla="*/ 0 60000 65536"/>
                <a:gd name="T9" fmla="*/ 0 w 24961"/>
                <a:gd name="T10" fmla="*/ 0 h 21600"/>
                <a:gd name="T11" fmla="*/ 24961 w 24961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961" h="21600" fill="none" extrusionOk="0">
                  <a:moveTo>
                    <a:pt x="-1" y="20825"/>
                  </a:moveTo>
                  <a:cubicBezTo>
                    <a:pt x="416" y="9205"/>
                    <a:pt x="9957" y="-1"/>
                    <a:pt x="21586" y="-1"/>
                  </a:cubicBezTo>
                  <a:cubicBezTo>
                    <a:pt x="22716" y="-1"/>
                    <a:pt x="23844" y="88"/>
                    <a:pt x="24960" y="265"/>
                  </a:cubicBezTo>
                </a:path>
                <a:path w="24961" h="21600" stroke="0" extrusionOk="0">
                  <a:moveTo>
                    <a:pt x="-1" y="20825"/>
                  </a:moveTo>
                  <a:cubicBezTo>
                    <a:pt x="416" y="9205"/>
                    <a:pt x="9957" y="-1"/>
                    <a:pt x="21586" y="-1"/>
                  </a:cubicBezTo>
                  <a:cubicBezTo>
                    <a:pt x="22716" y="-1"/>
                    <a:pt x="23844" y="88"/>
                    <a:pt x="24960" y="265"/>
                  </a:cubicBezTo>
                  <a:lnTo>
                    <a:pt x="21586" y="21600"/>
                  </a:lnTo>
                  <a:lnTo>
                    <a:pt x="-1" y="20825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9714" name="Arc 111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812" y="2387"/>
              <a:ext cx="479" cy="278"/>
            </a:xfrm>
            <a:custGeom>
              <a:avLst/>
              <a:gdLst>
                <a:gd name="T0" fmla="*/ 0 w 24969"/>
                <a:gd name="T1" fmla="*/ 0 h 21600"/>
                <a:gd name="T2" fmla="*/ 0 w 24969"/>
                <a:gd name="T3" fmla="*/ 0 h 21600"/>
                <a:gd name="T4" fmla="*/ 0 w 24969"/>
                <a:gd name="T5" fmla="*/ 0 h 21600"/>
                <a:gd name="T6" fmla="*/ 0 60000 65536"/>
                <a:gd name="T7" fmla="*/ 0 60000 65536"/>
                <a:gd name="T8" fmla="*/ 0 60000 65536"/>
                <a:gd name="T9" fmla="*/ 0 w 24969"/>
                <a:gd name="T10" fmla="*/ 0 h 21600"/>
                <a:gd name="T11" fmla="*/ 24969 w 24969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969" h="21600" fill="none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</a:path>
                <a:path w="24969" h="21600" stroke="0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  <a:lnTo>
                    <a:pt x="21594" y="21600"/>
                  </a:lnTo>
                  <a:lnTo>
                    <a:pt x="-1" y="21094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9715" name="Freeform 112"/>
            <p:cNvSpPr>
              <a:spLocks/>
            </p:cNvSpPr>
            <p:nvPr>
              <p:custDataLst>
                <p:tags r:id="rId12"/>
              </p:custDataLst>
            </p:nvPr>
          </p:nvSpPr>
          <p:spPr bwMode="blackWhite">
            <a:xfrm>
              <a:off x="2354" y="2379"/>
              <a:ext cx="723" cy="982"/>
            </a:xfrm>
            <a:custGeom>
              <a:avLst/>
              <a:gdLst>
                <a:gd name="T0" fmla="*/ 185 w 933"/>
                <a:gd name="T1" fmla="*/ 0 h 1276"/>
                <a:gd name="T2" fmla="*/ 44 w 933"/>
                <a:gd name="T3" fmla="*/ 1 h 1276"/>
                <a:gd name="T4" fmla="*/ 88 w 933"/>
                <a:gd name="T5" fmla="*/ 25 h 1276"/>
                <a:gd name="T6" fmla="*/ 178 w 933"/>
                <a:gd name="T7" fmla="*/ 345 h 1276"/>
                <a:gd name="T8" fmla="*/ 190 w 933"/>
                <a:gd name="T9" fmla="*/ 264 h 1276"/>
                <a:gd name="T10" fmla="*/ 260 w 933"/>
                <a:gd name="T11" fmla="*/ 235 h 1276"/>
                <a:gd name="T12" fmla="*/ 234 w 933"/>
                <a:gd name="T13" fmla="*/ 211 h 1276"/>
                <a:gd name="T14" fmla="*/ 220 w 933"/>
                <a:gd name="T15" fmla="*/ 192 h 1276"/>
                <a:gd name="T16" fmla="*/ 210 w 933"/>
                <a:gd name="T17" fmla="*/ 162 h 1276"/>
                <a:gd name="T18" fmla="*/ 211 w 933"/>
                <a:gd name="T19" fmla="*/ 94 h 1276"/>
                <a:gd name="T20" fmla="*/ 257 w 933"/>
                <a:gd name="T21" fmla="*/ 119 h 1276"/>
                <a:gd name="T22" fmla="*/ 185 w 933"/>
                <a:gd name="T23" fmla="*/ 0 h 127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33"/>
                <a:gd name="T37" fmla="*/ 0 h 1276"/>
                <a:gd name="T38" fmla="*/ 933 w 933"/>
                <a:gd name="T39" fmla="*/ 1276 h 127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33" h="1276">
                  <a:moveTo>
                    <a:pt x="662" y="0"/>
                  </a:moveTo>
                  <a:lnTo>
                    <a:pt x="156" y="1"/>
                  </a:lnTo>
                  <a:lnTo>
                    <a:pt x="314" y="93"/>
                  </a:lnTo>
                  <a:cubicBezTo>
                    <a:pt x="314" y="93"/>
                    <a:pt x="0" y="771"/>
                    <a:pt x="637" y="1276"/>
                  </a:cubicBezTo>
                  <a:lnTo>
                    <a:pt x="679" y="978"/>
                  </a:lnTo>
                  <a:cubicBezTo>
                    <a:pt x="679" y="978"/>
                    <a:pt x="813" y="923"/>
                    <a:pt x="933" y="872"/>
                  </a:cubicBezTo>
                  <a:cubicBezTo>
                    <a:pt x="885" y="843"/>
                    <a:pt x="838" y="779"/>
                    <a:pt x="838" y="779"/>
                  </a:cubicBezTo>
                  <a:lnTo>
                    <a:pt x="788" y="711"/>
                  </a:lnTo>
                  <a:lnTo>
                    <a:pt x="752" y="600"/>
                  </a:lnTo>
                  <a:cubicBezTo>
                    <a:pt x="752" y="600"/>
                    <a:pt x="719" y="481"/>
                    <a:pt x="755" y="348"/>
                  </a:cubicBezTo>
                  <a:cubicBezTo>
                    <a:pt x="839" y="395"/>
                    <a:pt x="923" y="444"/>
                    <a:pt x="923" y="444"/>
                  </a:cubicBezTo>
                  <a:lnTo>
                    <a:pt x="662" y="0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716" name="Freeform 113"/>
            <p:cNvSpPr>
              <a:spLocks/>
            </p:cNvSpPr>
            <p:nvPr>
              <p:custDataLst>
                <p:tags r:id="rId13"/>
              </p:custDataLst>
            </p:nvPr>
          </p:nvSpPr>
          <p:spPr bwMode="blackWhite">
            <a:xfrm rot="4209998">
              <a:off x="86" y="2643"/>
              <a:ext cx="1139" cy="784"/>
            </a:xfrm>
            <a:custGeom>
              <a:avLst/>
              <a:gdLst>
                <a:gd name="T0" fmla="*/ 16 w 1485"/>
                <a:gd name="T1" fmla="*/ 66 h 1021"/>
                <a:gd name="T2" fmla="*/ 0 w 1485"/>
                <a:gd name="T3" fmla="*/ 203 h 1021"/>
                <a:gd name="T4" fmla="*/ 31 w 1485"/>
                <a:gd name="T5" fmla="*/ 161 h 1021"/>
                <a:gd name="T6" fmla="*/ 394 w 1485"/>
                <a:gd name="T7" fmla="*/ 39 h 1021"/>
                <a:gd name="T8" fmla="*/ 311 w 1485"/>
                <a:gd name="T9" fmla="*/ 56 h 1021"/>
                <a:gd name="T10" fmla="*/ 265 w 1485"/>
                <a:gd name="T11" fmla="*/ 0 h 1021"/>
                <a:gd name="T12" fmla="*/ 229 w 1485"/>
                <a:gd name="T13" fmla="*/ 37 h 1021"/>
                <a:gd name="T14" fmla="*/ 206 w 1485"/>
                <a:gd name="T15" fmla="*/ 51 h 1021"/>
                <a:gd name="T16" fmla="*/ 170 w 1485"/>
                <a:gd name="T17" fmla="*/ 61 h 1021"/>
                <a:gd name="T18" fmla="*/ 115 w 1485"/>
                <a:gd name="T19" fmla="*/ 51 h 1021"/>
                <a:gd name="T20" fmla="*/ 142 w 1485"/>
                <a:gd name="T21" fmla="*/ 15 h 1021"/>
                <a:gd name="T22" fmla="*/ 16 w 1485"/>
                <a:gd name="T23" fmla="*/ 66 h 10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85"/>
                <a:gd name="T37" fmla="*/ 0 h 1021"/>
                <a:gd name="T38" fmla="*/ 1485 w 1485"/>
                <a:gd name="T39" fmla="*/ 1021 h 102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85" h="1021">
                  <a:moveTo>
                    <a:pt x="61" y="248"/>
                  </a:moveTo>
                  <a:lnTo>
                    <a:pt x="0" y="762"/>
                  </a:lnTo>
                  <a:cubicBezTo>
                    <a:pt x="0" y="762"/>
                    <a:pt x="59" y="684"/>
                    <a:pt x="118" y="606"/>
                  </a:cubicBezTo>
                  <a:cubicBezTo>
                    <a:pt x="136" y="628"/>
                    <a:pt x="994" y="1021"/>
                    <a:pt x="1485" y="146"/>
                  </a:cubicBezTo>
                  <a:lnTo>
                    <a:pt x="1170" y="210"/>
                  </a:lnTo>
                  <a:cubicBezTo>
                    <a:pt x="1170" y="210"/>
                    <a:pt x="1084" y="105"/>
                    <a:pt x="999" y="0"/>
                  </a:cubicBezTo>
                  <a:cubicBezTo>
                    <a:pt x="946" y="83"/>
                    <a:pt x="860" y="137"/>
                    <a:pt x="860" y="137"/>
                  </a:cubicBezTo>
                  <a:lnTo>
                    <a:pt x="778" y="190"/>
                  </a:lnTo>
                  <a:lnTo>
                    <a:pt x="638" y="226"/>
                  </a:lnTo>
                  <a:cubicBezTo>
                    <a:pt x="581" y="226"/>
                    <a:pt x="452" y="219"/>
                    <a:pt x="435" y="191"/>
                  </a:cubicBezTo>
                  <a:cubicBezTo>
                    <a:pt x="485" y="124"/>
                    <a:pt x="535" y="57"/>
                    <a:pt x="535" y="57"/>
                  </a:cubicBezTo>
                  <a:lnTo>
                    <a:pt x="61" y="248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717" name="Freeform 114"/>
            <p:cNvSpPr>
              <a:spLocks/>
            </p:cNvSpPr>
            <p:nvPr>
              <p:custDataLst>
                <p:tags r:id="rId14"/>
              </p:custDataLst>
            </p:nvPr>
          </p:nvSpPr>
          <p:spPr bwMode="blackWhite">
            <a:xfrm>
              <a:off x="1074" y="2005"/>
              <a:ext cx="862" cy="1608"/>
            </a:xfrm>
            <a:custGeom>
              <a:avLst/>
              <a:gdLst>
                <a:gd name="T0" fmla="*/ 182 w 976"/>
                <a:gd name="T1" fmla="*/ 913 h 1811"/>
                <a:gd name="T2" fmla="*/ 242 w 976"/>
                <a:gd name="T3" fmla="*/ 890 h 1811"/>
                <a:gd name="T4" fmla="*/ 297 w 976"/>
                <a:gd name="T5" fmla="*/ 859 h 1811"/>
                <a:gd name="T6" fmla="*/ 351 w 976"/>
                <a:gd name="T7" fmla="*/ 820 h 1811"/>
                <a:gd name="T8" fmla="*/ 397 w 976"/>
                <a:gd name="T9" fmla="*/ 776 h 1811"/>
                <a:gd name="T10" fmla="*/ 439 w 976"/>
                <a:gd name="T11" fmla="*/ 725 h 1811"/>
                <a:gd name="T12" fmla="*/ 474 w 976"/>
                <a:gd name="T13" fmla="*/ 668 h 1811"/>
                <a:gd name="T14" fmla="*/ 498 w 976"/>
                <a:gd name="T15" fmla="*/ 607 h 1811"/>
                <a:gd name="T16" fmla="*/ 517 w 976"/>
                <a:gd name="T17" fmla="*/ 543 h 1811"/>
                <a:gd name="T18" fmla="*/ 524 w 976"/>
                <a:gd name="T19" fmla="*/ 478 h 1811"/>
                <a:gd name="T20" fmla="*/ 522 w 976"/>
                <a:gd name="T21" fmla="*/ 411 h 1811"/>
                <a:gd name="T22" fmla="*/ 510 w 976"/>
                <a:gd name="T23" fmla="*/ 345 h 1811"/>
                <a:gd name="T24" fmla="*/ 491 w 976"/>
                <a:gd name="T25" fmla="*/ 282 h 1811"/>
                <a:gd name="T26" fmla="*/ 462 w 976"/>
                <a:gd name="T27" fmla="*/ 222 h 1811"/>
                <a:gd name="T28" fmla="*/ 424 w 976"/>
                <a:gd name="T29" fmla="*/ 168 h 1811"/>
                <a:gd name="T30" fmla="*/ 381 w 976"/>
                <a:gd name="T31" fmla="*/ 119 h 1811"/>
                <a:gd name="T32" fmla="*/ 330 w 976"/>
                <a:gd name="T33" fmla="*/ 78 h 1811"/>
                <a:gd name="T34" fmla="*/ 274 w 976"/>
                <a:gd name="T35" fmla="*/ 45 h 1811"/>
                <a:gd name="T36" fmla="*/ 215 w 976"/>
                <a:gd name="T37" fmla="*/ 20 h 1811"/>
                <a:gd name="T38" fmla="*/ 150 w 976"/>
                <a:gd name="T39" fmla="*/ 4 h 1811"/>
                <a:gd name="T40" fmla="*/ 158 w 976"/>
                <a:gd name="T41" fmla="*/ 61 h 1811"/>
                <a:gd name="T42" fmla="*/ 122 w 976"/>
                <a:gd name="T43" fmla="*/ 240 h 1811"/>
                <a:gd name="T44" fmla="*/ 163 w 976"/>
                <a:gd name="T45" fmla="*/ 256 h 1811"/>
                <a:gd name="T46" fmla="*/ 204 w 976"/>
                <a:gd name="T47" fmla="*/ 280 h 1811"/>
                <a:gd name="T48" fmla="*/ 237 w 976"/>
                <a:gd name="T49" fmla="*/ 313 h 1811"/>
                <a:gd name="T50" fmla="*/ 263 w 976"/>
                <a:gd name="T51" fmla="*/ 352 h 1811"/>
                <a:gd name="T52" fmla="*/ 280 w 976"/>
                <a:gd name="T53" fmla="*/ 396 h 1811"/>
                <a:gd name="T54" fmla="*/ 290 w 976"/>
                <a:gd name="T55" fmla="*/ 441 h 1811"/>
                <a:gd name="T56" fmla="*/ 288 w 976"/>
                <a:gd name="T57" fmla="*/ 489 h 1811"/>
                <a:gd name="T58" fmla="*/ 278 w 976"/>
                <a:gd name="T59" fmla="*/ 535 h 1811"/>
                <a:gd name="T60" fmla="*/ 259 w 976"/>
                <a:gd name="T61" fmla="*/ 578 h 1811"/>
                <a:gd name="T62" fmla="*/ 231 w 976"/>
                <a:gd name="T63" fmla="*/ 615 h 1811"/>
                <a:gd name="T64" fmla="*/ 197 w 976"/>
                <a:gd name="T65" fmla="*/ 646 h 1811"/>
                <a:gd name="T66" fmla="*/ 157 w 976"/>
                <a:gd name="T67" fmla="*/ 671 h 1811"/>
                <a:gd name="T68" fmla="*/ 136 w 976"/>
                <a:gd name="T69" fmla="*/ 602 h 1811"/>
                <a:gd name="T70" fmla="*/ 150 w 976"/>
                <a:gd name="T71" fmla="*/ 999 h 181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76"/>
                <a:gd name="T109" fmla="*/ 0 h 1811"/>
                <a:gd name="T110" fmla="*/ 976 w 976"/>
                <a:gd name="T111" fmla="*/ 1811 h 181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76" h="1811">
                  <a:moveTo>
                    <a:pt x="279" y="1669"/>
                  </a:moveTo>
                  <a:lnTo>
                    <a:pt x="338" y="1654"/>
                  </a:lnTo>
                  <a:lnTo>
                    <a:pt x="394" y="1635"/>
                  </a:lnTo>
                  <a:lnTo>
                    <a:pt x="449" y="1612"/>
                  </a:lnTo>
                  <a:lnTo>
                    <a:pt x="502" y="1585"/>
                  </a:lnTo>
                  <a:lnTo>
                    <a:pt x="553" y="1555"/>
                  </a:lnTo>
                  <a:lnTo>
                    <a:pt x="601" y="1520"/>
                  </a:lnTo>
                  <a:lnTo>
                    <a:pt x="651" y="1485"/>
                  </a:lnTo>
                  <a:lnTo>
                    <a:pt x="697" y="1447"/>
                  </a:lnTo>
                  <a:lnTo>
                    <a:pt x="741" y="1405"/>
                  </a:lnTo>
                  <a:lnTo>
                    <a:pt x="782" y="1361"/>
                  </a:lnTo>
                  <a:lnTo>
                    <a:pt x="818" y="1313"/>
                  </a:lnTo>
                  <a:lnTo>
                    <a:pt x="851" y="1263"/>
                  </a:lnTo>
                  <a:lnTo>
                    <a:pt x="882" y="1210"/>
                  </a:lnTo>
                  <a:lnTo>
                    <a:pt x="908" y="1156"/>
                  </a:lnTo>
                  <a:lnTo>
                    <a:pt x="929" y="1100"/>
                  </a:lnTo>
                  <a:lnTo>
                    <a:pt x="947" y="1043"/>
                  </a:lnTo>
                  <a:lnTo>
                    <a:pt x="961" y="984"/>
                  </a:lnTo>
                  <a:lnTo>
                    <a:pt x="970" y="924"/>
                  </a:lnTo>
                  <a:lnTo>
                    <a:pt x="975" y="865"/>
                  </a:lnTo>
                  <a:lnTo>
                    <a:pt x="975" y="804"/>
                  </a:lnTo>
                  <a:lnTo>
                    <a:pt x="972" y="744"/>
                  </a:lnTo>
                  <a:lnTo>
                    <a:pt x="963" y="685"/>
                  </a:lnTo>
                  <a:lnTo>
                    <a:pt x="950" y="625"/>
                  </a:lnTo>
                  <a:lnTo>
                    <a:pt x="935" y="567"/>
                  </a:lnTo>
                  <a:lnTo>
                    <a:pt x="913" y="511"/>
                  </a:lnTo>
                  <a:lnTo>
                    <a:pt x="889" y="456"/>
                  </a:lnTo>
                  <a:lnTo>
                    <a:pt x="859" y="403"/>
                  </a:lnTo>
                  <a:lnTo>
                    <a:pt x="826" y="352"/>
                  </a:lnTo>
                  <a:lnTo>
                    <a:pt x="790" y="304"/>
                  </a:lnTo>
                  <a:lnTo>
                    <a:pt x="751" y="259"/>
                  </a:lnTo>
                  <a:lnTo>
                    <a:pt x="708" y="216"/>
                  </a:lnTo>
                  <a:lnTo>
                    <a:pt x="662" y="178"/>
                  </a:lnTo>
                  <a:lnTo>
                    <a:pt x="614" y="142"/>
                  </a:lnTo>
                  <a:lnTo>
                    <a:pt x="563" y="109"/>
                  </a:lnTo>
                  <a:lnTo>
                    <a:pt x="510" y="81"/>
                  </a:lnTo>
                  <a:lnTo>
                    <a:pt x="455" y="56"/>
                  </a:lnTo>
                  <a:lnTo>
                    <a:pt x="398" y="36"/>
                  </a:lnTo>
                  <a:lnTo>
                    <a:pt x="340" y="20"/>
                  </a:lnTo>
                  <a:lnTo>
                    <a:pt x="281" y="8"/>
                  </a:lnTo>
                  <a:lnTo>
                    <a:pt x="222" y="0"/>
                  </a:lnTo>
                  <a:lnTo>
                    <a:pt x="294" y="112"/>
                  </a:lnTo>
                  <a:lnTo>
                    <a:pt x="369" y="222"/>
                  </a:lnTo>
                  <a:lnTo>
                    <a:pt x="226" y="434"/>
                  </a:lnTo>
                  <a:lnTo>
                    <a:pt x="268" y="446"/>
                  </a:lnTo>
                  <a:lnTo>
                    <a:pt x="306" y="463"/>
                  </a:lnTo>
                  <a:lnTo>
                    <a:pt x="344" y="483"/>
                  </a:lnTo>
                  <a:lnTo>
                    <a:pt x="379" y="508"/>
                  </a:lnTo>
                  <a:lnTo>
                    <a:pt x="411" y="536"/>
                  </a:lnTo>
                  <a:lnTo>
                    <a:pt x="440" y="567"/>
                  </a:lnTo>
                  <a:lnTo>
                    <a:pt x="467" y="601"/>
                  </a:lnTo>
                  <a:lnTo>
                    <a:pt x="489" y="637"/>
                  </a:lnTo>
                  <a:lnTo>
                    <a:pt x="508" y="676"/>
                  </a:lnTo>
                  <a:lnTo>
                    <a:pt x="521" y="716"/>
                  </a:lnTo>
                  <a:lnTo>
                    <a:pt x="531" y="758"/>
                  </a:lnTo>
                  <a:lnTo>
                    <a:pt x="538" y="801"/>
                  </a:lnTo>
                  <a:lnTo>
                    <a:pt x="539" y="843"/>
                  </a:lnTo>
                  <a:lnTo>
                    <a:pt x="536" y="886"/>
                  </a:lnTo>
                  <a:lnTo>
                    <a:pt x="529" y="928"/>
                  </a:lnTo>
                  <a:lnTo>
                    <a:pt x="517" y="969"/>
                  </a:lnTo>
                  <a:lnTo>
                    <a:pt x="501" y="1009"/>
                  </a:lnTo>
                  <a:lnTo>
                    <a:pt x="482" y="1046"/>
                  </a:lnTo>
                  <a:lnTo>
                    <a:pt x="458" y="1082"/>
                  </a:lnTo>
                  <a:lnTo>
                    <a:pt x="431" y="1115"/>
                  </a:lnTo>
                  <a:lnTo>
                    <a:pt x="401" y="1145"/>
                  </a:lnTo>
                  <a:lnTo>
                    <a:pt x="367" y="1172"/>
                  </a:lnTo>
                  <a:lnTo>
                    <a:pt x="331" y="1196"/>
                  </a:lnTo>
                  <a:lnTo>
                    <a:pt x="293" y="1215"/>
                  </a:lnTo>
                  <a:lnTo>
                    <a:pt x="253" y="1230"/>
                  </a:lnTo>
                  <a:lnTo>
                    <a:pt x="253" y="1093"/>
                  </a:lnTo>
                  <a:lnTo>
                    <a:pt x="0" y="1420"/>
                  </a:lnTo>
                  <a:lnTo>
                    <a:pt x="279" y="1810"/>
                  </a:lnTo>
                  <a:lnTo>
                    <a:pt x="279" y="1669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718" name="Freeform 115"/>
            <p:cNvSpPr>
              <a:spLocks/>
            </p:cNvSpPr>
            <p:nvPr>
              <p:custDataLst>
                <p:tags r:id="rId15"/>
              </p:custDataLst>
            </p:nvPr>
          </p:nvSpPr>
          <p:spPr bwMode="blackWhite">
            <a:xfrm>
              <a:off x="1431" y="1866"/>
              <a:ext cx="1167" cy="678"/>
            </a:xfrm>
            <a:custGeom>
              <a:avLst/>
              <a:gdLst>
                <a:gd name="T0" fmla="*/ 214 w 1429"/>
                <a:gd name="T1" fmla="*/ 249 h 830"/>
                <a:gd name="T2" fmla="*/ 433 w 1429"/>
                <a:gd name="T3" fmla="*/ 249 h 830"/>
                <a:gd name="T4" fmla="*/ 433 w 1429"/>
                <a:gd name="T5" fmla="*/ 302 h 830"/>
                <a:gd name="T6" fmla="*/ 519 w 1429"/>
                <a:gd name="T7" fmla="*/ 148 h 830"/>
                <a:gd name="T8" fmla="*/ 433 w 1429"/>
                <a:gd name="T9" fmla="*/ 0 h 830"/>
                <a:gd name="T10" fmla="*/ 434 w 1429"/>
                <a:gd name="T11" fmla="*/ 56 h 830"/>
                <a:gd name="T12" fmla="*/ 0 w 1429"/>
                <a:gd name="T13" fmla="*/ 56 h 830"/>
                <a:gd name="T14" fmla="*/ 214 w 1429"/>
                <a:gd name="T15" fmla="*/ 249 h 8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29"/>
                <a:gd name="T25" fmla="*/ 0 h 830"/>
                <a:gd name="T26" fmla="*/ 1429 w 1429"/>
                <a:gd name="T27" fmla="*/ 830 h 83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29" h="830">
                  <a:moveTo>
                    <a:pt x="589" y="684"/>
                  </a:moveTo>
                  <a:cubicBezTo>
                    <a:pt x="886" y="685"/>
                    <a:pt x="1191" y="684"/>
                    <a:pt x="1191" y="684"/>
                  </a:cubicBezTo>
                  <a:lnTo>
                    <a:pt x="1191" y="830"/>
                  </a:lnTo>
                  <a:lnTo>
                    <a:pt x="1429" y="404"/>
                  </a:lnTo>
                  <a:lnTo>
                    <a:pt x="1193" y="0"/>
                  </a:lnTo>
                  <a:lnTo>
                    <a:pt x="1194" y="155"/>
                  </a:lnTo>
                  <a:lnTo>
                    <a:pt x="0" y="154"/>
                  </a:lnTo>
                  <a:cubicBezTo>
                    <a:pt x="0" y="154"/>
                    <a:pt x="411" y="237"/>
                    <a:pt x="589" y="684"/>
                  </a:cubicBez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719" name="Freeform 116"/>
            <p:cNvSpPr>
              <a:spLocks/>
            </p:cNvSpPr>
            <p:nvPr>
              <p:custDataLst>
                <p:tags r:id="rId16"/>
              </p:custDataLst>
            </p:nvPr>
          </p:nvSpPr>
          <p:spPr bwMode="blackWhite">
            <a:xfrm>
              <a:off x="2859" y="2970"/>
              <a:ext cx="1150" cy="782"/>
            </a:xfrm>
            <a:custGeom>
              <a:avLst/>
              <a:gdLst>
                <a:gd name="T0" fmla="*/ 17 w 1485"/>
                <a:gd name="T1" fmla="*/ 66 h 1021"/>
                <a:gd name="T2" fmla="*/ 0 w 1485"/>
                <a:gd name="T3" fmla="*/ 201 h 1021"/>
                <a:gd name="T4" fmla="*/ 33 w 1485"/>
                <a:gd name="T5" fmla="*/ 159 h 1021"/>
                <a:gd name="T6" fmla="*/ 414 w 1485"/>
                <a:gd name="T7" fmla="*/ 39 h 1021"/>
                <a:gd name="T8" fmla="*/ 326 w 1485"/>
                <a:gd name="T9" fmla="*/ 55 h 1021"/>
                <a:gd name="T10" fmla="*/ 278 w 1485"/>
                <a:gd name="T11" fmla="*/ 0 h 1021"/>
                <a:gd name="T12" fmla="*/ 240 w 1485"/>
                <a:gd name="T13" fmla="*/ 36 h 1021"/>
                <a:gd name="T14" fmla="*/ 217 w 1485"/>
                <a:gd name="T15" fmla="*/ 51 h 1021"/>
                <a:gd name="T16" fmla="*/ 178 w 1485"/>
                <a:gd name="T17" fmla="*/ 60 h 1021"/>
                <a:gd name="T18" fmla="*/ 121 w 1485"/>
                <a:gd name="T19" fmla="*/ 51 h 1021"/>
                <a:gd name="T20" fmla="*/ 149 w 1485"/>
                <a:gd name="T21" fmla="*/ 15 h 1021"/>
                <a:gd name="T22" fmla="*/ 17 w 1485"/>
                <a:gd name="T23" fmla="*/ 66 h 10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85"/>
                <a:gd name="T37" fmla="*/ 0 h 1021"/>
                <a:gd name="T38" fmla="*/ 1485 w 1485"/>
                <a:gd name="T39" fmla="*/ 1021 h 102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85" h="1021">
                  <a:moveTo>
                    <a:pt x="61" y="248"/>
                  </a:moveTo>
                  <a:lnTo>
                    <a:pt x="0" y="762"/>
                  </a:lnTo>
                  <a:cubicBezTo>
                    <a:pt x="0" y="762"/>
                    <a:pt x="59" y="684"/>
                    <a:pt x="118" y="606"/>
                  </a:cubicBezTo>
                  <a:cubicBezTo>
                    <a:pt x="136" y="628"/>
                    <a:pt x="994" y="1021"/>
                    <a:pt x="1485" y="146"/>
                  </a:cubicBezTo>
                  <a:lnTo>
                    <a:pt x="1170" y="210"/>
                  </a:lnTo>
                  <a:cubicBezTo>
                    <a:pt x="1170" y="210"/>
                    <a:pt x="1084" y="105"/>
                    <a:pt x="999" y="0"/>
                  </a:cubicBezTo>
                  <a:cubicBezTo>
                    <a:pt x="946" y="83"/>
                    <a:pt x="860" y="137"/>
                    <a:pt x="860" y="137"/>
                  </a:cubicBezTo>
                  <a:lnTo>
                    <a:pt x="778" y="190"/>
                  </a:lnTo>
                  <a:lnTo>
                    <a:pt x="638" y="226"/>
                  </a:lnTo>
                  <a:cubicBezTo>
                    <a:pt x="581" y="226"/>
                    <a:pt x="452" y="219"/>
                    <a:pt x="435" y="191"/>
                  </a:cubicBezTo>
                  <a:cubicBezTo>
                    <a:pt x="485" y="124"/>
                    <a:pt x="535" y="57"/>
                    <a:pt x="535" y="57"/>
                  </a:cubicBezTo>
                  <a:lnTo>
                    <a:pt x="61" y="248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720" name="Freeform 117"/>
            <p:cNvSpPr>
              <a:spLocks/>
            </p:cNvSpPr>
            <p:nvPr>
              <p:custDataLst>
                <p:tags r:id="rId17"/>
              </p:custDataLst>
            </p:nvPr>
          </p:nvSpPr>
          <p:spPr bwMode="blackWhite">
            <a:xfrm>
              <a:off x="3617" y="1866"/>
              <a:ext cx="1158" cy="678"/>
            </a:xfrm>
            <a:custGeom>
              <a:avLst/>
              <a:gdLst>
                <a:gd name="T0" fmla="*/ 206 w 1429"/>
                <a:gd name="T1" fmla="*/ 249 h 830"/>
                <a:gd name="T2" fmla="*/ 417 w 1429"/>
                <a:gd name="T3" fmla="*/ 249 h 830"/>
                <a:gd name="T4" fmla="*/ 417 w 1429"/>
                <a:gd name="T5" fmla="*/ 302 h 830"/>
                <a:gd name="T6" fmla="*/ 499 w 1429"/>
                <a:gd name="T7" fmla="*/ 148 h 830"/>
                <a:gd name="T8" fmla="*/ 417 w 1429"/>
                <a:gd name="T9" fmla="*/ 0 h 830"/>
                <a:gd name="T10" fmla="*/ 417 w 1429"/>
                <a:gd name="T11" fmla="*/ 56 h 830"/>
                <a:gd name="T12" fmla="*/ 0 w 1429"/>
                <a:gd name="T13" fmla="*/ 56 h 830"/>
                <a:gd name="T14" fmla="*/ 206 w 1429"/>
                <a:gd name="T15" fmla="*/ 249 h 8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29"/>
                <a:gd name="T25" fmla="*/ 0 h 830"/>
                <a:gd name="T26" fmla="*/ 1429 w 1429"/>
                <a:gd name="T27" fmla="*/ 830 h 83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29" h="830">
                  <a:moveTo>
                    <a:pt x="589" y="684"/>
                  </a:moveTo>
                  <a:cubicBezTo>
                    <a:pt x="886" y="685"/>
                    <a:pt x="1191" y="684"/>
                    <a:pt x="1191" y="684"/>
                  </a:cubicBezTo>
                  <a:lnTo>
                    <a:pt x="1191" y="830"/>
                  </a:lnTo>
                  <a:lnTo>
                    <a:pt x="1429" y="404"/>
                  </a:lnTo>
                  <a:lnTo>
                    <a:pt x="1193" y="0"/>
                  </a:lnTo>
                  <a:lnTo>
                    <a:pt x="1194" y="155"/>
                  </a:lnTo>
                  <a:lnTo>
                    <a:pt x="0" y="154"/>
                  </a:lnTo>
                  <a:cubicBezTo>
                    <a:pt x="0" y="154"/>
                    <a:pt x="411" y="237"/>
                    <a:pt x="589" y="684"/>
                  </a:cubicBez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721" name="Freeform 118"/>
            <p:cNvSpPr>
              <a:spLocks/>
            </p:cNvSpPr>
            <p:nvPr>
              <p:custDataLst>
                <p:tags r:id="rId18"/>
              </p:custDataLst>
            </p:nvPr>
          </p:nvSpPr>
          <p:spPr bwMode="blackWhite">
            <a:xfrm>
              <a:off x="3312" y="1979"/>
              <a:ext cx="862" cy="1112"/>
            </a:xfrm>
            <a:custGeom>
              <a:avLst/>
              <a:gdLst>
                <a:gd name="T0" fmla="*/ 168 w 1115"/>
                <a:gd name="T1" fmla="*/ 394 h 1441"/>
                <a:gd name="T2" fmla="*/ 308 w 1115"/>
                <a:gd name="T3" fmla="*/ 361 h 1441"/>
                <a:gd name="T4" fmla="*/ 264 w 1115"/>
                <a:gd name="T5" fmla="*/ 349 h 1441"/>
                <a:gd name="T6" fmla="*/ 0 w 1115"/>
                <a:gd name="T7" fmla="*/ 0 h 1441"/>
                <a:gd name="T8" fmla="*/ 49 w 1115"/>
                <a:gd name="T9" fmla="*/ 66 h 1441"/>
                <a:gd name="T10" fmla="*/ 19 w 1115"/>
                <a:gd name="T11" fmla="*/ 137 h 1441"/>
                <a:gd name="T12" fmla="*/ 99 w 1115"/>
                <a:gd name="T13" fmla="*/ 179 h 1441"/>
                <a:gd name="T14" fmla="*/ 119 w 1115"/>
                <a:gd name="T15" fmla="*/ 202 h 1441"/>
                <a:gd name="T16" fmla="*/ 130 w 1115"/>
                <a:gd name="T17" fmla="*/ 229 h 1441"/>
                <a:gd name="T18" fmla="*/ 132 w 1115"/>
                <a:gd name="T19" fmla="*/ 305 h 1441"/>
                <a:gd name="T20" fmla="*/ 80 w 1115"/>
                <a:gd name="T21" fmla="*/ 290 h 1441"/>
                <a:gd name="T22" fmla="*/ 168 w 1115"/>
                <a:gd name="T23" fmla="*/ 394 h 144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115"/>
                <a:gd name="T37" fmla="*/ 0 h 1441"/>
                <a:gd name="T38" fmla="*/ 1115 w 1115"/>
                <a:gd name="T39" fmla="*/ 1441 h 144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115" h="1441">
                  <a:moveTo>
                    <a:pt x="609" y="1441"/>
                  </a:moveTo>
                  <a:lnTo>
                    <a:pt x="1115" y="1321"/>
                  </a:lnTo>
                  <a:lnTo>
                    <a:pt x="956" y="1274"/>
                  </a:lnTo>
                  <a:cubicBezTo>
                    <a:pt x="1096" y="922"/>
                    <a:pt x="928" y="37"/>
                    <a:pt x="0" y="0"/>
                  </a:cubicBezTo>
                  <a:cubicBezTo>
                    <a:pt x="90" y="114"/>
                    <a:pt x="178" y="244"/>
                    <a:pt x="178" y="244"/>
                  </a:cubicBezTo>
                  <a:cubicBezTo>
                    <a:pt x="178" y="244"/>
                    <a:pt x="120" y="371"/>
                    <a:pt x="67" y="503"/>
                  </a:cubicBezTo>
                  <a:cubicBezTo>
                    <a:pt x="249" y="531"/>
                    <a:pt x="357" y="655"/>
                    <a:pt x="357" y="655"/>
                  </a:cubicBezTo>
                  <a:lnTo>
                    <a:pt x="431" y="740"/>
                  </a:lnTo>
                  <a:lnTo>
                    <a:pt x="469" y="839"/>
                  </a:lnTo>
                  <a:cubicBezTo>
                    <a:pt x="523" y="963"/>
                    <a:pt x="478" y="1116"/>
                    <a:pt x="478" y="1116"/>
                  </a:cubicBezTo>
                  <a:lnTo>
                    <a:pt x="287" y="1060"/>
                  </a:lnTo>
                  <a:lnTo>
                    <a:pt x="609" y="1441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722" name="Freeform 119"/>
            <p:cNvSpPr>
              <a:spLocks/>
            </p:cNvSpPr>
            <p:nvPr>
              <p:custDataLst>
                <p:tags r:id="rId19"/>
              </p:custDataLst>
            </p:nvPr>
          </p:nvSpPr>
          <p:spPr bwMode="blackWhite">
            <a:xfrm>
              <a:off x="4714" y="1866"/>
              <a:ext cx="854" cy="678"/>
            </a:xfrm>
            <a:custGeom>
              <a:avLst/>
              <a:gdLst>
                <a:gd name="T0" fmla="*/ 0 w 854"/>
                <a:gd name="T1" fmla="*/ 570 h 675"/>
                <a:gd name="T2" fmla="*/ 660 w 854"/>
                <a:gd name="T3" fmla="*/ 567 h 675"/>
                <a:gd name="T4" fmla="*/ 660 w 854"/>
                <a:gd name="T5" fmla="*/ 690 h 675"/>
                <a:gd name="T6" fmla="*/ 854 w 854"/>
                <a:gd name="T7" fmla="*/ 334 h 675"/>
                <a:gd name="T8" fmla="*/ 662 w 854"/>
                <a:gd name="T9" fmla="*/ 0 h 675"/>
                <a:gd name="T10" fmla="*/ 663 w 854"/>
                <a:gd name="T11" fmla="*/ 131 h 675"/>
                <a:gd name="T12" fmla="*/ 12 w 854"/>
                <a:gd name="T13" fmla="*/ 131 h 675"/>
                <a:gd name="T14" fmla="*/ 124 w 854"/>
                <a:gd name="T15" fmla="*/ 331 h 675"/>
                <a:gd name="T16" fmla="*/ 0 w 854"/>
                <a:gd name="T17" fmla="*/ 570 h 6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54"/>
                <a:gd name="T28" fmla="*/ 0 h 675"/>
                <a:gd name="T29" fmla="*/ 854 w 854"/>
                <a:gd name="T30" fmla="*/ 675 h 6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54" h="675">
                  <a:moveTo>
                    <a:pt x="0" y="558"/>
                  </a:moveTo>
                  <a:lnTo>
                    <a:pt x="660" y="556"/>
                  </a:lnTo>
                  <a:lnTo>
                    <a:pt x="660" y="675"/>
                  </a:lnTo>
                  <a:lnTo>
                    <a:pt x="854" y="329"/>
                  </a:lnTo>
                  <a:lnTo>
                    <a:pt x="662" y="0"/>
                  </a:lnTo>
                  <a:lnTo>
                    <a:pt x="663" y="126"/>
                  </a:lnTo>
                  <a:lnTo>
                    <a:pt x="12" y="126"/>
                  </a:lnTo>
                  <a:lnTo>
                    <a:pt x="124" y="3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723" name="Freeform 120"/>
            <p:cNvSpPr>
              <a:spLocks/>
            </p:cNvSpPr>
            <p:nvPr>
              <p:custDataLst>
                <p:tags r:id="rId20"/>
              </p:custDataLst>
            </p:nvPr>
          </p:nvSpPr>
          <p:spPr bwMode="blackWhite">
            <a:xfrm>
              <a:off x="220" y="1866"/>
              <a:ext cx="1097" cy="678"/>
            </a:xfrm>
            <a:custGeom>
              <a:avLst/>
              <a:gdLst>
                <a:gd name="T0" fmla="*/ 0 w 1094"/>
                <a:gd name="T1" fmla="*/ 570 h 675"/>
                <a:gd name="T2" fmla="*/ 855 w 1094"/>
                <a:gd name="T3" fmla="*/ 567 h 675"/>
                <a:gd name="T4" fmla="*/ 855 w 1094"/>
                <a:gd name="T5" fmla="*/ 690 h 675"/>
                <a:gd name="T6" fmla="*/ 1109 w 1094"/>
                <a:gd name="T7" fmla="*/ 334 h 675"/>
                <a:gd name="T8" fmla="*/ 858 w 1094"/>
                <a:gd name="T9" fmla="*/ 0 h 675"/>
                <a:gd name="T10" fmla="*/ 859 w 1094"/>
                <a:gd name="T11" fmla="*/ 131 h 675"/>
                <a:gd name="T12" fmla="*/ 4 w 1094"/>
                <a:gd name="T13" fmla="*/ 131 h 675"/>
                <a:gd name="T14" fmla="*/ 0 w 1094"/>
                <a:gd name="T15" fmla="*/ 570 h 67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94"/>
                <a:gd name="T25" fmla="*/ 0 h 675"/>
                <a:gd name="T26" fmla="*/ 1094 w 1094"/>
                <a:gd name="T27" fmla="*/ 675 h 67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94" h="675">
                  <a:moveTo>
                    <a:pt x="0" y="558"/>
                  </a:moveTo>
                  <a:lnTo>
                    <a:pt x="845" y="556"/>
                  </a:lnTo>
                  <a:lnTo>
                    <a:pt x="845" y="675"/>
                  </a:lnTo>
                  <a:lnTo>
                    <a:pt x="1094" y="329"/>
                  </a:lnTo>
                  <a:lnTo>
                    <a:pt x="848" y="0"/>
                  </a:lnTo>
                  <a:lnTo>
                    <a:pt x="849" y="126"/>
                  </a:lnTo>
                  <a:lnTo>
                    <a:pt x="4" y="1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z="2000" smtClean="0">
                <a:ea typeface="ＭＳ Ｐゴシック" pitchFamily="34" charset="-128"/>
                <a:cs typeface="Arial" pitchFamily="34" charset="0"/>
              </a:rPr>
              <a:t>Winner selection made more robust through increased focus on entrepreneur</a:t>
            </a:r>
            <a:endParaRPr lang="en-US" sz="2000" smtClean="0">
              <a:ea typeface="ＭＳ Ｐゴシック" pitchFamily="34" charset="-128"/>
              <a:cs typeface="Arial" pitchFamily="34" charset="0"/>
            </a:endParaRPr>
          </a:p>
        </p:txBody>
      </p:sp>
      <p:grpSp>
        <p:nvGrpSpPr>
          <p:cNvPr id="30723" name="Group 4"/>
          <p:cNvGrpSpPr>
            <a:grpSpLocks/>
          </p:cNvGrpSpPr>
          <p:nvPr/>
        </p:nvGrpSpPr>
        <p:grpSpPr bwMode="auto">
          <a:xfrm>
            <a:off x="8056563" y="693738"/>
            <a:ext cx="974725" cy="344487"/>
            <a:chOff x="220" y="1866"/>
            <a:chExt cx="5348" cy="1886"/>
          </a:xfrm>
        </p:grpSpPr>
        <p:sp>
          <p:nvSpPr>
            <p:cNvPr id="30737" name="Line 5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>
              <a:off x="3974" y="2414"/>
              <a:ext cx="157" cy="9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738" name="Arc 6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2955" y="2361"/>
              <a:ext cx="470" cy="269"/>
            </a:xfrm>
            <a:custGeom>
              <a:avLst/>
              <a:gdLst>
                <a:gd name="T0" fmla="*/ 0 w 24969"/>
                <a:gd name="T1" fmla="*/ 0 h 21600"/>
                <a:gd name="T2" fmla="*/ 0 w 24969"/>
                <a:gd name="T3" fmla="*/ 0 h 21600"/>
                <a:gd name="T4" fmla="*/ 0 w 24969"/>
                <a:gd name="T5" fmla="*/ 0 h 21600"/>
                <a:gd name="T6" fmla="*/ 0 60000 65536"/>
                <a:gd name="T7" fmla="*/ 0 60000 65536"/>
                <a:gd name="T8" fmla="*/ 0 60000 65536"/>
                <a:gd name="T9" fmla="*/ 0 w 24969"/>
                <a:gd name="T10" fmla="*/ 0 h 21600"/>
                <a:gd name="T11" fmla="*/ 24969 w 24969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969" h="21600" fill="none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</a:path>
                <a:path w="24969" h="21600" stroke="0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  <a:lnTo>
                    <a:pt x="21594" y="21600"/>
                  </a:lnTo>
                  <a:lnTo>
                    <a:pt x="-1" y="21094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739" name="Arc 7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624" y="1988"/>
              <a:ext cx="984" cy="548"/>
            </a:xfrm>
            <a:custGeom>
              <a:avLst/>
              <a:gdLst>
                <a:gd name="T0" fmla="*/ 0 w 24568"/>
                <a:gd name="T1" fmla="*/ 0 h 21600"/>
                <a:gd name="T2" fmla="*/ 0 w 24568"/>
                <a:gd name="T3" fmla="*/ 0 h 21600"/>
                <a:gd name="T4" fmla="*/ 0 w 24568"/>
                <a:gd name="T5" fmla="*/ 0 h 21600"/>
                <a:gd name="T6" fmla="*/ 0 60000 65536"/>
                <a:gd name="T7" fmla="*/ 0 60000 65536"/>
                <a:gd name="T8" fmla="*/ 0 60000 65536"/>
                <a:gd name="T9" fmla="*/ 0 w 24568"/>
                <a:gd name="T10" fmla="*/ 0 h 21600"/>
                <a:gd name="T11" fmla="*/ 24568 w 24568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568" h="21600" fill="none" extrusionOk="0">
                  <a:moveTo>
                    <a:pt x="-1" y="17428"/>
                  </a:moveTo>
                  <a:cubicBezTo>
                    <a:pt x="1992" y="7301"/>
                    <a:pt x="10871" y="-1"/>
                    <a:pt x="21193" y="-1"/>
                  </a:cubicBezTo>
                  <a:cubicBezTo>
                    <a:pt x="22323" y="-1"/>
                    <a:pt x="23451" y="88"/>
                    <a:pt x="24567" y="265"/>
                  </a:cubicBezTo>
                </a:path>
                <a:path w="24568" h="21600" stroke="0" extrusionOk="0">
                  <a:moveTo>
                    <a:pt x="-1" y="17428"/>
                  </a:moveTo>
                  <a:cubicBezTo>
                    <a:pt x="1992" y="7301"/>
                    <a:pt x="10871" y="-1"/>
                    <a:pt x="21193" y="-1"/>
                  </a:cubicBezTo>
                  <a:cubicBezTo>
                    <a:pt x="22323" y="-1"/>
                    <a:pt x="23451" y="88"/>
                    <a:pt x="24567" y="265"/>
                  </a:cubicBezTo>
                  <a:lnTo>
                    <a:pt x="21193" y="21600"/>
                  </a:lnTo>
                  <a:lnTo>
                    <a:pt x="-1" y="17428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740" name="Freeform 8"/>
            <p:cNvSpPr>
              <a:spLocks/>
            </p:cNvSpPr>
            <p:nvPr>
              <p:custDataLst>
                <p:tags r:id="rId12"/>
              </p:custDataLst>
            </p:nvPr>
          </p:nvSpPr>
          <p:spPr bwMode="blackWhite">
            <a:xfrm>
              <a:off x="2546" y="1866"/>
              <a:ext cx="854" cy="678"/>
            </a:xfrm>
            <a:custGeom>
              <a:avLst/>
              <a:gdLst>
                <a:gd name="T0" fmla="*/ 0 w 854"/>
                <a:gd name="T1" fmla="*/ 570 h 675"/>
                <a:gd name="T2" fmla="*/ 660 w 854"/>
                <a:gd name="T3" fmla="*/ 567 h 675"/>
                <a:gd name="T4" fmla="*/ 660 w 854"/>
                <a:gd name="T5" fmla="*/ 690 h 675"/>
                <a:gd name="T6" fmla="*/ 854 w 854"/>
                <a:gd name="T7" fmla="*/ 334 h 675"/>
                <a:gd name="T8" fmla="*/ 662 w 854"/>
                <a:gd name="T9" fmla="*/ 0 h 675"/>
                <a:gd name="T10" fmla="*/ 663 w 854"/>
                <a:gd name="T11" fmla="*/ 131 h 675"/>
                <a:gd name="T12" fmla="*/ 12 w 854"/>
                <a:gd name="T13" fmla="*/ 131 h 675"/>
                <a:gd name="T14" fmla="*/ 124 w 854"/>
                <a:gd name="T15" fmla="*/ 331 h 675"/>
                <a:gd name="T16" fmla="*/ 0 w 854"/>
                <a:gd name="T17" fmla="*/ 570 h 6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54"/>
                <a:gd name="T28" fmla="*/ 0 h 675"/>
                <a:gd name="T29" fmla="*/ 854 w 854"/>
                <a:gd name="T30" fmla="*/ 675 h 6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54" h="675">
                  <a:moveTo>
                    <a:pt x="0" y="558"/>
                  </a:moveTo>
                  <a:lnTo>
                    <a:pt x="660" y="556"/>
                  </a:lnTo>
                  <a:lnTo>
                    <a:pt x="660" y="675"/>
                  </a:lnTo>
                  <a:lnTo>
                    <a:pt x="854" y="329"/>
                  </a:lnTo>
                  <a:lnTo>
                    <a:pt x="662" y="0"/>
                  </a:lnTo>
                  <a:lnTo>
                    <a:pt x="663" y="126"/>
                  </a:lnTo>
                  <a:lnTo>
                    <a:pt x="12" y="126"/>
                  </a:lnTo>
                  <a:lnTo>
                    <a:pt x="124" y="3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741" name="Arc 9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455" y="1988"/>
              <a:ext cx="984" cy="548"/>
            </a:xfrm>
            <a:custGeom>
              <a:avLst/>
              <a:gdLst>
                <a:gd name="T0" fmla="*/ 0 w 24961"/>
                <a:gd name="T1" fmla="*/ 0 h 21600"/>
                <a:gd name="T2" fmla="*/ 0 w 24961"/>
                <a:gd name="T3" fmla="*/ 0 h 21600"/>
                <a:gd name="T4" fmla="*/ 0 w 24961"/>
                <a:gd name="T5" fmla="*/ 0 h 21600"/>
                <a:gd name="T6" fmla="*/ 0 60000 65536"/>
                <a:gd name="T7" fmla="*/ 0 60000 65536"/>
                <a:gd name="T8" fmla="*/ 0 60000 65536"/>
                <a:gd name="T9" fmla="*/ 0 w 24961"/>
                <a:gd name="T10" fmla="*/ 0 h 21600"/>
                <a:gd name="T11" fmla="*/ 24961 w 24961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961" h="21600" fill="none" extrusionOk="0">
                  <a:moveTo>
                    <a:pt x="-1" y="20825"/>
                  </a:moveTo>
                  <a:cubicBezTo>
                    <a:pt x="416" y="9205"/>
                    <a:pt x="9957" y="-1"/>
                    <a:pt x="21586" y="-1"/>
                  </a:cubicBezTo>
                  <a:cubicBezTo>
                    <a:pt x="22716" y="-1"/>
                    <a:pt x="23844" y="88"/>
                    <a:pt x="24960" y="265"/>
                  </a:cubicBezTo>
                </a:path>
                <a:path w="24961" h="21600" stroke="0" extrusionOk="0">
                  <a:moveTo>
                    <a:pt x="-1" y="20825"/>
                  </a:moveTo>
                  <a:cubicBezTo>
                    <a:pt x="416" y="9205"/>
                    <a:pt x="9957" y="-1"/>
                    <a:pt x="21586" y="-1"/>
                  </a:cubicBezTo>
                  <a:cubicBezTo>
                    <a:pt x="22716" y="-1"/>
                    <a:pt x="23844" y="88"/>
                    <a:pt x="24960" y="265"/>
                  </a:cubicBezTo>
                  <a:lnTo>
                    <a:pt x="21586" y="21600"/>
                  </a:lnTo>
                  <a:lnTo>
                    <a:pt x="-1" y="20825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742" name="Arc 10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812" y="2387"/>
              <a:ext cx="479" cy="278"/>
            </a:xfrm>
            <a:custGeom>
              <a:avLst/>
              <a:gdLst>
                <a:gd name="T0" fmla="*/ 0 w 24969"/>
                <a:gd name="T1" fmla="*/ 0 h 21600"/>
                <a:gd name="T2" fmla="*/ 0 w 24969"/>
                <a:gd name="T3" fmla="*/ 0 h 21600"/>
                <a:gd name="T4" fmla="*/ 0 w 24969"/>
                <a:gd name="T5" fmla="*/ 0 h 21600"/>
                <a:gd name="T6" fmla="*/ 0 60000 65536"/>
                <a:gd name="T7" fmla="*/ 0 60000 65536"/>
                <a:gd name="T8" fmla="*/ 0 60000 65536"/>
                <a:gd name="T9" fmla="*/ 0 w 24969"/>
                <a:gd name="T10" fmla="*/ 0 h 21600"/>
                <a:gd name="T11" fmla="*/ 24969 w 24969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969" h="21600" fill="none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</a:path>
                <a:path w="24969" h="21600" stroke="0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  <a:lnTo>
                    <a:pt x="21594" y="21600"/>
                  </a:lnTo>
                  <a:lnTo>
                    <a:pt x="-1" y="21094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743" name="Freeform 11"/>
            <p:cNvSpPr>
              <a:spLocks/>
            </p:cNvSpPr>
            <p:nvPr>
              <p:custDataLst>
                <p:tags r:id="rId15"/>
              </p:custDataLst>
            </p:nvPr>
          </p:nvSpPr>
          <p:spPr bwMode="blackWhite">
            <a:xfrm>
              <a:off x="2354" y="2379"/>
              <a:ext cx="723" cy="982"/>
            </a:xfrm>
            <a:custGeom>
              <a:avLst/>
              <a:gdLst>
                <a:gd name="T0" fmla="*/ 185 w 933"/>
                <a:gd name="T1" fmla="*/ 0 h 1276"/>
                <a:gd name="T2" fmla="*/ 44 w 933"/>
                <a:gd name="T3" fmla="*/ 1 h 1276"/>
                <a:gd name="T4" fmla="*/ 88 w 933"/>
                <a:gd name="T5" fmla="*/ 25 h 1276"/>
                <a:gd name="T6" fmla="*/ 178 w 933"/>
                <a:gd name="T7" fmla="*/ 345 h 1276"/>
                <a:gd name="T8" fmla="*/ 190 w 933"/>
                <a:gd name="T9" fmla="*/ 264 h 1276"/>
                <a:gd name="T10" fmla="*/ 260 w 933"/>
                <a:gd name="T11" fmla="*/ 235 h 1276"/>
                <a:gd name="T12" fmla="*/ 234 w 933"/>
                <a:gd name="T13" fmla="*/ 211 h 1276"/>
                <a:gd name="T14" fmla="*/ 220 w 933"/>
                <a:gd name="T15" fmla="*/ 192 h 1276"/>
                <a:gd name="T16" fmla="*/ 210 w 933"/>
                <a:gd name="T17" fmla="*/ 162 h 1276"/>
                <a:gd name="T18" fmla="*/ 211 w 933"/>
                <a:gd name="T19" fmla="*/ 94 h 1276"/>
                <a:gd name="T20" fmla="*/ 257 w 933"/>
                <a:gd name="T21" fmla="*/ 119 h 1276"/>
                <a:gd name="T22" fmla="*/ 185 w 933"/>
                <a:gd name="T23" fmla="*/ 0 h 127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33"/>
                <a:gd name="T37" fmla="*/ 0 h 1276"/>
                <a:gd name="T38" fmla="*/ 933 w 933"/>
                <a:gd name="T39" fmla="*/ 1276 h 127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33" h="1276">
                  <a:moveTo>
                    <a:pt x="662" y="0"/>
                  </a:moveTo>
                  <a:lnTo>
                    <a:pt x="156" y="1"/>
                  </a:lnTo>
                  <a:lnTo>
                    <a:pt x="314" y="93"/>
                  </a:lnTo>
                  <a:cubicBezTo>
                    <a:pt x="314" y="93"/>
                    <a:pt x="0" y="771"/>
                    <a:pt x="637" y="1276"/>
                  </a:cubicBezTo>
                  <a:lnTo>
                    <a:pt x="679" y="978"/>
                  </a:lnTo>
                  <a:cubicBezTo>
                    <a:pt x="679" y="978"/>
                    <a:pt x="813" y="923"/>
                    <a:pt x="933" y="872"/>
                  </a:cubicBezTo>
                  <a:cubicBezTo>
                    <a:pt x="885" y="843"/>
                    <a:pt x="838" y="779"/>
                    <a:pt x="838" y="779"/>
                  </a:cubicBezTo>
                  <a:lnTo>
                    <a:pt x="788" y="711"/>
                  </a:lnTo>
                  <a:lnTo>
                    <a:pt x="752" y="600"/>
                  </a:lnTo>
                  <a:cubicBezTo>
                    <a:pt x="752" y="600"/>
                    <a:pt x="719" y="481"/>
                    <a:pt x="755" y="348"/>
                  </a:cubicBezTo>
                  <a:cubicBezTo>
                    <a:pt x="839" y="395"/>
                    <a:pt x="923" y="444"/>
                    <a:pt x="923" y="444"/>
                  </a:cubicBezTo>
                  <a:lnTo>
                    <a:pt x="662" y="0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744" name="Freeform 12"/>
            <p:cNvSpPr>
              <a:spLocks/>
            </p:cNvSpPr>
            <p:nvPr>
              <p:custDataLst>
                <p:tags r:id="rId16"/>
              </p:custDataLst>
            </p:nvPr>
          </p:nvSpPr>
          <p:spPr bwMode="blackWhite">
            <a:xfrm rot="4209998">
              <a:off x="86" y="2643"/>
              <a:ext cx="1139" cy="784"/>
            </a:xfrm>
            <a:custGeom>
              <a:avLst/>
              <a:gdLst>
                <a:gd name="T0" fmla="*/ 16 w 1485"/>
                <a:gd name="T1" fmla="*/ 66 h 1021"/>
                <a:gd name="T2" fmla="*/ 0 w 1485"/>
                <a:gd name="T3" fmla="*/ 203 h 1021"/>
                <a:gd name="T4" fmla="*/ 31 w 1485"/>
                <a:gd name="T5" fmla="*/ 161 h 1021"/>
                <a:gd name="T6" fmla="*/ 394 w 1485"/>
                <a:gd name="T7" fmla="*/ 39 h 1021"/>
                <a:gd name="T8" fmla="*/ 311 w 1485"/>
                <a:gd name="T9" fmla="*/ 56 h 1021"/>
                <a:gd name="T10" fmla="*/ 265 w 1485"/>
                <a:gd name="T11" fmla="*/ 0 h 1021"/>
                <a:gd name="T12" fmla="*/ 229 w 1485"/>
                <a:gd name="T13" fmla="*/ 37 h 1021"/>
                <a:gd name="T14" fmla="*/ 206 w 1485"/>
                <a:gd name="T15" fmla="*/ 51 h 1021"/>
                <a:gd name="T16" fmla="*/ 170 w 1485"/>
                <a:gd name="T17" fmla="*/ 61 h 1021"/>
                <a:gd name="T18" fmla="*/ 115 w 1485"/>
                <a:gd name="T19" fmla="*/ 51 h 1021"/>
                <a:gd name="T20" fmla="*/ 142 w 1485"/>
                <a:gd name="T21" fmla="*/ 15 h 1021"/>
                <a:gd name="T22" fmla="*/ 16 w 1485"/>
                <a:gd name="T23" fmla="*/ 66 h 10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85"/>
                <a:gd name="T37" fmla="*/ 0 h 1021"/>
                <a:gd name="T38" fmla="*/ 1485 w 1485"/>
                <a:gd name="T39" fmla="*/ 1021 h 102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85" h="1021">
                  <a:moveTo>
                    <a:pt x="61" y="248"/>
                  </a:moveTo>
                  <a:lnTo>
                    <a:pt x="0" y="762"/>
                  </a:lnTo>
                  <a:cubicBezTo>
                    <a:pt x="0" y="762"/>
                    <a:pt x="59" y="684"/>
                    <a:pt x="118" y="606"/>
                  </a:cubicBezTo>
                  <a:cubicBezTo>
                    <a:pt x="136" y="628"/>
                    <a:pt x="994" y="1021"/>
                    <a:pt x="1485" y="146"/>
                  </a:cubicBezTo>
                  <a:lnTo>
                    <a:pt x="1170" y="210"/>
                  </a:lnTo>
                  <a:cubicBezTo>
                    <a:pt x="1170" y="210"/>
                    <a:pt x="1084" y="105"/>
                    <a:pt x="999" y="0"/>
                  </a:cubicBezTo>
                  <a:cubicBezTo>
                    <a:pt x="946" y="83"/>
                    <a:pt x="860" y="137"/>
                    <a:pt x="860" y="137"/>
                  </a:cubicBezTo>
                  <a:lnTo>
                    <a:pt x="778" y="190"/>
                  </a:lnTo>
                  <a:lnTo>
                    <a:pt x="638" y="226"/>
                  </a:lnTo>
                  <a:cubicBezTo>
                    <a:pt x="581" y="226"/>
                    <a:pt x="452" y="219"/>
                    <a:pt x="435" y="191"/>
                  </a:cubicBezTo>
                  <a:cubicBezTo>
                    <a:pt x="485" y="124"/>
                    <a:pt x="535" y="57"/>
                    <a:pt x="535" y="57"/>
                  </a:cubicBezTo>
                  <a:lnTo>
                    <a:pt x="61" y="248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745" name="Freeform 13"/>
            <p:cNvSpPr>
              <a:spLocks/>
            </p:cNvSpPr>
            <p:nvPr>
              <p:custDataLst>
                <p:tags r:id="rId17"/>
              </p:custDataLst>
            </p:nvPr>
          </p:nvSpPr>
          <p:spPr bwMode="blackWhite">
            <a:xfrm>
              <a:off x="1074" y="2005"/>
              <a:ext cx="862" cy="1608"/>
            </a:xfrm>
            <a:custGeom>
              <a:avLst/>
              <a:gdLst>
                <a:gd name="T0" fmla="*/ 182 w 976"/>
                <a:gd name="T1" fmla="*/ 913 h 1811"/>
                <a:gd name="T2" fmla="*/ 242 w 976"/>
                <a:gd name="T3" fmla="*/ 890 h 1811"/>
                <a:gd name="T4" fmla="*/ 297 w 976"/>
                <a:gd name="T5" fmla="*/ 859 h 1811"/>
                <a:gd name="T6" fmla="*/ 351 w 976"/>
                <a:gd name="T7" fmla="*/ 820 h 1811"/>
                <a:gd name="T8" fmla="*/ 397 w 976"/>
                <a:gd name="T9" fmla="*/ 776 h 1811"/>
                <a:gd name="T10" fmla="*/ 439 w 976"/>
                <a:gd name="T11" fmla="*/ 725 h 1811"/>
                <a:gd name="T12" fmla="*/ 474 w 976"/>
                <a:gd name="T13" fmla="*/ 668 h 1811"/>
                <a:gd name="T14" fmla="*/ 498 w 976"/>
                <a:gd name="T15" fmla="*/ 607 h 1811"/>
                <a:gd name="T16" fmla="*/ 517 w 976"/>
                <a:gd name="T17" fmla="*/ 543 h 1811"/>
                <a:gd name="T18" fmla="*/ 524 w 976"/>
                <a:gd name="T19" fmla="*/ 478 h 1811"/>
                <a:gd name="T20" fmla="*/ 522 w 976"/>
                <a:gd name="T21" fmla="*/ 411 h 1811"/>
                <a:gd name="T22" fmla="*/ 510 w 976"/>
                <a:gd name="T23" fmla="*/ 345 h 1811"/>
                <a:gd name="T24" fmla="*/ 491 w 976"/>
                <a:gd name="T25" fmla="*/ 282 h 1811"/>
                <a:gd name="T26" fmla="*/ 462 w 976"/>
                <a:gd name="T27" fmla="*/ 222 h 1811"/>
                <a:gd name="T28" fmla="*/ 424 w 976"/>
                <a:gd name="T29" fmla="*/ 168 h 1811"/>
                <a:gd name="T30" fmla="*/ 381 w 976"/>
                <a:gd name="T31" fmla="*/ 119 h 1811"/>
                <a:gd name="T32" fmla="*/ 330 w 976"/>
                <a:gd name="T33" fmla="*/ 78 h 1811"/>
                <a:gd name="T34" fmla="*/ 274 w 976"/>
                <a:gd name="T35" fmla="*/ 45 h 1811"/>
                <a:gd name="T36" fmla="*/ 215 w 976"/>
                <a:gd name="T37" fmla="*/ 20 h 1811"/>
                <a:gd name="T38" fmla="*/ 150 w 976"/>
                <a:gd name="T39" fmla="*/ 4 h 1811"/>
                <a:gd name="T40" fmla="*/ 158 w 976"/>
                <a:gd name="T41" fmla="*/ 61 h 1811"/>
                <a:gd name="T42" fmla="*/ 122 w 976"/>
                <a:gd name="T43" fmla="*/ 240 h 1811"/>
                <a:gd name="T44" fmla="*/ 163 w 976"/>
                <a:gd name="T45" fmla="*/ 256 h 1811"/>
                <a:gd name="T46" fmla="*/ 204 w 976"/>
                <a:gd name="T47" fmla="*/ 280 h 1811"/>
                <a:gd name="T48" fmla="*/ 237 w 976"/>
                <a:gd name="T49" fmla="*/ 313 h 1811"/>
                <a:gd name="T50" fmla="*/ 263 w 976"/>
                <a:gd name="T51" fmla="*/ 352 h 1811"/>
                <a:gd name="T52" fmla="*/ 280 w 976"/>
                <a:gd name="T53" fmla="*/ 396 h 1811"/>
                <a:gd name="T54" fmla="*/ 290 w 976"/>
                <a:gd name="T55" fmla="*/ 441 h 1811"/>
                <a:gd name="T56" fmla="*/ 288 w 976"/>
                <a:gd name="T57" fmla="*/ 489 h 1811"/>
                <a:gd name="T58" fmla="*/ 278 w 976"/>
                <a:gd name="T59" fmla="*/ 535 h 1811"/>
                <a:gd name="T60" fmla="*/ 259 w 976"/>
                <a:gd name="T61" fmla="*/ 578 h 1811"/>
                <a:gd name="T62" fmla="*/ 231 w 976"/>
                <a:gd name="T63" fmla="*/ 615 h 1811"/>
                <a:gd name="T64" fmla="*/ 197 w 976"/>
                <a:gd name="T65" fmla="*/ 646 h 1811"/>
                <a:gd name="T66" fmla="*/ 157 w 976"/>
                <a:gd name="T67" fmla="*/ 671 h 1811"/>
                <a:gd name="T68" fmla="*/ 136 w 976"/>
                <a:gd name="T69" fmla="*/ 602 h 1811"/>
                <a:gd name="T70" fmla="*/ 150 w 976"/>
                <a:gd name="T71" fmla="*/ 999 h 181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76"/>
                <a:gd name="T109" fmla="*/ 0 h 1811"/>
                <a:gd name="T110" fmla="*/ 976 w 976"/>
                <a:gd name="T111" fmla="*/ 1811 h 181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76" h="1811">
                  <a:moveTo>
                    <a:pt x="279" y="1669"/>
                  </a:moveTo>
                  <a:lnTo>
                    <a:pt x="338" y="1654"/>
                  </a:lnTo>
                  <a:lnTo>
                    <a:pt x="394" y="1635"/>
                  </a:lnTo>
                  <a:lnTo>
                    <a:pt x="449" y="1612"/>
                  </a:lnTo>
                  <a:lnTo>
                    <a:pt x="502" y="1585"/>
                  </a:lnTo>
                  <a:lnTo>
                    <a:pt x="553" y="1555"/>
                  </a:lnTo>
                  <a:lnTo>
                    <a:pt x="601" y="1520"/>
                  </a:lnTo>
                  <a:lnTo>
                    <a:pt x="651" y="1485"/>
                  </a:lnTo>
                  <a:lnTo>
                    <a:pt x="697" y="1447"/>
                  </a:lnTo>
                  <a:lnTo>
                    <a:pt x="741" y="1405"/>
                  </a:lnTo>
                  <a:lnTo>
                    <a:pt x="782" y="1361"/>
                  </a:lnTo>
                  <a:lnTo>
                    <a:pt x="818" y="1313"/>
                  </a:lnTo>
                  <a:lnTo>
                    <a:pt x="851" y="1263"/>
                  </a:lnTo>
                  <a:lnTo>
                    <a:pt x="882" y="1210"/>
                  </a:lnTo>
                  <a:lnTo>
                    <a:pt x="908" y="1156"/>
                  </a:lnTo>
                  <a:lnTo>
                    <a:pt x="929" y="1100"/>
                  </a:lnTo>
                  <a:lnTo>
                    <a:pt x="947" y="1043"/>
                  </a:lnTo>
                  <a:lnTo>
                    <a:pt x="961" y="984"/>
                  </a:lnTo>
                  <a:lnTo>
                    <a:pt x="970" y="924"/>
                  </a:lnTo>
                  <a:lnTo>
                    <a:pt x="975" y="865"/>
                  </a:lnTo>
                  <a:lnTo>
                    <a:pt x="975" y="804"/>
                  </a:lnTo>
                  <a:lnTo>
                    <a:pt x="972" y="744"/>
                  </a:lnTo>
                  <a:lnTo>
                    <a:pt x="963" y="685"/>
                  </a:lnTo>
                  <a:lnTo>
                    <a:pt x="950" y="625"/>
                  </a:lnTo>
                  <a:lnTo>
                    <a:pt x="935" y="567"/>
                  </a:lnTo>
                  <a:lnTo>
                    <a:pt x="913" y="511"/>
                  </a:lnTo>
                  <a:lnTo>
                    <a:pt x="889" y="456"/>
                  </a:lnTo>
                  <a:lnTo>
                    <a:pt x="859" y="403"/>
                  </a:lnTo>
                  <a:lnTo>
                    <a:pt x="826" y="352"/>
                  </a:lnTo>
                  <a:lnTo>
                    <a:pt x="790" y="304"/>
                  </a:lnTo>
                  <a:lnTo>
                    <a:pt x="751" y="259"/>
                  </a:lnTo>
                  <a:lnTo>
                    <a:pt x="708" y="216"/>
                  </a:lnTo>
                  <a:lnTo>
                    <a:pt x="662" y="178"/>
                  </a:lnTo>
                  <a:lnTo>
                    <a:pt x="614" y="142"/>
                  </a:lnTo>
                  <a:lnTo>
                    <a:pt x="563" y="109"/>
                  </a:lnTo>
                  <a:lnTo>
                    <a:pt x="510" y="81"/>
                  </a:lnTo>
                  <a:lnTo>
                    <a:pt x="455" y="56"/>
                  </a:lnTo>
                  <a:lnTo>
                    <a:pt x="398" y="36"/>
                  </a:lnTo>
                  <a:lnTo>
                    <a:pt x="340" y="20"/>
                  </a:lnTo>
                  <a:lnTo>
                    <a:pt x="281" y="8"/>
                  </a:lnTo>
                  <a:lnTo>
                    <a:pt x="222" y="0"/>
                  </a:lnTo>
                  <a:lnTo>
                    <a:pt x="294" y="112"/>
                  </a:lnTo>
                  <a:lnTo>
                    <a:pt x="369" y="222"/>
                  </a:lnTo>
                  <a:lnTo>
                    <a:pt x="226" y="434"/>
                  </a:lnTo>
                  <a:lnTo>
                    <a:pt x="268" y="446"/>
                  </a:lnTo>
                  <a:lnTo>
                    <a:pt x="306" y="463"/>
                  </a:lnTo>
                  <a:lnTo>
                    <a:pt x="344" y="483"/>
                  </a:lnTo>
                  <a:lnTo>
                    <a:pt x="379" y="508"/>
                  </a:lnTo>
                  <a:lnTo>
                    <a:pt x="411" y="536"/>
                  </a:lnTo>
                  <a:lnTo>
                    <a:pt x="440" y="567"/>
                  </a:lnTo>
                  <a:lnTo>
                    <a:pt x="467" y="601"/>
                  </a:lnTo>
                  <a:lnTo>
                    <a:pt x="489" y="637"/>
                  </a:lnTo>
                  <a:lnTo>
                    <a:pt x="508" y="676"/>
                  </a:lnTo>
                  <a:lnTo>
                    <a:pt x="521" y="716"/>
                  </a:lnTo>
                  <a:lnTo>
                    <a:pt x="531" y="758"/>
                  </a:lnTo>
                  <a:lnTo>
                    <a:pt x="538" y="801"/>
                  </a:lnTo>
                  <a:lnTo>
                    <a:pt x="539" y="843"/>
                  </a:lnTo>
                  <a:lnTo>
                    <a:pt x="536" y="886"/>
                  </a:lnTo>
                  <a:lnTo>
                    <a:pt x="529" y="928"/>
                  </a:lnTo>
                  <a:lnTo>
                    <a:pt x="517" y="969"/>
                  </a:lnTo>
                  <a:lnTo>
                    <a:pt x="501" y="1009"/>
                  </a:lnTo>
                  <a:lnTo>
                    <a:pt x="482" y="1046"/>
                  </a:lnTo>
                  <a:lnTo>
                    <a:pt x="458" y="1082"/>
                  </a:lnTo>
                  <a:lnTo>
                    <a:pt x="431" y="1115"/>
                  </a:lnTo>
                  <a:lnTo>
                    <a:pt x="401" y="1145"/>
                  </a:lnTo>
                  <a:lnTo>
                    <a:pt x="367" y="1172"/>
                  </a:lnTo>
                  <a:lnTo>
                    <a:pt x="331" y="1196"/>
                  </a:lnTo>
                  <a:lnTo>
                    <a:pt x="293" y="1215"/>
                  </a:lnTo>
                  <a:lnTo>
                    <a:pt x="253" y="1230"/>
                  </a:lnTo>
                  <a:lnTo>
                    <a:pt x="253" y="1093"/>
                  </a:lnTo>
                  <a:lnTo>
                    <a:pt x="0" y="1420"/>
                  </a:lnTo>
                  <a:lnTo>
                    <a:pt x="279" y="1810"/>
                  </a:lnTo>
                  <a:lnTo>
                    <a:pt x="279" y="1669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746" name="Freeform 14"/>
            <p:cNvSpPr>
              <a:spLocks/>
            </p:cNvSpPr>
            <p:nvPr>
              <p:custDataLst>
                <p:tags r:id="rId18"/>
              </p:custDataLst>
            </p:nvPr>
          </p:nvSpPr>
          <p:spPr bwMode="blackWhite">
            <a:xfrm>
              <a:off x="1431" y="1866"/>
              <a:ext cx="1167" cy="678"/>
            </a:xfrm>
            <a:custGeom>
              <a:avLst/>
              <a:gdLst>
                <a:gd name="T0" fmla="*/ 214 w 1429"/>
                <a:gd name="T1" fmla="*/ 249 h 830"/>
                <a:gd name="T2" fmla="*/ 433 w 1429"/>
                <a:gd name="T3" fmla="*/ 249 h 830"/>
                <a:gd name="T4" fmla="*/ 433 w 1429"/>
                <a:gd name="T5" fmla="*/ 302 h 830"/>
                <a:gd name="T6" fmla="*/ 519 w 1429"/>
                <a:gd name="T7" fmla="*/ 148 h 830"/>
                <a:gd name="T8" fmla="*/ 433 w 1429"/>
                <a:gd name="T9" fmla="*/ 0 h 830"/>
                <a:gd name="T10" fmla="*/ 434 w 1429"/>
                <a:gd name="T11" fmla="*/ 56 h 830"/>
                <a:gd name="T12" fmla="*/ 0 w 1429"/>
                <a:gd name="T13" fmla="*/ 56 h 830"/>
                <a:gd name="T14" fmla="*/ 214 w 1429"/>
                <a:gd name="T15" fmla="*/ 249 h 8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29"/>
                <a:gd name="T25" fmla="*/ 0 h 830"/>
                <a:gd name="T26" fmla="*/ 1429 w 1429"/>
                <a:gd name="T27" fmla="*/ 830 h 83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29" h="830">
                  <a:moveTo>
                    <a:pt x="589" y="684"/>
                  </a:moveTo>
                  <a:cubicBezTo>
                    <a:pt x="886" y="685"/>
                    <a:pt x="1191" y="684"/>
                    <a:pt x="1191" y="684"/>
                  </a:cubicBezTo>
                  <a:lnTo>
                    <a:pt x="1191" y="830"/>
                  </a:lnTo>
                  <a:lnTo>
                    <a:pt x="1429" y="404"/>
                  </a:lnTo>
                  <a:lnTo>
                    <a:pt x="1193" y="0"/>
                  </a:lnTo>
                  <a:lnTo>
                    <a:pt x="1194" y="155"/>
                  </a:lnTo>
                  <a:lnTo>
                    <a:pt x="0" y="154"/>
                  </a:lnTo>
                  <a:cubicBezTo>
                    <a:pt x="0" y="154"/>
                    <a:pt x="411" y="237"/>
                    <a:pt x="589" y="684"/>
                  </a:cubicBez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747" name="Freeform 15"/>
            <p:cNvSpPr>
              <a:spLocks/>
            </p:cNvSpPr>
            <p:nvPr>
              <p:custDataLst>
                <p:tags r:id="rId19"/>
              </p:custDataLst>
            </p:nvPr>
          </p:nvSpPr>
          <p:spPr bwMode="blackWhite">
            <a:xfrm>
              <a:off x="2859" y="2970"/>
              <a:ext cx="1150" cy="782"/>
            </a:xfrm>
            <a:custGeom>
              <a:avLst/>
              <a:gdLst>
                <a:gd name="T0" fmla="*/ 17 w 1485"/>
                <a:gd name="T1" fmla="*/ 66 h 1021"/>
                <a:gd name="T2" fmla="*/ 0 w 1485"/>
                <a:gd name="T3" fmla="*/ 201 h 1021"/>
                <a:gd name="T4" fmla="*/ 33 w 1485"/>
                <a:gd name="T5" fmla="*/ 159 h 1021"/>
                <a:gd name="T6" fmla="*/ 414 w 1485"/>
                <a:gd name="T7" fmla="*/ 39 h 1021"/>
                <a:gd name="T8" fmla="*/ 326 w 1485"/>
                <a:gd name="T9" fmla="*/ 55 h 1021"/>
                <a:gd name="T10" fmla="*/ 278 w 1485"/>
                <a:gd name="T11" fmla="*/ 0 h 1021"/>
                <a:gd name="T12" fmla="*/ 240 w 1485"/>
                <a:gd name="T13" fmla="*/ 36 h 1021"/>
                <a:gd name="T14" fmla="*/ 217 w 1485"/>
                <a:gd name="T15" fmla="*/ 51 h 1021"/>
                <a:gd name="T16" fmla="*/ 178 w 1485"/>
                <a:gd name="T17" fmla="*/ 60 h 1021"/>
                <a:gd name="T18" fmla="*/ 121 w 1485"/>
                <a:gd name="T19" fmla="*/ 51 h 1021"/>
                <a:gd name="T20" fmla="*/ 149 w 1485"/>
                <a:gd name="T21" fmla="*/ 15 h 1021"/>
                <a:gd name="T22" fmla="*/ 17 w 1485"/>
                <a:gd name="T23" fmla="*/ 66 h 10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85"/>
                <a:gd name="T37" fmla="*/ 0 h 1021"/>
                <a:gd name="T38" fmla="*/ 1485 w 1485"/>
                <a:gd name="T39" fmla="*/ 1021 h 102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85" h="1021">
                  <a:moveTo>
                    <a:pt x="61" y="248"/>
                  </a:moveTo>
                  <a:lnTo>
                    <a:pt x="0" y="762"/>
                  </a:lnTo>
                  <a:cubicBezTo>
                    <a:pt x="0" y="762"/>
                    <a:pt x="59" y="684"/>
                    <a:pt x="118" y="606"/>
                  </a:cubicBezTo>
                  <a:cubicBezTo>
                    <a:pt x="136" y="628"/>
                    <a:pt x="994" y="1021"/>
                    <a:pt x="1485" y="146"/>
                  </a:cubicBezTo>
                  <a:lnTo>
                    <a:pt x="1170" y="210"/>
                  </a:lnTo>
                  <a:cubicBezTo>
                    <a:pt x="1170" y="210"/>
                    <a:pt x="1084" y="105"/>
                    <a:pt x="999" y="0"/>
                  </a:cubicBezTo>
                  <a:cubicBezTo>
                    <a:pt x="946" y="83"/>
                    <a:pt x="860" y="137"/>
                    <a:pt x="860" y="137"/>
                  </a:cubicBezTo>
                  <a:lnTo>
                    <a:pt x="778" y="190"/>
                  </a:lnTo>
                  <a:lnTo>
                    <a:pt x="638" y="226"/>
                  </a:lnTo>
                  <a:cubicBezTo>
                    <a:pt x="581" y="226"/>
                    <a:pt x="452" y="219"/>
                    <a:pt x="435" y="191"/>
                  </a:cubicBezTo>
                  <a:cubicBezTo>
                    <a:pt x="485" y="124"/>
                    <a:pt x="535" y="57"/>
                    <a:pt x="535" y="57"/>
                  </a:cubicBezTo>
                  <a:lnTo>
                    <a:pt x="61" y="248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748" name="Freeform 16"/>
            <p:cNvSpPr>
              <a:spLocks/>
            </p:cNvSpPr>
            <p:nvPr>
              <p:custDataLst>
                <p:tags r:id="rId20"/>
              </p:custDataLst>
            </p:nvPr>
          </p:nvSpPr>
          <p:spPr bwMode="blackWhite">
            <a:xfrm>
              <a:off x="3617" y="1866"/>
              <a:ext cx="1158" cy="678"/>
            </a:xfrm>
            <a:custGeom>
              <a:avLst/>
              <a:gdLst>
                <a:gd name="T0" fmla="*/ 206 w 1429"/>
                <a:gd name="T1" fmla="*/ 249 h 830"/>
                <a:gd name="T2" fmla="*/ 417 w 1429"/>
                <a:gd name="T3" fmla="*/ 249 h 830"/>
                <a:gd name="T4" fmla="*/ 417 w 1429"/>
                <a:gd name="T5" fmla="*/ 302 h 830"/>
                <a:gd name="T6" fmla="*/ 499 w 1429"/>
                <a:gd name="T7" fmla="*/ 148 h 830"/>
                <a:gd name="T8" fmla="*/ 417 w 1429"/>
                <a:gd name="T9" fmla="*/ 0 h 830"/>
                <a:gd name="T10" fmla="*/ 417 w 1429"/>
                <a:gd name="T11" fmla="*/ 56 h 830"/>
                <a:gd name="T12" fmla="*/ 0 w 1429"/>
                <a:gd name="T13" fmla="*/ 56 h 830"/>
                <a:gd name="T14" fmla="*/ 206 w 1429"/>
                <a:gd name="T15" fmla="*/ 249 h 8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29"/>
                <a:gd name="T25" fmla="*/ 0 h 830"/>
                <a:gd name="T26" fmla="*/ 1429 w 1429"/>
                <a:gd name="T27" fmla="*/ 830 h 83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29" h="830">
                  <a:moveTo>
                    <a:pt x="589" y="684"/>
                  </a:moveTo>
                  <a:cubicBezTo>
                    <a:pt x="886" y="685"/>
                    <a:pt x="1191" y="684"/>
                    <a:pt x="1191" y="684"/>
                  </a:cubicBezTo>
                  <a:lnTo>
                    <a:pt x="1191" y="830"/>
                  </a:lnTo>
                  <a:lnTo>
                    <a:pt x="1429" y="404"/>
                  </a:lnTo>
                  <a:lnTo>
                    <a:pt x="1193" y="0"/>
                  </a:lnTo>
                  <a:lnTo>
                    <a:pt x="1194" y="155"/>
                  </a:lnTo>
                  <a:lnTo>
                    <a:pt x="0" y="154"/>
                  </a:lnTo>
                  <a:cubicBezTo>
                    <a:pt x="0" y="154"/>
                    <a:pt x="411" y="237"/>
                    <a:pt x="589" y="684"/>
                  </a:cubicBez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749" name="Freeform 17"/>
            <p:cNvSpPr>
              <a:spLocks/>
            </p:cNvSpPr>
            <p:nvPr>
              <p:custDataLst>
                <p:tags r:id="rId21"/>
              </p:custDataLst>
            </p:nvPr>
          </p:nvSpPr>
          <p:spPr bwMode="blackWhite">
            <a:xfrm>
              <a:off x="3312" y="1979"/>
              <a:ext cx="862" cy="1112"/>
            </a:xfrm>
            <a:custGeom>
              <a:avLst/>
              <a:gdLst>
                <a:gd name="T0" fmla="*/ 168 w 1115"/>
                <a:gd name="T1" fmla="*/ 394 h 1441"/>
                <a:gd name="T2" fmla="*/ 308 w 1115"/>
                <a:gd name="T3" fmla="*/ 361 h 1441"/>
                <a:gd name="T4" fmla="*/ 264 w 1115"/>
                <a:gd name="T5" fmla="*/ 349 h 1441"/>
                <a:gd name="T6" fmla="*/ 0 w 1115"/>
                <a:gd name="T7" fmla="*/ 0 h 1441"/>
                <a:gd name="T8" fmla="*/ 49 w 1115"/>
                <a:gd name="T9" fmla="*/ 66 h 1441"/>
                <a:gd name="T10" fmla="*/ 19 w 1115"/>
                <a:gd name="T11" fmla="*/ 137 h 1441"/>
                <a:gd name="T12" fmla="*/ 99 w 1115"/>
                <a:gd name="T13" fmla="*/ 179 h 1441"/>
                <a:gd name="T14" fmla="*/ 119 w 1115"/>
                <a:gd name="T15" fmla="*/ 202 h 1441"/>
                <a:gd name="T16" fmla="*/ 130 w 1115"/>
                <a:gd name="T17" fmla="*/ 229 h 1441"/>
                <a:gd name="T18" fmla="*/ 132 w 1115"/>
                <a:gd name="T19" fmla="*/ 305 h 1441"/>
                <a:gd name="T20" fmla="*/ 80 w 1115"/>
                <a:gd name="T21" fmla="*/ 290 h 1441"/>
                <a:gd name="T22" fmla="*/ 168 w 1115"/>
                <a:gd name="T23" fmla="*/ 394 h 144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115"/>
                <a:gd name="T37" fmla="*/ 0 h 1441"/>
                <a:gd name="T38" fmla="*/ 1115 w 1115"/>
                <a:gd name="T39" fmla="*/ 1441 h 144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115" h="1441">
                  <a:moveTo>
                    <a:pt x="609" y="1441"/>
                  </a:moveTo>
                  <a:lnTo>
                    <a:pt x="1115" y="1321"/>
                  </a:lnTo>
                  <a:lnTo>
                    <a:pt x="956" y="1274"/>
                  </a:lnTo>
                  <a:cubicBezTo>
                    <a:pt x="1096" y="922"/>
                    <a:pt x="928" y="37"/>
                    <a:pt x="0" y="0"/>
                  </a:cubicBezTo>
                  <a:cubicBezTo>
                    <a:pt x="90" y="114"/>
                    <a:pt x="178" y="244"/>
                    <a:pt x="178" y="244"/>
                  </a:cubicBezTo>
                  <a:cubicBezTo>
                    <a:pt x="178" y="244"/>
                    <a:pt x="120" y="371"/>
                    <a:pt x="67" y="503"/>
                  </a:cubicBezTo>
                  <a:cubicBezTo>
                    <a:pt x="249" y="531"/>
                    <a:pt x="357" y="655"/>
                    <a:pt x="357" y="655"/>
                  </a:cubicBezTo>
                  <a:lnTo>
                    <a:pt x="431" y="740"/>
                  </a:lnTo>
                  <a:lnTo>
                    <a:pt x="469" y="839"/>
                  </a:lnTo>
                  <a:cubicBezTo>
                    <a:pt x="523" y="963"/>
                    <a:pt x="478" y="1116"/>
                    <a:pt x="478" y="1116"/>
                  </a:cubicBezTo>
                  <a:lnTo>
                    <a:pt x="287" y="1060"/>
                  </a:lnTo>
                  <a:lnTo>
                    <a:pt x="609" y="1441"/>
                  </a:lnTo>
                </a:path>
              </a:pathLst>
            </a:custGeom>
            <a:solidFill>
              <a:schemeClr val="accent2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750" name="Freeform 18"/>
            <p:cNvSpPr>
              <a:spLocks/>
            </p:cNvSpPr>
            <p:nvPr>
              <p:custDataLst>
                <p:tags r:id="rId22"/>
              </p:custDataLst>
            </p:nvPr>
          </p:nvSpPr>
          <p:spPr bwMode="blackWhite">
            <a:xfrm>
              <a:off x="4714" y="1866"/>
              <a:ext cx="854" cy="678"/>
            </a:xfrm>
            <a:custGeom>
              <a:avLst/>
              <a:gdLst>
                <a:gd name="T0" fmla="*/ 0 w 854"/>
                <a:gd name="T1" fmla="*/ 570 h 675"/>
                <a:gd name="T2" fmla="*/ 660 w 854"/>
                <a:gd name="T3" fmla="*/ 567 h 675"/>
                <a:gd name="T4" fmla="*/ 660 w 854"/>
                <a:gd name="T5" fmla="*/ 690 h 675"/>
                <a:gd name="T6" fmla="*/ 854 w 854"/>
                <a:gd name="T7" fmla="*/ 334 h 675"/>
                <a:gd name="T8" fmla="*/ 662 w 854"/>
                <a:gd name="T9" fmla="*/ 0 h 675"/>
                <a:gd name="T10" fmla="*/ 663 w 854"/>
                <a:gd name="T11" fmla="*/ 131 h 675"/>
                <a:gd name="T12" fmla="*/ 12 w 854"/>
                <a:gd name="T13" fmla="*/ 131 h 675"/>
                <a:gd name="T14" fmla="*/ 124 w 854"/>
                <a:gd name="T15" fmla="*/ 331 h 675"/>
                <a:gd name="T16" fmla="*/ 0 w 854"/>
                <a:gd name="T17" fmla="*/ 570 h 6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54"/>
                <a:gd name="T28" fmla="*/ 0 h 675"/>
                <a:gd name="T29" fmla="*/ 854 w 854"/>
                <a:gd name="T30" fmla="*/ 675 h 6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54" h="675">
                  <a:moveTo>
                    <a:pt x="0" y="558"/>
                  </a:moveTo>
                  <a:lnTo>
                    <a:pt x="660" y="556"/>
                  </a:lnTo>
                  <a:lnTo>
                    <a:pt x="660" y="675"/>
                  </a:lnTo>
                  <a:lnTo>
                    <a:pt x="854" y="329"/>
                  </a:lnTo>
                  <a:lnTo>
                    <a:pt x="662" y="0"/>
                  </a:lnTo>
                  <a:lnTo>
                    <a:pt x="663" y="126"/>
                  </a:lnTo>
                  <a:lnTo>
                    <a:pt x="12" y="126"/>
                  </a:lnTo>
                  <a:lnTo>
                    <a:pt x="124" y="3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751" name="Freeform 19"/>
            <p:cNvSpPr>
              <a:spLocks/>
            </p:cNvSpPr>
            <p:nvPr>
              <p:custDataLst>
                <p:tags r:id="rId23"/>
              </p:custDataLst>
            </p:nvPr>
          </p:nvSpPr>
          <p:spPr bwMode="blackWhite">
            <a:xfrm>
              <a:off x="220" y="1866"/>
              <a:ext cx="1097" cy="678"/>
            </a:xfrm>
            <a:custGeom>
              <a:avLst/>
              <a:gdLst>
                <a:gd name="T0" fmla="*/ 0 w 1094"/>
                <a:gd name="T1" fmla="*/ 570 h 675"/>
                <a:gd name="T2" fmla="*/ 855 w 1094"/>
                <a:gd name="T3" fmla="*/ 567 h 675"/>
                <a:gd name="T4" fmla="*/ 855 w 1094"/>
                <a:gd name="T5" fmla="*/ 690 h 675"/>
                <a:gd name="T6" fmla="*/ 1109 w 1094"/>
                <a:gd name="T7" fmla="*/ 334 h 675"/>
                <a:gd name="T8" fmla="*/ 858 w 1094"/>
                <a:gd name="T9" fmla="*/ 0 h 675"/>
                <a:gd name="T10" fmla="*/ 859 w 1094"/>
                <a:gd name="T11" fmla="*/ 131 h 675"/>
                <a:gd name="T12" fmla="*/ 4 w 1094"/>
                <a:gd name="T13" fmla="*/ 131 h 675"/>
                <a:gd name="T14" fmla="*/ 0 w 1094"/>
                <a:gd name="T15" fmla="*/ 570 h 67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94"/>
                <a:gd name="T25" fmla="*/ 0 h 675"/>
                <a:gd name="T26" fmla="*/ 1094 w 1094"/>
                <a:gd name="T27" fmla="*/ 675 h 67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94" h="675">
                  <a:moveTo>
                    <a:pt x="0" y="558"/>
                  </a:moveTo>
                  <a:lnTo>
                    <a:pt x="845" y="556"/>
                  </a:lnTo>
                  <a:lnTo>
                    <a:pt x="845" y="675"/>
                  </a:lnTo>
                  <a:lnTo>
                    <a:pt x="1094" y="329"/>
                  </a:lnTo>
                  <a:lnTo>
                    <a:pt x="848" y="0"/>
                  </a:lnTo>
                  <a:lnTo>
                    <a:pt x="849" y="126"/>
                  </a:lnTo>
                  <a:lnTo>
                    <a:pt x="4" y="1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30724" name="Group 38"/>
          <p:cNvGrpSpPr>
            <a:grpSpLocks/>
          </p:cNvGrpSpPr>
          <p:nvPr/>
        </p:nvGrpSpPr>
        <p:grpSpPr bwMode="auto">
          <a:xfrm>
            <a:off x="1412875" y="2379663"/>
            <a:ext cx="4137025" cy="4100512"/>
            <a:chOff x="1095" y="1524"/>
            <a:chExt cx="2606" cy="2583"/>
          </a:xfrm>
        </p:grpSpPr>
        <p:grpSp>
          <p:nvGrpSpPr>
            <p:cNvPr id="30727" name="Group 21"/>
            <p:cNvGrpSpPr>
              <a:grpSpLocks/>
            </p:cNvGrpSpPr>
            <p:nvPr/>
          </p:nvGrpSpPr>
          <p:grpSpPr bwMode="auto">
            <a:xfrm>
              <a:off x="1095" y="1524"/>
              <a:ext cx="2606" cy="1686"/>
              <a:chOff x="1063" y="977"/>
              <a:chExt cx="2827" cy="1829"/>
            </a:xfrm>
          </p:grpSpPr>
          <p:sp>
            <p:nvSpPr>
              <p:cNvPr id="30735" name="Oval 22"/>
              <p:cNvSpPr>
                <a:spLocks noChangeArrowheads="1"/>
              </p:cNvSpPr>
              <p:nvPr/>
            </p:nvSpPr>
            <p:spPr bwMode="auto">
              <a:xfrm>
                <a:off x="1063" y="977"/>
                <a:ext cx="1829" cy="1829"/>
              </a:xfrm>
              <a:prstGeom prst="ellipse">
                <a:avLst/>
              </a:prstGeom>
              <a:solidFill>
                <a:srgbClr val="CCCCCC">
                  <a:alpha val="50195"/>
                </a:srgbClr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736" name="Oval 23"/>
              <p:cNvSpPr>
                <a:spLocks noChangeArrowheads="1"/>
              </p:cNvSpPr>
              <p:nvPr/>
            </p:nvSpPr>
            <p:spPr bwMode="auto">
              <a:xfrm>
                <a:off x="2061" y="977"/>
                <a:ext cx="1829" cy="1829"/>
              </a:xfrm>
              <a:prstGeom prst="ellipse">
                <a:avLst/>
              </a:prstGeom>
              <a:solidFill>
                <a:srgbClr val="CCCCCC">
                  <a:alpha val="50195"/>
                </a:srgbClr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US" sz="1300">
                  <a:cs typeface="Arial" pitchFamily="34" charset="0"/>
                </a:endParaRPr>
              </a:p>
            </p:txBody>
          </p:sp>
        </p:grpSp>
        <p:sp>
          <p:nvSpPr>
            <p:cNvPr id="30728" name="Oval 24"/>
            <p:cNvSpPr>
              <a:spLocks noChangeArrowheads="1"/>
            </p:cNvSpPr>
            <p:nvPr/>
          </p:nvSpPr>
          <p:spPr bwMode="auto">
            <a:xfrm>
              <a:off x="1555" y="2421"/>
              <a:ext cx="1686" cy="1686"/>
            </a:xfrm>
            <a:prstGeom prst="ellipse">
              <a:avLst/>
            </a:prstGeom>
            <a:solidFill>
              <a:srgbClr val="CCCCCC">
                <a:alpha val="50195"/>
              </a:srgbClr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1300">
                <a:cs typeface="Arial" pitchFamily="34" charset="0"/>
              </a:endParaRPr>
            </a:p>
          </p:txBody>
        </p:sp>
        <p:sp>
          <p:nvSpPr>
            <p:cNvPr id="30729" name="Rectangle 3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305" y="1869"/>
              <a:ext cx="723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eaLnBrk="0" hangingPunct="0">
                <a:spcBef>
                  <a:spcPct val="20000"/>
                </a:spcBef>
              </a:pPr>
              <a:r>
                <a:rPr lang="es-ES" sz="1300" b="1">
                  <a:solidFill>
                    <a:schemeClr val="accent2"/>
                  </a:solidFill>
                  <a:cs typeface="Arial" pitchFamily="34" charset="0"/>
                </a:rPr>
                <a:t>Interview</a:t>
              </a:r>
            </a:p>
          </p:txBody>
        </p:sp>
        <p:sp>
          <p:nvSpPr>
            <p:cNvPr id="30730" name="Rectangle 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305" y="2037"/>
              <a:ext cx="689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marL="133350" indent="-133350" defTabSz="912813"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US" sz="1300">
                  <a:cs typeface="Arial" pitchFamily="34" charset="0"/>
                </a:rPr>
                <a:t>HHRR focus</a:t>
              </a:r>
            </a:p>
          </p:txBody>
        </p:sp>
        <p:sp>
          <p:nvSpPr>
            <p:cNvPr id="30731" name="Rectangle 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842" y="1869"/>
              <a:ext cx="723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eaLnBrk="0" hangingPunct="0">
                <a:spcBef>
                  <a:spcPct val="20000"/>
                </a:spcBef>
              </a:pPr>
              <a:r>
                <a:rPr lang="es-ES" sz="1300" b="1">
                  <a:solidFill>
                    <a:schemeClr val="accent2"/>
                  </a:solidFill>
                  <a:cs typeface="Arial" pitchFamily="34" charset="0"/>
                </a:rPr>
                <a:t>Presentation</a:t>
              </a:r>
            </a:p>
          </p:txBody>
        </p:sp>
        <p:sp>
          <p:nvSpPr>
            <p:cNvPr id="30732" name="Rectangle 2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842" y="2037"/>
              <a:ext cx="689" cy="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marL="133350" indent="-133350" defTabSz="912813"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US" sz="1300">
                  <a:cs typeface="Arial" pitchFamily="34" charset="0"/>
                </a:rPr>
                <a:t>7 min summary of BP in front of panel</a:t>
              </a:r>
            </a:p>
          </p:txBody>
        </p:sp>
        <p:sp>
          <p:nvSpPr>
            <p:cNvPr id="30733" name="Rectangle 3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647" y="3353"/>
              <a:ext cx="1536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eaLnBrk="0" hangingPunct="0">
                <a:spcBef>
                  <a:spcPct val="20000"/>
                </a:spcBef>
              </a:pPr>
              <a:r>
                <a:rPr lang="es-ES" sz="1300" b="1">
                  <a:solidFill>
                    <a:schemeClr val="accent2"/>
                  </a:solidFill>
                  <a:cs typeface="Arial" pitchFamily="34" charset="0"/>
                </a:rPr>
                <a:t>Comprehensive judge analysis</a:t>
              </a:r>
            </a:p>
          </p:txBody>
        </p:sp>
        <p:sp>
          <p:nvSpPr>
            <p:cNvPr id="30734" name="Rectangle 2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824" y="3522"/>
              <a:ext cx="1128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marL="133350" indent="-133350" defTabSz="912813"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US" sz="1300">
                  <a:cs typeface="Arial" pitchFamily="34" charset="0"/>
                </a:rPr>
                <a:t>6 point analysis of BP quality and potential</a:t>
              </a:r>
            </a:p>
          </p:txBody>
        </p:sp>
      </p:grpSp>
      <p:sp>
        <p:nvSpPr>
          <p:cNvPr id="30725" name="Rectangle 6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378575" y="4103688"/>
            <a:ext cx="1881188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defTabSz="912813">
              <a:buClr>
                <a:schemeClr val="accent2"/>
              </a:buClr>
              <a:buFont typeface="Wingdings" pitchFamily="2" charset="2"/>
              <a:buNone/>
            </a:pPr>
            <a:r>
              <a:rPr lang="en-US" sz="1400">
                <a:solidFill>
                  <a:srgbClr val="000000"/>
                </a:solidFill>
                <a:cs typeface="Arial" pitchFamily="34" charset="0"/>
              </a:rPr>
              <a:t>Concept pioneered in Ecuador in 2010 and followed in Bolivia</a:t>
            </a:r>
          </a:p>
        </p:txBody>
      </p:sp>
      <p:sp>
        <p:nvSpPr>
          <p:cNvPr id="30726" name="AutoShape 27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4504532" y="4280693"/>
            <a:ext cx="2990850" cy="284163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wrap="none" lIns="93296" tIns="46648" rIns="93296" bIns="46648" anchor="ctr"/>
          <a:lstStyle/>
          <a:p>
            <a:pPr defTabSz="933450"/>
            <a:endParaRPr lang="en-US" sz="1600" b="1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81038" y="2843213"/>
            <a:ext cx="1628775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912813">
              <a:buSzPct val="120000"/>
            </a:pPr>
            <a:r>
              <a:rPr lang="en-US" sz="1200" b="1">
                <a:solidFill>
                  <a:schemeClr val="accent2"/>
                </a:solidFill>
                <a:cs typeface="Arial" pitchFamily="34" charset="0"/>
              </a:rPr>
              <a:t>Aftercare Criteria</a:t>
            </a:r>
          </a:p>
        </p:txBody>
      </p:sp>
      <p:sp>
        <p:nvSpPr>
          <p:cNvPr id="31747" name="Rectangle 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>
                <a:ea typeface="ＭＳ Ｐゴシック" pitchFamily="34" charset="-128"/>
                <a:cs typeface="Arial" pitchFamily="34" charset="0"/>
              </a:rPr>
              <a:t>Aftercare became a core activity after 2008</a:t>
            </a:r>
          </a:p>
        </p:txBody>
      </p:sp>
      <p:grpSp>
        <p:nvGrpSpPr>
          <p:cNvPr id="31748" name="Group 29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681038" y="3074988"/>
            <a:ext cx="1614487" cy="3143250"/>
            <a:chOff x="484" y="713"/>
            <a:chExt cx="1244" cy="576"/>
          </a:xfrm>
        </p:grpSpPr>
        <p:sp>
          <p:nvSpPr>
            <p:cNvPr id="31787" name="Freeform 30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484" y="713"/>
              <a:ext cx="1244" cy="576"/>
            </a:xfrm>
            <a:custGeom>
              <a:avLst/>
              <a:gdLst>
                <a:gd name="T0" fmla="*/ 0 w 1244"/>
                <a:gd name="T1" fmla="*/ 0 h 576"/>
                <a:gd name="T2" fmla="*/ 1140 w 1244"/>
                <a:gd name="T3" fmla="*/ 0 h 576"/>
                <a:gd name="T4" fmla="*/ 1244 w 1244"/>
                <a:gd name="T5" fmla="*/ 288 h 576"/>
                <a:gd name="T6" fmla="*/ 1140 w 1244"/>
                <a:gd name="T7" fmla="*/ 576 h 576"/>
                <a:gd name="T8" fmla="*/ 0 w 1244"/>
                <a:gd name="T9" fmla="*/ 576 h 576"/>
                <a:gd name="T10" fmla="*/ 0 w 1244"/>
                <a:gd name="T11" fmla="*/ 288 h 576"/>
                <a:gd name="T12" fmla="*/ 0 w 1244"/>
                <a:gd name="T13" fmla="*/ 0 h 57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44"/>
                <a:gd name="T22" fmla="*/ 0 h 576"/>
                <a:gd name="T23" fmla="*/ 1244 w 1244"/>
                <a:gd name="T24" fmla="*/ 576 h 57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44" h="576">
                  <a:moveTo>
                    <a:pt x="0" y="0"/>
                  </a:moveTo>
                  <a:lnTo>
                    <a:pt x="1140" y="0"/>
                  </a:lnTo>
                  <a:lnTo>
                    <a:pt x="1244" y="288"/>
                  </a:lnTo>
                  <a:lnTo>
                    <a:pt x="1140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>
                <a:alpha val="50195"/>
              </a:srgbClr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36000" anchor="ctr"/>
            <a:lstStyle/>
            <a:p>
              <a:endParaRPr lang="en-US"/>
            </a:p>
          </p:txBody>
        </p:sp>
        <p:sp>
          <p:nvSpPr>
            <p:cNvPr id="31788" name="Rectangle 31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auto">
            <a:xfrm>
              <a:off x="516" y="745"/>
              <a:ext cx="1108" cy="4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6648" tIns="0" rIns="46648" bIns="0" anchor="ctr"/>
            <a:lstStyle/>
            <a:p>
              <a:pPr marL="114300" lvl="1" indent="-112713" defTabSz="912813"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US" sz="1200">
                  <a:cs typeface="Arial" pitchFamily="34" charset="0"/>
                </a:rPr>
                <a:t>Prioritize activities of the Business Plan</a:t>
              </a:r>
            </a:p>
            <a:p>
              <a:pPr marL="114300" lvl="1" indent="-112713" defTabSz="912813">
                <a:buClr>
                  <a:schemeClr val="accent2"/>
                </a:buClr>
                <a:buFont typeface="Wingdings" pitchFamily="2" charset="2"/>
                <a:buChar char="§"/>
              </a:pPr>
              <a:endParaRPr lang="en-US" sz="1200">
                <a:cs typeface="Arial" pitchFamily="34" charset="0"/>
              </a:endParaRPr>
            </a:p>
            <a:p>
              <a:pPr marL="114300" lvl="1" indent="-112713" defTabSz="912813"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s-ES_tradnl" sz="1200">
                  <a:cs typeface="Arial" pitchFamily="34" charset="0"/>
                </a:rPr>
                <a:t>Provide support in key areas aiming at medium term development</a:t>
              </a:r>
            </a:p>
            <a:p>
              <a:pPr marL="114300" lvl="1" indent="-112713" defTabSz="912813">
                <a:buClr>
                  <a:schemeClr val="accent2"/>
                </a:buClr>
                <a:buFont typeface="Wingdings" pitchFamily="2" charset="2"/>
                <a:buChar char="§"/>
              </a:pPr>
              <a:endParaRPr lang="es-ES_tradnl" sz="1200">
                <a:cs typeface="Arial" pitchFamily="34" charset="0"/>
              </a:endParaRPr>
            </a:p>
            <a:p>
              <a:pPr marL="114300" lvl="1" indent="-112713" defTabSz="912813"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s-ES_tradnl" sz="1200">
                  <a:cs typeface="Arial" pitchFamily="34" charset="0"/>
                </a:rPr>
                <a:t>Serve as monitoring tool in the use of resources as well as performance</a:t>
              </a:r>
              <a:endParaRPr lang="en-US" sz="1200">
                <a:cs typeface="Arial" pitchFamily="34" charset="0"/>
              </a:endParaRPr>
            </a:p>
          </p:txBody>
        </p:sp>
      </p:grpSp>
      <p:grpSp>
        <p:nvGrpSpPr>
          <p:cNvPr id="31749" name="Group 29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2749550" y="3074988"/>
            <a:ext cx="1943100" cy="500062"/>
            <a:chOff x="484" y="713"/>
            <a:chExt cx="1244" cy="576"/>
          </a:xfrm>
        </p:grpSpPr>
        <p:sp>
          <p:nvSpPr>
            <p:cNvPr id="3" name="Freeform 30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484" y="713"/>
              <a:ext cx="1244" cy="576"/>
            </a:xfrm>
            <a:custGeom>
              <a:avLst/>
              <a:gdLst>
                <a:gd name="T0" fmla="*/ 0 w 1244"/>
                <a:gd name="T1" fmla="*/ 0 h 576"/>
                <a:gd name="T2" fmla="*/ 1140 w 1244"/>
                <a:gd name="T3" fmla="*/ 0 h 576"/>
                <a:gd name="T4" fmla="*/ 1244 w 1244"/>
                <a:gd name="T5" fmla="*/ 288 h 576"/>
                <a:gd name="T6" fmla="*/ 1140 w 1244"/>
                <a:gd name="T7" fmla="*/ 576 h 576"/>
                <a:gd name="T8" fmla="*/ 0 w 1244"/>
                <a:gd name="T9" fmla="*/ 576 h 576"/>
                <a:gd name="T10" fmla="*/ 0 w 1244"/>
                <a:gd name="T11" fmla="*/ 288 h 576"/>
                <a:gd name="T12" fmla="*/ 0 w 1244"/>
                <a:gd name="T13" fmla="*/ 0 h 57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44"/>
                <a:gd name="T22" fmla="*/ 0 h 576"/>
                <a:gd name="T23" fmla="*/ 1244 w 1244"/>
                <a:gd name="T24" fmla="*/ 576 h 57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44" h="576">
                  <a:moveTo>
                    <a:pt x="0" y="0"/>
                  </a:moveTo>
                  <a:lnTo>
                    <a:pt x="1140" y="0"/>
                  </a:lnTo>
                  <a:lnTo>
                    <a:pt x="1244" y="288"/>
                  </a:lnTo>
                  <a:lnTo>
                    <a:pt x="1140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rgbClr val="675F76">
                    <a:alpha val="50000"/>
                  </a:srgbClr>
                </a:gs>
                <a:gs pos="50000">
                  <a:schemeClr val="accent1">
                    <a:alpha val="50000"/>
                  </a:schemeClr>
                </a:gs>
                <a:gs pos="100000">
                  <a:srgbClr val="675F76">
                    <a:alpha val="50000"/>
                  </a:srgbClr>
                </a:gs>
              </a:gsLst>
              <a:lin ang="5400000" scaled="1"/>
            </a:gradFill>
            <a:ln w="9525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lIns="36000" anchor="ctr"/>
            <a:lstStyle/>
            <a:p>
              <a:pPr>
                <a:defRPr/>
              </a:pPr>
              <a:endParaRPr lang="en-US" sz="1600" b="1">
                <a:latin typeface="Calibri" pitchFamily="34" charset="0"/>
                <a:ea typeface="MS PGothic" pitchFamily="34" charset="-128"/>
              </a:endParaRPr>
            </a:p>
          </p:txBody>
        </p:sp>
        <p:sp>
          <p:nvSpPr>
            <p:cNvPr id="31786" name="Rectangle 31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>
              <a:off x="516" y="745"/>
              <a:ext cx="1108" cy="4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6648" tIns="0" rIns="46648" bIns="0" anchor="ctr"/>
            <a:lstStyle/>
            <a:p>
              <a:pPr defTabSz="912813">
                <a:buSzPct val="120000"/>
              </a:pPr>
              <a:r>
                <a:rPr lang="en-US" sz="1200" b="1">
                  <a:cs typeface="Arial" pitchFamily="34" charset="0"/>
                </a:rPr>
                <a:t>Business Plan Assessment</a:t>
              </a:r>
            </a:p>
          </p:txBody>
        </p:sp>
      </p:grpSp>
      <p:grpSp>
        <p:nvGrpSpPr>
          <p:cNvPr id="31750" name="Group 29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2749550" y="3740150"/>
            <a:ext cx="1943100" cy="498475"/>
            <a:chOff x="484" y="713"/>
            <a:chExt cx="1244" cy="576"/>
          </a:xfrm>
        </p:grpSpPr>
        <p:sp>
          <p:nvSpPr>
            <p:cNvPr id="4" name="Freeform 30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484" y="713"/>
              <a:ext cx="1244" cy="576"/>
            </a:xfrm>
            <a:custGeom>
              <a:avLst/>
              <a:gdLst>
                <a:gd name="T0" fmla="*/ 0 w 1244"/>
                <a:gd name="T1" fmla="*/ 0 h 576"/>
                <a:gd name="T2" fmla="*/ 1140 w 1244"/>
                <a:gd name="T3" fmla="*/ 0 h 576"/>
                <a:gd name="T4" fmla="*/ 1244 w 1244"/>
                <a:gd name="T5" fmla="*/ 288 h 576"/>
                <a:gd name="T6" fmla="*/ 1140 w 1244"/>
                <a:gd name="T7" fmla="*/ 576 h 576"/>
                <a:gd name="T8" fmla="*/ 0 w 1244"/>
                <a:gd name="T9" fmla="*/ 576 h 576"/>
                <a:gd name="T10" fmla="*/ 0 w 1244"/>
                <a:gd name="T11" fmla="*/ 288 h 576"/>
                <a:gd name="T12" fmla="*/ 0 w 1244"/>
                <a:gd name="T13" fmla="*/ 0 h 57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44"/>
                <a:gd name="T22" fmla="*/ 0 h 576"/>
                <a:gd name="T23" fmla="*/ 1244 w 1244"/>
                <a:gd name="T24" fmla="*/ 576 h 57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44" h="576">
                  <a:moveTo>
                    <a:pt x="0" y="0"/>
                  </a:moveTo>
                  <a:lnTo>
                    <a:pt x="1140" y="0"/>
                  </a:lnTo>
                  <a:lnTo>
                    <a:pt x="1244" y="288"/>
                  </a:lnTo>
                  <a:lnTo>
                    <a:pt x="1140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rgbClr val="675F76">
                    <a:alpha val="50000"/>
                  </a:srgbClr>
                </a:gs>
                <a:gs pos="50000">
                  <a:schemeClr val="accent1">
                    <a:alpha val="50000"/>
                  </a:schemeClr>
                </a:gs>
                <a:gs pos="100000">
                  <a:srgbClr val="675F76">
                    <a:alpha val="50000"/>
                  </a:srgbClr>
                </a:gs>
              </a:gsLst>
              <a:lin ang="5400000" scaled="1"/>
            </a:gradFill>
            <a:ln w="9525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lIns="36000" anchor="ctr"/>
            <a:lstStyle/>
            <a:p>
              <a:pPr>
                <a:defRPr/>
              </a:pPr>
              <a:endParaRPr lang="en-US" sz="1600" b="1">
                <a:latin typeface="Calibri" pitchFamily="34" charset="0"/>
                <a:ea typeface="MS PGothic" pitchFamily="34" charset="-128"/>
              </a:endParaRPr>
            </a:p>
          </p:txBody>
        </p:sp>
        <p:sp>
          <p:nvSpPr>
            <p:cNvPr id="31784" name="Rectangle 31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>
              <a:off x="516" y="745"/>
              <a:ext cx="1108" cy="4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6648" tIns="0" rIns="46648" bIns="0" anchor="ctr"/>
            <a:lstStyle/>
            <a:p>
              <a:pPr defTabSz="912813">
                <a:buSzPct val="120000"/>
              </a:pPr>
              <a:r>
                <a:rPr lang="en-US" sz="1200" b="1">
                  <a:cs typeface="Arial" pitchFamily="34" charset="0"/>
                </a:rPr>
                <a:t>Specialty Training</a:t>
              </a:r>
            </a:p>
          </p:txBody>
        </p:sp>
      </p:grpSp>
      <p:grpSp>
        <p:nvGrpSpPr>
          <p:cNvPr id="31751" name="Group 29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2749550" y="4405313"/>
            <a:ext cx="1943100" cy="500062"/>
            <a:chOff x="484" y="713"/>
            <a:chExt cx="1244" cy="576"/>
          </a:xfrm>
        </p:grpSpPr>
        <p:sp>
          <p:nvSpPr>
            <p:cNvPr id="5" name="Freeform 30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484" y="713"/>
              <a:ext cx="1244" cy="576"/>
            </a:xfrm>
            <a:custGeom>
              <a:avLst/>
              <a:gdLst>
                <a:gd name="T0" fmla="*/ 0 w 1244"/>
                <a:gd name="T1" fmla="*/ 0 h 576"/>
                <a:gd name="T2" fmla="*/ 1140 w 1244"/>
                <a:gd name="T3" fmla="*/ 0 h 576"/>
                <a:gd name="T4" fmla="*/ 1244 w 1244"/>
                <a:gd name="T5" fmla="*/ 288 h 576"/>
                <a:gd name="T6" fmla="*/ 1140 w 1244"/>
                <a:gd name="T7" fmla="*/ 576 h 576"/>
                <a:gd name="T8" fmla="*/ 0 w 1244"/>
                <a:gd name="T9" fmla="*/ 576 h 576"/>
                <a:gd name="T10" fmla="*/ 0 w 1244"/>
                <a:gd name="T11" fmla="*/ 288 h 576"/>
                <a:gd name="T12" fmla="*/ 0 w 1244"/>
                <a:gd name="T13" fmla="*/ 0 h 57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44"/>
                <a:gd name="T22" fmla="*/ 0 h 576"/>
                <a:gd name="T23" fmla="*/ 1244 w 1244"/>
                <a:gd name="T24" fmla="*/ 576 h 57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44" h="576">
                  <a:moveTo>
                    <a:pt x="0" y="0"/>
                  </a:moveTo>
                  <a:lnTo>
                    <a:pt x="1140" y="0"/>
                  </a:lnTo>
                  <a:lnTo>
                    <a:pt x="1244" y="288"/>
                  </a:lnTo>
                  <a:lnTo>
                    <a:pt x="1140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rgbClr val="675F76">
                    <a:alpha val="50000"/>
                  </a:srgbClr>
                </a:gs>
                <a:gs pos="50000">
                  <a:schemeClr val="accent1">
                    <a:alpha val="50000"/>
                  </a:schemeClr>
                </a:gs>
                <a:gs pos="100000">
                  <a:srgbClr val="675F76">
                    <a:alpha val="50000"/>
                  </a:srgbClr>
                </a:gs>
              </a:gsLst>
              <a:lin ang="5400000" scaled="1"/>
            </a:gradFill>
            <a:ln w="9525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lIns="36000" anchor="ctr"/>
            <a:lstStyle/>
            <a:p>
              <a:pPr>
                <a:defRPr/>
              </a:pPr>
              <a:endParaRPr lang="en-US" sz="1600" b="1">
                <a:latin typeface="Calibri" pitchFamily="34" charset="0"/>
                <a:ea typeface="MS PGothic" pitchFamily="34" charset="-128"/>
              </a:endParaRPr>
            </a:p>
          </p:txBody>
        </p:sp>
        <p:sp>
          <p:nvSpPr>
            <p:cNvPr id="31782" name="Rectangle 31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516" y="745"/>
              <a:ext cx="1108" cy="4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6648" tIns="0" rIns="46648" bIns="0" anchor="ctr"/>
            <a:lstStyle/>
            <a:p>
              <a:pPr defTabSz="912813">
                <a:buSzPct val="120000"/>
              </a:pPr>
              <a:r>
                <a:rPr lang="en-US" sz="1200" b="1">
                  <a:cs typeface="Arial" pitchFamily="34" charset="0"/>
                </a:rPr>
                <a:t>Alliance Development</a:t>
              </a:r>
            </a:p>
          </p:txBody>
        </p:sp>
      </p:grpSp>
      <p:grpSp>
        <p:nvGrpSpPr>
          <p:cNvPr id="31752" name="Group 29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2749550" y="5072063"/>
            <a:ext cx="1943100" cy="500062"/>
            <a:chOff x="484" y="713"/>
            <a:chExt cx="1244" cy="576"/>
          </a:xfrm>
        </p:grpSpPr>
        <p:sp>
          <p:nvSpPr>
            <p:cNvPr id="6" name="Freeform 30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484" y="713"/>
              <a:ext cx="1244" cy="576"/>
            </a:xfrm>
            <a:custGeom>
              <a:avLst/>
              <a:gdLst>
                <a:gd name="T0" fmla="*/ 0 w 1244"/>
                <a:gd name="T1" fmla="*/ 0 h 576"/>
                <a:gd name="T2" fmla="*/ 1140 w 1244"/>
                <a:gd name="T3" fmla="*/ 0 h 576"/>
                <a:gd name="T4" fmla="*/ 1244 w 1244"/>
                <a:gd name="T5" fmla="*/ 288 h 576"/>
                <a:gd name="T6" fmla="*/ 1140 w 1244"/>
                <a:gd name="T7" fmla="*/ 576 h 576"/>
                <a:gd name="T8" fmla="*/ 0 w 1244"/>
                <a:gd name="T9" fmla="*/ 576 h 576"/>
                <a:gd name="T10" fmla="*/ 0 w 1244"/>
                <a:gd name="T11" fmla="*/ 288 h 576"/>
                <a:gd name="T12" fmla="*/ 0 w 1244"/>
                <a:gd name="T13" fmla="*/ 0 h 57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44"/>
                <a:gd name="T22" fmla="*/ 0 h 576"/>
                <a:gd name="T23" fmla="*/ 1244 w 1244"/>
                <a:gd name="T24" fmla="*/ 576 h 57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44" h="576">
                  <a:moveTo>
                    <a:pt x="0" y="0"/>
                  </a:moveTo>
                  <a:lnTo>
                    <a:pt x="1140" y="0"/>
                  </a:lnTo>
                  <a:lnTo>
                    <a:pt x="1244" y="288"/>
                  </a:lnTo>
                  <a:lnTo>
                    <a:pt x="1140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rgbClr val="675F76">
                    <a:alpha val="50000"/>
                  </a:srgbClr>
                </a:gs>
                <a:gs pos="50000">
                  <a:schemeClr val="accent1">
                    <a:alpha val="50000"/>
                  </a:schemeClr>
                </a:gs>
                <a:gs pos="100000">
                  <a:srgbClr val="675F76">
                    <a:alpha val="50000"/>
                  </a:srgbClr>
                </a:gs>
              </a:gsLst>
              <a:lin ang="5400000" scaled="1"/>
            </a:gradFill>
            <a:ln w="9525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lIns="36000" anchor="ctr"/>
            <a:lstStyle/>
            <a:p>
              <a:pPr>
                <a:defRPr/>
              </a:pPr>
              <a:endParaRPr lang="en-US" sz="1600" b="1">
                <a:latin typeface="Calibri" pitchFamily="34" charset="0"/>
                <a:ea typeface="MS PGothic" pitchFamily="34" charset="-128"/>
              </a:endParaRPr>
            </a:p>
          </p:txBody>
        </p:sp>
        <p:sp>
          <p:nvSpPr>
            <p:cNvPr id="31780" name="Rectangle 3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516" y="745"/>
              <a:ext cx="1108" cy="4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6648" tIns="0" rIns="46648" bIns="0" anchor="ctr"/>
            <a:lstStyle/>
            <a:p>
              <a:pPr defTabSz="912813">
                <a:buSzPct val="120000"/>
              </a:pPr>
              <a:r>
                <a:rPr lang="en-US" sz="1200" b="1">
                  <a:cs typeface="Arial" pitchFamily="34" charset="0"/>
                </a:rPr>
                <a:t>Marketing Plan</a:t>
              </a:r>
            </a:p>
          </p:txBody>
        </p:sp>
      </p:grpSp>
      <p:grpSp>
        <p:nvGrpSpPr>
          <p:cNvPr id="31753" name="Group 23"/>
          <p:cNvGrpSpPr>
            <a:grpSpLocks/>
          </p:cNvGrpSpPr>
          <p:nvPr/>
        </p:nvGrpSpPr>
        <p:grpSpPr bwMode="auto">
          <a:xfrm>
            <a:off x="8056563" y="693738"/>
            <a:ext cx="974725" cy="344487"/>
            <a:chOff x="220" y="1866"/>
            <a:chExt cx="5348" cy="1886"/>
          </a:xfrm>
        </p:grpSpPr>
        <p:sp>
          <p:nvSpPr>
            <p:cNvPr id="31764" name="Line 24"/>
            <p:cNvSpPr>
              <a:spLocks noChangeShapeType="1"/>
            </p:cNvSpPr>
            <p:nvPr>
              <p:custDataLst>
                <p:tags r:id="rId16"/>
              </p:custDataLst>
            </p:nvPr>
          </p:nvSpPr>
          <p:spPr bwMode="auto">
            <a:xfrm>
              <a:off x="3974" y="2414"/>
              <a:ext cx="157" cy="9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1765" name="Arc 25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2955" y="2361"/>
              <a:ext cx="470" cy="269"/>
            </a:xfrm>
            <a:custGeom>
              <a:avLst/>
              <a:gdLst>
                <a:gd name="T0" fmla="*/ 0 w 24969"/>
                <a:gd name="T1" fmla="*/ 0 h 21600"/>
                <a:gd name="T2" fmla="*/ 0 w 24969"/>
                <a:gd name="T3" fmla="*/ 0 h 21600"/>
                <a:gd name="T4" fmla="*/ 0 w 24969"/>
                <a:gd name="T5" fmla="*/ 0 h 21600"/>
                <a:gd name="T6" fmla="*/ 0 60000 65536"/>
                <a:gd name="T7" fmla="*/ 0 60000 65536"/>
                <a:gd name="T8" fmla="*/ 0 60000 65536"/>
                <a:gd name="T9" fmla="*/ 0 w 24969"/>
                <a:gd name="T10" fmla="*/ 0 h 21600"/>
                <a:gd name="T11" fmla="*/ 24969 w 24969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969" h="21600" fill="none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</a:path>
                <a:path w="24969" h="21600" stroke="0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  <a:lnTo>
                    <a:pt x="21594" y="21600"/>
                  </a:lnTo>
                  <a:lnTo>
                    <a:pt x="-1" y="21094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1766" name="Arc 26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2624" y="1988"/>
              <a:ext cx="984" cy="548"/>
            </a:xfrm>
            <a:custGeom>
              <a:avLst/>
              <a:gdLst>
                <a:gd name="T0" fmla="*/ 0 w 24568"/>
                <a:gd name="T1" fmla="*/ 0 h 21600"/>
                <a:gd name="T2" fmla="*/ 0 w 24568"/>
                <a:gd name="T3" fmla="*/ 0 h 21600"/>
                <a:gd name="T4" fmla="*/ 0 w 24568"/>
                <a:gd name="T5" fmla="*/ 0 h 21600"/>
                <a:gd name="T6" fmla="*/ 0 60000 65536"/>
                <a:gd name="T7" fmla="*/ 0 60000 65536"/>
                <a:gd name="T8" fmla="*/ 0 60000 65536"/>
                <a:gd name="T9" fmla="*/ 0 w 24568"/>
                <a:gd name="T10" fmla="*/ 0 h 21600"/>
                <a:gd name="T11" fmla="*/ 24568 w 24568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568" h="21600" fill="none" extrusionOk="0">
                  <a:moveTo>
                    <a:pt x="-1" y="17428"/>
                  </a:moveTo>
                  <a:cubicBezTo>
                    <a:pt x="1992" y="7301"/>
                    <a:pt x="10871" y="-1"/>
                    <a:pt x="21193" y="-1"/>
                  </a:cubicBezTo>
                  <a:cubicBezTo>
                    <a:pt x="22323" y="-1"/>
                    <a:pt x="23451" y="88"/>
                    <a:pt x="24567" y="265"/>
                  </a:cubicBezTo>
                </a:path>
                <a:path w="24568" h="21600" stroke="0" extrusionOk="0">
                  <a:moveTo>
                    <a:pt x="-1" y="17428"/>
                  </a:moveTo>
                  <a:cubicBezTo>
                    <a:pt x="1992" y="7301"/>
                    <a:pt x="10871" y="-1"/>
                    <a:pt x="21193" y="-1"/>
                  </a:cubicBezTo>
                  <a:cubicBezTo>
                    <a:pt x="22323" y="-1"/>
                    <a:pt x="23451" y="88"/>
                    <a:pt x="24567" y="265"/>
                  </a:cubicBezTo>
                  <a:lnTo>
                    <a:pt x="21193" y="21600"/>
                  </a:lnTo>
                  <a:lnTo>
                    <a:pt x="-1" y="17428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1767" name="Freeform 27"/>
            <p:cNvSpPr>
              <a:spLocks/>
            </p:cNvSpPr>
            <p:nvPr>
              <p:custDataLst>
                <p:tags r:id="rId19"/>
              </p:custDataLst>
            </p:nvPr>
          </p:nvSpPr>
          <p:spPr bwMode="blackWhite">
            <a:xfrm>
              <a:off x="2546" y="1866"/>
              <a:ext cx="854" cy="678"/>
            </a:xfrm>
            <a:custGeom>
              <a:avLst/>
              <a:gdLst>
                <a:gd name="T0" fmla="*/ 0 w 854"/>
                <a:gd name="T1" fmla="*/ 570 h 675"/>
                <a:gd name="T2" fmla="*/ 660 w 854"/>
                <a:gd name="T3" fmla="*/ 567 h 675"/>
                <a:gd name="T4" fmla="*/ 660 w 854"/>
                <a:gd name="T5" fmla="*/ 690 h 675"/>
                <a:gd name="T6" fmla="*/ 854 w 854"/>
                <a:gd name="T7" fmla="*/ 334 h 675"/>
                <a:gd name="T8" fmla="*/ 662 w 854"/>
                <a:gd name="T9" fmla="*/ 0 h 675"/>
                <a:gd name="T10" fmla="*/ 663 w 854"/>
                <a:gd name="T11" fmla="*/ 131 h 675"/>
                <a:gd name="T12" fmla="*/ 12 w 854"/>
                <a:gd name="T13" fmla="*/ 131 h 675"/>
                <a:gd name="T14" fmla="*/ 124 w 854"/>
                <a:gd name="T15" fmla="*/ 331 h 675"/>
                <a:gd name="T16" fmla="*/ 0 w 854"/>
                <a:gd name="T17" fmla="*/ 570 h 6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54"/>
                <a:gd name="T28" fmla="*/ 0 h 675"/>
                <a:gd name="T29" fmla="*/ 854 w 854"/>
                <a:gd name="T30" fmla="*/ 675 h 6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54" h="675">
                  <a:moveTo>
                    <a:pt x="0" y="558"/>
                  </a:moveTo>
                  <a:lnTo>
                    <a:pt x="660" y="556"/>
                  </a:lnTo>
                  <a:lnTo>
                    <a:pt x="660" y="675"/>
                  </a:lnTo>
                  <a:lnTo>
                    <a:pt x="854" y="329"/>
                  </a:lnTo>
                  <a:lnTo>
                    <a:pt x="662" y="0"/>
                  </a:lnTo>
                  <a:lnTo>
                    <a:pt x="663" y="126"/>
                  </a:lnTo>
                  <a:lnTo>
                    <a:pt x="12" y="126"/>
                  </a:lnTo>
                  <a:lnTo>
                    <a:pt x="124" y="3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768" name="Arc 28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455" y="1988"/>
              <a:ext cx="984" cy="548"/>
            </a:xfrm>
            <a:custGeom>
              <a:avLst/>
              <a:gdLst>
                <a:gd name="T0" fmla="*/ 0 w 24961"/>
                <a:gd name="T1" fmla="*/ 0 h 21600"/>
                <a:gd name="T2" fmla="*/ 0 w 24961"/>
                <a:gd name="T3" fmla="*/ 0 h 21600"/>
                <a:gd name="T4" fmla="*/ 0 w 24961"/>
                <a:gd name="T5" fmla="*/ 0 h 21600"/>
                <a:gd name="T6" fmla="*/ 0 60000 65536"/>
                <a:gd name="T7" fmla="*/ 0 60000 65536"/>
                <a:gd name="T8" fmla="*/ 0 60000 65536"/>
                <a:gd name="T9" fmla="*/ 0 w 24961"/>
                <a:gd name="T10" fmla="*/ 0 h 21600"/>
                <a:gd name="T11" fmla="*/ 24961 w 24961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961" h="21600" fill="none" extrusionOk="0">
                  <a:moveTo>
                    <a:pt x="-1" y="20825"/>
                  </a:moveTo>
                  <a:cubicBezTo>
                    <a:pt x="416" y="9205"/>
                    <a:pt x="9957" y="-1"/>
                    <a:pt x="21586" y="-1"/>
                  </a:cubicBezTo>
                  <a:cubicBezTo>
                    <a:pt x="22716" y="-1"/>
                    <a:pt x="23844" y="88"/>
                    <a:pt x="24960" y="265"/>
                  </a:cubicBezTo>
                </a:path>
                <a:path w="24961" h="21600" stroke="0" extrusionOk="0">
                  <a:moveTo>
                    <a:pt x="-1" y="20825"/>
                  </a:moveTo>
                  <a:cubicBezTo>
                    <a:pt x="416" y="9205"/>
                    <a:pt x="9957" y="-1"/>
                    <a:pt x="21586" y="-1"/>
                  </a:cubicBezTo>
                  <a:cubicBezTo>
                    <a:pt x="22716" y="-1"/>
                    <a:pt x="23844" y="88"/>
                    <a:pt x="24960" y="265"/>
                  </a:cubicBezTo>
                  <a:lnTo>
                    <a:pt x="21586" y="21600"/>
                  </a:lnTo>
                  <a:lnTo>
                    <a:pt x="-1" y="20825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1769" name="Arc 29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812" y="2387"/>
              <a:ext cx="479" cy="278"/>
            </a:xfrm>
            <a:custGeom>
              <a:avLst/>
              <a:gdLst>
                <a:gd name="T0" fmla="*/ 0 w 24969"/>
                <a:gd name="T1" fmla="*/ 0 h 21600"/>
                <a:gd name="T2" fmla="*/ 0 w 24969"/>
                <a:gd name="T3" fmla="*/ 0 h 21600"/>
                <a:gd name="T4" fmla="*/ 0 w 24969"/>
                <a:gd name="T5" fmla="*/ 0 h 21600"/>
                <a:gd name="T6" fmla="*/ 0 60000 65536"/>
                <a:gd name="T7" fmla="*/ 0 60000 65536"/>
                <a:gd name="T8" fmla="*/ 0 60000 65536"/>
                <a:gd name="T9" fmla="*/ 0 w 24969"/>
                <a:gd name="T10" fmla="*/ 0 h 21600"/>
                <a:gd name="T11" fmla="*/ 24969 w 24969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969" h="21600" fill="none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</a:path>
                <a:path w="24969" h="21600" stroke="0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  <a:lnTo>
                    <a:pt x="21594" y="21600"/>
                  </a:lnTo>
                  <a:lnTo>
                    <a:pt x="-1" y="21094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1770" name="Freeform 30"/>
            <p:cNvSpPr>
              <a:spLocks/>
            </p:cNvSpPr>
            <p:nvPr>
              <p:custDataLst>
                <p:tags r:id="rId22"/>
              </p:custDataLst>
            </p:nvPr>
          </p:nvSpPr>
          <p:spPr bwMode="blackWhite">
            <a:xfrm>
              <a:off x="2354" y="2379"/>
              <a:ext cx="723" cy="982"/>
            </a:xfrm>
            <a:custGeom>
              <a:avLst/>
              <a:gdLst>
                <a:gd name="T0" fmla="*/ 185 w 933"/>
                <a:gd name="T1" fmla="*/ 0 h 1276"/>
                <a:gd name="T2" fmla="*/ 44 w 933"/>
                <a:gd name="T3" fmla="*/ 1 h 1276"/>
                <a:gd name="T4" fmla="*/ 88 w 933"/>
                <a:gd name="T5" fmla="*/ 25 h 1276"/>
                <a:gd name="T6" fmla="*/ 178 w 933"/>
                <a:gd name="T7" fmla="*/ 345 h 1276"/>
                <a:gd name="T8" fmla="*/ 190 w 933"/>
                <a:gd name="T9" fmla="*/ 264 h 1276"/>
                <a:gd name="T10" fmla="*/ 260 w 933"/>
                <a:gd name="T11" fmla="*/ 235 h 1276"/>
                <a:gd name="T12" fmla="*/ 234 w 933"/>
                <a:gd name="T13" fmla="*/ 211 h 1276"/>
                <a:gd name="T14" fmla="*/ 220 w 933"/>
                <a:gd name="T15" fmla="*/ 192 h 1276"/>
                <a:gd name="T16" fmla="*/ 210 w 933"/>
                <a:gd name="T17" fmla="*/ 162 h 1276"/>
                <a:gd name="T18" fmla="*/ 211 w 933"/>
                <a:gd name="T19" fmla="*/ 94 h 1276"/>
                <a:gd name="T20" fmla="*/ 257 w 933"/>
                <a:gd name="T21" fmla="*/ 119 h 1276"/>
                <a:gd name="T22" fmla="*/ 185 w 933"/>
                <a:gd name="T23" fmla="*/ 0 h 127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33"/>
                <a:gd name="T37" fmla="*/ 0 h 1276"/>
                <a:gd name="T38" fmla="*/ 933 w 933"/>
                <a:gd name="T39" fmla="*/ 1276 h 127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33" h="1276">
                  <a:moveTo>
                    <a:pt x="662" y="0"/>
                  </a:moveTo>
                  <a:lnTo>
                    <a:pt x="156" y="1"/>
                  </a:lnTo>
                  <a:lnTo>
                    <a:pt x="314" y="93"/>
                  </a:lnTo>
                  <a:cubicBezTo>
                    <a:pt x="314" y="93"/>
                    <a:pt x="0" y="771"/>
                    <a:pt x="637" y="1276"/>
                  </a:cubicBezTo>
                  <a:lnTo>
                    <a:pt x="679" y="978"/>
                  </a:lnTo>
                  <a:cubicBezTo>
                    <a:pt x="679" y="978"/>
                    <a:pt x="813" y="923"/>
                    <a:pt x="933" y="872"/>
                  </a:cubicBezTo>
                  <a:cubicBezTo>
                    <a:pt x="885" y="843"/>
                    <a:pt x="838" y="779"/>
                    <a:pt x="838" y="779"/>
                  </a:cubicBezTo>
                  <a:lnTo>
                    <a:pt x="788" y="711"/>
                  </a:lnTo>
                  <a:lnTo>
                    <a:pt x="752" y="600"/>
                  </a:lnTo>
                  <a:cubicBezTo>
                    <a:pt x="752" y="600"/>
                    <a:pt x="719" y="481"/>
                    <a:pt x="755" y="348"/>
                  </a:cubicBezTo>
                  <a:cubicBezTo>
                    <a:pt x="839" y="395"/>
                    <a:pt x="923" y="444"/>
                    <a:pt x="923" y="444"/>
                  </a:cubicBezTo>
                  <a:lnTo>
                    <a:pt x="662" y="0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771" name="Freeform 31"/>
            <p:cNvSpPr>
              <a:spLocks/>
            </p:cNvSpPr>
            <p:nvPr>
              <p:custDataLst>
                <p:tags r:id="rId23"/>
              </p:custDataLst>
            </p:nvPr>
          </p:nvSpPr>
          <p:spPr bwMode="blackWhite">
            <a:xfrm rot="4209998">
              <a:off x="86" y="2643"/>
              <a:ext cx="1139" cy="784"/>
            </a:xfrm>
            <a:custGeom>
              <a:avLst/>
              <a:gdLst>
                <a:gd name="T0" fmla="*/ 16 w 1485"/>
                <a:gd name="T1" fmla="*/ 66 h 1021"/>
                <a:gd name="T2" fmla="*/ 0 w 1485"/>
                <a:gd name="T3" fmla="*/ 203 h 1021"/>
                <a:gd name="T4" fmla="*/ 31 w 1485"/>
                <a:gd name="T5" fmla="*/ 161 h 1021"/>
                <a:gd name="T6" fmla="*/ 394 w 1485"/>
                <a:gd name="T7" fmla="*/ 39 h 1021"/>
                <a:gd name="T8" fmla="*/ 311 w 1485"/>
                <a:gd name="T9" fmla="*/ 56 h 1021"/>
                <a:gd name="T10" fmla="*/ 265 w 1485"/>
                <a:gd name="T11" fmla="*/ 0 h 1021"/>
                <a:gd name="T12" fmla="*/ 229 w 1485"/>
                <a:gd name="T13" fmla="*/ 37 h 1021"/>
                <a:gd name="T14" fmla="*/ 206 w 1485"/>
                <a:gd name="T15" fmla="*/ 51 h 1021"/>
                <a:gd name="T16" fmla="*/ 170 w 1485"/>
                <a:gd name="T17" fmla="*/ 61 h 1021"/>
                <a:gd name="T18" fmla="*/ 115 w 1485"/>
                <a:gd name="T19" fmla="*/ 51 h 1021"/>
                <a:gd name="T20" fmla="*/ 142 w 1485"/>
                <a:gd name="T21" fmla="*/ 15 h 1021"/>
                <a:gd name="T22" fmla="*/ 16 w 1485"/>
                <a:gd name="T23" fmla="*/ 66 h 10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85"/>
                <a:gd name="T37" fmla="*/ 0 h 1021"/>
                <a:gd name="T38" fmla="*/ 1485 w 1485"/>
                <a:gd name="T39" fmla="*/ 1021 h 102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85" h="1021">
                  <a:moveTo>
                    <a:pt x="61" y="248"/>
                  </a:moveTo>
                  <a:lnTo>
                    <a:pt x="0" y="762"/>
                  </a:lnTo>
                  <a:cubicBezTo>
                    <a:pt x="0" y="762"/>
                    <a:pt x="59" y="684"/>
                    <a:pt x="118" y="606"/>
                  </a:cubicBezTo>
                  <a:cubicBezTo>
                    <a:pt x="136" y="628"/>
                    <a:pt x="994" y="1021"/>
                    <a:pt x="1485" y="146"/>
                  </a:cubicBezTo>
                  <a:lnTo>
                    <a:pt x="1170" y="210"/>
                  </a:lnTo>
                  <a:cubicBezTo>
                    <a:pt x="1170" y="210"/>
                    <a:pt x="1084" y="105"/>
                    <a:pt x="999" y="0"/>
                  </a:cubicBezTo>
                  <a:cubicBezTo>
                    <a:pt x="946" y="83"/>
                    <a:pt x="860" y="137"/>
                    <a:pt x="860" y="137"/>
                  </a:cubicBezTo>
                  <a:lnTo>
                    <a:pt x="778" y="190"/>
                  </a:lnTo>
                  <a:lnTo>
                    <a:pt x="638" y="226"/>
                  </a:lnTo>
                  <a:cubicBezTo>
                    <a:pt x="581" y="226"/>
                    <a:pt x="452" y="219"/>
                    <a:pt x="435" y="191"/>
                  </a:cubicBezTo>
                  <a:cubicBezTo>
                    <a:pt x="485" y="124"/>
                    <a:pt x="535" y="57"/>
                    <a:pt x="535" y="57"/>
                  </a:cubicBezTo>
                  <a:lnTo>
                    <a:pt x="61" y="248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772" name="Freeform 32"/>
            <p:cNvSpPr>
              <a:spLocks/>
            </p:cNvSpPr>
            <p:nvPr>
              <p:custDataLst>
                <p:tags r:id="rId24"/>
              </p:custDataLst>
            </p:nvPr>
          </p:nvSpPr>
          <p:spPr bwMode="blackWhite">
            <a:xfrm>
              <a:off x="1074" y="2005"/>
              <a:ext cx="862" cy="1608"/>
            </a:xfrm>
            <a:custGeom>
              <a:avLst/>
              <a:gdLst>
                <a:gd name="T0" fmla="*/ 182 w 976"/>
                <a:gd name="T1" fmla="*/ 913 h 1811"/>
                <a:gd name="T2" fmla="*/ 242 w 976"/>
                <a:gd name="T3" fmla="*/ 890 h 1811"/>
                <a:gd name="T4" fmla="*/ 297 w 976"/>
                <a:gd name="T5" fmla="*/ 859 h 1811"/>
                <a:gd name="T6" fmla="*/ 351 w 976"/>
                <a:gd name="T7" fmla="*/ 820 h 1811"/>
                <a:gd name="T8" fmla="*/ 397 w 976"/>
                <a:gd name="T9" fmla="*/ 776 h 1811"/>
                <a:gd name="T10" fmla="*/ 439 w 976"/>
                <a:gd name="T11" fmla="*/ 725 h 1811"/>
                <a:gd name="T12" fmla="*/ 474 w 976"/>
                <a:gd name="T13" fmla="*/ 668 h 1811"/>
                <a:gd name="T14" fmla="*/ 498 w 976"/>
                <a:gd name="T15" fmla="*/ 607 h 1811"/>
                <a:gd name="T16" fmla="*/ 517 w 976"/>
                <a:gd name="T17" fmla="*/ 543 h 1811"/>
                <a:gd name="T18" fmla="*/ 524 w 976"/>
                <a:gd name="T19" fmla="*/ 478 h 1811"/>
                <a:gd name="T20" fmla="*/ 522 w 976"/>
                <a:gd name="T21" fmla="*/ 411 h 1811"/>
                <a:gd name="T22" fmla="*/ 510 w 976"/>
                <a:gd name="T23" fmla="*/ 345 h 1811"/>
                <a:gd name="T24" fmla="*/ 491 w 976"/>
                <a:gd name="T25" fmla="*/ 282 h 1811"/>
                <a:gd name="T26" fmla="*/ 462 w 976"/>
                <a:gd name="T27" fmla="*/ 222 h 1811"/>
                <a:gd name="T28" fmla="*/ 424 w 976"/>
                <a:gd name="T29" fmla="*/ 168 h 1811"/>
                <a:gd name="T30" fmla="*/ 381 w 976"/>
                <a:gd name="T31" fmla="*/ 119 h 1811"/>
                <a:gd name="T32" fmla="*/ 330 w 976"/>
                <a:gd name="T33" fmla="*/ 78 h 1811"/>
                <a:gd name="T34" fmla="*/ 274 w 976"/>
                <a:gd name="T35" fmla="*/ 45 h 1811"/>
                <a:gd name="T36" fmla="*/ 215 w 976"/>
                <a:gd name="T37" fmla="*/ 20 h 1811"/>
                <a:gd name="T38" fmla="*/ 150 w 976"/>
                <a:gd name="T39" fmla="*/ 4 h 1811"/>
                <a:gd name="T40" fmla="*/ 158 w 976"/>
                <a:gd name="T41" fmla="*/ 61 h 1811"/>
                <a:gd name="T42" fmla="*/ 122 w 976"/>
                <a:gd name="T43" fmla="*/ 240 h 1811"/>
                <a:gd name="T44" fmla="*/ 163 w 976"/>
                <a:gd name="T45" fmla="*/ 256 h 1811"/>
                <a:gd name="T46" fmla="*/ 204 w 976"/>
                <a:gd name="T47" fmla="*/ 280 h 1811"/>
                <a:gd name="T48" fmla="*/ 237 w 976"/>
                <a:gd name="T49" fmla="*/ 313 h 1811"/>
                <a:gd name="T50" fmla="*/ 263 w 976"/>
                <a:gd name="T51" fmla="*/ 352 h 1811"/>
                <a:gd name="T52" fmla="*/ 280 w 976"/>
                <a:gd name="T53" fmla="*/ 396 h 1811"/>
                <a:gd name="T54" fmla="*/ 290 w 976"/>
                <a:gd name="T55" fmla="*/ 441 h 1811"/>
                <a:gd name="T56" fmla="*/ 288 w 976"/>
                <a:gd name="T57" fmla="*/ 489 h 1811"/>
                <a:gd name="T58" fmla="*/ 278 w 976"/>
                <a:gd name="T59" fmla="*/ 535 h 1811"/>
                <a:gd name="T60" fmla="*/ 259 w 976"/>
                <a:gd name="T61" fmla="*/ 578 h 1811"/>
                <a:gd name="T62" fmla="*/ 231 w 976"/>
                <a:gd name="T63" fmla="*/ 615 h 1811"/>
                <a:gd name="T64" fmla="*/ 197 w 976"/>
                <a:gd name="T65" fmla="*/ 646 h 1811"/>
                <a:gd name="T66" fmla="*/ 157 w 976"/>
                <a:gd name="T67" fmla="*/ 671 h 1811"/>
                <a:gd name="T68" fmla="*/ 136 w 976"/>
                <a:gd name="T69" fmla="*/ 602 h 1811"/>
                <a:gd name="T70" fmla="*/ 150 w 976"/>
                <a:gd name="T71" fmla="*/ 999 h 181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76"/>
                <a:gd name="T109" fmla="*/ 0 h 1811"/>
                <a:gd name="T110" fmla="*/ 976 w 976"/>
                <a:gd name="T111" fmla="*/ 1811 h 181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76" h="1811">
                  <a:moveTo>
                    <a:pt x="279" y="1669"/>
                  </a:moveTo>
                  <a:lnTo>
                    <a:pt x="338" y="1654"/>
                  </a:lnTo>
                  <a:lnTo>
                    <a:pt x="394" y="1635"/>
                  </a:lnTo>
                  <a:lnTo>
                    <a:pt x="449" y="1612"/>
                  </a:lnTo>
                  <a:lnTo>
                    <a:pt x="502" y="1585"/>
                  </a:lnTo>
                  <a:lnTo>
                    <a:pt x="553" y="1555"/>
                  </a:lnTo>
                  <a:lnTo>
                    <a:pt x="601" y="1520"/>
                  </a:lnTo>
                  <a:lnTo>
                    <a:pt x="651" y="1485"/>
                  </a:lnTo>
                  <a:lnTo>
                    <a:pt x="697" y="1447"/>
                  </a:lnTo>
                  <a:lnTo>
                    <a:pt x="741" y="1405"/>
                  </a:lnTo>
                  <a:lnTo>
                    <a:pt x="782" y="1361"/>
                  </a:lnTo>
                  <a:lnTo>
                    <a:pt x="818" y="1313"/>
                  </a:lnTo>
                  <a:lnTo>
                    <a:pt x="851" y="1263"/>
                  </a:lnTo>
                  <a:lnTo>
                    <a:pt x="882" y="1210"/>
                  </a:lnTo>
                  <a:lnTo>
                    <a:pt x="908" y="1156"/>
                  </a:lnTo>
                  <a:lnTo>
                    <a:pt x="929" y="1100"/>
                  </a:lnTo>
                  <a:lnTo>
                    <a:pt x="947" y="1043"/>
                  </a:lnTo>
                  <a:lnTo>
                    <a:pt x="961" y="984"/>
                  </a:lnTo>
                  <a:lnTo>
                    <a:pt x="970" y="924"/>
                  </a:lnTo>
                  <a:lnTo>
                    <a:pt x="975" y="865"/>
                  </a:lnTo>
                  <a:lnTo>
                    <a:pt x="975" y="804"/>
                  </a:lnTo>
                  <a:lnTo>
                    <a:pt x="972" y="744"/>
                  </a:lnTo>
                  <a:lnTo>
                    <a:pt x="963" y="685"/>
                  </a:lnTo>
                  <a:lnTo>
                    <a:pt x="950" y="625"/>
                  </a:lnTo>
                  <a:lnTo>
                    <a:pt x="935" y="567"/>
                  </a:lnTo>
                  <a:lnTo>
                    <a:pt x="913" y="511"/>
                  </a:lnTo>
                  <a:lnTo>
                    <a:pt x="889" y="456"/>
                  </a:lnTo>
                  <a:lnTo>
                    <a:pt x="859" y="403"/>
                  </a:lnTo>
                  <a:lnTo>
                    <a:pt x="826" y="352"/>
                  </a:lnTo>
                  <a:lnTo>
                    <a:pt x="790" y="304"/>
                  </a:lnTo>
                  <a:lnTo>
                    <a:pt x="751" y="259"/>
                  </a:lnTo>
                  <a:lnTo>
                    <a:pt x="708" y="216"/>
                  </a:lnTo>
                  <a:lnTo>
                    <a:pt x="662" y="178"/>
                  </a:lnTo>
                  <a:lnTo>
                    <a:pt x="614" y="142"/>
                  </a:lnTo>
                  <a:lnTo>
                    <a:pt x="563" y="109"/>
                  </a:lnTo>
                  <a:lnTo>
                    <a:pt x="510" y="81"/>
                  </a:lnTo>
                  <a:lnTo>
                    <a:pt x="455" y="56"/>
                  </a:lnTo>
                  <a:lnTo>
                    <a:pt x="398" y="36"/>
                  </a:lnTo>
                  <a:lnTo>
                    <a:pt x="340" y="20"/>
                  </a:lnTo>
                  <a:lnTo>
                    <a:pt x="281" y="8"/>
                  </a:lnTo>
                  <a:lnTo>
                    <a:pt x="222" y="0"/>
                  </a:lnTo>
                  <a:lnTo>
                    <a:pt x="294" y="112"/>
                  </a:lnTo>
                  <a:lnTo>
                    <a:pt x="369" y="222"/>
                  </a:lnTo>
                  <a:lnTo>
                    <a:pt x="226" y="434"/>
                  </a:lnTo>
                  <a:lnTo>
                    <a:pt x="268" y="446"/>
                  </a:lnTo>
                  <a:lnTo>
                    <a:pt x="306" y="463"/>
                  </a:lnTo>
                  <a:lnTo>
                    <a:pt x="344" y="483"/>
                  </a:lnTo>
                  <a:lnTo>
                    <a:pt x="379" y="508"/>
                  </a:lnTo>
                  <a:lnTo>
                    <a:pt x="411" y="536"/>
                  </a:lnTo>
                  <a:lnTo>
                    <a:pt x="440" y="567"/>
                  </a:lnTo>
                  <a:lnTo>
                    <a:pt x="467" y="601"/>
                  </a:lnTo>
                  <a:lnTo>
                    <a:pt x="489" y="637"/>
                  </a:lnTo>
                  <a:lnTo>
                    <a:pt x="508" y="676"/>
                  </a:lnTo>
                  <a:lnTo>
                    <a:pt x="521" y="716"/>
                  </a:lnTo>
                  <a:lnTo>
                    <a:pt x="531" y="758"/>
                  </a:lnTo>
                  <a:lnTo>
                    <a:pt x="538" y="801"/>
                  </a:lnTo>
                  <a:lnTo>
                    <a:pt x="539" y="843"/>
                  </a:lnTo>
                  <a:lnTo>
                    <a:pt x="536" y="886"/>
                  </a:lnTo>
                  <a:lnTo>
                    <a:pt x="529" y="928"/>
                  </a:lnTo>
                  <a:lnTo>
                    <a:pt x="517" y="969"/>
                  </a:lnTo>
                  <a:lnTo>
                    <a:pt x="501" y="1009"/>
                  </a:lnTo>
                  <a:lnTo>
                    <a:pt x="482" y="1046"/>
                  </a:lnTo>
                  <a:lnTo>
                    <a:pt x="458" y="1082"/>
                  </a:lnTo>
                  <a:lnTo>
                    <a:pt x="431" y="1115"/>
                  </a:lnTo>
                  <a:lnTo>
                    <a:pt x="401" y="1145"/>
                  </a:lnTo>
                  <a:lnTo>
                    <a:pt x="367" y="1172"/>
                  </a:lnTo>
                  <a:lnTo>
                    <a:pt x="331" y="1196"/>
                  </a:lnTo>
                  <a:lnTo>
                    <a:pt x="293" y="1215"/>
                  </a:lnTo>
                  <a:lnTo>
                    <a:pt x="253" y="1230"/>
                  </a:lnTo>
                  <a:lnTo>
                    <a:pt x="253" y="1093"/>
                  </a:lnTo>
                  <a:lnTo>
                    <a:pt x="0" y="1420"/>
                  </a:lnTo>
                  <a:lnTo>
                    <a:pt x="279" y="1810"/>
                  </a:lnTo>
                  <a:lnTo>
                    <a:pt x="279" y="1669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773" name="Freeform 33"/>
            <p:cNvSpPr>
              <a:spLocks/>
            </p:cNvSpPr>
            <p:nvPr>
              <p:custDataLst>
                <p:tags r:id="rId25"/>
              </p:custDataLst>
            </p:nvPr>
          </p:nvSpPr>
          <p:spPr bwMode="blackWhite">
            <a:xfrm>
              <a:off x="1431" y="1866"/>
              <a:ext cx="1167" cy="678"/>
            </a:xfrm>
            <a:custGeom>
              <a:avLst/>
              <a:gdLst>
                <a:gd name="T0" fmla="*/ 214 w 1429"/>
                <a:gd name="T1" fmla="*/ 249 h 830"/>
                <a:gd name="T2" fmla="*/ 433 w 1429"/>
                <a:gd name="T3" fmla="*/ 249 h 830"/>
                <a:gd name="T4" fmla="*/ 433 w 1429"/>
                <a:gd name="T5" fmla="*/ 302 h 830"/>
                <a:gd name="T6" fmla="*/ 519 w 1429"/>
                <a:gd name="T7" fmla="*/ 148 h 830"/>
                <a:gd name="T8" fmla="*/ 433 w 1429"/>
                <a:gd name="T9" fmla="*/ 0 h 830"/>
                <a:gd name="T10" fmla="*/ 434 w 1429"/>
                <a:gd name="T11" fmla="*/ 56 h 830"/>
                <a:gd name="T12" fmla="*/ 0 w 1429"/>
                <a:gd name="T13" fmla="*/ 56 h 830"/>
                <a:gd name="T14" fmla="*/ 214 w 1429"/>
                <a:gd name="T15" fmla="*/ 249 h 8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29"/>
                <a:gd name="T25" fmla="*/ 0 h 830"/>
                <a:gd name="T26" fmla="*/ 1429 w 1429"/>
                <a:gd name="T27" fmla="*/ 830 h 83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29" h="830">
                  <a:moveTo>
                    <a:pt x="589" y="684"/>
                  </a:moveTo>
                  <a:cubicBezTo>
                    <a:pt x="886" y="685"/>
                    <a:pt x="1191" y="684"/>
                    <a:pt x="1191" y="684"/>
                  </a:cubicBezTo>
                  <a:lnTo>
                    <a:pt x="1191" y="830"/>
                  </a:lnTo>
                  <a:lnTo>
                    <a:pt x="1429" y="404"/>
                  </a:lnTo>
                  <a:lnTo>
                    <a:pt x="1193" y="0"/>
                  </a:lnTo>
                  <a:lnTo>
                    <a:pt x="1194" y="155"/>
                  </a:lnTo>
                  <a:lnTo>
                    <a:pt x="0" y="154"/>
                  </a:lnTo>
                  <a:cubicBezTo>
                    <a:pt x="0" y="154"/>
                    <a:pt x="411" y="237"/>
                    <a:pt x="589" y="684"/>
                  </a:cubicBez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774" name="Freeform 34"/>
            <p:cNvSpPr>
              <a:spLocks/>
            </p:cNvSpPr>
            <p:nvPr>
              <p:custDataLst>
                <p:tags r:id="rId26"/>
              </p:custDataLst>
            </p:nvPr>
          </p:nvSpPr>
          <p:spPr bwMode="blackWhite">
            <a:xfrm>
              <a:off x="2859" y="2970"/>
              <a:ext cx="1150" cy="782"/>
            </a:xfrm>
            <a:custGeom>
              <a:avLst/>
              <a:gdLst>
                <a:gd name="T0" fmla="*/ 17 w 1485"/>
                <a:gd name="T1" fmla="*/ 66 h 1021"/>
                <a:gd name="T2" fmla="*/ 0 w 1485"/>
                <a:gd name="T3" fmla="*/ 201 h 1021"/>
                <a:gd name="T4" fmla="*/ 33 w 1485"/>
                <a:gd name="T5" fmla="*/ 159 h 1021"/>
                <a:gd name="T6" fmla="*/ 414 w 1485"/>
                <a:gd name="T7" fmla="*/ 39 h 1021"/>
                <a:gd name="T8" fmla="*/ 326 w 1485"/>
                <a:gd name="T9" fmla="*/ 55 h 1021"/>
                <a:gd name="T10" fmla="*/ 278 w 1485"/>
                <a:gd name="T11" fmla="*/ 0 h 1021"/>
                <a:gd name="T12" fmla="*/ 240 w 1485"/>
                <a:gd name="T13" fmla="*/ 36 h 1021"/>
                <a:gd name="T14" fmla="*/ 217 w 1485"/>
                <a:gd name="T15" fmla="*/ 51 h 1021"/>
                <a:gd name="T16" fmla="*/ 178 w 1485"/>
                <a:gd name="T17" fmla="*/ 60 h 1021"/>
                <a:gd name="T18" fmla="*/ 121 w 1485"/>
                <a:gd name="T19" fmla="*/ 51 h 1021"/>
                <a:gd name="T20" fmla="*/ 149 w 1485"/>
                <a:gd name="T21" fmla="*/ 15 h 1021"/>
                <a:gd name="T22" fmla="*/ 17 w 1485"/>
                <a:gd name="T23" fmla="*/ 66 h 10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85"/>
                <a:gd name="T37" fmla="*/ 0 h 1021"/>
                <a:gd name="T38" fmla="*/ 1485 w 1485"/>
                <a:gd name="T39" fmla="*/ 1021 h 102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85" h="1021">
                  <a:moveTo>
                    <a:pt x="61" y="248"/>
                  </a:moveTo>
                  <a:lnTo>
                    <a:pt x="0" y="762"/>
                  </a:lnTo>
                  <a:cubicBezTo>
                    <a:pt x="0" y="762"/>
                    <a:pt x="59" y="684"/>
                    <a:pt x="118" y="606"/>
                  </a:cubicBezTo>
                  <a:cubicBezTo>
                    <a:pt x="136" y="628"/>
                    <a:pt x="994" y="1021"/>
                    <a:pt x="1485" y="146"/>
                  </a:cubicBezTo>
                  <a:lnTo>
                    <a:pt x="1170" y="210"/>
                  </a:lnTo>
                  <a:cubicBezTo>
                    <a:pt x="1170" y="210"/>
                    <a:pt x="1084" y="105"/>
                    <a:pt x="999" y="0"/>
                  </a:cubicBezTo>
                  <a:cubicBezTo>
                    <a:pt x="946" y="83"/>
                    <a:pt x="860" y="137"/>
                    <a:pt x="860" y="137"/>
                  </a:cubicBezTo>
                  <a:lnTo>
                    <a:pt x="778" y="190"/>
                  </a:lnTo>
                  <a:lnTo>
                    <a:pt x="638" y="226"/>
                  </a:lnTo>
                  <a:cubicBezTo>
                    <a:pt x="581" y="226"/>
                    <a:pt x="452" y="219"/>
                    <a:pt x="435" y="191"/>
                  </a:cubicBezTo>
                  <a:cubicBezTo>
                    <a:pt x="485" y="124"/>
                    <a:pt x="535" y="57"/>
                    <a:pt x="535" y="57"/>
                  </a:cubicBezTo>
                  <a:lnTo>
                    <a:pt x="61" y="248"/>
                  </a:lnTo>
                </a:path>
              </a:pathLst>
            </a:custGeom>
            <a:solidFill>
              <a:schemeClr val="accent2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775" name="Freeform 35"/>
            <p:cNvSpPr>
              <a:spLocks/>
            </p:cNvSpPr>
            <p:nvPr>
              <p:custDataLst>
                <p:tags r:id="rId27"/>
              </p:custDataLst>
            </p:nvPr>
          </p:nvSpPr>
          <p:spPr bwMode="blackWhite">
            <a:xfrm>
              <a:off x="3617" y="1866"/>
              <a:ext cx="1158" cy="678"/>
            </a:xfrm>
            <a:custGeom>
              <a:avLst/>
              <a:gdLst>
                <a:gd name="T0" fmla="*/ 206 w 1429"/>
                <a:gd name="T1" fmla="*/ 249 h 830"/>
                <a:gd name="T2" fmla="*/ 417 w 1429"/>
                <a:gd name="T3" fmla="*/ 249 h 830"/>
                <a:gd name="T4" fmla="*/ 417 w 1429"/>
                <a:gd name="T5" fmla="*/ 302 h 830"/>
                <a:gd name="T6" fmla="*/ 499 w 1429"/>
                <a:gd name="T7" fmla="*/ 148 h 830"/>
                <a:gd name="T8" fmla="*/ 417 w 1429"/>
                <a:gd name="T9" fmla="*/ 0 h 830"/>
                <a:gd name="T10" fmla="*/ 417 w 1429"/>
                <a:gd name="T11" fmla="*/ 56 h 830"/>
                <a:gd name="T12" fmla="*/ 0 w 1429"/>
                <a:gd name="T13" fmla="*/ 56 h 830"/>
                <a:gd name="T14" fmla="*/ 206 w 1429"/>
                <a:gd name="T15" fmla="*/ 249 h 8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29"/>
                <a:gd name="T25" fmla="*/ 0 h 830"/>
                <a:gd name="T26" fmla="*/ 1429 w 1429"/>
                <a:gd name="T27" fmla="*/ 830 h 83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29" h="830">
                  <a:moveTo>
                    <a:pt x="589" y="684"/>
                  </a:moveTo>
                  <a:cubicBezTo>
                    <a:pt x="886" y="685"/>
                    <a:pt x="1191" y="684"/>
                    <a:pt x="1191" y="684"/>
                  </a:cubicBezTo>
                  <a:lnTo>
                    <a:pt x="1191" y="830"/>
                  </a:lnTo>
                  <a:lnTo>
                    <a:pt x="1429" y="404"/>
                  </a:lnTo>
                  <a:lnTo>
                    <a:pt x="1193" y="0"/>
                  </a:lnTo>
                  <a:lnTo>
                    <a:pt x="1194" y="155"/>
                  </a:lnTo>
                  <a:lnTo>
                    <a:pt x="0" y="154"/>
                  </a:lnTo>
                  <a:cubicBezTo>
                    <a:pt x="0" y="154"/>
                    <a:pt x="411" y="237"/>
                    <a:pt x="589" y="684"/>
                  </a:cubicBez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776" name="Freeform 36"/>
            <p:cNvSpPr>
              <a:spLocks/>
            </p:cNvSpPr>
            <p:nvPr>
              <p:custDataLst>
                <p:tags r:id="rId28"/>
              </p:custDataLst>
            </p:nvPr>
          </p:nvSpPr>
          <p:spPr bwMode="blackWhite">
            <a:xfrm>
              <a:off x="3312" y="1979"/>
              <a:ext cx="862" cy="1112"/>
            </a:xfrm>
            <a:custGeom>
              <a:avLst/>
              <a:gdLst>
                <a:gd name="T0" fmla="*/ 168 w 1115"/>
                <a:gd name="T1" fmla="*/ 394 h 1441"/>
                <a:gd name="T2" fmla="*/ 308 w 1115"/>
                <a:gd name="T3" fmla="*/ 361 h 1441"/>
                <a:gd name="T4" fmla="*/ 264 w 1115"/>
                <a:gd name="T5" fmla="*/ 349 h 1441"/>
                <a:gd name="T6" fmla="*/ 0 w 1115"/>
                <a:gd name="T7" fmla="*/ 0 h 1441"/>
                <a:gd name="T8" fmla="*/ 49 w 1115"/>
                <a:gd name="T9" fmla="*/ 66 h 1441"/>
                <a:gd name="T10" fmla="*/ 19 w 1115"/>
                <a:gd name="T11" fmla="*/ 137 h 1441"/>
                <a:gd name="T12" fmla="*/ 99 w 1115"/>
                <a:gd name="T13" fmla="*/ 179 h 1441"/>
                <a:gd name="T14" fmla="*/ 119 w 1115"/>
                <a:gd name="T15" fmla="*/ 202 h 1441"/>
                <a:gd name="T16" fmla="*/ 130 w 1115"/>
                <a:gd name="T17" fmla="*/ 229 h 1441"/>
                <a:gd name="T18" fmla="*/ 132 w 1115"/>
                <a:gd name="T19" fmla="*/ 305 h 1441"/>
                <a:gd name="T20" fmla="*/ 80 w 1115"/>
                <a:gd name="T21" fmla="*/ 290 h 1441"/>
                <a:gd name="T22" fmla="*/ 168 w 1115"/>
                <a:gd name="T23" fmla="*/ 394 h 144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115"/>
                <a:gd name="T37" fmla="*/ 0 h 1441"/>
                <a:gd name="T38" fmla="*/ 1115 w 1115"/>
                <a:gd name="T39" fmla="*/ 1441 h 144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115" h="1441">
                  <a:moveTo>
                    <a:pt x="609" y="1441"/>
                  </a:moveTo>
                  <a:lnTo>
                    <a:pt x="1115" y="1321"/>
                  </a:lnTo>
                  <a:lnTo>
                    <a:pt x="956" y="1274"/>
                  </a:lnTo>
                  <a:cubicBezTo>
                    <a:pt x="1096" y="922"/>
                    <a:pt x="928" y="37"/>
                    <a:pt x="0" y="0"/>
                  </a:cubicBezTo>
                  <a:cubicBezTo>
                    <a:pt x="90" y="114"/>
                    <a:pt x="178" y="244"/>
                    <a:pt x="178" y="244"/>
                  </a:cubicBezTo>
                  <a:cubicBezTo>
                    <a:pt x="178" y="244"/>
                    <a:pt x="120" y="371"/>
                    <a:pt x="67" y="503"/>
                  </a:cubicBezTo>
                  <a:cubicBezTo>
                    <a:pt x="249" y="531"/>
                    <a:pt x="357" y="655"/>
                    <a:pt x="357" y="655"/>
                  </a:cubicBezTo>
                  <a:lnTo>
                    <a:pt x="431" y="740"/>
                  </a:lnTo>
                  <a:lnTo>
                    <a:pt x="469" y="839"/>
                  </a:lnTo>
                  <a:cubicBezTo>
                    <a:pt x="523" y="963"/>
                    <a:pt x="478" y="1116"/>
                    <a:pt x="478" y="1116"/>
                  </a:cubicBezTo>
                  <a:lnTo>
                    <a:pt x="287" y="1060"/>
                  </a:lnTo>
                  <a:lnTo>
                    <a:pt x="609" y="1441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777" name="Freeform 37"/>
            <p:cNvSpPr>
              <a:spLocks/>
            </p:cNvSpPr>
            <p:nvPr>
              <p:custDataLst>
                <p:tags r:id="rId29"/>
              </p:custDataLst>
            </p:nvPr>
          </p:nvSpPr>
          <p:spPr bwMode="blackWhite">
            <a:xfrm>
              <a:off x="4714" y="1866"/>
              <a:ext cx="854" cy="678"/>
            </a:xfrm>
            <a:custGeom>
              <a:avLst/>
              <a:gdLst>
                <a:gd name="T0" fmla="*/ 0 w 854"/>
                <a:gd name="T1" fmla="*/ 570 h 675"/>
                <a:gd name="T2" fmla="*/ 660 w 854"/>
                <a:gd name="T3" fmla="*/ 567 h 675"/>
                <a:gd name="T4" fmla="*/ 660 w 854"/>
                <a:gd name="T5" fmla="*/ 690 h 675"/>
                <a:gd name="T6" fmla="*/ 854 w 854"/>
                <a:gd name="T7" fmla="*/ 334 h 675"/>
                <a:gd name="T8" fmla="*/ 662 w 854"/>
                <a:gd name="T9" fmla="*/ 0 h 675"/>
                <a:gd name="T10" fmla="*/ 663 w 854"/>
                <a:gd name="T11" fmla="*/ 131 h 675"/>
                <a:gd name="T12" fmla="*/ 12 w 854"/>
                <a:gd name="T13" fmla="*/ 131 h 675"/>
                <a:gd name="T14" fmla="*/ 124 w 854"/>
                <a:gd name="T15" fmla="*/ 331 h 675"/>
                <a:gd name="T16" fmla="*/ 0 w 854"/>
                <a:gd name="T17" fmla="*/ 570 h 6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54"/>
                <a:gd name="T28" fmla="*/ 0 h 675"/>
                <a:gd name="T29" fmla="*/ 854 w 854"/>
                <a:gd name="T30" fmla="*/ 675 h 6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54" h="675">
                  <a:moveTo>
                    <a:pt x="0" y="558"/>
                  </a:moveTo>
                  <a:lnTo>
                    <a:pt x="660" y="556"/>
                  </a:lnTo>
                  <a:lnTo>
                    <a:pt x="660" y="675"/>
                  </a:lnTo>
                  <a:lnTo>
                    <a:pt x="854" y="329"/>
                  </a:lnTo>
                  <a:lnTo>
                    <a:pt x="662" y="0"/>
                  </a:lnTo>
                  <a:lnTo>
                    <a:pt x="663" y="126"/>
                  </a:lnTo>
                  <a:lnTo>
                    <a:pt x="12" y="126"/>
                  </a:lnTo>
                  <a:lnTo>
                    <a:pt x="124" y="3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778" name="Freeform 38"/>
            <p:cNvSpPr>
              <a:spLocks/>
            </p:cNvSpPr>
            <p:nvPr>
              <p:custDataLst>
                <p:tags r:id="rId30"/>
              </p:custDataLst>
            </p:nvPr>
          </p:nvSpPr>
          <p:spPr bwMode="blackWhite">
            <a:xfrm>
              <a:off x="220" y="1866"/>
              <a:ext cx="1097" cy="678"/>
            </a:xfrm>
            <a:custGeom>
              <a:avLst/>
              <a:gdLst>
                <a:gd name="T0" fmla="*/ 0 w 1094"/>
                <a:gd name="T1" fmla="*/ 570 h 675"/>
                <a:gd name="T2" fmla="*/ 855 w 1094"/>
                <a:gd name="T3" fmla="*/ 567 h 675"/>
                <a:gd name="T4" fmla="*/ 855 w 1094"/>
                <a:gd name="T5" fmla="*/ 690 h 675"/>
                <a:gd name="T6" fmla="*/ 1109 w 1094"/>
                <a:gd name="T7" fmla="*/ 334 h 675"/>
                <a:gd name="T8" fmla="*/ 858 w 1094"/>
                <a:gd name="T9" fmla="*/ 0 h 675"/>
                <a:gd name="T10" fmla="*/ 859 w 1094"/>
                <a:gd name="T11" fmla="*/ 131 h 675"/>
                <a:gd name="T12" fmla="*/ 4 w 1094"/>
                <a:gd name="T13" fmla="*/ 131 h 675"/>
                <a:gd name="T14" fmla="*/ 0 w 1094"/>
                <a:gd name="T15" fmla="*/ 570 h 67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94"/>
                <a:gd name="T25" fmla="*/ 0 h 675"/>
                <a:gd name="T26" fmla="*/ 1094 w 1094"/>
                <a:gd name="T27" fmla="*/ 675 h 67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94" h="675">
                  <a:moveTo>
                    <a:pt x="0" y="558"/>
                  </a:moveTo>
                  <a:lnTo>
                    <a:pt x="845" y="556"/>
                  </a:lnTo>
                  <a:lnTo>
                    <a:pt x="845" y="675"/>
                  </a:lnTo>
                  <a:lnTo>
                    <a:pt x="1094" y="329"/>
                  </a:lnTo>
                  <a:lnTo>
                    <a:pt x="848" y="0"/>
                  </a:lnTo>
                  <a:lnTo>
                    <a:pt x="849" y="126"/>
                  </a:lnTo>
                  <a:lnTo>
                    <a:pt x="4" y="1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31754" name="Rectangle 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81038" y="1990725"/>
            <a:ext cx="8121650" cy="685800"/>
          </a:xfrm>
          <a:prstGeom prst="rect">
            <a:avLst/>
          </a:pr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 anchor="ctr"/>
          <a:lstStyle/>
          <a:p>
            <a:pPr defTabSz="933450">
              <a:spcBef>
                <a:spcPct val="20000"/>
              </a:spcBef>
              <a:spcAft>
                <a:spcPct val="60000"/>
              </a:spcAft>
              <a:buSzPct val="75000"/>
            </a:pPr>
            <a:r>
              <a:rPr lang="en-US" sz="1400" b="1">
                <a:solidFill>
                  <a:srgbClr val="000000"/>
                </a:solidFill>
              </a:rPr>
              <a:t>Aftercare Objective : </a:t>
            </a:r>
            <a:r>
              <a:rPr lang="en-US" sz="1400">
                <a:solidFill>
                  <a:srgbClr val="000000"/>
                </a:solidFill>
              </a:rPr>
              <a:t>Provide specific support to finalists to promote continued use of business plans as practical tools to guide them through implementation and growth</a:t>
            </a:r>
          </a:p>
        </p:txBody>
      </p:sp>
      <p:sp>
        <p:nvSpPr>
          <p:cNvPr id="31755" name="Rectangle 60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972050" y="3125788"/>
            <a:ext cx="3589338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marL="147638" lvl="1" indent="-146050" defTabSz="912813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solidFill>
                  <a:srgbClr val="000000"/>
                </a:solidFill>
                <a:cs typeface="Arial" pitchFamily="34" charset="0"/>
              </a:rPr>
              <a:t>Review the BP and make it achievable</a:t>
            </a:r>
          </a:p>
          <a:p>
            <a:pPr marL="147638" lvl="1" indent="-146050" defTabSz="912813">
              <a:buClr>
                <a:schemeClr val="accent2"/>
              </a:buClr>
              <a:buFont typeface="Wingdings" pitchFamily="2" charset="2"/>
              <a:buChar char="§"/>
            </a:pPr>
            <a:r>
              <a:rPr lang="es-ES_tradnl" sz="1300">
                <a:solidFill>
                  <a:srgbClr val="000000"/>
                </a:solidFill>
                <a:cs typeface="Arial" pitchFamily="34" charset="0"/>
              </a:rPr>
              <a:t>Quantify real economic needs</a:t>
            </a:r>
            <a:endParaRPr lang="en-US" sz="130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31756" name="Group 29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2749550" y="5738813"/>
            <a:ext cx="1943100" cy="500062"/>
            <a:chOff x="484" y="713"/>
            <a:chExt cx="1244" cy="576"/>
          </a:xfrm>
        </p:grpSpPr>
        <p:sp>
          <p:nvSpPr>
            <p:cNvPr id="136202" name="Freeform 30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84" y="713"/>
              <a:ext cx="1244" cy="576"/>
            </a:xfrm>
            <a:custGeom>
              <a:avLst/>
              <a:gdLst>
                <a:gd name="T0" fmla="*/ 0 w 1244"/>
                <a:gd name="T1" fmla="*/ 0 h 576"/>
                <a:gd name="T2" fmla="*/ 1140 w 1244"/>
                <a:gd name="T3" fmla="*/ 0 h 576"/>
                <a:gd name="T4" fmla="*/ 1244 w 1244"/>
                <a:gd name="T5" fmla="*/ 288 h 576"/>
                <a:gd name="T6" fmla="*/ 1140 w 1244"/>
                <a:gd name="T7" fmla="*/ 576 h 576"/>
                <a:gd name="T8" fmla="*/ 0 w 1244"/>
                <a:gd name="T9" fmla="*/ 576 h 576"/>
                <a:gd name="T10" fmla="*/ 0 w 1244"/>
                <a:gd name="T11" fmla="*/ 288 h 576"/>
                <a:gd name="T12" fmla="*/ 0 w 1244"/>
                <a:gd name="T13" fmla="*/ 0 h 57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44"/>
                <a:gd name="T22" fmla="*/ 0 h 576"/>
                <a:gd name="T23" fmla="*/ 1244 w 1244"/>
                <a:gd name="T24" fmla="*/ 576 h 57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44" h="576">
                  <a:moveTo>
                    <a:pt x="0" y="0"/>
                  </a:moveTo>
                  <a:lnTo>
                    <a:pt x="1140" y="0"/>
                  </a:lnTo>
                  <a:lnTo>
                    <a:pt x="1244" y="288"/>
                  </a:lnTo>
                  <a:lnTo>
                    <a:pt x="1140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rgbClr val="675F76">
                    <a:alpha val="50000"/>
                  </a:srgbClr>
                </a:gs>
                <a:gs pos="50000">
                  <a:schemeClr val="accent1">
                    <a:alpha val="50000"/>
                  </a:schemeClr>
                </a:gs>
                <a:gs pos="100000">
                  <a:srgbClr val="675F76">
                    <a:alpha val="50000"/>
                  </a:srgbClr>
                </a:gs>
              </a:gsLst>
              <a:lin ang="5400000" scaled="1"/>
            </a:gradFill>
            <a:ln w="9525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lIns="36000" anchor="ctr"/>
            <a:lstStyle/>
            <a:p>
              <a:pPr>
                <a:defRPr/>
              </a:pPr>
              <a:endParaRPr lang="en-US" sz="1600" b="1">
                <a:latin typeface="Calibri" pitchFamily="34" charset="0"/>
                <a:ea typeface="MS PGothic" pitchFamily="34" charset="-128"/>
              </a:endParaRPr>
            </a:p>
          </p:txBody>
        </p:sp>
        <p:sp>
          <p:nvSpPr>
            <p:cNvPr id="31763" name="Rectangle 31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516" y="745"/>
              <a:ext cx="1108" cy="4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6648" tIns="0" rIns="46648" bIns="0" anchor="ctr"/>
            <a:lstStyle/>
            <a:p>
              <a:pPr defTabSz="912813">
                <a:buSzPct val="120000"/>
              </a:pPr>
              <a:r>
                <a:rPr lang="en-US" sz="1200" b="1">
                  <a:cs typeface="Arial" pitchFamily="34" charset="0"/>
                </a:rPr>
                <a:t>Investment Plan</a:t>
              </a:r>
            </a:p>
          </p:txBody>
        </p:sp>
      </p:grpSp>
      <p:sp>
        <p:nvSpPr>
          <p:cNvPr id="31757" name="Rectangle 60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972050" y="3790950"/>
            <a:ext cx="3589338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marL="147638" lvl="1" indent="-146050" defTabSz="912813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solidFill>
                  <a:srgbClr val="000000"/>
                </a:solidFill>
                <a:cs typeface="Arial" pitchFamily="34" charset="0"/>
              </a:rPr>
              <a:t>Undertake in depth financial training</a:t>
            </a:r>
          </a:p>
          <a:p>
            <a:pPr marL="147638" lvl="1" indent="-146050" defTabSz="912813">
              <a:buClr>
                <a:schemeClr val="accent2"/>
              </a:buClr>
              <a:buFont typeface="Wingdings" pitchFamily="2" charset="2"/>
              <a:buChar char="§"/>
            </a:pPr>
            <a:r>
              <a:rPr lang="es-ES_tradnl" sz="1300">
                <a:solidFill>
                  <a:srgbClr val="000000"/>
                </a:solidFill>
                <a:cs typeface="Arial" pitchFamily="34" charset="0"/>
              </a:rPr>
              <a:t>Communication and network access practice</a:t>
            </a:r>
            <a:endParaRPr lang="en-US" sz="13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1758" name="Rectangle 60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972050" y="4359275"/>
            <a:ext cx="3589338" cy="59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marL="147638" lvl="1" indent="-146050" defTabSz="912813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solidFill>
                  <a:srgbClr val="000000"/>
                </a:solidFill>
                <a:cs typeface="Arial" pitchFamily="34" charset="0"/>
              </a:rPr>
              <a:t>Create environment for entrepreneurs to develop strategic partnerships with suppliers, clients, and capital providers</a:t>
            </a:r>
          </a:p>
        </p:txBody>
      </p:sp>
      <p:sp>
        <p:nvSpPr>
          <p:cNvPr id="31759" name="Rectangle 60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972050" y="5124450"/>
            <a:ext cx="3589338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marL="147638" lvl="1" indent="-146050" defTabSz="912813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solidFill>
                  <a:srgbClr val="000000"/>
                </a:solidFill>
                <a:cs typeface="Arial" pitchFamily="34" charset="0"/>
              </a:rPr>
              <a:t>Build a commercial, milestone based plan in order to encourage sales generation</a:t>
            </a:r>
          </a:p>
        </p:txBody>
      </p:sp>
      <p:sp>
        <p:nvSpPr>
          <p:cNvPr id="31760" name="Rectangle 60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965700" y="5656263"/>
            <a:ext cx="3589338" cy="401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marL="147638" lvl="1" indent="-146050" defTabSz="912813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solidFill>
                  <a:srgbClr val="000000"/>
                </a:solidFill>
                <a:cs typeface="Arial" pitchFamily="34" charset="0"/>
              </a:rPr>
              <a:t>Build a realistic approach for the use of resources</a:t>
            </a:r>
          </a:p>
        </p:txBody>
      </p:sp>
      <p:sp>
        <p:nvSpPr>
          <p:cNvPr id="31761" name="TextBox 1"/>
          <p:cNvSpPr txBox="1">
            <a:spLocks noChangeArrowheads="1"/>
          </p:cNvSpPr>
          <p:nvPr/>
        </p:nvSpPr>
        <p:spPr bwMode="auto">
          <a:xfrm>
            <a:off x="4889500" y="6092825"/>
            <a:ext cx="3417888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147638" indent="-1460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lvl="1" eaLnBrk="1" hangingPunct="1">
              <a:buClr>
                <a:schemeClr val="accent2"/>
              </a:buClr>
              <a:buFont typeface="Wingdings" pitchFamily="2" charset="2"/>
              <a:buChar char="§"/>
            </a:pPr>
            <a:r>
              <a:rPr lang="es-ES_tradnl" sz="1300">
                <a:solidFill>
                  <a:srgbClr val="000000"/>
                </a:solidFill>
                <a:cs typeface="Arial" pitchFamily="34" charset="0"/>
              </a:rPr>
              <a:t>Identify real capital needs</a:t>
            </a:r>
            <a:endParaRPr lang="en-US" sz="1300">
              <a:solidFill>
                <a:srgbClr val="000000"/>
              </a:solidFill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z="2000" smtClean="0">
                <a:solidFill>
                  <a:srgbClr val="000000"/>
                </a:solidFill>
                <a:ea typeface="ＭＳ Ｐゴシック" pitchFamily="34" charset="-128"/>
                <a:cs typeface="Arial" pitchFamily="34" charset="0"/>
              </a:rPr>
              <a:t>Complemented</a:t>
            </a:r>
            <a:r>
              <a:rPr lang="es-ES_tradnl" sz="2000" smtClean="0">
                <a:ea typeface="ＭＳ Ｐゴシック" pitchFamily="34" charset="-128"/>
                <a:cs typeface="Arial" pitchFamily="34" charset="0"/>
              </a:rPr>
              <a:t> by market and capital access support after 2010</a:t>
            </a:r>
            <a:endParaRPr lang="en-US" sz="2000" smtClean="0">
              <a:ea typeface="ＭＳ Ｐゴシック" pitchFamily="34" charset="-128"/>
              <a:cs typeface="Arial" pitchFamily="34" charset="0"/>
            </a:endParaRPr>
          </a:p>
        </p:txBody>
      </p:sp>
      <p:grpSp>
        <p:nvGrpSpPr>
          <p:cNvPr id="32771" name="Group 4"/>
          <p:cNvGrpSpPr>
            <a:grpSpLocks/>
          </p:cNvGrpSpPr>
          <p:nvPr/>
        </p:nvGrpSpPr>
        <p:grpSpPr bwMode="auto">
          <a:xfrm>
            <a:off x="8056563" y="693738"/>
            <a:ext cx="974725" cy="344487"/>
            <a:chOff x="220" y="1866"/>
            <a:chExt cx="5348" cy="1886"/>
          </a:xfrm>
        </p:grpSpPr>
        <p:sp>
          <p:nvSpPr>
            <p:cNvPr id="32787" name="Line 5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>
              <a:off x="3974" y="2414"/>
              <a:ext cx="157" cy="9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2788" name="Arc 6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951" y="2365"/>
              <a:ext cx="478" cy="270"/>
            </a:xfrm>
            <a:custGeom>
              <a:avLst/>
              <a:gdLst>
                <a:gd name="T0" fmla="*/ 0 w 24969"/>
                <a:gd name="T1" fmla="*/ 0 h 21600"/>
                <a:gd name="T2" fmla="*/ 0 w 24969"/>
                <a:gd name="T3" fmla="*/ 0 h 21600"/>
                <a:gd name="T4" fmla="*/ 0 w 24969"/>
                <a:gd name="T5" fmla="*/ 0 h 21600"/>
                <a:gd name="T6" fmla="*/ 0 60000 65536"/>
                <a:gd name="T7" fmla="*/ 0 60000 65536"/>
                <a:gd name="T8" fmla="*/ 0 60000 65536"/>
                <a:gd name="T9" fmla="*/ 0 w 24969"/>
                <a:gd name="T10" fmla="*/ 0 h 21600"/>
                <a:gd name="T11" fmla="*/ 24969 w 24969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969" h="21600" fill="none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</a:path>
                <a:path w="24969" h="21600" stroke="0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  <a:lnTo>
                    <a:pt x="21594" y="21600"/>
                  </a:lnTo>
                  <a:lnTo>
                    <a:pt x="-1" y="21094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2789" name="Arc 7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626" y="1986"/>
              <a:ext cx="982" cy="552"/>
            </a:xfrm>
            <a:custGeom>
              <a:avLst/>
              <a:gdLst>
                <a:gd name="T0" fmla="*/ 0 w 24568"/>
                <a:gd name="T1" fmla="*/ 0 h 21600"/>
                <a:gd name="T2" fmla="*/ 0 w 24568"/>
                <a:gd name="T3" fmla="*/ 0 h 21600"/>
                <a:gd name="T4" fmla="*/ 0 w 24568"/>
                <a:gd name="T5" fmla="*/ 0 h 21600"/>
                <a:gd name="T6" fmla="*/ 0 60000 65536"/>
                <a:gd name="T7" fmla="*/ 0 60000 65536"/>
                <a:gd name="T8" fmla="*/ 0 60000 65536"/>
                <a:gd name="T9" fmla="*/ 0 w 24568"/>
                <a:gd name="T10" fmla="*/ 0 h 21600"/>
                <a:gd name="T11" fmla="*/ 24568 w 24568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568" h="21600" fill="none" extrusionOk="0">
                  <a:moveTo>
                    <a:pt x="-1" y="17428"/>
                  </a:moveTo>
                  <a:cubicBezTo>
                    <a:pt x="1992" y="7301"/>
                    <a:pt x="10871" y="-1"/>
                    <a:pt x="21193" y="-1"/>
                  </a:cubicBezTo>
                  <a:cubicBezTo>
                    <a:pt x="22323" y="-1"/>
                    <a:pt x="23451" y="88"/>
                    <a:pt x="24567" y="265"/>
                  </a:cubicBezTo>
                </a:path>
                <a:path w="24568" h="21600" stroke="0" extrusionOk="0">
                  <a:moveTo>
                    <a:pt x="-1" y="17428"/>
                  </a:moveTo>
                  <a:cubicBezTo>
                    <a:pt x="1992" y="7301"/>
                    <a:pt x="10871" y="-1"/>
                    <a:pt x="21193" y="-1"/>
                  </a:cubicBezTo>
                  <a:cubicBezTo>
                    <a:pt x="22323" y="-1"/>
                    <a:pt x="23451" y="88"/>
                    <a:pt x="24567" y="265"/>
                  </a:cubicBezTo>
                  <a:lnTo>
                    <a:pt x="21193" y="21600"/>
                  </a:lnTo>
                  <a:lnTo>
                    <a:pt x="-1" y="17428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2790" name="Freeform 8"/>
            <p:cNvSpPr>
              <a:spLocks/>
            </p:cNvSpPr>
            <p:nvPr>
              <p:custDataLst>
                <p:tags r:id="rId13"/>
              </p:custDataLst>
            </p:nvPr>
          </p:nvSpPr>
          <p:spPr bwMode="blackWhite">
            <a:xfrm>
              <a:off x="2542" y="1866"/>
              <a:ext cx="854" cy="675"/>
            </a:xfrm>
            <a:custGeom>
              <a:avLst/>
              <a:gdLst>
                <a:gd name="T0" fmla="*/ 0 w 854"/>
                <a:gd name="T1" fmla="*/ 558 h 675"/>
                <a:gd name="T2" fmla="*/ 660 w 854"/>
                <a:gd name="T3" fmla="*/ 556 h 675"/>
                <a:gd name="T4" fmla="*/ 660 w 854"/>
                <a:gd name="T5" fmla="*/ 675 h 675"/>
                <a:gd name="T6" fmla="*/ 854 w 854"/>
                <a:gd name="T7" fmla="*/ 329 h 675"/>
                <a:gd name="T8" fmla="*/ 662 w 854"/>
                <a:gd name="T9" fmla="*/ 0 h 675"/>
                <a:gd name="T10" fmla="*/ 663 w 854"/>
                <a:gd name="T11" fmla="*/ 126 h 675"/>
                <a:gd name="T12" fmla="*/ 12 w 854"/>
                <a:gd name="T13" fmla="*/ 126 h 675"/>
                <a:gd name="T14" fmla="*/ 124 w 854"/>
                <a:gd name="T15" fmla="*/ 326 h 675"/>
                <a:gd name="T16" fmla="*/ 0 w 854"/>
                <a:gd name="T17" fmla="*/ 558 h 6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54"/>
                <a:gd name="T28" fmla="*/ 0 h 675"/>
                <a:gd name="T29" fmla="*/ 854 w 854"/>
                <a:gd name="T30" fmla="*/ 675 h 6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54" h="675">
                  <a:moveTo>
                    <a:pt x="0" y="558"/>
                  </a:moveTo>
                  <a:lnTo>
                    <a:pt x="660" y="556"/>
                  </a:lnTo>
                  <a:lnTo>
                    <a:pt x="660" y="675"/>
                  </a:lnTo>
                  <a:lnTo>
                    <a:pt x="854" y="329"/>
                  </a:lnTo>
                  <a:lnTo>
                    <a:pt x="662" y="0"/>
                  </a:lnTo>
                  <a:lnTo>
                    <a:pt x="663" y="126"/>
                  </a:lnTo>
                  <a:lnTo>
                    <a:pt x="12" y="126"/>
                  </a:lnTo>
                  <a:lnTo>
                    <a:pt x="124" y="3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791" name="Arc 9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55" y="1986"/>
              <a:ext cx="983" cy="552"/>
            </a:xfrm>
            <a:custGeom>
              <a:avLst/>
              <a:gdLst>
                <a:gd name="T0" fmla="*/ 0 w 24961"/>
                <a:gd name="T1" fmla="*/ 0 h 21600"/>
                <a:gd name="T2" fmla="*/ 0 w 24961"/>
                <a:gd name="T3" fmla="*/ 0 h 21600"/>
                <a:gd name="T4" fmla="*/ 0 w 24961"/>
                <a:gd name="T5" fmla="*/ 0 h 21600"/>
                <a:gd name="T6" fmla="*/ 0 60000 65536"/>
                <a:gd name="T7" fmla="*/ 0 60000 65536"/>
                <a:gd name="T8" fmla="*/ 0 60000 65536"/>
                <a:gd name="T9" fmla="*/ 0 w 24961"/>
                <a:gd name="T10" fmla="*/ 0 h 21600"/>
                <a:gd name="T11" fmla="*/ 24961 w 24961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961" h="21600" fill="none" extrusionOk="0">
                  <a:moveTo>
                    <a:pt x="-1" y="20825"/>
                  </a:moveTo>
                  <a:cubicBezTo>
                    <a:pt x="416" y="9205"/>
                    <a:pt x="9957" y="-1"/>
                    <a:pt x="21586" y="-1"/>
                  </a:cubicBezTo>
                  <a:cubicBezTo>
                    <a:pt x="22716" y="-1"/>
                    <a:pt x="23844" y="88"/>
                    <a:pt x="24960" y="265"/>
                  </a:cubicBezTo>
                </a:path>
                <a:path w="24961" h="21600" stroke="0" extrusionOk="0">
                  <a:moveTo>
                    <a:pt x="-1" y="20825"/>
                  </a:moveTo>
                  <a:cubicBezTo>
                    <a:pt x="416" y="9205"/>
                    <a:pt x="9957" y="-1"/>
                    <a:pt x="21586" y="-1"/>
                  </a:cubicBezTo>
                  <a:cubicBezTo>
                    <a:pt x="22716" y="-1"/>
                    <a:pt x="23844" y="88"/>
                    <a:pt x="24960" y="265"/>
                  </a:cubicBezTo>
                  <a:lnTo>
                    <a:pt x="21586" y="21600"/>
                  </a:lnTo>
                  <a:lnTo>
                    <a:pt x="-1" y="20825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2792" name="Arc 10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810" y="2385"/>
              <a:ext cx="478" cy="280"/>
            </a:xfrm>
            <a:custGeom>
              <a:avLst/>
              <a:gdLst>
                <a:gd name="T0" fmla="*/ 0 w 24969"/>
                <a:gd name="T1" fmla="*/ 0 h 21600"/>
                <a:gd name="T2" fmla="*/ 0 w 24969"/>
                <a:gd name="T3" fmla="*/ 0 h 21600"/>
                <a:gd name="T4" fmla="*/ 0 w 24969"/>
                <a:gd name="T5" fmla="*/ 0 h 21600"/>
                <a:gd name="T6" fmla="*/ 0 60000 65536"/>
                <a:gd name="T7" fmla="*/ 0 60000 65536"/>
                <a:gd name="T8" fmla="*/ 0 60000 65536"/>
                <a:gd name="T9" fmla="*/ 0 w 24969"/>
                <a:gd name="T10" fmla="*/ 0 h 21600"/>
                <a:gd name="T11" fmla="*/ 24969 w 24969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969" h="21600" fill="none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</a:path>
                <a:path w="24969" h="21600" stroke="0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  <a:lnTo>
                    <a:pt x="21594" y="21600"/>
                  </a:lnTo>
                  <a:lnTo>
                    <a:pt x="-1" y="21094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2793" name="Freeform 11"/>
            <p:cNvSpPr>
              <a:spLocks/>
            </p:cNvSpPr>
            <p:nvPr>
              <p:custDataLst>
                <p:tags r:id="rId16"/>
              </p:custDataLst>
            </p:nvPr>
          </p:nvSpPr>
          <p:spPr bwMode="blackWhite">
            <a:xfrm>
              <a:off x="2354" y="2380"/>
              <a:ext cx="719" cy="982"/>
            </a:xfrm>
            <a:custGeom>
              <a:avLst/>
              <a:gdLst>
                <a:gd name="T0" fmla="*/ 180 w 933"/>
                <a:gd name="T1" fmla="*/ 0 h 1276"/>
                <a:gd name="T2" fmla="*/ 42 w 933"/>
                <a:gd name="T3" fmla="*/ 1 h 1276"/>
                <a:gd name="T4" fmla="*/ 85 w 933"/>
                <a:gd name="T5" fmla="*/ 25 h 1276"/>
                <a:gd name="T6" fmla="*/ 173 w 933"/>
                <a:gd name="T7" fmla="*/ 345 h 1276"/>
                <a:gd name="T8" fmla="*/ 185 w 933"/>
                <a:gd name="T9" fmla="*/ 264 h 1276"/>
                <a:gd name="T10" fmla="*/ 254 w 933"/>
                <a:gd name="T11" fmla="*/ 235 h 1276"/>
                <a:gd name="T12" fmla="*/ 228 w 933"/>
                <a:gd name="T13" fmla="*/ 211 h 1276"/>
                <a:gd name="T14" fmla="*/ 214 w 933"/>
                <a:gd name="T15" fmla="*/ 192 h 1276"/>
                <a:gd name="T16" fmla="*/ 204 w 933"/>
                <a:gd name="T17" fmla="*/ 162 h 1276"/>
                <a:gd name="T18" fmla="*/ 206 w 933"/>
                <a:gd name="T19" fmla="*/ 94 h 1276"/>
                <a:gd name="T20" fmla="*/ 250 w 933"/>
                <a:gd name="T21" fmla="*/ 119 h 1276"/>
                <a:gd name="T22" fmla="*/ 180 w 933"/>
                <a:gd name="T23" fmla="*/ 0 h 127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33"/>
                <a:gd name="T37" fmla="*/ 0 h 1276"/>
                <a:gd name="T38" fmla="*/ 933 w 933"/>
                <a:gd name="T39" fmla="*/ 1276 h 127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33" h="1276">
                  <a:moveTo>
                    <a:pt x="662" y="0"/>
                  </a:moveTo>
                  <a:lnTo>
                    <a:pt x="156" y="1"/>
                  </a:lnTo>
                  <a:lnTo>
                    <a:pt x="314" y="93"/>
                  </a:lnTo>
                  <a:cubicBezTo>
                    <a:pt x="314" y="93"/>
                    <a:pt x="0" y="771"/>
                    <a:pt x="637" y="1276"/>
                  </a:cubicBezTo>
                  <a:lnTo>
                    <a:pt x="679" y="978"/>
                  </a:lnTo>
                  <a:cubicBezTo>
                    <a:pt x="679" y="978"/>
                    <a:pt x="813" y="923"/>
                    <a:pt x="933" y="872"/>
                  </a:cubicBezTo>
                  <a:cubicBezTo>
                    <a:pt x="885" y="843"/>
                    <a:pt x="838" y="779"/>
                    <a:pt x="838" y="779"/>
                  </a:cubicBezTo>
                  <a:lnTo>
                    <a:pt x="788" y="711"/>
                  </a:lnTo>
                  <a:lnTo>
                    <a:pt x="752" y="600"/>
                  </a:lnTo>
                  <a:cubicBezTo>
                    <a:pt x="752" y="600"/>
                    <a:pt x="719" y="481"/>
                    <a:pt x="755" y="348"/>
                  </a:cubicBezTo>
                  <a:cubicBezTo>
                    <a:pt x="839" y="395"/>
                    <a:pt x="923" y="444"/>
                    <a:pt x="923" y="444"/>
                  </a:cubicBezTo>
                  <a:lnTo>
                    <a:pt x="662" y="0"/>
                  </a:lnTo>
                </a:path>
              </a:pathLst>
            </a:custGeom>
            <a:solidFill>
              <a:schemeClr val="accent2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794" name="Freeform 12"/>
            <p:cNvSpPr>
              <a:spLocks/>
            </p:cNvSpPr>
            <p:nvPr>
              <p:custDataLst>
                <p:tags r:id="rId17"/>
              </p:custDataLst>
            </p:nvPr>
          </p:nvSpPr>
          <p:spPr bwMode="blackWhite">
            <a:xfrm rot="4209998">
              <a:off x="85" y="2642"/>
              <a:ext cx="1144" cy="786"/>
            </a:xfrm>
            <a:custGeom>
              <a:avLst/>
              <a:gdLst>
                <a:gd name="T0" fmla="*/ 17 w 1485"/>
                <a:gd name="T1" fmla="*/ 67 h 1021"/>
                <a:gd name="T2" fmla="*/ 0 w 1485"/>
                <a:gd name="T3" fmla="*/ 206 h 1021"/>
                <a:gd name="T4" fmla="*/ 32 w 1485"/>
                <a:gd name="T5" fmla="*/ 164 h 1021"/>
                <a:gd name="T6" fmla="*/ 403 w 1485"/>
                <a:gd name="T7" fmla="*/ 39 h 1021"/>
                <a:gd name="T8" fmla="*/ 317 w 1485"/>
                <a:gd name="T9" fmla="*/ 57 h 1021"/>
                <a:gd name="T10" fmla="*/ 271 w 1485"/>
                <a:gd name="T11" fmla="*/ 0 h 1021"/>
                <a:gd name="T12" fmla="*/ 234 w 1485"/>
                <a:gd name="T13" fmla="*/ 37 h 1021"/>
                <a:gd name="T14" fmla="*/ 210 w 1485"/>
                <a:gd name="T15" fmla="*/ 51 h 1021"/>
                <a:gd name="T16" fmla="*/ 173 w 1485"/>
                <a:gd name="T17" fmla="*/ 61 h 1021"/>
                <a:gd name="T18" fmla="*/ 118 w 1485"/>
                <a:gd name="T19" fmla="*/ 52 h 1021"/>
                <a:gd name="T20" fmla="*/ 145 w 1485"/>
                <a:gd name="T21" fmla="*/ 15 h 1021"/>
                <a:gd name="T22" fmla="*/ 17 w 1485"/>
                <a:gd name="T23" fmla="*/ 67 h 10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85"/>
                <a:gd name="T37" fmla="*/ 0 h 1021"/>
                <a:gd name="T38" fmla="*/ 1485 w 1485"/>
                <a:gd name="T39" fmla="*/ 1021 h 102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85" h="1021">
                  <a:moveTo>
                    <a:pt x="61" y="248"/>
                  </a:moveTo>
                  <a:lnTo>
                    <a:pt x="0" y="762"/>
                  </a:lnTo>
                  <a:cubicBezTo>
                    <a:pt x="0" y="762"/>
                    <a:pt x="59" y="684"/>
                    <a:pt x="118" y="606"/>
                  </a:cubicBezTo>
                  <a:cubicBezTo>
                    <a:pt x="136" y="628"/>
                    <a:pt x="994" y="1021"/>
                    <a:pt x="1485" y="146"/>
                  </a:cubicBezTo>
                  <a:lnTo>
                    <a:pt x="1170" y="210"/>
                  </a:lnTo>
                  <a:cubicBezTo>
                    <a:pt x="1170" y="210"/>
                    <a:pt x="1084" y="105"/>
                    <a:pt x="999" y="0"/>
                  </a:cubicBezTo>
                  <a:cubicBezTo>
                    <a:pt x="946" y="83"/>
                    <a:pt x="860" y="137"/>
                    <a:pt x="860" y="137"/>
                  </a:cubicBezTo>
                  <a:lnTo>
                    <a:pt x="778" y="190"/>
                  </a:lnTo>
                  <a:lnTo>
                    <a:pt x="638" y="226"/>
                  </a:lnTo>
                  <a:cubicBezTo>
                    <a:pt x="581" y="226"/>
                    <a:pt x="452" y="219"/>
                    <a:pt x="435" y="191"/>
                  </a:cubicBezTo>
                  <a:cubicBezTo>
                    <a:pt x="485" y="124"/>
                    <a:pt x="535" y="57"/>
                    <a:pt x="535" y="57"/>
                  </a:cubicBezTo>
                  <a:lnTo>
                    <a:pt x="61" y="248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795" name="Freeform 13"/>
            <p:cNvSpPr>
              <a:spLocks/>
            </p:cNvSpPr>
            <p:nvPr>
              <p:custDataLst>
                <p:tags r:id="rId18"/>
              </p:custDataLst>
            </p:nvPr>
          </p:nvSpPr>
          <p:spPr bwMode="blackWhite">
            <a:xfrm>
              <a:off x="1075" y="2001"/>
              <a:ext cx="857" cy="1609"/>
            </a:xfrm>
            <a:custGeom>
              <a:avLst/>
              <a:gdLst>
                <a:gd name="T0" fmla="*/ 176 w 976"/>
                <a:gd name="T1" fmla="*/ 916 h 1811"/>
                <a:gd name="T2" fmla="*/ 234 w 976"/>
                <a:gd name="T3" fmla="*/ 892 h 1811"/>
                <a:gd name="T4" fmla="*/ 289 w 976"/>
                <a:gd name="T5" fmla="*/ 861 h 1811"/>
                <a:gd name="T6" fmla="*/ 340 w 976"/>
                <a:gd name="T7" fmla="*/ 822 h 1811"/>
                <a:gd name="T8" fmla="*/ 387 w 976"/>
                <a:gd name="T9" fmla="*/ 777 h 1811"/>
                <a:gd name="T10" fmla="*/ 427 w 976"/>
                <a:gd name="T11" fmla="*/ 727 h 1811"/>
                <a:gd name="T12" fmla="*/ 460 w 976"/>
                <a:gd name="T13" fmla="*/ 669 h 1811"/>
                <a:gd name="T14" fmla="*/ 486 w 976"/>
                <a:gd name="T15" fmla="*/ 609 h 1811"/>
                <a:gd name="T16" fmla="*/ 502 w 976"/>
                <a:gd name="T17" fmla="*/ 545 h 1811"/>
                <a:gd name="T18" fmla="*/ 509 w 976"/>
                <a:gd name="T19" fmla="*/ 479 h 1811"/>
                <a:gd name="T20" fmla="*/ 508 w 976"/>
                <a:gd name="T21" fmla="*/ 412 h 1811"/>
                <a:gd name="T22" fmla="*/ 496 w 976"/>
                <a:gd name="T23" fmla="*/ 346 h 1811"/>
                <a:gd name="T24" fmla="*/ 477 w 976"/>
                <a:gd name="T25" fmla="*/ 283 h 1811"/>
                <a:gd name="T26" fmla="*/ 448 w 976"/>
                <a:gd name="T27" fmla="*/ 223 h 1811"/>
                <a:gd name="T28" fmla="*/ 413 w 976"/>
                <a:gd name="T29" fmla="*/ 168 h 1811"/>
                <a:gd name="T30" fmla="*/ 370 w 976"/>
                <a:gd name="T31" fmla="*/ 120 h 1811"/>
                <a:gd name="T32" fmla="*/ 320 w 976"/>
                <a:gd name="T33" fmla="*/ 79 h 1811"/>
                <a:gd name="T34" fmla="*/ 266 w 976"/>
                <a:gd name="T35" fmla="*/ 45 h 1811"/>
                <a:gd name="T36" fmla="*/ 207 w 976"/>
                <a:gd name="T37" fmla="*/ 20 h 1811"/>
                <a:gd name="T38" fmla="*/ 148 w 976"/>
                <a:gd name="T39" fmla="*/ 4 h 1811"/>
                <a:gd name="T40" fmla="*/ 154 w 976"/>
                <a:gd name="T41" fmla="*/ 62 h 1811"/>
                <a:gd name="T42" fmla="*/ 118 w 976"/>
                <a:gd name="T43" fmla="*/ 241 h 1811"/>
                <a:gd name="T44" fmla="*/ 160 w 976"/>
                <a:gd name="T45" fmla="*/ 256 h 1811"/>
                <a:gd name="T46" fmla="*/ 198 w 976"/>
                <a:gd name="T47" fmla="*/ 281 h 1811"/>
                <a:gd name="T48" fmla="*/ 230 w 976"/>
                <a:gd name="T49" fmla="*/ 315 h 1811"/>
                <a:gd name="T50" fmla="*/ 256 w 976"/>
                <a:gd name="T51" fmla="*/ 353 h 1811"/>
                <a:gd name="T52" fmla="*/ 271 w 976"/>
                <a:gd name="T53" fmla="*/ 396 h 1811"/>
                <a:gd name="T54" fmla="*/ 281 w 976"/>
                <a:gd name="T55" fmla="*/ 443 h 1811"/>
                <a:gd name="T56" fmla="*/ 281 w 976"/>
                <a:gd name="T57" fmla="*/ 490 h 1811"/>
                <a:gd name="T58" fmla="*/ 270 w 976"/>
                <a:gd name="T59" fmla="*/ 537 h 1811"/>
                <a:gd name="T60" fmla="*/ 251 w 976"/>
                <a:gd name="T61" fmla="*/ 578 h 1811"/>
                <a:gd name="T62" fmla="*/ 225 w 976"/>
                <a:gd name="T63" fmla="*/ 617 h 1811"/>
                <a:gd name="T64" fmla="*/ 191 w 976"/>
                <a:gd name="T65" fmla="*/ 649 h 1811"/>
                <a:gd name="T66" fmla="*/ 153 w 976"/>
                <a:gd name="T67" fmla="*/ 673 h 1811"/>
                <a:gd name="T68" fmla="*/ 132 w 976"/>
                <a:gd name="T69" fmla="*/ 605 h 1811"/>
                <a:gd name="T70" fmla="*/ 146 w 976"/>
                <a:gd name="T71" fmla="*/ 1002 h 181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76"/>
                <a:gd name="T109" fmla="*/ 0 h 1811"/>
                <a:gd name="T110" fmla="*/ 976 w 976"/>
                <a:gd name="T111" fmla="*/ 1811 h 181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76" h="1811">
                  <a:moveTo>
                    <a:pt x="279" y="1669"/>
                  </a:moveTo>
                  <a:lnTo>
                    <a:pt x="338" y="1654"/>
                  </a:lnTo>
                  <a:lnTo>
                    <a:pt x="394" y="1635"/>
                  </a:lnTo>
                  <a:lnTo>
                    <a:pt x="449" y="1612"/>
                  </a:lnTo>
                  <a:lnTo>
                    <a:pt x="502" y="1585"/>
                  </a:lnTo>
                  <a:lnTo>
                    <a:pt x="553" y="1555"/>
                  </a:lnTo>
                  <a:lnTo>
                    <a:pt x="601" y="1520"/>
                  </a:lnTo>
                  <a:lnTo>
                    <a:pt x="651" y="1485"/>
                  </a:lnTo>
                  <a:lnTo>
                    <a:pt x="697" y="1447"/>
                  </a:lnTo>
                  <a:lnTo>
                    <a:pt x="741" y="1405"/>
                  </a:lnTo>
                  <a:lnTo>
                    <a:pt x="782" y="1361"/>
                  </a:lnTo>
                  <a:lnTo>
                    <a:pt x="818" y="1313"/>
                  </a:lnTo>
                  <a:lnTo>
                    <a:pt x="851" y="1263"/>
                  </a:lnTo>
                  <a:lnTo>
                    <a:pt x="882" y="1210"/>
                  </a:lnTo>
                  <a:lnTo>
                    <a:pt x="908" y="1156"/>
                  </a:lnTo>
                  <a:lnTo>
                    <a:pt x="929" y="1100"/>
                  </a:lnTo>
                  <a:lnTo>
                    <a:pt x="947" y="1043"/>
                  </a:lnTo>
                  <a:lnTo>
                    <a:pt x="961" y="984"/>
                  </a:lnTo>
                  <a:lnTo>
                    <a:pt x="970" y="924"/>
                  </a:lnTo>
                  <a:lnTo>
                    <a:pt x="975" y="865"/>
                  </a:lnTo>
                  <a:lnTo>
                    <a:pt x="975" y="804"/>
                  </a:lnTo>
                  <a:lnTo>
                    <a:pt x="972" y="744"/>
                  </a:lnTo>
                  <a:lnTo>
                    <a:pt x="963" y="685"/>
                  </a:lnTo>
                  <a:lnTo>
                    <a:pt x="950" y="625"/>
                  </a:lnTo>
                  <a:lnTo>
                    <a:pt x="935" y="567"/>
                  </a:lnTo>
                  <a:lnTo>
                    <a:pt x="913" y="511"/>
                  </a:lnTo>
                  <a:lnTo>
                    <a:pt x="889" y="456"/>
                  </a:lnTo>
                  <a:lnTo>
                    <a:pt x="859" y="403"/>
                  </a:lnTo>
                  <a:lnTo>
                    <a:pt x="826" y="352"/>
                  </a:lnTo>
                  <a:lnTo>
                    <a:pt x="790" y="304"/>
                  </a:lnTo>
                  <a:lnTo>
                    <a:pt x="751" y="259"/>
                  </a:lnTo>
                  <a:lnTo>
                    <a:pt x="708" y="216"/>
                  </a:lnTo>
                  <a:lnTo>
                    <a:pt x="662" y="178"/>
                  </a:lnTo>
                  <a:lnTo>
                    <a:pt x="614" y="142"/>
                  </a:lnTo>
                  <a:lnTo>
                    <a:pt x="563" y="109"/>
                  </a:lnTo>
                  <a:lnTo>
                    <a:pt x="510" y="81"/>
                  </a:lnTo>
                  <a:lnTo>
                    <a:pt x="455" y="56"/>
                  </a:lnTo>
                  <a:lnTo>
                    <a:pt x="398" y="36"/>
                  </a:lnTo>
                  <a:lnTo>
                    <a:pt x="340" y="20"/>
                  </a:lnTo>
                  <a:lnTo>
                    <a:pt x="281" y="8"/>
                  </a:lnTo>
                  <a:lnTo>
                    <a:pt x="222" y="0"/>
                  </a:lnTo>
                  <a:lnTo>
                    <a:pt x="294" y="112"/>
                  </a:lnTo>
                  <a:lnTo>
                    <a:pt x="369" y="222"/>
                  </a:lnTo>
                  <a:lnTo>
                    <a:pt x="226" y="434"/>
                  </a:lnTo>
                  <a:lnTo>
                    <a:pt x="268" y="446"/>
                  </a:lnTo>
                  <a:lnTo>
                    <a:pt x="306" y="463"/>
                  </a:lnTo>
                  <a:lnTo>
                    <a:pt x="344" y="483"/>
                  </a:lnTo>
                  <a:lnTo>
                    <a:pt x="379" y="508"/>
                  </a:lnTo>
                  <a:lnTo>
                    <a:pt x="411" y="536"/>
                  </a:lnTo>
                  <a:lnTo>
                    <a:pt x="440" y="567"/>
                  </a:lnTo>
                  <a:lnTo>
                    <a:pt x="467" y="601"/>
                  </a:lnTo>
                  <a:lnTo>
                    <a:pt x="489" y="637"/>
                  </a:lnTo>
                  <a:lnTo>
                    <a:pt x="508" y="676"/>
                  </a:lnTo>
                  <a:lnTo>
                    <a:pt x="521" y="716"/>
                  </a:lnTo>
                  <a:lnTo>
                    <a:pt x="531" y="758"/>
                  </a:lnTo>
                  <a:lnTo>
                    <a:pt x="538" y="801"/>
                  </a:lnTo>
                  <a:lnTo>
                    <a:pt x="539" y="843"/>
                  </a:lnTo>
                  <a:lnTo>
                    <a:pt x="536" y="886"/>
                  </a:lnTo>
                  <a:lnTo>
                    <a:pt x="529" y="928"/>
                  </a:lnTo>
                  <a:lnTo>
                    <a:pt x="517" y="969"/>
                  </a:lnTo>
                  <a:lnTo>
                    <a:pt x="501" y="1009"/>
                  </a:lnTo>
                  <a:lnTo>
                    <a:pt x="482" y="1046"/>
                  </a:lnTo>
                  <a:lnTo>
                    <a:pt x="458" y="1082"/>
                  </a:lnTo>
                  <a:lnTo>
                    <a:pt x="431" y="1115"/>
                  </a:lnTo>
                  <a:lnTo>
                    <a:pt x="401" y="1145"/>
                  </a:lnTo>
                  <a:lnTo>
                    <a:pt x="367" y="1172"/>
                  </a:lnTo>
                  <a:lnTo>
                    <a:pt x="331" y="1196"/>
                  </a:lnTo>
                  <a:lnTo>
                    <a:pt x="293" y="1215"/>
                  </a:lnTo>
                  <a:lnTo>
                    <a:pt x="253" y="1230"/>
                  </a:lnTo>
                  <a:lnTo>
                    <a:pt x="253" y="1093"/>
                  </a:lnTo>
                  <a:lnTo>
                    <a:pt x="0" y="1420"/>
                  </a:lnTo>
                  <a:lnTo>
                    <a:pt x="279" y="1810"/>
                  </a:lnTo>
                  <a:lnTo>
                    <a:pt x="279" y="1669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796" name="Freeform 14"/>
            <p:cNvSpPr>
              <a:spLocks/>
            </p:cNvSpPr>
            <p:nvPr>
              <p:custDataLst>
                <p:tags r:id="rId19"/>
              </p:custDataLst>
            </p:nvPr>
          </p:nvSpPr>
          <p:spPr bwMode="blackWhite">
            <a:xfrm>
              <a:off x="1431" y="1866"/>
              <a:ext cx="1163" cy="675"/>
            </a:xfrm>
            <a:custGeom>
              <a:avLst/>
              <a:gdLst>
                <a:gd name="T0" fmla="*/ 210 w 1429"/>
                <a:gd name="T1" fmla="*/ 243 h 830"/>
                <a:gd name="T2" fmla="*/ 425 w 1429"/>
                <a:gd name="T3" fmla="*/ 243 h 830"/>
                <a:gd name="T4" fmla="*/ 425 w 1429"/>
                <a:gd name="T5" fmla="*/ 295 h 830"/>
                <a:gd name="T6" fmla="*/ 510 w 1429"/>
                <a:gd name="T7" fmla="*/ 144 h 830"/>
                <a:gd name="T8" fmla="*/ 426 w 1429"/>
                <a:gd name="T9" fmla="*/ 0 h 830"/>
                <a:gd name="T10" fmla="*/ 426 w 1429"/>
                <a:gd name="T11" fmla="*/ 55 h 830"/>
                <a:gd name="T12" fmla="*/ 0 w 1429"/>
                <a:gd name="T13" fmla="*/ 55 h 830"/>
                <a:gd name="T14" fmla="*/ 210 w 1429"/>
                <a:gd name="T15" fmla="*/ 243 h 8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29"/>
                <a:gd name="T25" fmla="*/ 0 h 830"/>
                <a:gd name="T26" fmla="*/ 1429 w 1429"/>
                <a:gd name="T27" fmla="*/ 830 h 83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29" h="830">
                  <a:moveTo>
                    <a:pt x="589" y="684"/>
                  </a:moveTo>
                  <a:cubicBezTo>
                    <a:pt x="886" y="685"/>
                    <a:pt x="1191" y="684"/>
                    <a:pt x="1191" y="684"/>
                  </a:cubicBezTo>
                  <a:lnTo>
                    <a:pt x="1191" y="830"/>
                  </a:lnTo>
                  <a:lnTo>
                    <a:pt x="1429" y="404"/>
                  </a:lnTo>
                  <a:lnTo>
                    <a:pt x="1193" y="0"/>
                  </a:lnTo>
                  <a:lnTo>
                    <a:pt x="1194" y="155"/>
                  </a:lnTo>
                  <a:lnTo>
                    <a:pt x="0" y="154"/>
                  </a:lnTo>
                  <a:cubicBezTo>
                    <a:pt x="0" y="154"/>
                    <a:pt x="411" y="237"/>
                    <a:pt x="589" y="684"/>
                  </a:cubicBez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797" name="Freeform 15"/>
            <p:cNvSpPr>
              <a:spLocks/>
            </p:cNvSpPr>
            <p:nvPr>
              <p:custDataLst>
                <p:tags r:id="rId20"/>
              </p:custDataLst>
            </p:nvPr>
          </p:nvSpPr>
          <p:spPr bwMode="blackWhite">
            <a:xfrm>
              <a:off x="2861" y="2966"/>
              <a:ext cx="1144" cy="786"/>
            </a:xfrm>
            <a:custGeom>
              <a:avLst/>
              <a:gdLst>
                <a:gd name="T0" fmla="*/ 17 w 1485"/>
                <a:gd name="T1" fmla="*/ 67 h 1021"/>
                <a:gd name="T2" fmla="*/ 0 w 1485"/>
                <a:gd name="T3" fmla="*/ 206 h 1021"/>
                <a:gd name="T4" fmla="*/ 32 w 1485"/>
                <a:gd name="T5" fmla="*/ 164 h 1021"/>
                <a:gd name="T6" fmla="*/ 403 w 1485"/>
                <a:gd name="T7" fmla="*/ 39 h 1021"/>
                <a:gd name="T8" fmla="*/ 317 w 1485"/>
                <a:gd name="T9" fmla="*/ 57 h 1021"/>
                <a:gd name="T10" fmla="*/ 271 w 1485"/>
                <a:gd name="T11" fmla="*/ 0 h 1021"/>
                <a:gd name="T12" fmla="*/ 234 w 1485"/>
                <a:gd name="T13" fmla="*/ 37 h 1021"/>
                <a:gd name="T14" fmla="*/ 210 w 1485"/>
                <a:gd name="T15" fmla="*/ 51 h 1021"/>
                <a:gd name="T16" fmla="*/ 173 w 1485"/>
                <a:gd name="T17" fmla="*/ 61 h 1021"/>
                <a:gd name="T18" fmla="*/ 118 w 1485"/>
                <a:gd name="T19" fmla="*/ 52 h 1021"/>
                <a:gd name="T20" fmla="*/ 145 w 1485"/>
                <a:gd name="T21" fmla="*/ 15 h 1021"/>
                <a:gd name="T22" fmla="*/ 17 w 1485"/>
                <a:gd name="T23" fmla="*/ 67 h 10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85"/>
                <a:gd name="T37" fmla="*/ 0 h 1021"/>
                <a:gd name="T38" fmla="*/ 1485 w 1485"/>
                <a:gd name="T39" fmla="*/ 1021 h 102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85" h="1021">
                  <a:moveTo>
                    <a:pt x="61" y="248"/>
                  </a:moveTo>
                  <a:lnTo>
                    <a:pt x="0" y="762"/>
                  </a:lnTo>
                  <a:cubicBezTo>
                    <a:pt x="0" y="762"/>
                    <a:pt x="59" y="684"/>
                    <a:pt x="118" y="606"/>
                  </a:cubicBezTo>
                  <a:cubicBezTo>
                    <a:pt x="136" y="628"/>
                    <a:pt x="994" y="1021"/>
                    <a:pt x="1485" y="146"/>
                  </a:cubicBezTo>
                  <a:lnTo>
                    <a:pt x="1170" y="210"/>
                  </a:lnTo>
                  <a:cubicBezTo>
                    <a:pt x="1170" y="210"/>
                    <a:pt x="1084" y="105"/>
                    <a:pt x="999" y="0"/>
                  </a:cubicBezTo>
                  <a:cubicBezTo>
                    <a:pt x="946" y="83"/>
                    <a:pt x="860" y="137"/>
                    <a:pt x="860" y="137"/>
                  </a:cubicBezTo>
                  <a:lnTo>
                    <a:pt x="778" y="190"/>
                  </a:lnTo>
                  <a:lnTo>
                    <a:pt x="638" y="226"/>
                  </a:lnTo>
                  <a:cubicBezTo>
                    <a:pt x="581" y="226"/>
                    <a:pt x="452" y="219"/>
                    <a:pt x="435" y="191"/>
                  </a:cubicBezTo>
                  <a:cubicBezTo>
                    <a:pt x="485" y="124"/>
                    <a:pt x="535" y="57"/>
                    <a:pt x="535" y="57"/>
                  </a:cubicBezTo>
                  <a:lnTo>
                    <a:pt x="61" y="248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798" name="Freeform 16"/>
            <p:cNvSpPr>
              <a:spLocks/>
            </p:cNvSpPr>
            <p:nvPr>
              <p:custDataLst>
                <p:tags r:id="rId21"/>
              </p:custDataLst>
            </p:nvPr>
          </p:nvSpPr>
          <p:spPr bwMode="blackWhite">
            <a:xfrm>
              <a:off x="3613" y="1866"/>
              <a:ext cx="1163" cy="675"/>
            </a:xfrm>
            <a:custGeom>
              <a:avLst/>
              <a:gdLst>
                <a:gd name="T0" fmla="*/ 210 w 1429"/>
                <a:gd name="T1" fmla="*/ 243 h 830"/>
                <a:gd name="T2" fmla="*/ 425 w 1429"/>
                <a:gd name="T3" fmla="*/ 243 h 830"/>
                <a:gd name="T4" fmla="*/ 425 w 1429"/>
                <a:gd name="T5" fmla="*/ 295 h 830"/>
                <a:gd name="T6" fmla="*/ 510 w 1429"/>
                <a:gd name="T7" fmla="*/ 144 h 830"/>
                <a:gd name="T8" fmla="*/ 426 w 1429"/>
                <a:gd name="T9" fmla="*/ 0 h 830"/>
                <a:gd name="T10" fmla="*/ 426 w 1429"/>
                <a:gd name="T11" fmla="*/ 55 h 830"/>
                <a:gd name="T12" fmla="*/ 0 w 1429"/>
                <a:gd name="T13" fmla="*/ 55 h 830"/>
                <a:gd name="T14" fmla="*/ 210 w 1429"/>
                <a:gd name="T15" fmla="*/ 243 h 8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29"/>
                <a:gd name="T25" fmla="*/ 0 h 830"/>
                <a:gd name="T26" fmla="*/ 1429 w 1429"/>
                <a:gd name="T27" fmla="*/ 830 h 83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29" h="830">
                  <a:moveTo>
                    <a:pt x="589" y="684"/>
                  </a:moveTo>
                  <a:cubicBezTo>
                    <a:pt x="886" y="685"/>
                    <a:pt x="1191" y="684"/>
                    <a:pt x="1191" y="684"/>
                  </a:cubicBezTo>
                  <a:lnTo>
                    <a:pt x="1191" y="830"/>
                  </a:lnTo>
                  <a:lnTo>
                    <a:pt x="1429" y="404"/>
                  </a:lnTo>
                  <a:lnTo>
                    <a:pt x="1193" y="0"/>
                  </a:lnTo>
                  <a:lnTo>
                    <a:pt x="1194" y="155"/>
                  </a:lnTo>
                  <a:lnTo>
                    <a:pt x="0" y="154"/>
                  </a:lnTo>
                  <a:cubicBezTo>
                    <a:pt x="0" y="154"/>
                    <a:pt x="411" y="237"/>
                    <a:pt x="589" y="684"/>
                  </a:cubicBez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799" name="Freeform 17"/>
            <p:cNvSpPr>
              <a:spLocks/>
            </p:cNvSpPr>
            <p:nvPr>
              <p:custDataLst>
                <p:tags r:id="rId22"/>
              </p:custDataLst>
            </p:nvPr>
          </p:nvSpPr>
          <p:spPr bwMode="blackWhite">
            <a:xfrm>
              <a:off x="3313" y="1978"/>
              <a:ext cx="859" cy="1110"/>
            </a:xfrm>
            <a:custGeom>
              <a:avLst/>
              <a:gdLst>
                <a:gd name="T0" fmla="*/ 165 w 1115"/>
                <a:gd name="T1" fmla="*/ 391 h 1441"/>
                <a:gd name="T2" fmla="*/ 303 w 1115"/>
                <a:gd name="T3" fmla="*/ 358 h 1441"/>
                <a:gd name="T4" fmla="*/ 260 w 1115"/>
                <a:gd name="T5" fmla="*/ 345 h 1441"/>
                <a:gd name="T6" fmla="*/ 0 w 1115"/>
                <a:gd name="T7" fmla="*/ 0 h 1441"/>
                <a:gd name="T8" fmla="*/ 49 w 1115"/>
                <a:gd name="T9" fmla="*/ 66 h 1441"/>
                <a:gd name="T10" fmla="*/ 18 w 1115"/>
                <a:gd name="T11" fmla="*/ 136 h 1441"/>
                <a:gd name="T12" fmla="*/ 97 w 1115"/>
                <a:gd name="T13" fmla="*/ 178 h 1441"/>
                <a:gd name="T14" fmla="*/ 117 w 1115"/>
                <a:gd name="T15" fmla="*/ 200 h 1441"/>
                <a:gd name="T16" fmla="*/ 127 w 1115"/>
                <a:gd name="T17" fmla="*/ 228 h 1441"/>
                <a:gd name="T18" fmla="*/ 130 w 1115"/>
                <a:gd name="T19" fmla="*/ 303 h 1441"/>
                <a:gd name="T20" fmla="*/ 78 w 1115"/>
                <a:gd name="T21" fmla="*/ 288 h 1441"/>
                <a:gd name="T22" fmla="*/ 165 w 1115"/>
                <a:gd name="T23" fmla="*/ 391 h 144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115"/>
                <a:gd name="T37" fmla="*/ 0 h 1441"/>
                <a:gd name="T38" fmla="*/ 1115 w 1115"/>
                <a:gd name="T39" fmla="*/ 1441 h 144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115" h="1441">
                  <a:moveTo>
                    <a:pt x="609" y="1441"/>
                  </a:moveTo>
                  <a:lnTo>
                    <a:pt x="1115" y="1321"/>
                  </a:lnTo>
                  <a:lnTo>
                    <a:pt x="956" y="1274"/>
                  </a:lnTo>
                  <a:cubicBezTo>
                    <a:pt x="1096" y="922"/>
                    <a:pt x="928" y="37"/>
                    <a:pt x="0" y="0"/>
                  </a:cubicBezTo>
                  <a:cubicBezTo>
                    <a:pt x="90" y="114"/>
                    <a:pt x="178" y="244"/>
                    <a:pt x="178" y="244"/>
                  </a:cubicBezTo>
                  <a:cubicBezTo>
                    <a:pt x="178" y="244"/>
                    <a:pt x="120" y="371"/>
                    <a:pt x="67" y="503"/>
                  </a:cubicBezTo>
                  <a:cubicBezTo>
                    <a:pt x="249" y="531"/>
                    <a:pt x="357" y="655"/>
                    <a:pt x="357" y="655"/>
                  </a:cubicBezTo>
                  <a:lnTo>
                    <a:pt x="431" y="740"/>
                  </a:lnTo>
                  <a:lnTo>
                    <a:pt x="469" y="839"/>
                  </a:lnTo>
                  <a:cubicBezTo>
                    <a:pt x="523" y="963"/>
                    <a:pt x="478" y="1116"/>
                    <a:pt x="478" y="1116"/>
                  </a:cubicBezTo>
                  <a:lnTo>
                    <a:pt x="287" y="1060"/>
                  </a:lnTo>
                  <a:lnTo>
                    <a:pt x="609" y="1441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800" name="Freeform 18"/>
            <p:cNvSpPr>
              <a:spLocks/>
            </p:cNvSpPr>
            <p:nvPr>
              <p:custDataLst>
                <p:tags r:id="rId23"/>
              </p:custDataLst>
            </p:nvPr>
          </p:nvSpPr>
          <p:spPr bwMode="blackWhite">
            <a:xfrm>
              <a:off x="4714" y="1866"/>
              <a:ext cx="854" cy="675"/>
            </a:xfrm>
            <a:custGeom>
              <a:avLst/>
              <a:gdLst>
                <a:gd name="T0" fmla="*/ 0 w 854"/>
                <a:gd name="T1" fmla="*/ 558 h 675"/>
                <a:gd name="T2" fmla="*/ 660 w 854"/>
                <a:gd name="T3" fmla="*/ 556 h 675"/>
                <a:gd name="T4" fmla="*/ 660 w 854"/>
                <a:gd name="T5" fmla="*/ 675 h 675"/>
                <a:gd name="T6" fmla="*/ 854 w 854"/>
                <a:gd name="T7" fmla="*/ 329 h 675"/>
                <a:gd name="T8" fmla="*/ 662 w 854"/>
                <a:gd name="T9" fmla="*/ 0 h 675"/>
                <a:gd name="T10" fmla="*/ 663 w 854"/>
                <a:gd name="T11" fmla="*/ 126 h 675"/>
                <a:gd name="T12" fmla="*/ 12 w 854"/>
                <a:gd name="T13" fmla="*/ 126 h 675"/>
                <a:gd name="T14" fmla="*/ 124 w 854"/>
                <a:gd name="T15" fmla="*/ 326 h 675"/>
                <a:gd name="T16" fmla="*/ 0 w 854"/>
                <a:gd name="T17" fmla="*/ 558 h 6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54"/>
                <a:gd name="T28" fmla="*/ 0 h 675"/>
                <a:gd name="T29" fmla="*/ 854 w 854"/>
                <a:gd name="T30" fmla="*/ 675 h 6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54" h="675">
                  <a:moveTo>
                    <a:pt x="0" y="558"/>
                  </a:moveTo>
                  <a:lnTo>
                    <a:pt x="660" y="556"/>
                  </a:lnTo>
                  <a:lnTo>
                    <a:pt x="660" y="675"/>
                  </a:lnTo>
                  <a:lnTo>
                    <a:pt x="854" y="329"/>
                  </a:lnTo>
                  <a:lnTo>
                    <a:pt x="662" y="0"/>
                  </a:lnTo>
                  <a:lnTo>
                    <a:pt x="663" y="126"/>
                  </a:lnTo>
                  <a:lnTo>
                    <a:pt x="12" y="126"/>
                  </a:lnTo>
                  <a:lnTo>
                    <a:pt x="124" y="3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801" name="Freeform 19"/>
            <p:cNvSpPr>
              <a:spLocks/>
            </p:cNvSpPr>
            <p:nvPr>
              <p:custDataLst>
                <p:tags r:id="rId24"/>
              </p:custDataLst>
            </p:nvPr>
          </p:nvSpPr>
          <p:spPr bwMode="blackWhite">
            <a:xfrm>
              <a:off x="220" y="1866"/>
              <a:ext cx="1094" cy="675"/>
            </a:xfrm>
            <a:custGeom>
              <a:avLst/>
              <a:gdLst>
                <a:gd name="T0" fmla="*/ 0 w 1094"/>
                <a:gd name="T1" fmla="*/ 558 h 675"/>
                <a:gd name="T2" fmla="*/ 845 w 1094"/>
                <a:gd name="T3" fmla="*/ 556 h 675"/>
                <a:gd name="T4" fmla="*/ 845 w 1094"/>
                <a:gd name="T5" fmla="*/ 675 h 675"/>
                <a:gd name="T6" fmla="*/ 1094 w 1094"/>
                <a:gd name="T7" fmla="*/ 329 h 675"/>
                <a:gd name="T8" fmla="*/ 848 w 1094"/>
                <a:gd name="T9" fmla="*/ 0 h 675"/>
                <a:gd name="T10" fmla="*/ 849 w 1094"/>
                <a:gd name="T11" fmla="*/ 126 h 675"/>
                <a:gd name="T12" fmla="*/ 4 w 1094"/>
                <a:gd name="T13" fmla="*/ 126 h 675"/>
                <a:gd name="T14" fmla="*/ 0 w 1094"/>
                <a:gd name="T15" fmla="*/ 558 h 67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94"/>
                <a:gd name="T25" fmla="*/ 0 h 675"/>
                <a:gd name="T26" fmla="*/ 1094 w 1094"/>
                <a:gd name="T27" fmla="*/ 675 h 67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94" h="675">
                  <a:moveTo>
                    <a:pt x="0" y="558"/>
                  </a:moveTo>
                  <a:lnTo>
                    <a:pt x="845" y="556"/>
                  </a:lnTo>
                  <a:lnTo>
                    <a:pt x="845" y="675"/>
                  </a:lnTo>
                  <a:lnTo>
                    <a:pt x="1094" y="329"/>
                  </a:lnTo>
                  <a:lnTo>
                    <a:pt x="848" y="0"/>
                  </a:lnTo>
                  <a:lnTo>
                    <a:pt x="849" y="126"/>
                  </a:lnTo>
                  <a:lnTo>
                    <a:pt x="4" y="1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32772" name="AutoShape 2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899400" y="1252538"/>
            <a:ext cx="1112838" cy="18256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342900" indent="-342900" algn="r" defTabSz="895350" eaLnBrk="0" hangingPunct="0">
              <a:buSzPct val="120000"/>
            </a:pPr>
            <a:r>
              <a:rPr lang="en-US" sz="1200">
                <a:solidFill>
                  <a:schemeClr val="tx2"/>
                </a:solidFill>
                <a:latin typeface="Trebuchet MS" pitchFamily="34" charset="0"/>
              </a:rPr>
              <a:t>PILOT PROGRAM</a:t>
            </a:r>
          </a:p>
        </p:txBody>
      </p:sp>
      <p:cxnSp>
        <p:nvCxnSpPr>
          <p:cNvPr id="32773" name="AutoShape 21"/>
          <p:cNvCxnSpPr>
            <a:cxnSpLocks noChangeShapeType="1"/>
            <a:stCxn id="32772" idx="2"/>
            <a:endCxn id="32772" idx="0"/>
          </p:cNvCxnSpPr>
          <p:nvPr>
            <p:custDataLst>
              <p:tags r:id="rId3"/>
            </p:custDataLst>
          </p:nvPr>
        </p:nvCxnSpPr>
        <p:spPr bwMode="auto">
          <a:xfrm>
            <a:off x="7899400" y="1252538"/>
            <a:ext cx="1112838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2774" name="AutoShape 22"/>
          <p:cNvCxnSpPr>
            <a:cxnSpLocks noChangeShapeType="1"/>
            <a:stCxn id="32772" idx="4"/>
            <a:endCxn id="32772" idx="6"/>
          </p:cNvCxnSpPr>
          <p:nvPr>
            <p:custDataLst>
              <p:tags r:id="rId4"/>
            </p:custDataLst>
          </p:nvPr>
        </p:nvCxnSpPr>
        <p:spPr bwMode="auto">
          <a:xfrm>
            <a:off x="7899400" y="1435100"/>
            <a:ext cx="1112838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2775" name="Rectangle 2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95338" y="2466975"/>
            <a:ext cx="1820862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912813">
              <a:buSzPct val="120000"/>
            </a:pPr>
            <a:r>
              <a:rPr lang="en-US" sz="1400" b="1">
                <a:solidFill>
                  <a:schemeClr val="accent2"/>
                </a:solidFill>
                <a:cs typeface="Arial" pitchFamily="34" charset="0"/>
              </a:rPr>
              <a:t>Market linkages and capital follow up</a:t>
            </a:r>
          </a:p>
        </p:txBody>
      </p:sp>
      <p:grpSp>
        <p:nvGrpSpPr>
          <p:cNvPr id="32776" name="Group 29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795338" y="2976563"/>
            <a:ext cx="1804987" cy="3143250"/>
            <a:chOff x="484" y="713"/>
            <a:chExt cx="1244" cy="576"/>
          </a:xfrm>
        </p:grpSpPr>
        <p:sp>
          <p:nvSpPr>
            <p:cNvPr id="32785" name="Freeform 30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484" y="713"/>
              <a:ext cx="1244" cy="576"/>
            </a:xfrm>
            <a:custGeom>
              <a:avLst/>
              <a:gdLst>
                <a:gd name="T0" fmla="*/ 0 w 1244"/>
                <a:gd name="T1" fmla="*/ 0 h 576"/>
                <a:gd name="T2" fmla="*/ 1140 w 1244"/>
                <a:gd name="T3" fmla="*/ 0 h 576"/>
                <a:gd name="T4" fmla="*/ 1244 w 1244"/>
                <a:gd name="T5" fmla="*/ 288 h 576"/>
                <a:gd name="T6" fmla="*/ 1140 w 1244"/>
                <a:gd name="T7" fmla="*/ 576 h 576"/>
                <a:gd name="T8" fmla="*/ 0 w 1244"/>
                <a:gd name="T9" fmla="*/ 576 h 576"/>
                <a:gd name="T10" fmla="*/ 0 w 1244"/>
                <a:gd name="T11" fmla="*/ 288 h 576"/>
                <a:gd name="T12" fmla="*/ 0 w 1244"/>
                <a:gd name="T13" fmla="*/ 0 h 57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44"/>
                <a:gd name="T22" fmla="*/ 0 h 576"/>
                <a:gd name="T23" fmla="*/ 1244 w 1244"/>
                <a:gd name="T24" fmla="*/ 576 h 57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44" h="576">
                  <a:moveTo>
                    <a:pt x="0" y="0"/>
                  </a:moveTo>
                  <a:lnTo>
                    <a:pt x="1140" y="0"/>
                  </a:lnTo>
                  <a:lnTo>
                    <a:pt x="1244" y="288"/>
                  </a:lnTo>
                  <a:lnTo>
                    <a:pt x="1140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>
                <a:alpha val="50195"/>
              </a:srgbClr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36000" anchor="ctr"/>
            <a:lstStyle/>
            <a:p>
              <a:endParaRPr lang="en-US"/>
            </a:p>
          </p:txBody>
        </p:sp>
        <p:sp>
          <p:nvSpPr>
            <p:cNvPr id="32786" name="Rectangle 3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516" y="745"/>
              <a:ext cx="1108" cy="4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6648" tIns="0" rIns="46648" bIns="0" anchor="ctr"/>
            <a:lstStyle/>
            <a:p>
              <a:pPr marL="114300" lvl="1" indent="-112713" defTabSz="912813"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US" sz="1400">
                  <a:cs typeface="Arial" pitchFamily="34" charset="0"/>
                </a:rPr>
                <a:t>Build market relations ending in real contracts</a:t>
              </a:r>
            </a:p>
            <a:p>
              <a:pPr marL="114300" lvl="1" indent="-112713" defTabSz="912813">
                <a:buClr>
                  <a:schemeClr val="accent2"/>
                </a:buClr>
                <a:buFont typeface="Wingdings" pitchFamily="2" charset="2"/>
                <a:buChar char="§"/>
              </a:pPr>
              <a:endParaRPr lang="en-US" sz="1400">
                <a:cs typeface="Arial" pitchFamily="34" charset="0"/>
              </a:endParaRPr>
            </a:p>
            <a:p>
              <a:pPr marL="114300" lvl="1" indent="-112713" defTabSz="912813"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s-ES_tradnl" sz="1400">
                  <a:cs typeface="Arial" pitchFamily="34" charset="0"/>
                </a:rPr>
                <a:t>Begin efforts for export</a:t>
              </a:r>
            </a:p>
            <a:p>
              <a:pPr marL="114300" lvl="1" indent="-112713" defTabSz="912813">
                <a:buClr>
                  <a:schemeClr val="accent2"/>
                </a:buClr>
                <a:buFont typeface="Wingdings" pitchFamily="2" charset="2"/>
                <a:buChar char="§"/>
              </a:pPr>
              <a:endParaRPr lang="es-ES_tradnl" sz="1400">
                <a:cs typeface="Arial" pitchFamily="34" charset="0"/>
              </a:endParaRPr>
            </a:p>
            <a:p>
              <a:pPr marL="114300" lvl="1" indent="-112713" defTabSz="912813"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s-ES_tradnl" sz="1400">
                  <a:cs typeface="Arial" pitchFamily="34" charset="0"/>
                </a:rPr>
                <a:t>Obtain capital and recurrent relationships</a:t>
              </a:r>
              <a:endParaRPr lang="en-US" sz="1400">
                <a:cs typeface="Arial" pitchFamily="34" charset="0"/>
              </a:endParaRPr>
            </a:p>
          </p:txBody>
        </p:sp>
      </p:grpSp>
      <p:sp>
        <p:nvSpPr>
          <p:cNvPr id="32777" name="Rectangle 2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200400" y="2679700"/>
            <a:ext cx="36115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912813">
              <a:buSzPct val="120000"/>
            </a:pPr>
            <a:r>
              <a:rPr lang="en-US" sz="1400" b="1">
                <a:solidFill>
                  <a:schemeClr val="accent2"/>
                </a:solidFill>
                <a:cs typeface="Arial" pitchFamily="34" charset="0"/>
              </a:rPr>
              <a:t>Evolution of participants during first year</a:t>
            </a:r>
          </a:p>
        </p:txBody>
      </p:sp>
      <p:sp>
        <p:nvSpPr>
          <p:cNvPr id="32778" name="Line 29"/>
          <p:cNvSpPr>
            <a:spLocks noChangeShapeType="1"/>
          </p:cNvSpPr>
          <p:nvPr/>
        </p:nvSpPr>
        <p:spPr bwMode="auto">
          <a:xfrm>
            <a:off x="3181350" y="2933700"/>
            <a:ext cx="469423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aphicFrame>
        <p:nvGraphicFramePr>
          <p:cNvPr id="32779" name="Object 30"/>
          <p:cNvGraphicFramePr>
            <a:graphicFrameLocks/>
          </p:cNvGraphicFramePr>
          <p:nvPr/>
        </p:nvGraphicFramePr>
        <p:xfrm>
          <a:off x="4681538" y="2762250"/>
          <a:ext cx="3265487" cy="2949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6" name="Chart" r:id="rId27" imgW="3263900" imgH="2946400" progId="MSGraph.Chart.8">
                  <p:embed followColorScheme="full"/>
                </p:oleObj>
              </mc:Choice>
              <mc:Fallback>
                <p:oleObj name="Chart" r:id="rId27" imgW="3263900" imgH="2946400" progId="MSGraph.Chart.8">
                  <p:embed followColorScheme="full"/>
                  <p:pic>
                    <p:nvPicPr>
                      <p:cNvPr id="0" name="Object 30"/>
                      <p:cNvPicPr>
                        <a:picLocks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White">
                      <a:xfrm>
                        <a:off x="4681538" y="2762250"/>
                        <a:ext cx="3265487" cy="2949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780" name="Rectangle 32"/>
          <p:cNvSpPr>
            <a:spLocks noChangeArrowheads="1"/>
          </p:cNvSpPr>
          <p:nvPr/>
        </p:nvSpPr>
        <p:spPr bwMode="auto">
          <a:xfrm>
            <a:off x="4859338" y="5783263"/>
            <a:ext cx="12858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/>
          <a:p>
            <a:pPr algn="ctr" eaLnBrk="0" hangingPunct="0"/>
            <a:r>
              <a:rPr lang="es-ES_tradnl" sz="1200"/>
              <a:t>Regular Participants</a:t>
            </a:r>
          </a:p>
        </p:txBody>
      </p:sp>
      <p:sp>
        <p:nvSpPr>
          <p:cNvPr id="32781" name="Rectangle 33"/>
          <p:cNvSpPr>
            <a:spLocks noChangeArrowheads="1"/>
          </p:cNvSpPr>
          <p:nvPr/>
        </p:nvSpPr>
        <p:spPr bwMode="auto">
          <a:xfrm>
            <a:off x="3206750" y="3381375"/>
            <a:ext cx="17176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r">
              <a:buSzPct val="120000"/>
            </a:pPr>
            <a:r>
              <a:rPr lang="es-ES_tradnl" sz="1200">
                <a:solidFill>
                  <a:schemeClr val="tx2"/>
                </a:solidFill>
              </a:rPr>
              <a:t>Increased sales</a:t>
            </a:r>
          </a:p>
        </p:txBody>
      </p:sp>
      <p:sp>
        <p:nvSpPr>
          <p:cNvPr id="32782" name="Rectangle 34"/>
          <p:cNvSpPr>
            <a:spLocks noChangeArrowheads="1"/>
          </p:cNvSpPr>
          <p:nvPr/>
        </p:nvSpPr>
        <p:spPr bwMode="auto">
          <a:xfrm>
            <a:off x="6459538" y="5783263"/>
            <a:ext cx="1285875" cy="547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/>
          <a:p>
            <a:pPr algn="ctr" eaLnBrk="0" hangingPunct="0"/>
            <a:r>
              <a:rPr lang="es-ES_tradnl" sz="1200"/>
              <a:t>Businesses with additional support (Pilot in Peru)</a:t>
            </a:r>
          </a:p>
        </p:txBody>
      </p:sp>
      <p:sp>
        <p:nvSpPr>
          <p:cNvPr id="32783" name="Rectangle 35"/>
          <p:cNvSpPr>
            <a:spLocks noChangeArrowheads="1"/>
          </p:cNvSpPr>
          <p:nvPr/>
        </p:nvSpPr>
        <p:spPr bwMode="auto">
          <a:xfrm>
            <a:off x="3206750" y="3652838"/>
            <a:ext cx="1717675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r">
              <a:buSzPct val="120000"/>
            </a:pPr>
            <a:r>
              <a:rPr lang="es-ES_tradnl" sz="1200">
                <a:solidFill>
                  <a:schemeClr val="tx2"/>
                </a:solidFill>
              </a:rPr>
              <a:t>Started generating sales</a:t>
            </a:r>
          </a:p>
        </p:txBody>
      </p:sp>
      <p:sp>
        <p:nvSpPr>
          <p:cNvPr id="32784" name="Rectangle 36"/>
          <p:cNvSpPr>
            <a:spLocks noChangeArrowheads="1"/>
          </p:cNvSpPr>
          <p:nvPr/>
        </p:nvSpPr>
        <p:spPr bwMode="auto">
          <a:xfrm>
            <a:off x="3206750" y="4518025"/>
            <a:ext cx="17176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r">
              <a:buSzPct val="120000"/>
            </a:pPr>
            <a:r>
              <a:rPr lang="es-ES_tradnl" sz="1200">
                <a:solidFill>
                  <a:schemeClr val="tx2"/>
                </a:solidFill>
              </a:rPr>
              <a:t>Current sales but no increase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8" name="think-cell Slide" r:id="rId37" imgW="0" imgH="0" progId="TCLayout.ActiveDocument.1">
                  <p:embed/>
                </p:oleObj>
              </mc:Choice>
              <mc:Fallback>
                <p:oleObj name="think-cell Slide" r:id="rId37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7" name="Rectangle 40"/>
          <p:cNvSpPr>
            <a:spLocks noGrp="1" noChangeArrowheads="1"/>
          </p:cNvSpPr>
          <p:nvPr>
            <p:ph type="title"/>
          </p:nvPr>
        </p:nvSpPr>
        <p:spPr>
          <a:xfrm>
            <a:off x="685800" y="1318736"/>
            <a:ext cx="8135938" cy="738664"/>
          </a:xfrm>
        </p:spPr>
        <p:txBody>
          <a:bodyPr lIns="0" tIns="0" rIns="0" bIns="0" anchor="b">
            <a:spAutoFit/>
          </a:bodyPr>
          <a:lstStyle/>
          <a:p>
            <a:r>
              <a:rPr lang="en-US" dirty="0" smtClean="0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>TechnoServe is an nonprofit international development organization providing business solutions to poverty</a:t>
            </a:r>
          </a:p>
        </p:txBody>
      </p:sp>
      <p:sp>
        <p:nvSpPr>
          <p:cNvPr id="6148" name="4 Marcador de texto"/>
          <p:cNvSpPr>
            <a:spLocks noGrp="1"/>
          </p:cNvSpPr>
          <p:nvPr>
            <p:ph type="body" sz="quarter" idx="4294967295"/>
            <p:custDataLst>
              <p:tags r:id="rId3"/>
            </p:custDataLst>
          </p:nvPr>
        </p:nvSpPr>
        <p:spPr>
          <a:xfrm>
            <a:off x="1095375" y="2901950"/>
            <a:ext cx="4746625" cy="3498850"/>
          </a:xfrm>
          <a:solidFill>
            <a:schemeClr val="bg1"/>
          </a:solidFill>
          <a:ln w="28575">
            <a:solidFill>
              <a:srgbClr val="808080"/>
            </a:solidFill>
            <a:miter lim="800000"/>
            <a:headEnd/>
            <a:tailEnd/>
          </a:ln>
        </p:spPr>
        <p:txBody>
          <a:bodyPr lIns="110192" tIns="110192" rIns="110192" bIns="110192" anchor="ctr">
            <a:spAutoFit/>
          </a:bodyPr>
          <a:lstStyle/>
          <a:p>
            <a:pPr marL="177800" indent="-177800">
              <a:spcAft>
                <a:spcPts val="1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600" dirty="0" smtClean="0">
                <a:ea typeface="ＭＳ Ｐゴシック" pitchFamily="34" charset="-128"/>
                <a:cs typeface="Arial" pitchFamily="34" charset="0"/>
              </a:rPr>
              <a:t>Empower people in the developing world to build businesses that break the cycle of poverty</a:t>
            </a:r>
          </a:p>
          <a:p>
            <a:pPr marL="177800" indent="-177800">
              <a:spcAft>
                <a:spcPts val="1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600" dirty="0" smtClean="0">
                <a:ea typeface="ＭＳ Ｐゴシック" pitchFamily="34" charset="-128"/>
                <a:cs typeface="Arial" pitchFamily="34" charset="0"/>
              </a:rPr>
              <a:t>Work in more than 30 countries throughout Latin America, Africa and Asia</a:t>
            </a:r>
          </a:p>
          <a:p>
            <a:pPr marL="177800" indent="-177800">
              <a:spcAft>
                <a:spcPts val="1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600" dirty="0" smtClean="0">
                <a:ea typeface="ＭＳ Ｐゴシック" pitchFamily="34" charset="-128"/>
                <a:cs typeface="Arial" pitchFamily="34" charset="0"/>
              </a:rPr>
              <a:t>Founded in the U.S. in 1968</a:t>
            </a:r>
          </a:p>
          <a:p>
            <a:pPr marL="177800" indent="-177800">
              <a:spcAft>
                <a:spcPts val="1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600" dirty="0" smtClean="0">
                <a:ea typeface="ＭＳ Ｐゴシック" pitchFamily="34" charset="-128"/>
                <a:cs typeface="Arial" pitchFamily="34" charset="0"/>
              </a:rPr>
              <a:t>2009 revenue of $50M</a:t>
            </a:r>
          </a:p>
          <a:p>
            <a:pPr marL="177800" indent="-177800">
              <a:spcAft>
                <a:spcPts val="1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600" dirty="0" smtClean="0">
                <a:ea typeface="ＭＳ Ｐゴシック" pitchFamily="34" charset="-128"/>
                <a:cs typeface="Arial" pitchFamily="34" charset="0"/>
              </a:rPr>
              <a:t>Obtain funding from diverse sources including U.S. and foreign government agencies, multi-lateral organizations, corporations, foundations and individuals</a:t>
            </a:r>
          </a:p>
        </p:txBody>
      </p:sp>
      <p:grpSp>
        <p:nvGrpSpPr>
          <p:cNvPr id="6149" name="Group 39"/>
          <p:cNvGrpSpPr>
            <a:grpSpLocks/>
          </p:cNvGrpSpPr>
          <p:nvPr/>
        </p:nvGrpSpPr>
        <p:grpSpPr bwMode="auto">
          <a:xfrm>
            <a:off x="6497638" y="2476500"/>
            <a:ext cx="1962150" cy="3924300"/>
            <a:chOff x="3941" y="1029"/>
            <a:chExt cx="1458" cy="2916"/>
          </a:xfrm>
        </p:grpSpPr>
        <p:sp>
          <p:nvSpPr>
            <p:cNvPr id="6152" name="Rectangle 18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941" y="1150"/>
              <a:ext cx="300" cy="2680"/>
            </a:xfrm>
            <a:prstGeom prst="rect">
              <a:avLst/>
            </a:prstGeom>
            <a:gradFill rotWithShape="1"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285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30" tIns="45716" rIns="91430" bIns="45716" anchor="ctr"/>
            <a:lstStyle/>
            <a:p>
              <a:pPr algn="ctr" defTabSz="912813"/>
              <a:endParaRPr lang="es-ES_tradnl" sz="1800">
                <a:latin typeface="Gill Sans MT" pitchFamily="34" charset="0"/>
              </a:endParaRPr>
            </a:p>
          </p:txBody>
        </p:sp>
        <p:pic>
          <p:nvPicPr>
            <p:cNvPr id="6153" name="Picture 1039" descr="Cucuana"/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>
            <a:blip r:embed="rId3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7" y="1029"/>
              <a:ext cx="1316" cy="881"/>
            </a:xfrm>
            <a:prstGeom prst="rect">
              <a:avLst/>
            </a:prstGeom>
            <a:noFill/>
            <a:ln w="28575">
              <a:solidFill>
                <a:srgbClr val="B2B2B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54" name="Picture 188"/>
            <p:cNvPicPr>
              <a:picLocks noChangeAspect="1" noChangeArrowheads="1"/>
            </p:cNvPicPr>
            <p:nvPr/>
          </p:nvPicPr>
          <p:blipFill>
            <a:blip r:embed="rId3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69" r="19479"/>
            <a:stretch>
              <a:fillRect/>
            </a:stretch>
          </p:blipFill>
          <p:spPr bwMode="auto">
            <a:xfrm>
              <a:off x="4072" y="3072"/>
              <a:ext cx="1327" cy="873"/>
            </a:xfrm>
            <a:prstGeom prst="rect">
              <a:avLst/>
            </a:prstGeom>
            <a:noFill/>
            <a:ln w="28575">
              <a:solidFill>
                <a:srgbClr val="B2B2B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6155" name="Group 91"/>
            <p:cNvGrpSpPr>
              <a:grpSpLocks/>
            </p:cNvGrpSpPr>
            <p:nvPr>
              <p:custDataLst>
                <p:tags r:id="rId7"/>
              </p:custDataLst>
            </p:nvPr>
          </p:nvGrpSpPr>
          <p:grpSpPr bwMode="auto">
            <a:xfrm>
              <a:off x="4357" y="2161"/>
              <a:ext cx="586" cy="584"/>
              <a:chOff x="2475" y="1339"/>
              <a:chExt cx="1903" cy="1897"/>
            </a:xfrm>
          </p:grpSpPr>
          <p:sp>
            <p:nvSpPr>
              <p:cNvPr id="6157" name="Freeform 9"/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 rot="-434746">
                <a:off x="3890" y="2231"/>
                <a:ext cx="17" cy="2"/>
              </a:xfrm>
              <a:custGeom>
                <a:avLst/>
                <a:gdLst>
                  <a:gd name="T0" fmla="*/ 14735169 w 8"/>
                  <a:gd name="T1" fmla="*/ 0 h 2"/>
                  <a:gd name="T2" fmla="*/ 14735169 w 8"/>
                  <a:gd name="T3" fmla="*/ 0 h 2"/>
                  <a:gd name="T4" fmla="*/ 0 w 8"/>
                  <a:gd name="T5" fmla="*/ 0 h 2"/>
                  <a:gd name="T6" fmla="*/ 14735169 w 8"/>
                  <a:gd name="T7" fmla="*/ 0 h 2"/>
                  <a:gd name="T8" fmla="*/ 27981229 w 8"/>
                  <a:gd name="T9" fmla="*/ 0 h 2"/>
                  <a:gd name="T10" fmla="*/ 14735169 w 8"/>
                  <a:gd name="T11" fmla="*/ 0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2"/>
                  <a:gd name="T20" fmla="*/ 8 w 8"/>
                  <a:gd name="T21" fmla="*/ 2 h 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2">
                    <a:moveTo>
                      <a:pt x="4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DDDDDD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lIns="87819" tIns="43910" rIns="87819" bIns="43910"/>
              <a:lstStyle/>
              <a:p>
                <a:endParaRPr lang="en-US"/>
              </a:p>
            </p:txBody>
          </p:sp>
          <p:sp>
            <p:nvSpPr>
              <p:cNvPr id="6158" name="Freeform 10"/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 rot="-434746">
                <a:off x="3890" y="2231"/>
                <a:ext cx="17" cy="2"/>
              </a:xfrm>
              <a:custGeom>
                <a:avLst/>
                <a:gdLst>
                  <a:gd name="T0" fmla="*/ 14735169 w 8"/>
                  <a:gd name="T1" fmla="*/ 0 h 2"/>
                  <a:gd name="T2" fmla="*/ 14735169 w 8"/>
                  <a:gd name="T3" fmla="*/ 0 h 2"/>
                  <a:gd name="T4" fmla="*/ 0 w 8"/>
                  <a:gd name="T5" fmla="*/ 0 h 2"/>
                  <a:gd name="T6" fmla="*/ 14735169 w 8"/>
                  <a:gd name="T7" fmla="*/ 0 h 2"/>
                  <a:gd name="T8" fmla="*/ 27981229 w 8"/>
                  <a:gd name="T9" fmla="*/ 0 h 2"/>
                  <a:gd name="T10" fmla="*/ 14735169 w 8"/>
                  <a:gd name="T11" fmla="*/ 0 h 2"/>
                  <a:gd name="T12" fmla="*/ 14735169 w 8"/>
                  <a:gd name="T13" fmla="*/ 0 h 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"/>
                  <a:gd name="T22" fmla="*/ 0 h 2"/>
                  <a:gd name="T23" fmla="*/ 8 w 8"/>
                  <a:gd name="T24" fmla="*/ 2 h 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" h="2">
                    <a:moveTo>
                      <a:pt x="4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4" y="0"/>
                    </a:lnTo>
                  </a:path>
                </a:pathLst>
              </a:custGeom>
              <a:solidFill>
                <a:srgbClr val="DDDDDD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lIns="87819" tIns="43910" rIns="87819" bIns="43910"/>
              <a:lstStyle/>
              <a:p>
                <a:endParaRPr lang="en-US"/>
              </a:p>
            </p:txBody>
          </p:sp>
          <p:sp>
            <p:nvSpPr>
              <p:cNvPr id="6159" name="Freeform 11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 rot="-434746">
                <a:off x="3920" y="2203"/>
                <a:ext cx="26" cy="24"/>
              </a:xfrm>
              <a:custGeom>
                <a:avLst/>
                <a:gdLst>
                  <a:gd name="T0" fmla="*/ 22008478 w 12"/>
                  <a:gd name="T1" fmla="*/ 0 h 12"/>
                  <a:gd name="T2" fmla="*/ 0 w 12"/>
                  <a:gd name="T3" fmla="*/ 4194304 h 12"/>
                  <a:gd name="T4" fmla="*/ 0 w 12"/>
                  <a:gd name="T5" fmla="*/ 8388610 h 12"/>
                  <a:gd name="T6" fmla="*/ 40833748 w 12"/>
                  <a:gd name="T7" fmla="*/ 12582912 h 12"/>
                  <a:gd name="T8" fmla="*/ 40833748 w 12"/>
                  <a:gd name="T9" fmla="*/ 8388610 h 12"/>
                  <a:gd name="T10" fmla="*/ 61851445 w 12"/>
                  <a:gd name="T11" fmla="*/ 4194304 h 12"/>
                  <a:gd name="T12" fmla="*/ 40833748 w 12"/>
                  <a:gd name="T13" fmla="*/ 0 h 12"/>
                  <a:gd name="T14" fmla="*/ 22008478 w 12"/>
                  <a:gd name="T15" fmla="*/ 0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"/>
                  <a:gd name="T25" fmla="*/ 0 h 12"/>
                  <a:gd name="T26" fmla="*/ 12 w 12"/>
                  <a:gd name="T27" fmla="*/ 12 h 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" h="12">
                    <a:moveTo>
                      <a:pt x="4" y="0"/>
                    </a:moveTo>
                    <a:lnTo>
                      <a:pt x="0" y="4"/>
                    </a:lnTo>
                    <a:lnTo>
                      <a:pt x="0" y="8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DDDDDD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lIns="87819" tIns="43910" rIns="87819" bIns="43910"/>
              <a:lstStyle/>
              <a:p>
                <a:endParaRPr lang="en-US"/>
              </a:p>
            </p:txBody>
          </p:sp>
          <p:sp>
            <p:nvSpPr>
              <p:cNvPr id="6160" name="Freeform 12"/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 rot="-434746">
                <a:off x="2950" y="2180"/>
                <a:ext cx="160" cy="185"/>
              </a:xfrm>
              <a:custGeom>
                <a:avLst/>
                <a:gdLst>
                  <a:gd name="T0" fmla="*/ 38837968 w 76"/>
                  <a:gd name="T1" fmla="*/ 0 h 88"/>
                  <a:gd name="T2" fmla="*/ 22640274 w 76"/>
                  <a:gd name="T3" fmla="*/ 16130873 h 88"/>
                  <a:gd name="T4" fmla="*/ 0 w 76"/>
                  <a:gd name="T5" fmla="*/ 59122376 h 88"/>
                  <a:gd name="T6" fmla="*/ 0 w 76"/>
                  <a:gd name="T7" fmla="*/ 75806334 h 88"/>
                  <a:gd name="T8" fmla="*/ 11317025 w 76"/>
                  <a:gd name="T9" fmla="*/ 75806334 h 88"/>
                  <a:gd name="T10" fmla="*/ 22640274 w 76"/>
                  <a:gd name="T11" fmla="*/ 64949958 h 88"/>
                  <a:gd name="T12" fmla="*/ 22640274 w 76"/>
                  <a:gd name="T13" fmla="*/ 69979370 h 88"/>
                  <a:gd name="T14" fmla="*/ 16691880 w 76"/>
                  <a:gd name="T15" fmla="*/ 96927039 h 88"/>
                  <a:gd name="T16" fmla="*/ 27507764 w 76"/>
                  <a:gd name="T17" fmla="*/ 119087367 h 88"/>
                  <a:gd name="T18" fmla="*/ 66690261 w 76"/>
                  <a:gd name="T19" fmla="*/ 92152301 h 88"/>
                  <a:gd name="T20" fmla="*/ 66690261 w 76"/>
                  <a:gd name="T21" fmla="*/ 81083841 h 88"/>
                  <a:gd name="T22" fmla="*/ 89059846 w 76"/>
                  <a:gd name="T23" fmla="*/ 69979370 h 88"/>
                  <a:gd name="T24" fmla="*/ 105596874 w 76"/>
                  <a:gd name="T25" fmla="*/ 32207226 h 88"/>
                  <a:gd name="T26" fmla="*/ 66690261 w 76"/>
                  <a:gd name="T27" fmla="*/ 32207226 h 88"/>
                  <a:gd name="T28" fmla="*/ 66690261 w 76"/>
                  <a:gd name="T29" fmla="*/ 16130873 h 88"/>
                  <a:gd name="T30" fmla="*/ 38837968 w 76"/>
                  <a:gd name="T31" fmla="*/ 0 h 8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76"/>
                  <a:gd name="T49" fmla="*/ 0 h 88"/>
                  <a:gd name="T50" fmla="*/ 76 w 76"/>
                  <a:gd name="T51" fmla="*/ 88 h 88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76" h="88">
                    <a:moveTo>
                      <a:pt x="28" y="0"/>
                    </a:moveTo>
                    <a:lnTo>
                      <a:pt x="16" y="12"/>
                    </a:lnTo>
                    <a:lnTo>
                      <a:pt x="0" y="44"/>
                    </a:lnTo>
                    <a:lnTo>
                      <a:pt x="0" y="56"/>
                    </a:lnTo>
                    <a:lnTo>
                      <a:pt x="8" y="56"/>
                    </a:lnTo>
                    <a:lnTo>
                      <a:pt x="16" y="48"/>
                    </a:lnTo>
                    <a:lnTo>
                      <a:pt x="16" y="52"/>
                    </a:lnTo>
                    <a:lnTo>
                      <a:pt x="12" y="72"/>
                    </a:lnTo>
                    <a:lnTo>
                      <a:pt x="20" y="88"/>
                    </a:lnTo>
                    <a:lnTo>
                      <a:pt x="48" y="68"/>
                    </a:lnTo>
                    <a:lnTo>
                      <a:pt x="48" y="60"/>
                    </a:lnTo>
                    <a:lnTo>
                      <a:pt x="64" y="52"/>
                    </a:lnTo>
                    <a:lnTo>
                      <a:pt x="76" y="24"/>
                    </a:lnTo>
                    <a:lnTo>
                      <a:pt x="48" y="24"/>
                    </a:lnTo>
                    <a:lnTo>
                      <a:pt x="48" y="12"/>
                    </a:lnTo>
                    <a:lnTo>
                      <a:pt x="28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643878"/>
                  </a:gs>
                  <a:gs pos="100000">
                    <a:srgbClr val="2E1A38"/>
                  </a:gs>
                </a:gsLst>
                <a:lin ang="5400000" scaled="1"/>
              </a:gra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lIns="87819" tIns="43910" rIns="87819" bIns="43910"/>
              <a:lstStyle/>
              <a:p>
                <a:endParaRPr lang="en-US"/>
              </a:p>
            </p:txBody>
          </p:sp>
          <p:sp>
            <p:nvSpPr>
              <p:cNvPr id="6161" name="Freeform 13"/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 rot="-434746">
                <a:off x="3180" y="1867"/>
                <a:ext cx="435" cy="342"/>
              </a:xfrm>
              <a:custGeom>
                <a:avLst/>
                <a:gdLst>
                  <a:gd name="T0" fmla="*/ 1173 w 357"/>
                  <a:gd name="T1" fmla="*/ 272 h 292"/>
                  <a:gd name="T2" fmla="*/ 1496 w 357"/>
                  <a:gd name="T3" fmla="*/ 1012 h 292"/>
                  <a:gd name="T4" fmla="*/ 2102 w 357"/>
                  <a:gd name="T5" fmla="*/ 1291 h 292"/>
                  <a:gd name="T6" fmla="*/ 2385 w 357"/>
                  <a:gd name="T7" fmla="*/ 1012 h 292"/>
                  <a:gd name="T8" fmla="*/ 2102 w 357"/>
                  <a:gd name="T9" fmla="*/ 579 h 292"/>
                  <a:gd name="T10" fmla="*/ 2706 w 357"/>
                  <a:gd name="T11" fmla="*/ 428 h 292"/>
                  <a:gd name="T12" fmla="*/ 3297 w 357"/>
                  <a:gd name="T13" fmla="*/ 0 h 292"/>
                  <a:gd name="T14" fmla="*/ 5092 w 357"/>
                  <a:gd name="T15" fmla="*/ 272 h 292"/>
                  <a:gd name="T16" fmla="*/ 5672 w 357"/>
                  <a:gd name="T17" fmla="*/ 704 h 292"/>
                  <a:gd name="T18" fmla="*/ 11701 w 357"/>
                  <a:gd name="T19" fmla="*/ 1012 h 292"/>
                  <a:gd name="T20" fmla="*/ 11701 w 357"/>
                  <a:gd name="T21" fmla="*/ 1291 h 292"/>
                  <a:gd name="T22" fmla="*/ 13470 w 357"/>
                  <a:gd name="T23" fmla="*/ 1701 h 292"/>
                  <a:gd name="T24" fmla="*/ 13147 w 357"/>
                  <a:gd name="T25" fmla="*/ 2132 h 292"/>
                  <a:gd name="T26" fmla="*/ 15254 w 357"/>
                  <a:gd name="T27" fmla="*/ 2718 h 292"/>
                  <a:gd name="T28" fmla="*/ 13740 w 357"/>
                  <a:gd name="T29" fmla="*/ 2844 h 292"/>
                  <a:gd name="T30" fmla="*/ 14074 w 357"/>
                  <a:gd name="T31" fmla="*/ 3147 h 292"/>
                  <a:gd name="T32" fmla="*/ 13740 w 357"/>
                  <a:gd name="T33" fmla="*/ 3426 h 292"/>
                  <a:gd name="T34" fmla="*/ 13147 w 357"/>
                  <a:gd name="T35" fmla="*/ 3426 h 292"/>
                  <a:gd name="T36" fmla="*/ 13582 w 357"/>
                  <a:gd name="T37" fmla="*/ 4233 h 292"/>
                  <a:gd name="T38" fmla="*/ 12945 w 357"/>
                  <a:gd name="T39" fmla="*/ 4738 h 292"/>
                  <a:gd name="T40" fmla="*/ 11715 w 357"/>
                  <a:gd name="T41" fmla="*/ 4708 h 292"/>
                  <a:gd name="T42" fmla="*/ 11061 w 357"/>
                  <a:gd name="T43" fmla="*/ 4792 h 292"/>
                  <a:gd name="T44" fmla="*/ 9113 w 357"/>
                  <a:gd name="T45" fmla="*/ 4239 h 292"/>
                  <a:gd name="T46" fmla="*/ 8668 w 357"/>
                  <a:gd name="T47" fmla="*/ 4287 h 292"/>
                  <a:gd name="T48" fmla="*/ 9845 w 357"/>
                  <a:gd name="T49" fmla="*/ 5295 h 292"/>
                  <a:gd name="T50" fmla="*/ 8191 w 357"/>
                  <a:gd name="T51" fmla="*/ 5881 h 292"/>
                  <a:gd name="T52" fmla="*/ 6312 w 357"/>
                  <a:gd name="T53" fmla="*/ 5815 h 292"/>
                  <a:gd name="T54" fmla="*/ 6046 w 357"/>
                  <a:gd name="T55" fmla="*/ 5401 h 292"/>
                  <a:gd name="T56" fmla="*/ 6278 w 357"/>
                  <a:gd name="T57" fmla="*/ 5142 h 292"/>
                  <a:gd name="T58" fmla="*/ 5672 w 357"/>
                  <a:gd name="T59" fmla="*/ 4571 h 292"/>
                  <a:gd name="T60" fmla="*/ 5964 w 357"/>
                  <a:gd name="T61" fmla="*/ 4013 h 292"/>
                  <a:gd name="T62" fmla="*/ 5672 w 357"/>
                  <a:gd name="T63" fmla="*/ 3884 h 292"/>
                  <a:gd name="T64" fmla="*/ 5964 w 357"/>
                  <a:gd name="T65" fmla="*/ 3002 h 292"/>
                  <a:gd name="T66" fmla="*/ 3872 w 357"/>
                  <a:gd name="T67" fmla="*/ 3002 h 292"/>
                  <a:gd name="T68" fmla="*/ 1080 w 357"/>
                  <a:gd name="T69" fmla="*/ 2230 h 292"/>
                  <a:gd name="T70" fmla="*/ 626 w 357"/>
                  <a:gd name="T71" fmla="*/ 1557 h 292"/>
                  <a:gd name="T72" fmla="*/ 0 w 357"/>
                  <a:gd name="T73" fmla="*/ 1557 h 292"/>
                  <a:gd name="T74" fmla="*/ 930 w 357"/>
                  <a:gd name="T75" fmla="*/ 1012 h 292"/>
                  <a:gd name="T76" fmla="*/ 626 w 357"/>
                  <a:gd name="T77" fmla="*/ 428 h 292"/>
                  <a:gd name="T78" fmla="*/ 1173 w 357"/>
                  <a:gd name="T79" fmla="*/ 272 h 292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357"/>
                  <a:gd name="T121" fmla="*/ 0 h 292"/>
                  <a:gd name="T122" fmla="*/ 357 w 357"/>
                  <a:gd name="T123" fmla="*/ 292 h 292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357" h="292">
                    <a:moveTo>
                      <a:pt x="28" y="14"/>
                    </a:moveTo>
                    <a:lnTo>
                      <a:pt x="35" y="50"/>
                    </a:lnTo>
                    <a:lnTo>
                      <a:pt x="49" y="64"/>
                    </a:lnTo>
                    <a:lnTo>
                      <a:pt x="56" y="50"/>
                    </a:lnTo>
                    <a:lnTo>
                      <a:pt x="49" y="28"/>
                    </a:lnTo>
                    <a:lnTo>
                      <a:pt x="63" y="21"/>
                    </a:lnTo>
                    <a:lnTo>
                      <a:pt x="77" y="0"/>
                    </a:lnTo>
                    <a:lnTo>
                      <a:pt x="119" y="14"/>
                    </a:lnTo>
                    <a:lnTo>
                      <a:pt x="133" y="35"/>
                    </a:lnTo>
                    <a:lnTo>
                      <a:pt x="273" y="50"/>
                    </a:lnTo>
                    <a:lnTo>
                      <a:pt x="273" y="64"/>
                    </a:lnTo>
                    <a:lnTo>
                      <a:pt x="315" y="85"/>
                    </a:lnTo>
                    <a:lnTo>
                      <a:pt x="308" y="106"/>
                    </a:lnTo>
                    <a:lnTo>
                      <a:pt x="357" y="135"/>
                    </a:lnTo>
                    <a:lnTo>
                      <a:pt x="322" y="142"/>
                    </a:lnTo>
                    <a:lnTo>
                      <a:pt x="329" y="156"/>
                    </a:lnTo>
                    <a:lnTo>
                      <a:pt x="322" y="170"/>
                    </a:lnTo>
                    <a:lnTo>
                      <a:pt x="308" y="170"/>
                    </a:lnTo>
                    <a:lnTo>
                      <a:pt x="318" y="210"/>
                    </a:lnTo>
                    <a:lnTo>
                      <a:pt x="303" y="235"/>
                    </a:lnTo>
                    <a:lnTo>
                      <a:pt x="274" y="234"/>
                    </a:lnTo>
                    <a:lnTo>
                      <a:pt x="259" y="237"/>
                    </a:lnTo>
                    <a:lnTo>
                      <a:pt x="213" y="211"/>
                    </a:lnTo>
                    <a:lnTo>
                      <a:pt x="203" y="213"/>
                    </a:lnTo>
                    <a:lnTo>
                      <a:pt x="231" y="263"/>
                    </a:lnTo>
                    <a:lnTo>
                      <a:pt x="192" y="292"/>
                    </a:lnTo>
                    <a:lnTo>
                      <a:pt x="148" y="289"/>
                    </a:lnTo>
                    <a:lnTo>
                      <a:pt x="142" y="268"/>
                    </a:lnTo>
                    <a:lnTo>
                      <a:pt x="147" y="256"/>
                    </a:lnTo>
                    <a:lnTo>
                      <a:pt x="133" y="227"/>
                    </a:lnTo>
                    <a:lnTo>
                      <a:pt x="140" y="199"/>
                    </a:lnTo>
                    <a:lnTo>
                      <a:pt x="133" y="192"/>
                    </a:lnTo>
                    <a:lnTo>
                      <a:pt x="140" y="149"/>
                    </a:lnTo>
                    <a:lnTo>
                      <a:pt x="91" y="149"/>
                    </a:lnTo>
                    <a:lnTo>
                      <a:pt x="25" y="111"/>
                    </a:lnTo>
                    <a:lnTo>
                      <a:pt x="14" y="78"/>
                    </a:lnTo>
                    <a:lnTo>
                      <a:pt x="0" y="78"/>
                    </a:lnTo>
                    <a:lnTo>
                      <a:pt x="21" y="50"/>
                    </a:lnTo>
                    <a:lnTo>
                      <a:pt x="14" y="21"/>
                    </a:lnTo>
                    <a:lnTo>
                      <a:pt x="28" y="14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643878"/>
                  </a:gs>
                  <a:gs pos="100000">
                    <a:srgbClr val="2E1A38"/>
                  </a:gs>
                </a:gsLst>
                <a:lin ang="5400000" scaled="1"/>
              </a:gra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lIns="87819" tIns="43910" rIns="87819" bIns="43910"/>
              <a:lstStyle/>
              <a:p>
                <a:endParaRPr lang="en-US"/>
              </a:p>
            </p:txBody>
          </p:sp>
          <p:sp>
            <p:nvSpPr>
              <p:cNvPr id="6162" name="Freeform 14"/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 rot="-434746">
                <a:off x="2963" y="2219"/>
                <a:ext cx="369" cy="554"/>
              </a:xfrm>
              <a:custGeom>
                <a:avLst/>
                <a:gdLst>
                  <a:gd name="T0" fmla="*/ 1607 w 302"/>
                  <a:gd name="T1" fmla="*/ 1749 h 473"/>
                  <a:gd name="T2" fmla="*/ 0 w 302"/>
                  <a:gd name="T3" fmla="*/ 2179 h 473"/>
                  <a:gd name="T4" fmla="*/ 0 w 302"/>
                  <a:gd name="T5" fmla="*/ 3025 h 473"/>
                  <a:gd name="T6" fmla="*/ 1607 w 302"/>
                  <a:gd name="T7" fmla="*/ 3619 h 473"/>
                  <a:gd name="T8" fmla="*/ 1885 w 302"/>
                  <a:gd name="T9" fmla="*/ 4197 h 473"/>
                  <a:gd name="T10" fmla="*/ 2489 w 302"/>
                  <a:gd name="T11" fmla="*/ 4361 h 473"/>
                  <a:gd name="T12" fmla="*/ 2846 w 302"/>
                  <a:gd name="T13" fmla="*/ 5505 h 473"/>
                  <a:gd name="T14" fmla="*/ 4704 w 302"/>
                  <a:gd name="T15" fmla="*/ 6372 h 473"/>
                  <a:gd name="T16" fmla="*/ 4704 w 302"/>
                  <a:gd name="T17" fmla="*/ 7056 h 473"/>
                  <a:gd name="T18" fmla="*/ 6980 w 302"/>
                  <a:gd name="T19" fmla="*/ 8377 h 473"/>
                  <a:gd name="T20" fmla="*/ 10128 w 302"/>
                  <a:gd name="T21" fmla="*/ 8807 h 473"/>
                  <a:gd name="T22" fmla="*/ 10741 w 302"/>
                  <a:gd name="T23" fmla="*/ 9527 h 473"/>
                  <a:gd name="T24" fmla="*/ 12639 w 302"/>
                  <a:gd name="T25" fmla="*/ 8807 h 473"/>
                  <a:gd name="T26" fmla="*/ 12639 w 302"/>
                  <a:gd name="T27" fmla="*/ 8068 h 473"/>
                  <a:gd name="T28" fmla="*/ 13586 w 302"/>
                  <a:gd name="T29" fmla="*/ 7384 h 473"/>
                  <a:gd name="T30" fmla="*/ 12364 w 302"/>
                  <a:gd name="T31" fmla="*/ 6074 h 473"/>
                  <a:gd name="T32" fmla="*/ 11394 w 302"/>
                  <a:gd name="T33" fmla="*/ 5922 h 473"/>
                  <a:gd name="T34" fmla="*/ 11715 w 302"/>
                  <a:gd name="T35" fmla="*/ 5370 h 473"/>
                  <a:gd name="T36" fmla="*/ 11109 w 302"/>
                  <a:gd name="T37" fmla="*/ 5056 h 473"/>
                  <a:gd name="T38" fmla="*/ 9816 w 302"/>
                  <a:gd name="T39" fmla="*/ 5370 h 473"/>
                  <a:gd name="T40" fmla="*/ 9144 w 302"/>
                  <a:gd name="T41" fmla="*/ 4916 h 473"/>
                  <a:gd name="T42" fmla="*/ 8282 w 302"/>
                  <a:gd name="T43" fmla="*/ 5202 h 473"/>
                  <a:gd name="T44" fmla="*/ 7920 w 302"/>
                  <a:gd name="T45" fmla="*/ 4361 h 473"/>
                  <a:gd name="T46" fmla="*/ 8546 w 302"/>
                  <a:gd name="T47" fmla="*/ 3619 h 473"/>
                  <a:gd name="T48" fmla="*/ 8861 w 302"/>
                  <a:gd name="T49" fmla="*/ 3318 h 473"/>
                  <a:gd name="T50" fmla="*/ 12364 w 302"/>
                  <a:gd name="T51" fmla="*/ 2494 h 473"/>
                  <a:gd name="T52" fmla="*/ 11715 w 302"/>
                  <a:gd name="T53" fmla="*/ 2321 h 473"/>
                  <a:gd name="T54" fmla="*/ 12003 w 302"/>
                  <a:gd name="T55" fmla="*/ 1483 h 473"/>
                  <a:gd name="T56" fmla="*/ 10741 w 302"/>
                  <a:gd name="T57" fmla="*/ 1172 h 473"/>
                  <a:gd name="T58" fmla="*/ 8546 w 302"/>
                  <a:gd name="T59" fmla="*/ 1020 h 473"/>
                  <a:gd name="T60" fmla="*/ 7307 w 302"/>
                  <a:gd name="T61" fmla="*/ 1 h 473"/>
                  <a:gd name="T62" fmla="*/ 6422 w 302"/>
                  <a:gd name="T63" fmla="*/ 0 h 473"/>
                  <a:gd name="T64" fmla="*/ 5671 w 302"/>
                  <a:gd name="T65" fmla="*/ 1020 h 473"/>
                  <a:gd name="T66" fmla="*/ 4454 w 302"/>
                  <a:gd name="T67" fmla="*/ 1307 h 473"/>
                  <a:gd name="T68" fmla="*/ 4302 w 302"/>
                  <a:gd name="T69" fmla="*/ 1607 h 473"/>
                  <a:gd name="T70" fmla="*/ 2207 w 302"/>
                  <a:gd name="T71" fmla="*/ 2321 h 473"/>
                  <a:gd name="T72" fmla="*/ 1607 w 302"/>
                  <a:gd name="T73" fmla="*/ 1749 h 473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302"/>
                  <a:gd name="T112" fmla="*/ 0 h 473"/>
                  <a:gd name="T113" fmla="*/ 302 w 302"/>
                  <a:gd name="T114" fmla="*/ 473 h 473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302" h="473">
                    <a:moveTo>
                      <a:pt x="35" y="87"/>
                    </a:moveTo>
                    <a:lnTo>
                      <a:pt x="0" y="108"/>
                    </a:lnTo>
                    <a:lnTo>
                      <a:pt x="0" y="151"/>
                    </a:lnTo>
                    <a:lnTo>
                      <a:pt x="35" y="180"/>
                    </a:lnTo>
                    <a:lnTo>
                      <a:pt x="42" y="208"/>
                    </a:lnTo>
                    <a:lnTo>
                      <a:pt x="56" y="216"/>
                    </a:lnTo>
                    <a:lnTo>
                      <a:pt x="63" y="273"/>
                    </a:lnTo>
                    <a:lnTo>
                      <a:pt x="105" y="316"/>
                    </a:lnTo>
                    <a:lnTo>
                      <a:pt x="105" y="351"/>
                    </a:lnTo>
                    <a:lnTo>
                      <a:pt x="155" y="416"/>
                    </a:lnTo>
                    <a:lnTo>
                      <a:pt x="225" y="437"/>
                    </a:lnTo>
                    <a:lnTo>
                      <a:pt x="239" y="473"/>
                    </a:lnTo>
                    <a:lnTo>
                      <a:pt x="281" y="437"/>
                    </a:lnTo>
                    <a:lnTo>
                      <a:pt x="281" y="401"/>
                    </a:lnTo>
                    <a:lnTo>
                      <a:pt x="302" y="366"/>
                    </a:lnTo>
                    <a:lnTo>
                      <a:pt x="274" y="301"/>
                    </a:lnTo>
                    <a:lnTo>
                      <a:pt x="253" y="294"/>
                    </a:lnTo>
                    <a:lnTo>
                      <a:pt x="260" y="266"/>
                    </a:lnTo>
                    <a:lnTo>
                      <a:pt x="246" y="251"/>
                    </a:lnTo>
                    <a:lnTo>
                      <a:pt x="218" y="266"/>
                    </a:lnTo>
                    <a:lnTo>
                      <a:pt x="204" y="244"/>
                    </a:lnTo>
                    <a:lnTo>
                      <a:pt x="183" y="258"/>
                    </a:lnTo>
                    <a:lnTo>
                      <a:pt x="176" y="216"/>
                    </a:lnTo>
                    <a:lnTo>
                      <a:pt x="190" y="180"/>
                    </a:lnTo>
                    <a:lnTo>
                      <a:pt x="197" y="165"/>
                    </a:lnTo>
                    <a:lnTo>
                      <a:pt x="274" y="123"/>
                    </a:lnTo>
                    <a:lnTo>
                      <a:pt x="260" y="115"/>
                    </a:lnTo>
                    <a:lnTo>
                      <a:pt x="267" y="73"/>
                    </a:lnTo>
                    <a:lnTo>
                      <a:pt x="239" y="58"/>
                    </a:lnTo>
                    <a:lnTo>
                      <a:pt x="190" y="51"/>
                    </a:lnTo>
                    <a:lnTo>
                      <a:pt x="162" y="1"/>
                    </a:lnTo>
                    <a:lnTo>
                      <a:pt x="142" y="0"/>
                    </a:lnTo>
                    <a:lnTo>
                      <a:pt x="126" y="51"/>
                    </a:lnTo>
                    <a:lnTo>
                      <a:pt x="98" y="65"/>
                    </a:lnTo>
                    <a:lnTo>
                      <a:pt x="95" y="79"/>
                    </a:lnTo>
                    <a:lnTo>
                      <a:pt x="49" y="115"/>
                    </a:lnTo>
                    <a:lnTo>
                      <a:pt x="35" y="87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643878"/>
                  </a:gs>
                  <a:gs pos="100000">
                    <a:srgbClr val="2E1A38"/>
                  </a:gs>
                </a:gsLst>
                <a:lin ang="5400000" scaled="1"/>
              </a:gra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lIns="87819" tIns="43910" rIns="87819" bIns="43910"/>
              <a:lstStyle/>
              <a:p>
                <a:endParaRPr lang="en-US"/>
              </a:p>
            </p:txBody>
          </p:sp>
          <p:sp>
            <p:nvSpPr>
              <p:cNvPr id="6163" name="Freeform 17"/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auto">
              <a:xfrm rot="-434746">
                <a:off x="3639" y="3077"/>
                <a:ext cx="153" cy="159"/>
              </a:xfrm>
              <a:custGeom>
                <a:avLst/>
                <a:gdLst>
                  <a:gd name="T0" fmla="*/ 84189024 w 72"/>
                  <a:gd name="T1" fmla="*/ 0 h 76"/>
                  <a:gd name="T2" fmla="*/ 127875834 w 72"/>
                  <a:gd name="T3" fmla="*/ 21108549 h 76"/>
                  <a:gd name="T4" fmla="*/ 127875834 w 72"/>
                  <a:gd name="T5" fmla="*/ 51816872 h 76"/>
                  <a:gd name="T6" fmla="*/ 169368884 w 72"/>
                  <a:gd name="T7" fmla="*/ 51816872 h 76"/>
                  <a:gd name="T8" fmla="*/ 225614907 w 72"/>
                  <a:gd name="T9" fmla="*/ 82533082 h 76"/>
                  <a:gd name="T10" fmla="*/ 210879815 w 72"/>
                  <a:gd name="T11" fmla="*/ 103695162 h 76"/>
                  <a:gd name="T12" fmla="*/ 253761182 w 72"/>
                  <a:gd name="T13" fmla="*/ 144547281 h 76"/>
                  <a:gd name="T14" fmla="*/ 182578636 w 72"/>
                  <a:gd name="T15" fmla="*/ 196370893 h 76"/>
                  <a:gd name="T16" fmla="*/ 69489281 w 72"/>
                  <a:gd name="T17" fmla="*/ 186231325 h 76"/>
                  <a:gd name="T18" fmla="*/ 0 w 72"/>
                  <a:gd name="T19" fmla="*/ 155563456 h 76"/>
                  <a:gd name="T20" fmla="*/ 14735169 w 72"/>
                  <a:gd name="T21" fmla="*/ 72501450 h 76"/>
                  <a:gd name="T22" fmla="*/ 84189024 w 72"/>
                  <a:gd name="T23" fmla="*/ 0 h 7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72"/>
                  <a:gd name="T37" fmla="*/ 0 h 76"/>
                  <a:gd name="T38" fmla="*/ 72 w 72"/>
                  <a:gd name="T39" fmla="*/ 76 h 7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72" h="76">
                    <a:moveTo>
                      <a:pt x="24" y="0"/>
                    </a:moveTo>
                    <a:lnTo>
                      <a:pt x="36" y="8"/>
                    </a:lnTo>
                    <a:lnTo>
                      <a:pt x="36" y="20"/>
                    </a:lnTo>
                    <a:lnTo>
                      <a:pt x="48" y="20"/>
                    </a:lnTo>
                    <a:lnTo>
                      <a:pt x="64" y="32"/>
                    </a:lnTo>
                    <a:lnTo>
                      <a:pt x="60" y="40"/>
                    </a:lnTo>
                    <a:lnTo>
                      <a:pt x="72" y="56"/>
                    </a:lnTo>
                    <a:lnTo>
                      <a:pt x="52" y="76"/>
                    </a:lnTo>
                    <a:lnTo>
                      <a:pt x="20" y="72"/>
                    </a:lnTo>
                    <a:lnTo>
                      <a:pt x="0" y="60"/>
                    </a:lnTo>
                    <a:lnTo>
                      <a:pt x="4" y="28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DDDDDD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lIns="87819" tIns="43910" rIns="87819" bIns="43910"/>
              <a:lstStyle/>
              <a:p>
                <a:endParaRPr lang="en-US"/>
              </a:p>
            </p:txBody>
          </p:sp>
          <p:sp>
            <p:nvSpPr>
              <p:cNvPr id="6164" name="Freeform 18"/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auto">
              <a:xfrm rot="-434746">
                <a:off x="3638" y="3072"/>
                <a:ext cx="153" cy="164"/>
              </a:xfrm>
              <a:custGeom>
                <a:avLst/>
                <a:gdLst>
                  <a:gd name="T0" fmla="*/ 2312 w 126"/>
                  <a:gd name="T1" fmla="*/ 0 h 140"/>
                  <a:gd name="T2" fmla="*/ 3066 w 126"/>
                  <a:gd name="T3" fmla="*/ 428 h 140"/>
                  <a:gd name="T4" fmla="*/ 3066 w 126"/>
                  <a:gd name="T5" fmla="*/ 944 h 140"/>
                  <a:gd name="T6" fmla="*/ 4095 w 126"/>
                  <a:gd name="T7" fmla="*/ 944 h 140"/>
                  <a:gd name="T8" fmla="*/ 5429 w 126"/>
                  <a:gd name="T9" fmla="*/ 1442 h 140"/>
                  <a:gd name="T10" fmla="*/ 5087 w 126"/>
                  <a:gd name="T11" fmla="*/ 1806 h 140"/>
                  <a:gd name="T12" fmla="*/ 6126 w 126"/>
                  <a:gd name="T13" fmla="*/ 2479 h 140"/>
                  <a:gd name="T14" fmla="*/ 4461 w 126"/>
                  <a:gd name="T15" fmla="*/ 3319 h 140"/>
                  <a:gd name="T16" fmla="*/ 1728 w 126"/>
                  <a:gd name="T17" fmla="*/ 3151 h 140"/>
                  <a:gd name="T18" fmla="*/ 0 w 126"/>
                  <a:gd name="T19" fmla="*/ 2635 h 140"/>
                  <a:gd name="T20" fmla="*/ 287 w 126"/>
                  <a:gd name="T21" fmla="*/ 1196 h 140"/>
                  <a:gd name="T22" fmla="*/ 2050 w 126"/>
                  <a:gd name="T23" fmla="*/ 0 h 140"/>
                  <a:gd name="T24" fmla="*/ 2050 w 126"/>
                  <a:gd name="T25" fmla="*/ 103 h 14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26"/>
                  <a:gd name="T40" fmla="*/ 0 h 140"/>
                  <a:gd name="T41" fmla="*/ 126 w 126"/>
                  <a:gd name="T42" fmla="*/ 140 h 140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26" h="140">
                    <a:moveTo>
                      <a:pt x="48" y="0"/>
                    </a:moveTo>
                    <a:lnTo>
                      <a:pt x="63" y="18"/>
                    </a:lnTo>
                    <a:lnTo>
                      <a:pt x="63" y="40"/>
                    </a:lnTo>
                    <a:lnTo>
                      <a:pt x="84" y="40"/>
                    </a:lnTo>
                    <a:lnTo>
                      <a:pt x="112" y="61"/>
                    </a:lnTo>
                    <a:lnTo>
                      <a:pt x="105" y="76"/>
                    </a:lnTo>
                    <a:lnTo>
                      <a:pt x="126" y="104"/>
                    </a:lnTo>
                    <a:lnTo>
                      <a:pt x="91" y="140"/>
                    </a:lnTo>
                    <a:lnTo>
                      <a:pt x="35" y="133"/>
                    </a:lnTo>
                    <a:lnTo>
                      <a:pt x="0" y="111"/>
                    </a:lnTo>
                    <a:lnTo>
                      <a:pt x="6" y="51"/>
                    </a:lnTo>
                    <a:lnTo>
                      <a:pt x="42" y="0"/>
                    </a:lnTo>
                    <a:lnTo>
                      <a:pt x="42" y="4"/>
                    </a:lnTo>
                  </a:path>
                </a:pathLst>
              </a:custGeom>
              <a:gradFill rotWithShape="1">
                <a:gsLst>
                  <a:gs pos="0">
                    <a:srgbClr val="DDDDDD">
                      <a:alpha val="39998"/>
                    </a:srgbClr>
                  </a:gs>
                  <a:gs pos="100000">
                    <a:srgbClr val="666666">
                      <a:alpha val="39998"/>
                    </a:srgbClr>
                  </a:gs>
                </a:gsLst>
                <a:lin ang="5400000" scaled="1"/>
              </a:gra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lIns="87819" tIns="43910" rIns="87819" bIns="43910"/>
              <a:lstStyle/>
              <a:p>
                <a:endParaRPr lang="en-US"/>
              </a:p>
            </p:txBody>
          </p:sp>
          <p:sp>
            <p:nvSpPr>
              <p:cNvPr id="6165" name="Freeform 19"/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 bwMode="auto">
              <a:xfrm rot="-434746">
                <a:off x="3537" y="2787"/>
                <a:ext cx="230" cy="244"/>
              </a:xfrm>
              <a:custGeom>
                <a:avLst/>
                <a:gdLst>
                  <a:gd name="T0" fmla="*/ 6029 w 189"/>
                  <a:gd name="T1" fmla="*/ 538 h 208"/>
                  <a:gd name="T2" fmla="*/ 5684 w 189"/>
                  <a:gd name="T3" fmla="*/ 1401 h 208"/>
                  <a:gd name="T4" fmla="*/ 6029 w 189"/>
                  <a:gd name="T5" fmla="*/ 1927 h 208"/>
                  <a:gd name="T6" fmla="*/ 7101 w 189"/>
                  <a:gd name="T7" fmla="*/ 1763 h 208"/>
                  <a:gd name="T8" fmla="*/ 8859 w 189"/>
                  <a:gd name="T9" fmla="*/ 2428 h 208"/>
                  <a:gd name="T10" fmla="*/ 8859 w 189"/>
                  <a:gd name="T11" fmla="*/ 2968 h 208"/>
                  <a:gd name="T12" fmla="*/ 9597 w 189"/>
                  <a:gd name="T13" fmla="*/ 3339 h 208"/>
                  <a:gd name="T14" fmla="*/ 9597 w 189"/>
                  <a:gd name="T15" fmla="*/ 4039 h 208"/>
                  <a:gd name="T16" fmla="*/ 8859 w 189"/>
                  <a:gd name="T17" fmla="*/ 4039 h 208"/>
                  <a:gd name="T18" fmla="*/ 8180 w 189"/>
                  <a:gd name="T19" fmla="*/ 4521 h 208"/>
                  <a:gd name="T20" fmla="*/ 6029 w 189"/>
                  <a:gd name="T21" fmla="*/ 5063 h 208"/>
                  <a:gd name="T22" fmla="*/ 3911 w 189"/>
                  <a:gd name="T23" fmla="*/ 4893 h 208"/>
                  <a:gd name="T24" fmla="*/ 3511 w 189"/>
                  <a:gd name="T25" fmla="*/ 4521 h 208"/>
                  <a:gd name="T26" fmla="*/ 4954 w 189"/>
                  <a:gd name="T27" fmla="*/ 3679 h 208"/>
                  <a:gd name="T28" fmla="*/ 3763 w 189"/>
                  <a:gd name="T29" fmla="*/ 3070 h 208"/>
                  <a:gd name="T30" fmla="*/ 2861 w 189"/>
                  <a:gd name="T31" fmla="*/ 2968 h 208"/>
                  <a:gd name="T32" fmla="*/ 2479 w 189"/>
                  <a:gd name="T33" fmla="*/ 2428 h 208"/>
                  <a:gd name="T34" fmla="*/ 887 w 189"/>
                  <a:gd name="T35" fmla="*/ 2502 h 208"/>
                  <a:gd name="T36" fmla="*/ 0 w 189"/>
                  <a:gd name="T37" fmla="*/ 1218 h 208"/>
                  <a:gd name="T38" fmla="*/ 729 w 189"/>
                  <a:gd name="T39" fmla="*/ 333 h 208"/>
                  <a:gd name="T40" fmla="*/ 2861 w 189"/>
                  <a:gd name="T41" fmla="*/ 0 h 208"/>
                  <a:gd name="T42" fmla="*/ 5341 w 189"/>
                  <a:gd name="T43" fmla="*/ 0 h 208"/>
                  <a:gd name="T44" fmla="*/ 5341 w 189"/>
                  <a:gd name="T45" fmla="*/ 333 h 208"/>
                  <a:gd name="T46" fmla="*/ 6029 w 189"/>
                  <a:gd name="T47" fmla="*/ 538 h 208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89"/>
                  <a:gd name="T73" fmla="*/ 0 h 208"/>
                  <a:gd name="T74" fmla="*/ 189 w 189"/>
                  <a:gd name="T75" fmla="*/ 208 h 208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89" h="208">
                    <a:moveTo>
                      <a:pt x="119" y="22"/>
                    </a:moveTo>
                    <a:lnTo>
                      <a:pt x="112" y="57"/>
                    </a:lnTo>
                    <a:lnTo>
                      <a:pt x="119" y="79"/>
                    </a:lnTo>
                    <a:lnTo>
                      <a:pt x="140" y="72"/>
                    </a:lnTo>
                    <a:lnTo>
                      <a:pt x="175" y="100"/>
                    </a:lnTo>
                    <a:lnTo>
                      <a:pt x="175" y="122"/>
                    </a:lnTo>
                    <a:lnTo>
                      <a:pt x="189" y="136"/>
                    </a:lnTo>
                    <a:lnTo>
                      <a:pt x="189" y="165"/>
                    </a:lnTo>
                    <a:lnTo>
                      <a:pt x="175" y="165"/>
                    </a:lnTo>
                    <a:lnTo>
                      <a:pt x="161" y="186"/>
                    </a:lnTo>
                    <a:lnTo>
                      <a:pt x="119" y="208"/>
                    </a:lnTo>
                    <a:lnTo>
                      <a:pt x="77" y="201"/>
                    </a:lnTo>
                    <a:lnTo>
                      <a:pt x="70" y="186"/>
                    </a:lnTo>
                    <a:lnTo>
                      <a:pt x="98" y="151"/>
                    </a:lnTo>
                    <a:lnTo>
                      <a:pt x="74" y="126"/>
                    </a:lnTo>
                    <a:lnTo>
                      <a:pt x="56" y="122"/>
                    </a:lnTo>
                    <a:lnTo>
                      <a:pt x="49" y="100"/>
                    </a:lnTo>
                    <a:lnTo>
                      <a:pt x="17" y="102"/>
                    </a:lnTo>
                    <a:lnTo>
                      <a:pt x="0" y="50"/>
                    </a:lnTo>
                    <a:lnTo>
                      <a:pt x="14" y="14"/>
                    </a:lnTo>
                    <a:lnTo>
                      <a:pt x="56" y="0"/>
                    </a:lnTo>
                    <a:lnTo>
                      <a:pt x="105" y="0"/>
                    </a:lnTo>
                    <a:lnTo>
                      <a:pt x="105" y="14"/>
                    </a:lnTo>
                    <a:lnTo>
                      <a:pt x="119" y="22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DDDDD">
                      <a:alpha val="39998"/>
                    </a:srgbClr>
                  </a:gs>
                  <a:gs pos="100000">
                    <a:srgbClr val="666666">
                      <a:alpha val="39998"/>
                    </a:srgbClr>
                  </a:gs>
                </a:gsLst>
                <a:lin ang="5400000" scaled="1"/>
              </a:gra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lIns="87819" tIns="43910" rIns="87819" bIns="43910"/>
              <a:lstStyle/>
              <a:p>
                <a:endParaRPr lang="en-US"/>
              </a:p>
            </p:txBody>
          </p:sp>
          <p:sp>
            <p:nvSpPr>
              <p:cNvPr id="6166" name="Freeform 20"/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auto">
              <a:xfrm rot="-434746">
                <a:off x="3563" y="1995"/>
                <a:ext cx="153" cy="201"/>
              </a:xfrm>
              <a:custGeom>
                <a:avLst/>
                <a:gdLst>
                  <a:gd name="T0" fmla="*/ 2406 w 126"/>
                  <a:gd name="T1" fmla="*/ 0 h 171"/>
                  <a:gd name="T2" fmla="*/ 1360 w 126"/>
                  <a:gd name="T3" fmla="*/ 0 h 171"/>
                  <a:gd name="T4" fmla="*/ 713 w 126"/>
                  <a:gd name="T5" fmla="*/ 170 h 171"/>
                  <a:gd name="T6" fmla="*/ 1052 w 126"/>
                  <a:gd name="T7" fmla="*/ 527 h 171"/>
                  <a:gd name="T8" fmla="*/ 349 w 126"/>
                  <a:gd name="T9" fmla="*/ 899 h 171"/>
                  <a:gd name="T10" fmla="*/ 0 w 126"/>
                  <a:gd name="T11" fmla="*/ 899 h 171"/>
                  <a:gd name="T12" fmla="*/ 349 w 126"/>
                  <a:gd name="T13" fmla="*/ 1436 h 171"/>
                  <a:gd name="T14" fmla="*/ 1360 w 126"/>
                  <a:gd name="T15" fmla="*/ 1803 h 171"/>
                  <a:gd name="T16" fmla="*/ 1052 w 126"/>
                  <a:gd name="T17" fmla="*/ 2189 h 171"/>
                  <a:gd name="T18" fmla="*/ 1728 w 126"/>
                  <a:gd name="T19" fmla="*/ 2332 h 171"/>
                  <a:gd name="T20" fmla="*/ 1728 w 126"/>
                  <a:gd name="T21" fmla="*/ 3993 h 171"/>
                  <a:gd name="T22" fmla="*/ 2050 w 126"/>
                  <a:gd name="T23" fmla="*/ 4326 h 171"/>
                  <a:gd name="T24" fmla="*/ 5540 w 126"/>
                  <a:gd name="T25" fmla="*/ 4094 h 171"/>
                  <a:gd name="T26" fmla="*/ 5087 w 126"/>
                  <a:gd name="T27" fmla="*/ 3442 h 171"/>
                  <a:gd name="T28" fmla="*/ 4095 w 126"/>
                  <a:gd name="T29" fmla="*/ 3047 h 171"/>
                  <a:gd name="T30" fmla="*/ 4095 w 126"/>
                  <a:gd name="T31" fmla="*/ 2332 h 171"/>
                  <a:gd name="T32" fmla="*/ 6126 w 126"/>
                  <a:gd name="T33" fmla="*/ 1436 h 171"/>
                  <a:gd name="T34" fmla="*/ 4095 w 126"/>
                  <a:gd name="T35" fmla="*/ 1436 h 171"/>
                  <a:gd name="T36" fmla="*/ 2406 w 126"/>
                  <a:gd name="T37" fmla="*/ 0 h 171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26"/>
                  <a:gd name="T58" fmla="*/ 0 h 171"/>
                  <a:gd name="T59" fmla="*/ 126 w 126"/>
                  <a:gd name="T60" fmla="*/ 171 h 171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26" h="171">
                    <a:moveTo>
                      <a:pt x="49" y="0"/>
                    </a:moveTo>
                    <a:lnTo>
                      <a:pt x="28" y="0"/>
                    </a:lnTo>
                    <a:lnTo>
                      <a:pt x="14" y="7"/>
                    </a:lnTo>
                    <a:lnTo>
                      <a:pt x="21" y="21"/>
                    </a:lnTo>
                    <a:lnTo>
                      <a:pt x="7" y="36"/>
                    </a:lnTo>
                    <a:lnTo>
                      <a:pt x="0" y="36"/>
                    </a:lnTo>
                    <a:lnTo>
                      <a:pt x="7" y="57"/>
                    </a:lnTo>
                    <a:lnTo>
                      <a:pt x="28" y="71"/>
                    </a:lnTo>
                    <a:lnTo>
                      <a:pt x="21" y="86"/>
                    </a:lnTo>
                    <a:lnTo>
                      <a:pt x="35" y="93"/>
                    </a:lnTo>
                    <a:lnTo>
                      <a:pt x="35" y="157"/>
                    </a:lnTo>
                    <a:lnTo>
                      <a:pt x="42" y="171"/>
                    </a:lnTo>
                    <a:lnTo>
                      <a:pt x="114" y="162"/>
                    </a:lnTo>
                    <a:lnTo>
                      <a:pt x="105" y="135"/>
                    </a:lnTo>
                    <a:lnTo>
                      <a:pt x="84" y="121"/>
                    </a:lnTo>
                    <a:lnTo>
                      <a:pt x="84" y="93"/>
                    </a:lnTo>
                    <a:lnTo>
                      <a:pt x="126" y="57"/>
                    </a:lnTo>
                    <a:lnTo>
                      <a:pt x="84" y="57"/>
                    </a:lnTo>
                    <a:lnTo>
                      <a:pt x="49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DDDDD">
                      <a:alpha val="39998"/>
                    </a:srgbClr>
                  </a:gs>
                  <a:gs pos="100000">
                    <a:srgbClr val="666666">
                      <a:alpha val="39998"/>
                    </a:srgbClr>
                  </a:gs>
                </a:gsLst>
                <a:lin ang="5400000" scaled="1"/>
              </a:gra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lIns="87819" tIns="43910" rIns="87819" bIns="43910"/>
              <a:lstStyle/>
              <a:p>
                <a:endParaRPr lang="en-US"/>
              </a:p>
            </p:txBody>
          </p:sp>
          <p:sp>
            <p:nvSpPr>
              <p:cNvPr id="6167" name="Freeform 21"/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auto">
              <a:xfrm rot="-434746">
                <a:off x="3668" y="2053"/>
                <a:ext cx="129" cy="118"/>
              </a:xfrm>
              <a:custGeom>
                <a:avLst/>
                <a:gdLst>
                  <a:gd name="T0" fmla="*/ 2603 w 105"/>
                  <a:gd name="T1" fmla="*/ 0 h 101"/>
                  <a:gd name="T2" fmla="*/ 0 w 105"/>
                  <a:gd name="T3" fmla="*/ 789 h 101"/>
                  <a:gd name="T4" fmla="*/ 0 w 105"/>
                  <a:gd name="T5" fmla="*/ 1414 h 101"/>
                  <a:gd name="T6" fmla="*/ 1275 w 105"/>
                  <a:gd name="T7" fmla="*/ 1735 h 101"/>
                  <a:gd name="T8" fmla="*/ 1848 w 105"/>
                  <a:gd name="T9" fmla="*/ 2264 h 101"/>
                  <a:gd name="T10" fmla="*/ 3321 w 105"/>
                  <a:gd name="T11" fmla="*/ 2188 h 101"/>
                  <a:gd name="T12" fmla="*/ 3879 w 105"/>
                  <a:gd name="T13" fmla="*/ 2188 h 101"/>
                  <a:gd name="T14" fmla="*/ 5891 w 105"/>
                  <a:gd name="T15" fmla="*/ 2240 h 101"/>
                  <a:gd name="T16" fmla="*/ 6409 w 105"/>
                  <a:gd name="T17" fmla="*/ 1414 h 101"/>
                  <a:gd name="T18" fmla="*/ 5989 w 105"/>
                  <a:gd name="T19" fmla="*/ 1089 h 101"/>
                  <a:gd name="T20" fmla="*/ 6409 w 105"/>
                  <a:gd name="T21" fmla="*/ 650 h 101"/>
                  <a:gd name="T22" fmla="*/ 5171 w 105"/>
                  <a:gd name="T23" fmla="*/ 650 h 101"/>
                  <a:gd name="T24" fmla="*/ 3451 w 105"/>
                  <a:gd name="T25" fmla="*/ 0 h 101"/>
                  <a:gd name="T26" fmla="*/ 2603 w 105"/>
                  <a:gd name="T27" fmla="*/ 0 h 10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05"/>
                  <a:gd name="T43" fmla="*/ 0 h 101"/>
                  <a:gd name="T44" fmla="*/ 105 w 105"/>
                  <a:gd name="T45" fmla="*/ 101 h 101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05" h="101">
                    <a:moveTo>
                      <a:pt x="42" y="0"/>
                    </a:moveTo>
                    <a:lnTo>
                      <a:pt x="0" y="35"/>
                    </a:lnTo>
                    <a:lnTo>
                      <a:pt x="0" y="63"/>
                    </a:lnTo>
                    <a:lnTo>
                      <a:pt x="21" y="77"/>
                    </a:lnTo>
                    <a:lnTo>
                      <a:pt x="30" y="101"/>
                    </a:lnTo>
                    <a:lnTo>
                      <a:pt x="54" y="98"/>
                    </a:lnTo>
                    <a:lnTo>
                      <a:pt x="63" y="98"/>
                    </a:lnTo>
                    <a:lnTo>
                      <a:pt x="96" y="99"/>
                    </a:lnTo>
                    <a:lnTo>
                      <a:pt x="105" y="63"/>
                    </a:lnTo>
                    <a:lnTo>
                      <a:pt x="98" y="49"/>
                    </a:lnTo>
                    <a:lnTo>
                      <a:pt x="105" y="28"/>
                    </a:lnTo>
                    <a:lnTo>
                      <a:pt x="84" y="28"/>
                    </a:lnTo>
                    <a:lnTo>
                      <a:pt x="56" y="0"/>
                    </a:lnTo>
                    <a:lnTo>
                      <a:pt x="42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DDDDD">
                      <a:alpha val="39998"/>
                    </a:srgbClr>
                  </a:gs>
                  <a:gs pos="100000">
                    <a:srgbClr val="666666">
                      <a:alpha val="39998"/>
                    </a:srgbClr>
                  </a:gs>
                </a:gsLst>
                <a:lin ang="5400000" scaled="1"/>
              </a:gra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lIns="87819" tIns="43910" rIns="87819" bIns="43910"/>
              <a:lstStyle/>
              <a:p>
                <a:endParaRPr lang="en-US"/>
              </a:p>
            </p:txBody>
          </p:sp>
          <p:sp>
            <p:nvSpPr>
              <p:cNvPr id="6168" name="Freeform 22"/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auto">
              <a:xfrm rot="-434746">
                <a:off x="3779" y="2072"/>
                <a:ext cx="80" cy="102"/>
              </a:xfrm>
              <a:custGeom>
                <a:avLst/>
                <a:gdLst>
                  <a:gd name="T0" fmla="*/ 928 w 65"/>
                  <a:gd name="T1" fmla="*/ 0 h 86"/>
                  <a:gd name="T2" fmla="*/ 478 w 65"/>
                  <a:gd name="T3" fmla="*/ 678 h 86"/>
                  <a:gd name="T4" fmla="*/ 928 w 65"/>
                  <a:gd name="T5" fmla="*/ 1095 h 86"/>
                  <a:gd name="T6" fmla="*/ 0 w 65"/>
                  <a:gd name="T7" fmla="*/ 2169 h 86"/>
                  <a:gd name="T8" fmla="*/ 928 w 65"/>
                  <a:gd name="T9" fmla="*/ 2628 h 86"/>
                  <a:gd name="T10" fmla="*/ 1826 w 65"/>
                  <a:gd name="T11" fmla="*/ 2628 h 86"/>
                  <a:gd name="T12" fmla="*/ 4123 w 65"/>
                  <a:gd name="T13" fmla="*/ 1273 h 86"/>
                  <a:gd name="T14" fmla="*/ 1826 w 65"/>
                  <a:gd name="T15" fmla="*/ 198 h 86"/>
                  <a:gd name="T16" fmla="*/ 928 w 65"/>
                  <a:gd name="T17" fmla="*/ 0 h 8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5"/>
                  <a:gd name="T28" fmla="*/ 0 h 86"/>
                  <a:gd name="T29" fmla="*/ 65 w 65"/>
                  <a:gd name="T30" fmla="*/ 86 h 8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5" h="86">
                    <a:moveTo>
                      <a:pt x="15" y="0"/>
                    </a:moveTo>
                    <a:lnTo>
                      <a:pt x="7" y="22"/>
                    </a:lnTo>
                    <a:lnTo>
                      <a:pt x="15" y="36"/>
                    </a:lnTo>
                    <a:lnTo>
                      <a:pt x="0" y="72"/>
                    </a:lnTo>
                    <a:lnTo>
                      <a:pt x="15" y="86"/>
                    </a:lnTo>
                    <a:lnTo>
                      <a:pt x="29" y="86"/>
                    </a:lnTo>
                    <a:lnTo>
                      <a:pt x="65" y="42"/>
                    </a:lnTo>
                    <a:lnTo>
                      <a:pt x="29" y="7"/>
                    </a:lnTo>
                    <a:lnTo>
                      <a:pt x="15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DDDDD">
                      <a:alpha val="39998"/>
                    </a:srgbClr>
                  </a:gs>
                  <a:gs pos="100000">
                    <a:srgbClr val="666666">
                      <a:alpha val="39998"/>
                    </a:srgbClr>
                  </a:gs>
                </a:gsLst>
                <a:lin ang="5400000" scaled="1"/>
              </a:gra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lIns="87819" tIns="43910" rIns="87819" bIns="43910"/>
              <a:lstStyle/>
              <a:p>
                <a:endParaRPr lang="en-US"/>
              </a:p>
            </p:txBody>
          </p:sp>
          <p:sp>
            <p:nvSpPr>
              <p:cNvPr id="6169" name="Freeform 23"/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auto">
              <a:xfrm rot="-434746">
                <a:off x="2819" y="1339"/>
                <a:ext cx="392" cy="161"/>
              </a:xfrm>
              <a:custGeom>
                <a:avLst/>
                <a:gdLst>
                  <a:gd name="T0" fmla="*/ 0 w 184"/>
                  <a:gd name="T1" fmla="*/ 65755393 h 76"/>
                  <a:gd name="T2" fmla="*/ 29519664 w 184"/>
                  <a:gd name="T3" fmla="*/ 26460062 h 76"/>
                  <a:gd name="T4" fmla="*/ 177158194 w 184"/>
                  <a:gd name="T5" fmla="*/ 0 h 76"/>
                  <a:gd name="T6" fmla="*/ 400521888 w 184"/>
                  <a:gd name="T7" fmla="*/ 65755393 h 76"/>
                  <a:gd name="T8" fmla="*/ 459288328 w 184"/>
                  <a:gd name="T9" fmla="*/ 132781202 h 76"/>
                  <a:gd name="T10" fmla="*/ 623867210 w 184"/>
                  <a:gd name="T11" fmla="*/ 159563509 h 76"/>
                  <a:gd name="T12" fmla="*/ 623867210 w 184"/>
                  <a:gd name="T13" fmla="*/ 186074864 h 76"/>
                  <a:gd name="T14" fmla="*/ 682516294 w 184"/>
                  <a:gd name="T15" fmla="*/ 225042514 h 76"/>
                  <a:gd name="T16" fmla="*/ 637706260 w 184"/>
                  <a:gd name="T17" fmla="*/ 251551859 h 76"/>
                  <a:gd name="T18" fmla="*/ 430043666 w 184"/>
                  <a:gd name="T19" fmla="*/ 239012275 h 76"/>
                  <a:gd name="T20" fmla="*/ 445385080 w 184"/>
                  <a:gd name="T21" fmla="*/ 186074864 h 76"/>
                  <a:gd name="T22" fmla="*/ 370998658 w 184"/>
                  <a:gd name="T23" fmla="*/ 132781202 h 76"/>
                  <a:gd name="T24" fmla="*/ 325445865 w 184"/>
                  <a:gd name="T25" fmla="*/ 118744950 h 76"/>
                  <a:gd name="T26" fmla="*/ 177158194 w 184"/>
                  <a:gd name="T27" fmla="*/ 65755393 h 76"/>
                  <a:gd name="T28" fmla="*/ 148012187 w 184"/>
                  <a:gd name="T29" fmla="*/ 38972944 h 76"/>
                  <a:gd name="T30" fmla="*/ 58766022 w 184"/>
                  <a:gd name="T31" fmla="*/ 65755393 h 76"/>
                  <a:gd name="T32" fmla="*/ 0 w 184"/>
                  <a:gd name="T33" fmla="*/ 65755393 h 7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84"/>
                  <a:gd name="T52" fmla="*/ 0 h 76"/>
                  <a:gd name="T53" fmla="*/ 184 w 184"/>
                  <a:gd name="T54" fmla="*/ 76 h 7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84" h="76">
                    <a:moveTo>
                      <a:pt x="0" y="20"/>
                    </a:moveTo>
                    <a:lnTo>
                      <a:pt x="8" y="8"/>
                    </a:lnTo>
                    <a:lnTo>
                      <a:pt x="48" y="0"/>
                    </a:lnTo>
                    <a:lnTo>
                      <a:pt x="108" y="20"/>
                    </a:lnTo>
                    <a:lnTo>
                      <a:pt x="124" y="40"/>
                    </a:lnTo>
                    <a:lnTo>
                      <a:pt x="168" y="48"/>
                    </a:lnTo>
                    <a:lnTo>
                      <a:pt x="168" y="56"/>
                    </a:lnTo>
                    <a:lnTo>
                      <a:pt x="184" y="68"/>
                    </a:lnTo>
                    <a:lnTo>
                      <a:pt x="172" y="76"/>
                    </a:lnTo>
                    <a:lnTo>
                      <a:pt x="116" y="72"/>
                    </a:lnTo>
                    <a:lnTo>
                      <a:pt x="120" y="56"/>
                    </a:lnTo>
                    <a:lnTo>
                      <a:pt x="100" y="40"/>
                    </a:lnTo>
                    <a:lnTo>
                      <a:pt x="88" y="36"/>
                    </a:lnTo>
                    <a:lnTo>
                      <a:pt x="48" y="20"/>
                    </a:lnTo>
                    <a:lnTo>
                      <a:pt x="40" y="12"/>
                    </a:lnTo>
                    <a:lnTo>
                      <a:pt x="16" y="20"/>
                    </a:lnTo>
                    <a:lnTo>
                      <a:pt x="0" y="2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DDDDD">
                      <a:alpha val="39998"/>
                    </a:srgbClr>
                  </a:gs>
                  <a:gs pos="100000">
                    <a:srgbClr val="666666">
                      <a:alpha val="39998"/>
                    </a:srgbClr>
                  </a:gs>
                </a:gsLst>
                <a:lin ang="5400000" scaled="1"/>
              </a:gra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lIns="87819" tIns="43910" rIns="87819" bIns="43910"/>
              <a:lstStyle/>
              <a:p>
                <a:endParaRPr lang="en-US"/>
              </a:p>
            </p:txBody>
          </p:sp>
          <p:sp>
            <p:nvSpPr>
              <p:cNvPr id="6170" name="Freeform 24"/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auto">
              <a:xfrm rot="-434746">
                <a:off x="3458" y="1523"/>
                <a:ext cx="77" cy="26"/>
              </a:xfrm>
              <a:custGeom>
                <a:avLst/>
                <a:gdLst>
                  <a:gd name="T0" fmla="*/ 0 w 36"/>
                  <a:gd name="T1" fmla="*/ 40833748 h 12"/>
                  <a:gd name="T2" fmla="*/ 16856804 w 36"/>
                  <a:gd name="T3" fmla="*/ 0 h 12"/>
                  <a:gd name="T4" fmla="*/ 95534779 w 36"/>
                  <a:gd name="T5" fmla="*/ 0 h 12"/>
                  <a:gd name="T6" fmla="*/ 144868429 w 36"/>
                  <a:gd name="T7" fmla="*/ 0 h 12"/>
                  <a:gd name="T8" fmla="*/ 144868429 w 36"/>
                  <a:gd name="T9" fmla="*/ 22008478 h 12"/>
                  <a:gd name="T10" fmla="*/ 80729925 w 36"/>
                  <a:gd name="T11" fmla="*/ 61851445 h 12"/>
                  <a:gd name="T12" fmla="*/ 49312772 w 36"/>
                  <a:gd name="T13" fmla="*/ 40833748 h 12"/>
                  <a:gd name="T14" fmla="*/ 0 w 36"/>
                  <a:gd name="T15" fmla="*/ 40833748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6"/>
                  <a:gd name="T25" fmla="*/ 0 h 12"/>
                  <a:gd name="T26" fmla="*/ 36 w 36"/>
                  <a:gd name="T27" fmla="*/ 12 h 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6" h="12">
                    <a:moveTo>
                      <a:pt x="0" y="8"/>
                    </a:moveTo>
                    <a:lnTo>
                      <a:pt x="4" y="0"/>
                    </a:lnTo>
                    <a:lnTo>
                      <a:pt x="24" y="0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20" y="12"/>
                    </a:lnTo>
                    <a:lnTo>
                      <a:pt x="12" y="8"/>
                    </a:lnTo>
                    <a:lnTo>
                      <a:pt x="0" y="8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DDDDD">
                      <a:alpha val="39998"/>
                    </a:srgbClr>
                  </a:gs>
                  <a:gs pos="100000">
                    <a:srgbClr val="666666">
                      <a:alpha val="39998"/>
                    </a:srgbClr>
                  </a:gs>
                </a:gsLst>
                <a:lin ang="5400000" scaled="1"/>
              </a:gra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lIns="87819" tIns="43910" rIns="87819" bIns="43910"/>
              <a:lstStyle/>
              <a:p>
                <a:endParaRPr lang="en-US"/>
              </a:p>
            </p:txBody>
          </p:sp>
          <p:sp>
            <p:nvSpPr>
              <p:cNvPr id="6171" name="Freeform 25"/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 bwMode="auto">
              <a:xfrm rot="-434746">
                <a:off x="3039" y="1533"/>
                <a:ext cx="95" cy="42"/>
              </a:xfrm>
              <a:custGeom>
                <a:avLst/>
                <a:gdLst>
                  <a:gd name="T0" fmla="*/ 0 w 44"/>
                  <a:gd name="T1" fmla="*/ 0 h 20"/>
                  <a:gd name="T2" fmla="*/ 96782314 w 44"/>
                  <a:gd name="T3" fmla="*/ 44768487 h 20"/>
                  <a:gd name="T4" fmla="*/ 135421757 w 44"/>
                  <a:gd name="T5" fmla="*/ 55669650 h 20"/>
                  <a:gd name="T6" fmla="*/ 213182135 w 44"/>
                  <a:gd name="T7" fmla="*/ 44768487 h 20"/>
                  <a:gd name="T8" fmla="*/ 213182135 w 44"/>
                  <a:gd name="T9" fmla="*/ 33321603 h 20"/>
                  <a:gd name="T10" fmla="*/ 135421757 w 44"/>
                  <a:gd name="T11" fmla="*/ 22904782 h 20"/>
                  <a:gd name="T12" fmla="*/ 96782314 w 44"/>
                  <a:gd name="T13" fmla="*/ 22904782 h 20"/>
                  <a:gd name="T14" fmla="*/ 58268494 w 44"/>
                  <a:gd name="T15" fmla="*/ 0 h 20"/>
                  <a:gd name="T16" fmla="*/ 0 w 44"/>
                  <a:gd name="T17" fmla="*/ 0 h 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4"/>
                  <a:gd name="T28" fmla="*/ 0 h 20"/>
                  <a:gd name="T29" fmla="*/ 44 w 44"/>
                  <a:gd name="T30" fmla="*/ 20 h 2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4" h="20">
                    <a:moveTo>
                      <a:pt x="0" y="0"/>
                    </a:moveTo>
                    <a:lnTo>
                      <a:pt x="20" y="16"/>
                    </a:lnTo>
                    <a:lnTo>
                      <a:pt x="28" y="20"/>
                    </a:lnTo>
                    <a:lnTo>
                      <a:pt x="44" y="16"/>
                    </a:lnTo>
                    <a:lnTo>
                      <a:pt x="44" y="12"/>
                    </a:lnTo>
                    <a:lnTo>
                      <a:pt x="28" y="8"/>
                    </a:lnTo>
                    <a:lnTo>
                      <a:pt x="20" y="8"/>
                    </a:lnTo>
                    <a:lnTo>
                      <a:pt x="12" y="0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DDDDD">
                      <a:alpha val="39998"/>
                    </a:srgbClr>
                  </a:gs>
                  <a:gs pos="100000">
                    <a:srgbClr val="666666">
                      <a:alpha val="39998"/>
                    </a:srgbClr>
                  </a:gs>
                </a:gsLst>
                <a:lin ang="5400000" scaled="1"/>
              </a:gra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lIns="87819" tIns="43910" rIns="87819" bIns="43910"/>
              <a:lstStyle/>
              <a:p>
                <a:endParaRPr lang="en-US"/>
              </a:p>
            </p:txBody>
          </p:sp>
          <p:sp>
            <p:nvSpPr>
              <p:cNvPr id="6172" name="Freeform 26"/>
              <p:cNvSpPr>
                <a:spLocks/>
              </p:cNvSpPr>
              <p:nvPr>
                <p:custDataLst>
                  <p:tags r:id="rId23"/>
                </p:custDataLst>
              </p:nvPr>
            </p:nvSpPr>
            <p:spPr bwMode="auto">
              <a:xfrm rot="-434746">
                <a:off x="3182" y="1483"/>
                <a:ext cx="143" cy="87"/>
              </a:xfrm>
              <a:custGeom>
                <a:avLst/>
                <a:gdLst>
                  <a:gd name="T0" fmla="*/ 4542 w 118"/>
                  <a:gd name="T1" fmla="*/ 0 h 73"/>
                  <a:gd name="T2" fmla="*/ 5504 w 118"/>
                  <a:gd name="T3" fmla="*/ 716 h 73"/>
                  <a:gd name="T4" fmla="*/ 5343 w 118"/>
                  <a:gd name="T5" fmla="*/ 1090 h 73"/>
                  <a:gd name="T6" fmla="*/ 5504 w 118"/>
                  <a:gd name="T7" fmla="*/ 2199 h 73"/>
                  <a:gd name="T8" fmla="*/ 4198 w 118"/>
                  <a:gd name="T9" fmla="*/ 2444 h 73"/>
                  <a:gd name="T10" fmla="*/ 2875 w 118"/>
                  <a:gd name="T11" fmla="*/ 1956 h 73"/>
                  <a:gd name="T12" fmla="*/ 1615 w 118"/>
                  <a:gd name="T13" fmla="*/ 1956 h 73"/>
                  <a:gd name="T14" fmla="*/ 0 w 118"/>
                  <a:gd name="T15" fmla="*/ 1465 h 73"/>
                  <a:gd name="T16" fmla="*/ 1615 w 118"/>
                  <a:gd name="T17" fmla="*/ 748 h 73"/>
                  <a:gd name="T18" fmla="*/ 2875 w 118"/>
                  <a:gd name="T19" fmla="*/ 1017 h 73"/>
                  <a:gd name="T20" fmla="*/ 3257 w 118"/>
                  <a:gd name="T21" fmla="*/ 748 h 73"/>
                  <a:gd name="T22" fmla="*/ 2282 w 118"/>
                  <a:gd name="T23" fmla="*/ 1 h 73"/>
                  <a:gd name="T24" fmla="*/ 3882 w 118"/>
                  <a:gd name="T25" fmla="*/ 293 h 73"/>
                  <a:gd name="T26" fmla="*/ 4542 w 118"/>
                  <a:gd name="T27" fmla="*/ 0 h 7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18"/>
                  <a:gd name="T43" fmla="*/ 0 h 73"/>
                  <a:gd name="T44" fmla="*/ 118 w 118"/>
                  <a:gd name="T45" fmla="*/ 73 h 73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18" h="73">
                    <a:moveTo>
                      <a:pt x="97" y="0"/>
                    </a:moveTo>
                    <a:lnTo>
                      <a:pt x="118" y="21"/>
                    </a:lnTo>
                    <a:lnTo>
                      <a:pt x="115" y="33"/>
                    </a:lnTo>
                    <a:lnTo>
                      <a:pt x="118" y="66"/>
                    </a:lnTo>
                    <a:lnTo>
                      <a:pt x="90" y="73"/>
                    </a:lnTo>
                    <a:lnTo>
                      <a:pt x="62" y="59"/>
                    </a:lnTo>
                    <a:lnTo>
                      <a:pt x="35" y="59"/>
                    </a:lnTo>
                    <a:lnTo>
                      <a:pt x="0" y="44"/>
                    </a:lnTo>
                    <a:lnTo>
                      <a:pt x="35" y="23"/>
                    </a:lnTo>
                    <a:lnTo>
                      <a:pt x="62" y="30"/>
                    </a:lnTo>
                    <a:lnTo>
                      <a:pt x="69" y="23"/>
                    </a:lnTo>
                    <a:lnTo>
                      <a:pt x="49" y="1"/>
                    </a:lnTo>
                    <a:lnTo>
                      <a:pt x="83" y="8"/>
                    </a:lnTo>
                    <a:lnTo>
                      <a:pt x="97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DDDDD">
                      <a:alpha val="39998"/>
                    </a:srgbClr>
                  </a:gs>
                  <a:gs pos="100000">
                    <a:srgbClr val="666666">
                      <a:alpha val="39998"/>
                    </a:srgbClr>
                  </a:gs>
                </a:gsLst>
                <a:lin ang="5400000" scaled="1"/>
              </a:gra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lIns="87819" tIns="43910" rIns="87819" bIns="43910"/>
              <a:lstStyle/>
              <a:p>
                <a:endParaRPr lang="en-US"/>
              </a:p>
            </p:txBody>
          </p:sp>
          <p:sp>
            <p:nvSpPr>
              <p:cNvPr id="6173" name="Freeform 27"/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 bwMode="auto">
              <a:xfrm rot="-434746">
                <a:off x="3302" y="1470"/>
                <a:ext cx="135" cy="86"/>
              </a:xfrm>
              <a:custGeom>
                <a:avLst/>
                <a:gdLst>
                  <a:gd name="T0" fmla="*/ 0 w 64"/>
                  <a:gd name="T1" fmla="*/ 0 h 40"/>
                  <a:gd name="T2" fmla="*/ 36253805 w 64"/>
                  <a:gd name="T3" fmla="*/ 0 h 40"/>
                  <a:gd name="T4" fmla="*/ 109241700 w 64"/>
                  <a:gd name="T5" fmla="*/ 18313214 h 40"/>
                  <a:gd name="T6" fmla="*/ 120911035 w 64"/>
                  <a:gd name="T7" fmla="*/ 70477991 h 40"/>
                  <a:gd name="T8" fmla="*/ 170047072 w 64"/>
                  <a:gd name="T9" fmla="*/ 70477991 h 40"/>
                  <a:gd name="T10" fmla="*/ 194830211 w 64"/>
                  <a:gd name="T11" fmla="*/ 142629327 h 40"/>
                  <a:gd name="T12" fmla="*/ 170047072 w 64"/>
                  <a:gd name="T13" fmla="*/ 160104035 h 40"/>
                  <a:gd name="T14" fmla="*/ 120911035 w 64"/>
                  <a:gd name="T15" fmla="*/ 124194213 h 40"/>
                  <a:gd name="T16" fmla="*/ 73919765 w 64"/>
                  <a:gd name="T17" fmla="*/ 178393745 h 40"/>
                  <a:gd name="T18" fmla="*/ 60967633 w 64"/>
                  <a:gd name="T19" fmla="*/ 160104035 h 40"/>
                  <a:gd name="T20" fmla="*/ 36253805 w 64"/>
                  <a:gd name="T21" fmla="*/ 160104035 h 40"/>
                  <a:gd name="T22" fmla="*/ 24551672 w 64"/>
                  <a:gd name="T23" fmla="*/ 70477991 h 40"/>
                  <a:gd name="T24" fmla="*/ 36253805 w 64"/>
                  <a:gd name="T25" fmla="*/ 53802681 h 40"/>
                  <a:gd name="T26" fmla="*/ 0 w 64"/>
                  <a:gd name="T27" fmla="*/ 0 h 4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64"/>
                  <a:gd name="T43" fmla="*/ 0 h 40"/>
                  <a:gd name="T44" fmla="*/ 64 w 64"/>
                  <a:gd name="T45" fmla="*/ 40 h 40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64" h="40">
                    <a:moveTo>
                      <a:pt x="0" y="0"/>
                    </a:moveTo>
                    <a:lnTo>
                      <a:pt x="12" y="0"/>
                    </a:lnTo>
                    <a:lnTo>
                      <a:pt x="36" y="4"/>
                    </a:lnTo>
                    <a:lnTo>
                      <a:pt x="40" y="16"/>
                    </a:lnTo>
                    <a:lnTo>
                      <a:pt x="56" y="16"/>
                    </a:lnTo>
                    <a:lnTo>
                      <a:pt x="64" y="32"/>
                    </a:lnTo>
                    <a:lnTo>
                      <a:pt x="56" y="36"/>
                    </a:lnTo>
                    <a:lnTo>
                      <a:pt x="40" y="28"/>
                    </a:lnTo>
                    <a:lnTo>
                      <a:pt x="24" y="40"/>
                    </a:lnTo>
                    <a:lnTo>
                      <a:pt x="20" y="36"/>
                    </a:lnTo>
                    <a:lnTo>
                      <a:pt x="12" y="36"/>
                    </a:lnTo>
                    <a:lnTo>
                      <a:pt x="8" y="16"/>
                    </a:lnTo>
                    <a:lnTo>
                      <a:pt x="12" y="12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DDDDD">
                      <a:alpha val="39998"/>
                    </a:srgbClr>
                  </a:gs>
                  <a:gs pos="100000">
                    <a:srgbClr val="666666">
                      <a:alpha val="39998"/>
                    </a:srgbClr>
                  </a:gs>
                </a:gsLst>
                <a:lin ang="5400000" scaled="1"/>
              </a:gra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lIns="87819" tIns="43910" rIns="87819" bIns="43910"/>
              <a:lstStyle/>
              <a:p>
                <a:endParaRPr lang="en-US"/>
              </a:p>
            </p:txBody>
          </p:sp>
          <p:sp>
            <p:nvSpPr>
              <p:cNvPr id="6174" name="Freeform 28"/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auto">
              <a:xfrm rot="-434746">
                <a:off x="2613" y="1562"/>
                <a:ext cx="64" cy="78"/>
              </a:xfrm>
              <a:custGeom>
                <a:avLst/>
                <a:gdLst>
                  <a:gd name="T0" fmla="*/ 3303 w 52"/>
                  <a:gd name="T1" fmla="*/ 182 h 66"/>
                  <a:gd name="T2" fmla="*/ 2414 w 52"/>
                  <a:gd name="T3" fmla="*/ 1216 h 66"/>
                  <a:gd name="T4" fmla="*/ 1593 w 52"/>
                  <a:gd name="T5" fmla="*/ 1873 h 66"/>
                  <a:gd name="T6" fmla="*/ 0 w 52"/>
                  <a:gd name="T7" fmla="*/ 1489 h 66"/>
                  <a:gd name="T8" fmla="*/ 1142 w 52"/>
                  <a:gd name="T9" fmla="*/ 812 h 66"/>
                  <a:gd name="T10" fmla="*/ 1142 w 52"/>
                  <a:gd name="T11" fmla="*/ 0 h 66"/>
                  <a:gd name="T12" fmla="*/ 1961 w 52"/>
                  <a:gd name="T13" fmla="*/ 0 h 66"/>
                  <a:gd name="T14" fmla="*/ 3303 w 52"/>
                  <a:gd name="T15" fmla="*/ 182 h 6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2"/>
                  <a:gd name="T25" fmla="*/ 0 h 66"/>
                  <a:gd name="T26" fmla="*/ 52 w 52"/>
                  <a:gd name="T27" fmla="*/ 66 h 6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2" h="66">
                    <a:moveTo>
                      <a:pt x="52" y="7"/>
                    </a:moveTo>
                    <a:lnTo>
                      <a:pt x="38" y="44"/>
                    </a:lnTo>
                    <a:lnTo>
                      <a:pt x="25" y="66"/>
                    </a:lnTo>
                    <a:lnTo>
                      <a:pt x="0" y="53"/>
                    </a:lnTo>
                    <a:lnTo>
                      <a:pt x="18" y="29"/>
                    </a:lnTo>
                    <a:lnTo>
                      <a:pt x="18" y="0"/>
                    </a:lnTo>
                    <a:lnTo>
                      <a:pt x="31" y="0"/>
                    </a:lnTo>
                    <a:lnTo>
                      <a:pt x="52" y="7"/>
                    </a:lnTo>
                    <a:close/>
                  </a:path>
                </a:pathLst>
              </a:custGeom>
              <a:solidFill>
                <a:srgbClr val="DDDDDD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lIns="87819" tIns="43910" rIns="87819" bIns="43910"/>
              <a:lstStyle/>
              <a:p>
                <a:endParaRPr lang="en-US"/>
              </a:p>
            </p:txBody>
          </p:sp>
          <p:sp>
            <p:nvSpPr>
              <p:cNvPr id="6175" name="Freeform 29"/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auto">
              <a:xfrm rot="-434746">
                <a:off x="2475" y="1559"/>
                <a:ext cx="180" cy="151"/>
              </a:xfrm>
              <a:custGeom>
                <a:avLst/>
                <a:gdLst>
                  <a:gd name="T0" fmla="*/ 154947544 w 84"/>
                  <a:gd name="T1" fmla="*/ 56711957 h 72"/>
                  <a:gd name="T2" fmla="*/ 163425467 w 84"/>
                  <a:gd name="T3" fmla="*/ 62315053 h 72"/>
                  <a:gd name="T4" fmla="*/ 132612381 w 84"/>
                  <a:gd name="T5" fmla="*/ 67251046 h 72"/>
                  <a:gd name="T6" fmla="*/ 116789430 w 84"/>
                  <a:gd name="T7" fmla="*/ 82479381 h 72"/>
                  <a:gd name="T8" fmla="*/ 93700877 w 84"/>
                  <a:gd name="T9" fmla="*/ 93169949 h 72"/>
                  <a:gd name="T10" fmla="*/ 38911524 w 84"/>
                  <a:gd name="T11" fmla="*/ 88081739 h 72"/>
                  <a:gd name="T12" fmla="*/ 0 w 84"/>
                  <a:gd name="T13" fmla="*/ 62315053 h 72"/>
                  <a:gd name="T14" fmla="*/ 8136752 w 84"/>
                  <a:gd name="T15" fmla="*/ 51686132 h 72"/>
                  <a:gd name="T16" fmla="*/ 85226846 w 84"/>
                  <a:gd name="T17" fmla="*/ 36396002 h 72"/>
                  <a:gd name="T18" fmla="*/ 69988290 w 84"/>
                  <a:gd name="T19" fmla="*/ 15290101 h 72"/>
                  <a:gd name="T20" fmla="*/ 93700877 w 84"/>
                  <a:gd name="T21" fmla="*/ 0 h 72"/>
                  <a:gd name="T22" fmla="*/ 132612381 w 84"/>
                  <a:gd name="T23" fmla="*/ 10597511 h 72"/>
                  <a:gd name="T24" fmla="*/ 147861827 w 84"/>
                  <a:gd name="T25" fmla="*/ 10597511 h 72"/>
                  <a:gd name="T26" fmla="*/ 147861827 w 84"/>
                  <a:gd name="T27" fmla="*/ 30789896 h 72"/>
                  <a:gd name="T28" fmla="*/ 132612381 w 84"/>
                  <a:gd name="T29" fmla="*/ 46611435 h 72"/>
                  <a:gd name="T30" fmla="*/ 154947544 w 84"/>
                  <a:gd name="T31" fmla="*/ 56711957 h 7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84"/>
                  <a:gd name="T49" fmla="*/ 0 h 72"/>
                  <a:gd name="T50" fmla="*/ 84 w 84"/>
                  <a:gd name="T51" fmla="*/ 72 h 7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84" h="72">
                    <a:moveTo>
                      <a:pt x="80" y="44"/>
                    </a:moveTo>
                    <a:lnTo>
                      <a:pt x="84" y="48"/>
                    </a:lnTo>
                    <a:lnTo>
                      <a:pt x="68" y="52"/>
                    </a:lnTo>
                    <a:lnTo>
                      <a:pt x="60" y="64"/>
                    </a:lnTo>
                    <a:lnTo>
                      <a:pt x="48" y="72"/>
                    </a:lnTo>
                    <a:lnTo>
                      <a:pt x="20" y="68"/>
                    </a:lnTo>
                    <a:lnTo>
                      <a:pt x="0" y="48"/>
                    </a:lnTo>
                    <a:lnTo>
                      <a:pt x="4" y="40"/>
                    </a:lnTo>
                    <a:lnTo>
                      <a:pt x="44" y="28"/>
                    </a:lnTo>
                    <a:lnTo>
                      <a:pt x="36" y="12"/>
                    </a:lnTo>
                    <a:lnTo>
                      <a:pt x="48" y="0"/>
                    </a:lnTo>
                    <a:lnTo>
                      <a:pt x="68" y="8"/>
                    </a:lnTo>
                    <a:lnTo>
                      <a:pt x="76" y="8"/>
                    </a:lnTo>
                    <a:lnTo>
                      <a:pt x="76" y="24"/>
                    </a:lnTo>
                    <a:lnTo>
                      <a:pt x="68" y="36"/>
                    </a:lnTo>
                    <a:lnTo>
                      <a:pt x="80" y="44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A74109"/>
                  </a:gs>
                  <a:gs pos="100000">
                    <a:srgbClr val="4D1E04"/>
                  </a:gs>
                </a:gsLst>
                <a:lin ang="5400000" scaled="1"/>
              </a:gradFill>
              <a:ln w="6350" cap="rnd">
                <a:solidFill>
                  <a:srgbClr val="FED1A0"/>
                </a:solidFill>
                <a:round/>
                <a:headEnd/>
                <a:tailEnd/>
              </a:ln>
            </p:spPr>
            <p:txBody>
              <a:bodyPr lIns="87819" tIns="43910" rIns="87819" bIns="43910"/>
              <a:lstStyle/>
              <a:p>
                <a:endParaRPr lang="en-US"/>
              </a:p>
            </p:txBody>
          </p:sp>
          <p:sp>
            <p:nvSpPr>
              <p:cNvPr id="6176" name="Freeform 31"/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auto">
              <a:xfrm rot="-434746">
                <a:off x="2592" y="1685"/>
                <a:ext cx="83" cy="65"/>
              </a:xfrm>
              <a:custGeom>
                <a:avLst/>
                <a:gdLst>
                  <a:gd name="T0" fmla="*/ 12755801 w 40"/>
                  <a:gd name="T1" fmla="*/ 0 h 32"/>
                  <a:gd name="T2" fmla="*/ 38244493 w 40"/>
                  <a:gd name="T3" fmla="*/ 5624911 h 32"/>
                  <a:gd name="T4" fmla="*/ 42184069 w 40"/>
                  <a:gd name="T5" fmla="*/ 22497627 h 32"/>
                  <a:gd name="T6" fmla="*/ 16685596 w 40"/>
                  <a:gd name="T7" fmla="*/ 17035336 h 32"/>
                  <a:gd name="T8" fmla="*/ 0 w 40"/>
                  <a:gd name="T9" fmla="*/ 5624911 h 32"/>
                  <a:gd name="T10" fmla="*/ 12755801 w 40"/>
                  <a:gd name="T11" fmla="*/ 0 h 3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0"/>
                  <a:gd name="T19" fmla="*/ 0 h 32"/>
                  <a:gd name="T20" fmla="*/ 40 w 40"/>
                  <a:gd name="T21" fmla="*/ 32 h 3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0" h="32">
                    <a:moveTo>
                      <a:pt x="12" y="0"/>
                    </a:moveTo>
                    <a:lnTo>
                      <a:pt x="36" y="8"/>
                    </a:lnTo>
                    <a:lnTo>
                      <a:pt x="40" y="32"/>
                    </a:lnTo>
                    <a:lnTo>
                      <a:pt x="16" y="24"/>
                    </a:lnTo>
                    <a:lnTo>
                      <a:pt x="0" y="8"/>
                    </a:lnTo>
                    <a:lnTo>
                      <a:pt x="12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A74109"/>
                  </a:gs>
                  <a:gs pos="100000">
                    <a:srgbClr val="4D1E04"/>
                  </a:gs>
                </a:gsLst>
                <a:lin ang="5400000" scaled="1"/>
              </a:gradFill>
              <a:ln w="6350" cap="rnd">
                <a:solidFill>
                  <a:srgbClr val="FED1A0"/>
                </a:solidFill>
                <a:round/>
                <a:headEnd/>
                <a:tailEnd/>
              </a:ln>
            </p:spPr>
            <p:txBody>
              <a:bodyPr lIns="87819" tIns="43910" rIns="87819" bIns="43910"/>
              <a:lstStyle/>
              <a:p>
                <a:endParaRPr lang="en-US"/>
              </a:p>
            </p:txBody>
          </p:sp>
          <p:sp>
            <p:nvSpPr>
              <p:cNvPr id="6177" name="Freeform 32"/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auto">
              <a:xfrm rot="-434746">
                <a:off x="2682" y="1683"/>
                <a:ext cx="187" cy="169"/>
              </a:xfrm>
              <a:custGeom>
                <a:avLst/>
                <a:gdLst>
                  <a:gd name="T0" fmla="*/ 39781830 w 88"/>
                  <a:gd name="T1" fmla="*/ 106626562 h 80"/>
                  <a:gd name="T2" fmla="*/ 73472464 w 88"/>
                  <a:gd name="T3" fmla="*/ 118625604 h 80"/>
                  <a:gd name="T4" fmla="*/ 79702957 w 88"/>
                  <a:gd name="T5" fmla="*/ 106626562 h 80"/>
                  <a:gd name="T6" fmla="*/ 92997892 w 88"/>
                  <a:gd name="T7" fmla="*/ 106626562 h 80"/>
                  <a:gd name="T8" fmla="*/ 99914961 w 88"/>
                  <a:gd name="T9" fmla="*/ 82729940 h 80"/>
                  <a:gd name="T10" fmla="*/ 145862331 w 88"/>
                  <a:gd name="T11" fmla="*/ 35891157 h 80"/>
                  <a:gd name="T12" fmla="*/ 145862331 w 88"/>
                  <a:gd name="T13" fmla="*/ 17651919 h 80"/>
                  <a:gd name="T14" fmla="*/ 113253029 w 88"/>
                  <a:gd name="T15" fmla="*/ 0 h 80"/>
                  <a:gd name="T16" fmla="*/ 53295574 w 88"/>
                  <a:gd name="T17" fmla="*/ 29565578 h 80"/>
                  <a:gd name="T18" fmla="*/ 39781830 w 88"/>
                  <a:gd name="T19" fmla="*/ 29565578 h 80"/>
                  <a:gd name="T20" fmla="*/ 0 w 88"/>
                  <a:gd name="T21" fmla="*/ 41564576 h 80"/>
                  <a:gd name="T22" fmla="*/ 33346949 w 88"/>
                  <a:gd name="T23" fmla="*/ 89075833 h 80"/>
                  <a:gd name="T24" fmla="*/ 39781830 w 88"/>
                  <a:gd name="T25" fmla="*/ 94714774 h 80"/>
                  <a:gd name="T26" fmla="*/ 39781830 w 88"/>
                  <a:gd name="T27" fmla="*/ 106626562 h 8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88"/>
                  <a:gd name="T43" fmla="*/ 0 h 80"/>
                  <a:gd name="T44" fmla="*/ 88 w 88"/>
                  <a:gd name="T45" fmla="*/ 80 h 80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88" h="80">
                    <a:moveTo>
                      <a:pt x="24" y="72"/>
                    </a:moveTo>
                    <a:lnTo>
                      <a:pt x="44" y="80"/>
                    </a:lnTo>
                    <a:lnTo>
                      <a:pt x="48" y="72"/>
                    </a:lnTo>
                    <a:lnTo>
                      <a:pt x="56" y="72"/>
                    </a:lnTo>
                    <a:lnTo>
                      <a:pt x="60" y="56"/>
                    </a:lnTo>
                    <a:lnTo>
                      <a:pt x="88" y="24"/>
                    </a:lnTo>
                    <a:lnTo>
                      <a:pt x="88" y="12"/>
                    </a:lnTo>
                    <a:lnTo>
                      <a:pt x="68" y="0"/>
                    </a:lnTo>
                    <a:lnTo>
                      <a:pt x="32" y="20"/>
                    </a:lnTo>
                    <a:lnTo>
                      <a:pt x="24" y="20"/>
                    </a:lnTo>
                    <a:lnTo>
                      <a:pt x="0" y="28"/>
                    </a:lnTo>
                    <a:lnTo>
                      <a:pt x="20" y="60"/>
                    </a:lnTo>
                    <a:lnTo>
                      <a:pt x="24" y="64"/>
                    </a:lnTo>
                    <a:lnTo>
                      <a:pt x="24" y="72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A74109"/>
                  </a:gs>
                  <a:gs pos="100000">
                    <a:srgbClr val="4D1E04"/>
                  </a:gs>
                </a:gsLst>
                <a:lin ang="5400000" scaled="1"/>
              </a:gradFill>
              <a:ln w="6350" cap="rnd">
                <a:solidFill>
                  <a:srgbClr val="FED1A0"/>
                </a:solidFill>
                <a:round/>
                <a:headEnd/>
                <a:tailEnd/>
              </a:ln>
            </p:spPr>
            <p:txBody>
              <a:bodyPr lIns="87819" tIns="43910" rIns="87819" bIns="43910"/>
              <a:lstStyle/>
              <a:p>
                <a:endParaRPr lang="en-US"/>
              </a:p>
            </p:txBody>
          </p:sp>
          <p:sp>
            <p:nvSpPr>
              <p:cNvPr id="6178" name="Freeform 33"/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auto">
              <a:xfrm rot="-434746">
                <a:off x="2749" y="1830"/>
                <a:ext cx="108" cy="119"/>
              </a:xfrm>
              <a:custGeom>
                <a:avLst/>
                <a:gdLst>
                  <a:gd name="T0" fmla="*/ 0 w 89"/>
                  <a:gd name="T1" fmla="*/ 0 h 101"/>
                  <a:gd name="T2" fmla="*/ 1329 w 89"/>
                  <a:gd name="T3" fmla="*/ 174 h 101"/>
                  <a:gd name="T4" fmla="*/ 1974 w 89"/>
                  <a:gd name="T5" fmla="*/ 0 h 101"/>
                  <a:gd name="T6" fmla="*/ 2622 w 89"/>
                  <a:gd name="T7" fmla="*/ 0 h 101"/>
                  <a:gd name="T8" fmla="*/ 2274 w 89"/>
                  <a:gd name="T9" fmla="*/ 1165 h 101"/>
                  <a:gd name="T10" fmla="*/ 3564 w 89"/>
                  <a:gd name="T11" fmla="*/ 1732 h 101"/>
                  <a:gd name="T12" fmla="*/ 4268 w 89"/>
                  <a:gd name="T13" fmla="*/ 2081 h 101"/>
                  <a:gd name="T14" fmla="*/ 3564 w 89"/>
                  <a:gd name="T15" fmla="*/ 2686 h 101"/>
                  <a:gd name="T16" fmla="*/ 3304 w 89"/>
                  <a:gd name="T17" fmla="*/ 2495 h 101"/>
                  <a:gd name="T18" fmla="*/ 0 w 89"/>
                  <a:gd name="T19" fmla="*/ 371 h 101"/>
                  <a:gd name="T20" fmla="*/ 0 w 89"/>
                  <a:gd name="T21" fmla="*/ 0 h 10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89"/>
                  <a:gd name="T34" fmla="*/ 0 h 101"/>
                  <a:gd name="T35" fmla="*/ 89 w 89"/>
                  <a:gd name="T36" fmla="*/ 101 h 101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89" h="101">
                    <a:moveTo>
                      <a:pt x="0" y="0"/>
                    </a:moveTo>
                    <a:lnTo>
                      <a:pt x="27" y="7"/>
                    </a:lnTo>
                    <a:lnTo>
                      <a:pt x="41" y="0"/>
                    </a:lnTo>
                    <a:lnTo>
                      <a:pt x="55" y="0"/>
                    </a:lnTo>
                    <a:lnTo>
                      <a:pt x="48" y="43"/>
                    </a:lnTo>
                    <a:lnTo>
                      <a:pt x="75" y="65"/>
                    </a:lnTo>
                    <a:lnTo>
                      <a:pt x="89" y="78"/>
                    </a:lnTo>
                    <a:lnTo>
                      <a:pt x="75" y="101"/>
                    </a:lnTo>
                    <a:lnTo>
                      <a:pt x="68" y="94"/>
                    </a:lnTo>
                    <a:lnTo>
                      <a:pt x="0" y="14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DDDDD">
                      <a:alpha val="39998"/>
                    </a:srgbClr>
                  </a:gs>
                  <a:gs pos="100000">
                    <a:srgbClr val="666666">
                      <a:alpha val="39998"/>
                    </a:srgbClr>
                  </a:gs>
                </a:gsLst>
                <a:lin ang="5400000" scaled="1"/>
              </a:gra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lIns="87819" tIns="43910" rIns="87819" bIns="43910"/>
              <a:lstStyle/>
              <a:p>
                <a:endParaRPr lang="en-US"/>
              </a:p>
            </p:txBody>
          </p:sp>
          <p:sp>
            <p:nvSpPr>
              <p:cNvPr id="6179" name="Freeform 34"/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auto">
              <a:xfrm rot="-434746">
                <a:off x="2982" y="1872"/>
                <a:ext cx="383" cy="487"/>
              </a:xfrm>
              <a:custGeom>
                <a:avLst/>
                <a:gdLst>
                  <a:gd name="T0" fmla="*/ 2762 w 314"/>
                  <a:gd name="T1" fmla="*/ 4333 h 415"/>
                  <a:gd name="T2" fmla="*/ 0 w 314"/>
                  <a:gd name="T3" fmla="*/ 5223 h 415"/>
                  <a:gd name="T4" fmla="*/ 1826 w 314"/>
                  <a:gd name="T5" fmla="*/ 5673 h 415"/>
                  <a:gd name="T6" fmla="*/ 1826 w 314"/>
                  <a:gd name="T7" fmla="*/ 6129 h 415"/>
                  <a:gd name="T8" fmla="*/ 3953 w 314"/>
                  <a:gd name="T9" fmla="*/ 6129 h 415"/>
                  <a:gd name="T10" fmla="*/ 4572 w 314"/>
                  <a:gd name="T11" fmla="*/ 6284 h 415"/>
                  <a:gd name="T12" fmla="*/ 5800 w 314"/>
                  <a:gd name="T13" fmla="*/ 7181 h 415"/>
                  <a:gd name="T14" fmla="*/ 7889 w 314"/>
                  <a:gd name="T15" fmla="*/ 7325 h 415"/>
                  <a:gd name="T16" fmla="*/ 9094 w 314"/>
                  <a:gd name="T17" fmla="*/ 7617 h 415"/>
                  <a:gd name="T18" fmla="*/ 8786 w 314"/>
                  <a:gd name="T19" fmla="*/ 8538 h 415"/>
                  <a:gd name="T20" fmla="*/ 9399 w 314"/>
                  <a:gd name="T21" fmla="*/ 8659 h 415"/>
                  <a:gd name="T22" fmla="*/ 10935 w 314"/>
                  <a:gd name="T23" fmla="*/ 7002 h 415"/>
                  <a:gd name="T24" fmla="*/ 10040 w 314"/>
                  <a:gd name="T25" fmla="*/ 6732 h 415"/>
                  <a:gd name="T26" fmla="*/ 10358 w 314"/>
                  <a:gd name="T27" fmla="*/ 6428 h 415"/>
                  <a:gd name="T28" fmla="*/ 11240 w 314"/>
                  <a:gd name="T29" fmla="*/ 6129 h 415"/>
                  <a:gd name="T30" fmla="*/ 10639 w 314"/>
                  <a:gd name="T31" fmla="*/ 5967 h 415"/>
                  <a:gd name="T32" fmla="*/ 10639 w 314"/>
                  <a:gd name="T33" fmla="*/ 5673 h 415"/>
                  <a:gd name="T34" fmla="*/ 11240 w 314"/>
                  <a:gd name="T35" fmla="*/ 5673 h 415"/>
                  <a:gd name="T36" fmla="*/ 11883 w 314"/>
                  <a:gd name="T37" fmla="*/ 5967 h 415"/>
                  <a:gd name="T38" fmla="*/ 12750 w 314"/>
                  <a:gd name="T39" fmla="*/ 5967 h 415"/>
                  <a:gd name="T40" fmla="*/ 13072 w 314"/>
                  <a:gd name="T41" fmla="*/ 6428 h 415"/>
                  <a:gd name="T42" fmla="*/ 13672 w 314"/>
                  <a:gd name="T43" fmla="*/ 6428 h 415"/>
                  <a:gd name="T44" fmla="*/ 13604 w 314"/>
                  <a:gd name="T45" fmla="*/ 6054 h 415"/>
                  <a:gd name="T46" fmla="*/ 13672 w 314"/>
                  <a:gd name="T47" fmla="*/ 5828 h 415"/>
                  <a:gd name="T48" fmla="*/ 13072 w 314"/>
                  <a:gd name="T49" fmla="*/ 5223 h 415"/>
                  <a:gd name="T50" fmla="*/ 13356 w 314"/>
                  <a:gd name="T51" fmla="*/ 4646 h 415"/>
                  <a:gd name="T52" fmla="*/ 13072 w 314"/>
                  <a:gd name="T53" fmla="*/ 4484 h 415"/>
                  <a:gd name="T54" fmla="*/ 13356 w 314"/>
                  <a:gd name="T55" fmla="*/ 3593 h 415"/>
                  <a:gd name="T56" fmla="*/ 11551 w 314"/>
                  <a:gd name="T57" fmla="*/ 3593 h 415"/>
                  <a:gd name="T58" fmla="*/ 8498 w 314"/>
                  <a:gd name="T59" fmla="*/ 2857 h 415"/>
                  <a:gd name="T60" fmla="*/ 7889 w 314"/>
                  <a:gd name="T61" fmla="*/ 2088 h 415"/>
                  <a:gd name="T62" fmla="*/ 7317 w 314"/>
                  <a:gd name="T63" fmla="*/ 2088 h 415"/>
                  <a:gd name="T64" fmla="*/ 8166 w 314"/>
                  <a:gd name="T65" fmla="*/ 1507 h 415"/>
                  <a:gd name="T66" fmla="*/ 7889 w 314"/>
                  <a:gd name="T67" fmla="*/ 888 h 415"/>
                  <a:gd name="T68" fmla="*/ 8786 w 314"/>
                  <a:gd name="T69" fmla="*/ 746 h 415"/>
                  <a:gd name="T70" fmla="*/ 9399 w 314"/>
                  <a:gd name="T71" fmla="*/ 143 h 415"/>
                  <a:gd name="T72" fmla="*/ 8786 w 314"/>
                  <a:gd name="T73" fmla="*/ 0 h 415"/>
                  <a:gd name="T74" fmla="*/ 8498 w 314"/>
                  <a:gd name="T75" fmla="*/ 143 h 415"/>
                  <a:gd name="T76" fmla="*/ 4918 w 314"/>
                  <a:gd name="T77" fmla="*/ 746 h 415"/>
                  <a:gd name="T78" fmla="*/ 4918 w 314"/>
                  <a:gd name="T79" fmla="*/ 1042 h 415"/>
                  <a:gd name="T80" fmla="*/ 3953 w 314"/>
                  <a:gd name="T81" fmla="*/ 1943 h 415"/>
                  <a:gd name="T82" fmla="*/ 3059 w 314"/>
                  <a:gd name="T83" fmla="*/ 2088 h 415"/>
                  <a:gd name="T84" fmla="*/ 2762 w 314"/>
                  <a:gd name="T85" fmla="*/ 2545 h 415"/>
                  <a:gd name="T86" fmla="*/ 2762 w 314"/>
                  <a:gd name="T87" fmla="*/ 3738 h 415"/>
                  <a:gd name="T88" fmla="*/ 2425 w 314"/>
                  <a:gd name="T89" fmla="*/ 3883 h 415"/>
                  <a:gd name="T90" fmla="*/ 2762 w 314"/>
                  <a:gd name="T91" fmla="*/ 4333 h 415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14"/>
                  <a:gd name="T139" fmla="*/ 0 h 415"/>
                  <a:gd name="T140" fmla="*/ 314 w 314"/>
                  <a:gd name="T141" fmla="*/ 415 h 415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14" h="415">
                    <a:moveTo>
                      <a:pt x="63" y="208"/>
                    </a:moveTo>
                    <a:lnTo>
                      <a:pt x="0" y="250"/>
                    </a:lnTo>
                    <a:lnTo>
                      <a:pt x="42" y="272"/>
                    </a:lnTo>
                    <a:lnTo>
                      <a:pt x="42" y="293"/>
                    </a:lnTo>
                    <a:lnTo>
                      <a:pt x="91" y="293"/>
                    </a:lnTo>
                    <a:lnTo>
                      <a:pt x="105" y="301"/>
                    </a:lnTo>
                    <a:lnTo>
                      <a:pt x="133" y="343"/>
                    </a:lnTo>
                    <a:lnTo>
                      <a:pt x="181" y="351"/>
                    </a:lnTo>
                    <a:lnTo>
                      <a:pt x="209" y="365"/>
                    </a:lnTo>
                    <a:lnTo>
                      <a:pt x="202" y="408"/>
                    </a:lnTo>
                    <a:lnTo>
                      <a:pt x="216" y="415"/>
                    </a:lnTo>
                    <a:lnTo>
                      <a:pt x="251" y="336"/>
                    </a:lnTo>
                    <a:lnTo>
                      <a:pt x="230" y="322"/>
                    </a:lnTo>
                    <a:lnTo>
                      <a:pt x="237" y="308"/>
                    </a:lnTo>
                    <a:lnTo>
                      <a:pt x="258" y="293"/>
                    </a:lnTo>
                    <a:lnTo>
                      <a:pt x="244" y="286"/>
                    </a:lnTo>
                    <a:lnTo>
                      <a:pt x="244" y="272"/>
                    </a:lnTo>
                    <a:lnTo>
                      <a:pt x="258" y="272"/>
                    </a:lnTo>
                    <a:lnTo>
                      <a:pt x="272" y="286"/>
                    </a:lnTo>
                    <a:lnTo>
                      <a:pt x="293" y="286"/>
                    </a:lnTo>
                    <a:lnTo>
                      <a:pt x="300" y="308"/>
                    </a:lnTo>
                    <a:lnTo>
                      <a:pt x="314" y="308"/>
                    </a:lnTo>
                    <a:lnTo>
                      <a:pt x="312" y="290"/>
                    </a:lnTo>
                    <a:lnTo>
                      <a:pt x="314" y="279"/>
                    </a:lnTo>
                    <a:lnTo>
                      <a:pt x="300" y="250"/>
                    </a:lnTo>
                    <a:lnTo>
                      <a:pt x="307" y="222"/>
                    </a:lnTo>
                    <a:lnTo>
                      <a:pt x="300" y="215"/>
                    </a:lnTo>
                    <a:lnTo>
                      <a:pt x="307" y="172"/>
                    </a:lnTo>
                    <a:lnTo>
                      <a:pt x="265" y="172"/>
                    </a:lnTo>
                    <a:lnTo>
                      <a:pt x="195" y="136"/>
                    </a:lnTo>
                    <a:lnTo>
                      <a:pt x="181" y="100"/>
                    </a:lnTo>
                    <a:lnTo>
                      <a:pt x="167" y="100"/>
                    </a:lnTo>
                    <a:lnTo>
                      <a:pt x="188" y="72"/>
                    </a:lnTo>
                    <a:lnTo>
                      <a:pt x="181" y="43"/>
                    </a:lnTo>
                    <a:lnTo>
                      <a:pt x="202" y="36"/>
                    </a:lnTo>
                    <a:lnTo>
                      <a:pt x="216" y="7"/>
                    </a:lnTo>
                    <a:lnTo>
                      <a:pt x="202" y="0"/>
                    </a:lnTo>
                    <a:lnTo>
                      <a:pt x="195" y="7"/>
                    </a:lnTo>
                    <a:lnTo>
                      <a:pt x="112" y="36"/>
                    </a:lnTo>
                    <a:lnTo>
                      <a:pt x="112" y="50"/>
                    </a:lnTo>
                    <a:lnTo>
                      <a:pt x="91" y="93"/>
                    </a:lnTo>
                    <a:lnTo>
                      <a:pt x="70" y="100"/>
                    </a:lnTo>
                    <a:lnTo>
                      <a:pt x="63" y="122"/>
                    </a:lnTo>
                    <a:lnTo>
                      <a:pt x="63" y="179"/>
                    </a:lnTo>
                    <a:lnTo>
                      <a:pt x="56" y="186"/>
                    </a:lnTo>
                    <a:lnTo>
                      <a:pt x="63" y="208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A74109"/>
                  </a:gs>
                  <a:gs pos="100000">
                    <a:srgbClr val="4D1E04"/>
                  </a:gs>
                </a:gsLst>
                <a:lin ang="5400000" scaled="1"/>
              </a:gradFill>
              <a:ln w="6350" cap="rnd">
                <a:solidFill>
                  <a:srgbClr val="FED1A0"/>
                </a:solidFill>
                <a:round/>
                <a:headEnd/>
                <a:tailEnd/>
              </a:ln>
            </p:spPr>
            <p:txBody>
              <a:bodyPr lIns="87819" tIns="43910" rIns="87819" bIns="43910"/>
              <a:lstStyle/>
              <a:p>
                <a:endParaRPr lang="en-US"/>
              </a:p>
            </p:txBody>
          </p:sp>
          <p:sp>
            <p:nvSpPr>
              <p:cNvPr id="6180" name="Freeform 37"/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auto">
              <a:xfrm rot="-434746">
                <a:off x="2848" y="1888"/>
                <a:ext cx="229" cy="125"/>
              </a:xfrm>
              <a:custGeom>
                <a:avLst/>
                <a:gdLst>
                  <a:gd name="T0" fmla="*/ 431 w 188"/>
                  <a:gd name="T1" fmla="*/ 126 h 106"/>
                  <a:gd name="T2" fmla="*/ 2379 w 188"/>
                  <a:gd name="T3" fmla="*/ 559 h 106"/>
                  <a:gd name="T4" fmla="*/ 6301 w 188"/>
                  <a:gd name="T5" fmla="*/ 0 h 106"/>
                  <a:gd name="T6" fmla="*/ 9159 w 188"/>
                  <a:gd name="T7" fmla="*/ 934 h 106"/>
                  <a:gd name="T8" fmla="*/ 9722 w 188"/>
                  <a:gd name="T9" fmla="*/ 2669 h 106"/>
                  <a:gd name="T10" fmla="*/ 8418 w 188"/>
                  <a:gd name="T11" fmla="*/ 2862 h 106"/>
                  <a:gd name="T12" fmla="*/ 6663 w 188"/>
                  <a:gd name="T13" fmla="*/ 1933 h 106"/>
                  <a:gd name="T14" fmla="*/ 7340 w 188"/>
                  <a:gd name="T15" fmla="*/ 1719 h 106"/>
                  <a:gd name="T16" fmla="*/ 7340 w 188"/>
                  <a:gd name="T17" fmla="*/ 1531 h 106"/>
                  <a:gd name="T18" fmla="*/ 5935 w 188"/>
                  <a:gd name="T19" fmla="*/ 934 h 106"/>
                  <a:gd name="T20" fmla="*/ 5238 w 188"/>
                  <a:gd name="T21" fmla="*/ 934 h 106"/>
                  <a:gd name="T22" fmla="*/ 3359 w 188"/>
                  <a:gd name="T23" fmla="*/ 1170 h 106"/>
                  <a:gd name="T24" fmla="*/ 4872 w 188"/>
                  <a:gd name="T25" fmla="*/ 1719 h 106"/>
                  <a:gd name="T26" fmla="*/ 4092 w 188"/>
                  <a:gd name="T27" fmla="*/ 1933 h 106"/>
                  <a:gd name="T28" fmla="*/ 0 w 188"/>
                  <a:gd name="T29" fmla="*/ 880 h 106"/>
                  <a:gd name="T30" fmla="*/ 295 w 188"/>
                  <a:gd name="T31" fmla="*/ 441 h 106"/>
                  <a:gd name="T32" fmla="*/ 431 w 188"/>
                  <a:gd name="T33" fmla="*/ 126 h 10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88"/>
                  <a:gd name="T52" fmla="*/ 0 h 106"/>
                  <a:gd name="T53" fmla="*/ 188 w 188"/>
                  <a:gd name="T54" fmla="*/ 106 h 10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88" h="106">
                    <a:moveTo>
                      <a:pt x="8" y="5"/>
                    </a:moveTo>
                    <a:lnTo>
                      <a:pt x="46" y="21"/>
                    </a:lnTo>
                    <a:lnTo>
                      <a:pt x="122" y="0"/>
                    </a:lnTo>
                    <a:lnTo>
                      <a:pt x="177" y="35"/>
                    </a:lnTo>
                    <a:lnTo>
                      <a:pt x="188" y="98"/>
                    </a:lnTo>
                    <a:lnTo>
                      <a:pt x="163" y="106"/>
                    </a:lnTo>
                    <a:lnTo>
                      <a:pt x="129" y="71"/>
                    </a:lnTo>
                    <a:lnTo>
                      <a:pt x="142" y="64"/>
                    </a:lnTo>
                    <a:lnTo>
                      <a:pt x="142" y="57"/>
                    </a:lnTo>
                    <a:lnTo>
                      <a:pt x="115" y="35"/>
                    </a:lnTo>
                    <a:lnTo>
                      <a:pt x="101" y="35"/>
                    </a:lnTo>
                    <a:lnTo>
                      <a:pt x="66" y="42"/>
                    </a:lnTo>
                    <a:lnTo>
                      <a:pt x="94" y="64"/>
                    </a:lnTo>
                    <a:lnTo>
                      <a:pt x="80" y="71"/>
                    </a:lnTo>
                    <a:lnTo>
                      <a:pt x="0" y="32"/>
                    </a:lnTo>
                    <a:lnTo>
                      <a:pt x="6" y="16"/>
                    </a:lnTo>
                    <a:lnTo>
                      <a:pt x="8" y="5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DDDDD">
                      <a:alpha val="39998"/>
                    </a:srgbClr>
                  </a:gs>
                  <a:gs pos="100000">
                    <a:srgbClr val="666666">
                      <a:alpha val="39998"/>
                    </a:srgbClr>
                  </a:gs>
                </a:gsLst>
                <a:lin ang="5400000" scaled="1"/>
              </a:gra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lIns="87819" tIns="43910" rIns="87819" bIns="43910"/>
              <a:lstStyle/>
              <a:p>
                <a:endParaRPr lang="en-US"/>
              </a:p>
            </p:txBody>
          </p:sp>
          <p:sp>
            <p:nvSpPr>
              <p:cNvPr id="6181" name="Freeform 38"/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auto">
              <a:xfrm rot="-434746">
                <a:off x="3306" y="2515"/>
                <a:ext cx="359" cy="369"/>
              </a:xfrm>
              <a:custGeom>
                <a:avLst/>
                <a:gdLst>
                  <a:gd name="T0" fmla="*/ 0 w 168"/>
                  <a:gd name="T1" fmla="*/ 248097142 h 176"/>
                  <a:gd name="T2" fmla="*/ 48396313 w 168"/>
                  <a:gd name="T3" fmla="*/ 258023388 h 176"/>
                  <a:gd name="T4" fmla="*/ 94132450 w 168"/>
                  <a:gd name="T5" fmla="*/ 441845527 h 176"/>
                  <a:gd name="T6" fmla="*/ 125196412 w 168"/>
                  <a:gd name="T7" fmla="*/ 474341858 h 176"/>
                  <a:gd name="T8" fmla="*/ 157117500 w 168"/>
                  <a:gd name="T9" fmla="*/ 463730869 h 176"/>
                  <a:gd name="T10" fmla="*/ 189781222 w 168"/>
                  <a:gd name="T11" fmla="*/ 430135966 h 176"/>
                  <a:gd name="T12" fmla="*/ 236641870 w 168"/>
                  <a:gd name="T13" fmla="*/ 430135966 h 176"/>
                  <a:gd name="T14" fmla="*/ 283960613 w 168"/>
                  <a:gd name="T15" fmla="*/ 474341858 h 176"/>
                  <a:gd name="T16" fmla="*/ 298483539 w 168"/>
                  <a:gd name="T17" fmla="*/ 474341858 h 176"/>
                  <a:gd name="T18" fmla="*/ 315131320 w 168"/>
                  <a:gd name="T19" fmla="*/ 452023277 h 176"/>
                  <a:gd name="T20" fmla="*/ 378091857 w 168"/>
                  <a:gd name="T21" fmla="*/ 452023277 h 176"/>
                  <a:gd name="T22" fmla="*/ 409227273 w 168"/>
                  <a:gd name="T23" fmla="*/ 398359827 h 176"/>
                  <a:gd name="T24" fmla="*/ 505681370 w 168"/>
                  <a:gd name="T25" fmla="*/ 377626788 h 176"/>
                  <a:gd name="T26" fmla="*/ 614410574 w 168"/>
                  <a:gd name="T27" fmla="*/ 377626788 h 176"/>
                  <a:gd name="T28" fmla="*/ 614410574 w 168"/>
                  <a:gd name="T29" fmla="*/ 398359827 h 176"/>
                  <a:gd name="T30" fmla="*/ 645616129 w 168"/>
                  <a:gd name="T31" fmla="*/ 410069949 h 176"/>
                  <a:gd name="T32" fmla="*/ 645616129 w 168"/>
                  <a:gd name="T33" fmla="*/ 387770500 h 176"/>
                  <a:gd name="T34" fmla="*/ 661970859 w 168"/>
                  <a:gd name="T35" fmla="*/ 366430926 h 176"/>
                  <a:gd name="T36" fmla="*/ 631046445 w 168"/>
                  <a:gd name="T37" fmla="*/ 280023370 h 176"/>
                  <a:gd name="T38" fmla="*/ 551382089 w 168"/>
                  <a:gd name="T39" fmla="*/ 269443607 h 176"/>
                  <a:gd name="T40" fmla="*/ 551382089 w 168"/>
                  <a:gd name="T41" fmla="*/ 226244293 h 176"/>
                  <a:gd name="T42" fmla="*/ 520639744 w 168"/>
                  <a:gd name="T43" fmla="*/ 215599263 h 176"/>
                  <a:gd name="T44" fmla="*/ 520639744 w 168"/>
                  <a:gd name="T45" fmla="*/ 203890688 h 176"/>
                  <a:gd name="T46" fmla="*/ 551382089 w 168"/>
                  <a:gd name="T47" fmla="*/ 183820310 h 176"/>
                  <a:gd name="T48" fmla="*/ 409227273 w 168"/>
                  <a:gd name="T49" fmla="*/ 107910614 h 176"/>
                  <a:gd name="T50" fmla="*/ 332562979 w 168"/>
                  <a:gd name="T51" fmla="*/ 96202883 h 176"/>
                  <a:gd name="T52" fmla="*/ 283960613 w 168"/>
                  <a:gd name="T53" fmla="*/ 54067696 h 176"/>
                  <a:gd name="T54" fmla="*/ 315131320 w 168"/>
                  <a:gd name="T55" fmla="*/ 43469156 h 176"/>
                  <a:gd name="T56" fmla="*/ 332562979 w 168"/>
                  <a:gd name="T57" fmla="*/ 0 h 176"/>
                  <a:gd name="T58" fmla="*/ 298483539 w 168"/>
                  <a:gd name="T59" fmla="*/ 0 h 176"/>
                  <a:gd name="T60" fmla="*/ 157117500 w 168"/>
                  <a:gd name="T61" fmla="*/ 10438719 h 176"/>
                  <a:gd name="T62" fmla="*/ 157117500 w 168"/>
                  <a:gd name="T63" fmla="*/ 0 h 176"/>
                  <a:gd name="T64" fmla="*/ 110740412 w 168"/>
                  <a:gd name="T65" fmla="*/ 0 h 176"/>
                  <a:gd name="T66" fmla="*/ 94132450 w 168"/>
                  <a:gd name="T67" fmla="*/ 31897857 h 176"/>
                  <a:gd name="T68" fmla="*/ 31212343 w 168"/>
                  <a:gd name="T69" fmla="*/ 21885719 h 176"/>
                  <a:gd name="T70" fmla="*/ 94132450 w 168"/>
                  <a:gd name="T71" fmla="*/ 118333539 h 176"/>
                  <a:gd name="T72" fmla="*/ 48396313 w 168"/>
                  <a:gd name="T73" fmla="*/ 183820310 h 176"/>
                  <a:gd name="T74" fmla="*/ 48396313 w 168"/>
                  <a:gd name="T75" fmla="*/ 226244293 h 176"/>
                  <a:gd name="T76" fmla="*/ 0 w 168"/>
                  <a:gd name="T77" fmla="*/ 248097142 h 17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168"/>
                  <a:gd name="T118" fmla="*/ 0 h 176"/>
                  <a:gd name="T119" fmla="*/ 168 w 168"/>
                  <a:gd name="T120" fmla="*/ 176 h 17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168" h="176">
                    <a:moveTo>
                      <a:pt x="0" y="92"/>
                    </a:moveTo>
                    <a:lnTo>
                      <a:pt x="12" y="96"/>
                    </a:lnTo>
                    <a:lnTo>
                      <a:pt x="24" y="164"/>
                    </a:lnTo>
                    <a:lnTo>
                      <a:pt x="32" y="176"/>
                    </a:lnTo>
                    <a:lnTo>
                      <a:pt x="40" y="172"/>
                    </a:lnTo>
                    <a:lnTo>
                      <a:pt x="48" y="160"/>
                    </a:lnTo>
                    <a:lnTo>
                      <a:pt x="60" y="160"/>
                    </a:lnTo>
                    <a:lnTo>
                      <a:pt x="72" y="176"/>
                    </a:lnTo>
                    <a:lnTo>
                      <a:pt x="76" y="176"/>
                    </a:lnTo>
                    <a:lnTo>
                      <a:pt x="80" y="168"/>
                    </a:lnTo>
                    <a:lnTo>
                      <a:pt x="96" y="168"/>
                    </a:lnTo>
                    <a:lnTo>
                      <a:pt x="104" y="148"/>
                    </a:lnTo>
                    <a:lnTo>
                      <a:pt x="128" y="140"/>
                    </a:lnTo>
                    <a:lnTo>
                      <a:pt x="156" y="140"/>
                    </a:lnTo>
                    <a:lnTo>
                      <a:pt x="156" y="148"/>
                    </a:lnTo>
                    <a:lnTo>
                      <a:pt x="164" y="152"/>
                    </a:lnTo>
                    <a:lnTo>
                      <a:pt x="164" y="144"/>
                    </a:lnTo>
                    <a:lnTo>
                      <a:pt x="168" y="136"/>
                    </a:lnTo>
                    <a:lnTo>
                      <a:pt x="160" y="104"/>
                    </a:lnTo>
                    <a:lnTo>
                      <a:pt x="140" y="100"/>
                    </a:lnTo>
                    <a:lnTo>
                      <a:pt x="140" y="84"/>
                    </a:lnTo>
                    <a:lnTo>
                      <a:pt x="132" y="80"/>
                    </a:lnTo>
                    <a:lnTo>
                      <a:pt x="132" y="76"/>
                    </a:lnTo>
                    <a:lnTo>
                      <a:pt x="140" y="68"/>
                    </a:lnTo>
                    <a:lnTo>
                      <a:pt x="104" y="40"/>
                    </a:lnTo>
                    <a:lnTo>
                      <a:pt x="84" y="36"/>
                    </a:lnTo>
                    <a:lnTo>
                      <a:pt x="72" y="20"/>
                    </a:lnTo>
                    <a:lnTo>
                      <a:pt x="80" y="16"/>
                    </a:lnTo>
                    <a:lnTo>
                      <a:pt x="84" y="0"/>
                    </a:lnTo>
                    <a:lnTo>
                      <a:pt x="76" y="0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28" y="0"/>
                    </a:lnTo>
                    <a:lnTo>
                      <a:pt x="24" y="12"/>
                    </a:lnTo>
                    <a:lnTo>
                      <a:pt x="8" y="8"/>
                    </a:lnTo>
                    <a:lnTo>
                      <a:pt x="24" y="44"/>
                    </a:lnTo>
                    <a:lnTo>
                      <a:pt x="12" y="68"/>
                    </a:lnTo>
                    <a:lnTo>
                      <a:pt x="12" y="84"/>
                    </a:lnTo>
                    <a:lnTo>
                      <a:pt x="0" y="92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DDDDD">
                      <a:alpha val="39998"/>
                    </a:srgbClr>
                  </a:gs>
                  <a:gs pos="100000">
                    <a:srgbClr val="666666">
                      <a:alpha val="39998"/>
                    </a:srgbClr>
                  </a:gs>
                </a:gsLst>
                <a:lin ang="5400000" scaled="1"/>
              </a:gra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lIns="87819" tIns="43910" rIns="87819" bIns="43910"/>
              <a:lstStyle/>
              <a:p>
                <a:endParaRPr lang="en-US"/>
              </a:p>
            </p:txBody>
          </p:sp>
          <p:sp>
            <p:nvSpPr>
              <p:cNvPr id="6182" name="Freeform 35"/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auto">
              <a:xfrm rot="-434746">
                <a:off x="3198" y="2050"/>
                <a:ext cx="1180" cy="1133"/>
              </a:xfrm>
              <a:custGeom>
                <a:avLst/>
                <a:gdLst>
                  <a:gd name="T0" fmla="*/ 25345 w 969"/>
                  <a:gd name="T1" fmla="*/ 1610 h 967"/>
                  <a:gd name="T2" fmla="*/ 26776 w 969"/>
                  <a:gd name="T3" fmla="*/ 2621 h 967"/>
                  <a:gd name="T4" fmla="*/ 25584 w 969"/>
                  <a:gd name="T5" fmla="*/ 3899 h 967"/>
                  <a:gd name="T6" fmla="*/ 27359 w 969"/>
                  <a:gd name="T7" fmla="*/ 3758 h 967"/>
                  <a:gd name="T8" fmla="*/ 25864 w 969"/>
                  <a:gd name="T9" fmla="*/ 4097 h 967"/>
                  <a:gd name="T10" fmla="*/ 28244 w 969"/>
                  <a:gd name="T11" fmla="*/ 4097 h 967"/>
                  <a:gd name="T12" fmla="*/ 30910 w 969"/>
                  <a:gd name="T13" fmla="*/ 4368 h 967"/>
                  <a:gd name="T14" fmla="*/ 31218 w 969"/>
                  <a:gd name="T15" fmla="*/ 4800 h 967"/>
                  <a:gd name="T16" fmla="*/ 31496 w 969"/>
                  <a:gd name="T17" fmla="*/ 5083 h 967"/>
                  <a:gd name="T18" fmla="*/ 34757 w 969"/>
                  <a:gd name="T19" fmla="*/ 5526 h 967"/>
                  <a:gd name="T20" fmla="*/ 36490 w 969"/>
                  <a:gd name="T21" fmla="*/ 5352 h 967"/>
                  <a:gd name="T22" fmla="*/ 39449 w 969"/>
                  <a:gd name="T23" fmla="*/ 6661 h 967"/>
                  <a:gd name="T24" fmla="*/ 40913 w 969"/>
                  <a:gd name="T25" fmla="*/ 6837 h 967"/>
                  <a:gd name="T26" fmla="*/ 40311 w 969"/>
                  <a:gd name="T27" fmla="*/ 8862 h 967"/>
                  <a:gd name="T28" fmla="*/ 36490 w 969"/>
                  <a:gd name="T29" fmla="*/ 10158 h 967"/>
                  <a:gd name="T30" fmla="*/ 35645 w 969"/>
                  <a:gd name="T31" fmla="*/ 11338 h 967"/>
                  <a:gd name="T32" fmla="*/ 34757 w 969"/>
                  <a:gd name="T33" fmla="*/ 12942 h 967"/>
                  <a:gd name="T34" fmla="*/ 30618 w 969"/>
                  <a:gd name="T35" fmla="*/ 15130 h 967"/>
                  <a:gd name="T36" fmla="*/ 27359 w 969"/>
                  <a:gd name="T37" fmla="*/ 15410 h 967"/>
                  <a:gd name="T38" fmla="*/ 23835 w 969"/>
                  <a:gd name="T39" fmla="*/ 16115 h 967"/>
                  <a:gd name="T40" fmla="*/ 20009 w 969"/>
                  <a:gd name="T41" fmla="*/ 19036 h 967"/>
                  <a:gd name="T42" fmla="*/ 20575 w 969"/>
                  <a:gd name="T43" fmla="*/ 18007 h 967"/>
                  <a:gd name="T44" fmla="*/ 18255 w 969"/>
                  <a:gd name="T45" fmla="*/ 19628 h 967"/>
                  <a:gd name="T46" fmla="*/ 17653 w 969"/>
                  <a:gd name="T47" fmla="*/ 18747 h 967"/>
                  <a:gd name="T48" fmla="*/ 15574 w 969"/>
                  <a:gd name="T49" fmla="*/ 18326 h 967"/>
                  <a:gd name="T50" fmla="*/ 14695 w 969"/>
                  <a:gd name="T51" fmla="*/ 17546 h 967"/>
                  <a:gd name="T52" fmla="*/ 18550 w 969"/>
                  <a:gd name="T53" fmla="*/ 15851 h 967"/>
                  <a:gd name="T54" fmla="*/ 18550 w 969"/>
                  <a:gd name="T55" fmla="*/ 15252 h 967"/>
                  <a:gd name="T56" fmla="*/ 17959 w 969"/>
                  <a:gd name="T57" fmla="*/ 14539 h 967"/>
                  <a:gd name="T58" fmla="*/ 15574 w 969"/>
                  <a:gd name="T59" fmla="*/ 14109 h 967"/>
                  <a:gd name="T60" fmla="*/ 15574 w 969"/>
                  <a:gd name="T61" fmla="*/ 12643 h 967"/>
                  <a:gd name="T62" fmla="*/ 15334 w 969"/>
                  <a:gd name="T63" fmla="*/ 11195 h 967"/>
                  <a:gd name="T64" fmla="*/ 13843 w 969"/>
                  <a:gd name="T65" fmla="*/ 10486 h 967"/>
                  <a:gd name="T66" fmla="*/ 13241 w 969"/>
                  <a:gd name="T67" fmla="*/ 10158 h 967"/>
                  <a:gd name="T68" fmla="*/ 10873 w 969"/>
                  <a:gd name="T69" fmla="*/ 8862 h 967"/>
                  <a:gd name="T70" fmla="*/ 8880 w 969"/>
                  <a:gd name="T71" fmla="*/ 8147 h 967"/>
                  <a:gd name="T72" fmla="*/ 9704 w 969"/>
                  <a:gd name="T73" fmla="*/ 7400 h 967"/>
                  <a:gd name="T74" fmla="*/ 6443 w 969"/>
                  <a:gd name="T75" fmla="*/ 7555 h 967"/>
                  <a:gd name="T76" fmla="*/ 5575 w 969"/>
                  <a:gd name="T77" fmla="*/ 7400 h 967"/>
                  <a:gd name="T78" fmla="*/ 4424 w 969"/>
                  <a:gd name="T79" fmla="*/ 7848 h 967"/>
                  <a:gd name="T80" fmla="*/ 3525 w 969"/>
                  <a:gd name="T81" fmla="*/ 6978 h 967"/>
                  <a:gd name="T82" fmla="*/ 1791 w 969"/>
                  <a:gd name="T83" fmla="*/ 6978 h 967"/>
                  <a:gd name="T84" fmla="*/ 293 w 969"/>
                  <a:gd name="T85" fmla="*/ 6837 h 967"/>
                  <a:gd name="T86" fmla="*/ 599 w 969"/>
                  <a:gd name="T87" fmla="*/ 5231 h 967"/>
                  <a:gd name="T88" fmla="*/ 3848 w 969"/>
                  <a:gd name="T89" fmla="*/ 4097 h 967"/>
                  <a:gd name="T90" fmla="*/ 4726 w 969"/>
                  <a:gd name="T91" fmla="*/ 2152 h 967"/>
                  <a:gd name="T92" fmla="*/ 5887 w 969"/>
                  <a:gd name="T93" fmla="*/ 1610 h 967"/>
                  <a:gd name="T94" fmla="*/ 5275 w 969"/>
                  <a:gd name="T95" fmla="*/ 1451 h 967"/>
                  <a:gd name="T96" fmla="*/ 5575 w 969"/>
                  <a:gd name="T97" fmla="*/ 1173 h 967"/>
                  <a:gd name="T98" fmla="*/ 7332 w 969"/>
                  <a:gd name="T99" fmla="*/ 1451 h 967"/>
                  <a:gd name="T100" fmla="*/ 10025 w 969"/>
                  <a:gd name="T101" fmla="*/ 2030 h 967"/>
                  <a:gd name="T102" fmla="*/ 10631 w 969"/>
                  <a:gd name="T103" fmla="*/ 429 h 967"/>
                  <a:gd name="T104" fmla="*/ 12953 w 969"/>
                  <a:gd name="T105" fmla="*/ 871 h 967"/>
                  <a:gd name="T106" fmla="*/ 14748 w 969"/>
                  <a:gd name="T107" fmla="*/ 871 h 967"/>
                  <a:gd name="T108" fmla="*/ 15334 w 969"/>
                  <a:gd name="T109" fmla="*/ 0 h 967"/>
                  <a:gd name="T110" fmla="*/ 15879 w 969"/>
                  <a:gd name="T111" fmla="*/ 589 h 967"/>
                  <a:gd name="T112" fmla="*/ 16462 w 969"/>
                  <a:gd name="T113" fmla="*/ 2030 h 967"/>
                  <a:gd name="T114" fmla="*/ 19739 w 969"/>
                  <a:gd name="T115" fmla="*/ 2030 h 967"/>
                  <a:gd name="T116" fmla="*/ 21178 w 969"/>
                  <a:gd name="T117" fmla="*/ 2030 h 967"/>
                  <a:gd name="T118" fmla="*/ 22957 w 969"/>
                  <a:gd name="T119" fmla="*/ 2334 h 967"/>
                  <a:gd name="T120" fmla="*/ 25036 w 969"/>
                  <a:gd name="T121" fmla="*/ 1301 h 967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969"/>
                  <a:gd name="T184" fmla="*/ 0 h 967"/>
                  <a:gd name="T185" fmla="*/ 969 w 969"/>
                  <a:gd name="T186" fmla="*/ 967 h 967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969" h="967">
                    <a:moveTo>
                      <a:pt x="593" y="64"/>
                    </a:moveTo>
                    <a:lnTo>
                      <a:pt x="600" y="79"/>
                    </a:lnTo>
                    <a:lnTo>
                      <a:pt x="620" y="122"/>
                    </a:lnTo>
                    <a:lnTo>
                      <a:pt x="634" y="129"/>
                    </a:lnTo>
                    <a:lnTo>
                      <a:pt x="572" y="201"/>
                    </a:lnTo>
                    <a:lnTo>
                      <a:pt x="606" y="193"/>
                    </a:lnTo>
                    <a:lnTo>
                      <a:pt x="627" y="179"/>
                    </a:lnTo>
                    <a:lnTo>
                      <a:pt x="648" y="186"/>
                    </a:lnTo>
                    <a:lnTo>
                      <a:pt x="641" y="201"/>
                    </a:lnTo>
                    <a:lnTo>
                      <a:pt x="613" y="201"/>
                    </a:lnTo>
                    <a:lnTo>
                      <a:pt x="641" y="222"/>
                    </a:lnTo>
                    <a:lnTo>
                      <a:pt x="669" y="201"/>
                    </a:lnTo>
                    <a:lnTo>
                      <a:pt x="732" y="201"/>
                    </a:lnTo>
                    <a:lnTo>
                      <a:pt x="732" y="215"/>
                    </a:lnTo>
                    <a:lnTo>
                      <a:pt x="746" y="215"/>
                    </a:lnTo>
                    <a:lnTo>
                      <a:pt x="739" y="236"/>
                    </a:lnTo>
                    <a:lnTo>
                      <a:pt x="753" y="244"/>
                    </a:lnTo>
                    <a:lnTo>
                      <a:pt x="746" y="251"/>
                    </a:lnTo>
                    <a:lnTo>
                      <a:pt x="795" y="251"/>
                    </a:lnTo>
                    <a:lnTo>
                      <a:pt x="823" y="272"/>
                    </a:lnTo>
                    <a:lnTo>
                      <a:pt x="850" y="258"/>
                    </a:lnTo>
                    <a:lnTo>
                      <a:pt x="864" y="265"/>
                    </a:lnTo>
                    <a:lnTo>
                      <a:pt x="920" y="329"/>
                    </a:lnTo>
                    <a:lnTo>
                      <a:pt x="934" y="329"/>
                    </a:lnTo>
                    <a:lnTo>
                      <a:pt x="955" y="322"/>
                    </a:lnTo>
                    <a:lnTo>
                      <a:pt x="969" y="337"/>
                    </a:lnTo>
                    <a:lnTo>
                      <a:pt x="969" y="401"/>
                    </a:lnTo>
                    <a:lnTo>
                      <a:pt x="955" y="437"/>
                    </a:lnTo>
                    <a:lnTo>
                      <a:pt x="934" y="444"/>
                    </a:lnTo>
                    <a:lnTo>
                      <a:pt x="864" y="501"/>
                    </a:lnTo>
                    <a:lnTo>
                      <a:pt x="850" y="516"/>
                    </a:lnTo>
                    <a:lnTo>
                      <a:pt x="844" y="559"/>
                    </a:lnTo>
                    <a:lnTo>
                      <a:pt x="830" y="595"/>
                    </a:lnTo>
                    <a:lnTo>
                      <a:pt x="823" y="638"/>
                    </a:lnTo>
                    <a:lnTo>
                      <a:pt x="739" y="738"/>
                    </a:lnTo>
                    <a:lnTo>
                      <a:pt x="725" y="745"/>
                    </a:lnTo>
                    <a:lnTo>
                      <a:pt x="690" y="738"/>
                    </a:lnTo>
                    <a:lnTo>
                      <a:pt x="648" y="759"/>
                    </a:lnTo>
                    <a:lnTo>
                      <a:pt x="627" y="759"/>
                    </a:lnTo>
                    <a:lnTo>
                      <a:pt x="565" y="795"/>
                    </a:lnTo>
                    <a:lnTo>
                      <a:pt x="544" y="860"/>
                    </a:lnTo>
                    <a:lnTo>
                      <a:pt x="474" y="938"/>
                    </a:lnTo>
                    <a:lnTo>
                      <a:pt x="460" y="938"/>
                    </a:lnTo>
                    <a:lnTo>
                      <a:pt x="488" y="888"/>
                    </a:lnTo>
                    <a:lnTo>
                      <a:pt x="474" y="888"/>
                    </a:lnTo>
                    <a:lnTo>
                      <a:pt x="432" y="967"/>
                    </a:lnTo>
                    <a:lnTo>
                      <a:pt x="411" y="938"/>
                    </a:lnTo>
                    <a:lnTo>
                      <a:pt x="418" y="924"/>
                    </a:lnTo>
                    <a:lnTo>
                      <a:pt x="390" y="903"/>
                    </a:lnTo>
                    <a:lnTo>
                      <a:pt x="369" y="903"/>
                    </a:lnTo>
                    <a:lnTo>
                      <a:pt x="369" y="881"/>
                    </a:lnTo>
                    <a:lnTo>
                      <a:pt x="348" y="864"/>
                    </a:lnTo>
                    <a:lnTo>
                      <a:pt x="439" y="817"/>
                    </a:lnTo>
                    <a:lnTo>
                      <a:pt x="439" y="781"/>
                    </a:lnTo>
                    <a:lnTo>
                      <a:pt x="439" y="752"/>
                    </a:lnTo>
                    <a:lnTo>
                      <a:pt x="425" y="738"/>
                    </a:lnTo>
                    <a:lnTo>
                      <a:pt x="425" y="716"/>
                    </a:lnTo>
                    <a:lnTo>
                      <a:pt x="390" y="688"/>
                    </a:lnTo>
                    <a:lnTo>
                      <a:pt x="369" y="695"/>
                    </a:lnTo>
                    <a:lnTo>
                      <a:pt x="363" y="680"/>
                    </a:lnTo>
                    <a:lnTo>
                      <a:pt x="369" y="623"/>
                    </a:lnTo>
                    <a:lnTo>
                      <a:pt x="376" y="609"/>
                    </a:lnTo>
                    <a:lnTo>
                      <a:pt x="363" y="552"/>
                    </a:lnTo>
                    <a:lnTo>
                      <a:pt x="328" y="544"/>
                    </a:lnTo>
                    <a:lnTo>
                      <a:pt x="328" y="516"/>
                    </a:lnTo>
                    <a:lnTo>
                      <a:pt x="314" y="509"/>
                    </a:lnTo>
                    <a:lnTo>
                      <a:pt x="314" y="501"/>
                    </a:lnTo>
                    <a:lnTo>
                      <a:pt x="328" y="487"/>
                    </a:lnTo>
                    <a:lnTo>
                      <a:pt x="258" y="437"/>
                    </a:lnTo>
                    <a:lnTo>
                      <a:pt x="230" y="430"/>
                    </a:lnTo>
                    <a:lnTo>
                      <a:pt x="209" y="401"/>
                    </a:lnTo>
                    <a:lnTo>
                      <a:pt x="223" y="394"/>
                    </a:lnTo>
                    <a:lnTo>
                      <a:pt x="230" y="365"/>
                    </a:lnTo>
                    <a:lnTo>
                      <a:pt x="216" y="365"/>
                    </a:lnTo>
                    <a:lnTo>
                      <a:pt x="153" y="372"/>
                    </a:lnTo>
                    <a:lnTo>
                      <a:pt x="153" y="365"/>
                    </a:lnTo>
                    <a:lnTo>
                      <a:pt x="132" y="365"/>
                    </a:lnTo>
                    <a:lnTo>
                      <a:pt x="125" y="387"/>
                    </a:lnTo>
                    <a:lnTo>
                      <a:pt x="105" y="387"/>
                    </a:lnTo>
                    <a:lnTo>
                      <a:pt x="77" y="372"/>
                    </a:lnTo>
                    <a:lnTo>
                      <a:pt x="84" y="344"/>
                    </a:lnTo>
                    <a:lnTo>
                      <a:pt x="70" y="337"/>
                    </a:lnTo>
                    <a:lnTo>
                      <a:pt x="42" y="344"/>
                    </a:lnTo>
                    <a:lnTo>
                      <a:pt x="28" y="322"/>
                    </a:lnTo>
                    <a:lnTo>
                      <a:pt x="7" y="337"/>
                    </a:lnTo>
                    <a:lnTo>
                      <a:pt x="0" y="294"/>
                    </a:lnTo>
                    <a:lnTo>
                      <a:pt x="14" y="258"/>
                    </a:lnTo>
                    <a:lnTo>
                      <a:pt x="21" y="244"/>
                    </a:lnTo>
                    <a:lnTo>
                      <a:pt x="91" y="201"/>
                    </a:lnTo>
                    <a:lnTo>
                      <a:pt x="125" y="122"/>
                    </a:lnTo>
                    <a:lnTo>
                      <a:pt x="112" y="107"/>
                    </a:lnTo>
                    <a:lnTo>
                      <a:pt x="112" y="93"/>
                    </a:lnTo>
                    <a:lnTo>
                      <a:pt x="139" y="79"/>
                    </a:lnTo>
                    <a:lnTo>
                      <a:pt x="125" y="72"/>
                    </a:lnTo>
                    <a:lnTo>
                      <a:pt x="125" y="57"/>
                    </a:lnTo>
                    <a:lnTo>
                      <a:pt x="132" y="57"/>
                    </a:lnTo>
                    <a:lnTo>
                      <a:pt x="153" y="72"/>
                    </a:lnTo>
                    <a:lnTo>
                      <a:pt x="174" y="72"/>
                    </a:lnTo>
                    <a:lnTo>
                      <a:pt x="181" y="93"/>
                    </a:lnTo>
                    <a:lnTo>
                      <a:pt x="237" y="100"/>
                    </a:lnTo>
                    <a:lnTo>
                      <a:pt x="279" y="72"/>
                    </a:lnTo>
                    <a:lnTo>
                      <a:pt x="251" y="21"/>
                    </a:lnTo>
                    <a:lnTo>
                      <a:pt x="258" y="14"/>
                    </a:lnTo>
                    <a:lnTo>
                      <a:pt x="307" y="43"/>
                    </a:lnTo>
                    <a:lnTo>
                      <a:pt x="314" y="36"/>
                    </a:lnTo>
                    <a:lnTo>
                      <a:pt x="349" y="43"/>
                    </a:lnTo>
                    <a:lnTo>
                      <a:pt x="363" y="14"/>
                    </a:lnTo>
                    <a:lnTo>
                      <a:pt x="363" y="0"/>
                    </a:lnTo>
                    <a:lnTo>
                      <a:pt x="383" y="14"/>
                    </a:lnTo>
                    <a:lnTo>
                      <a:pt x="376" y="29"/>
                    </a:lnTo>
                    <a:lnTo>
                      <a:pt x="390" y="36"/>
                    </a:lnTo>
                    <a:lnTo>
                      <a:pt x="390" y="100"/>
                    </a:lnTo>
                    <a:lnTo>
                      <a:pt x="397" y="115"/>
                    </a:lnTo>
                    <a:lnTo>
                      <a:pt x="467" y="100"/>
                    </a:lnTo>
                    <a:lnTo>
                      <a:pt x="488" y="93"/>
                    </a:lnTo>
                    <a:lnTo>
                      <a:pt x="502" y="100"/>
                    </a:lnTo>
                    <a:lnTo>
                      <a:pt x="530" y="100"/>
                    </a:lnTo>
                    <a:lnTo>
                      <a:pt x="544" y="115"/>
                    </a:lnTo>
                    <a:lnTo>
                      <a:pt x="558" y="115"/>
                    </a:lnTo>
                    <a:lnTo>
                      <a:pt x="593" y="64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A74109"/>
                  </a:gs>
                  <a:gs pos="100000">
                    <a:srgbClr val="4D1E04"/>
                  </a:gs>
                </a:gsLst>
                <a:lin ang="5400000" scaled="1"/>
              </a:gradFill>
              <a:ln w="6350" cap="rnd">
                <a:solidFill>
                  <a:srgbClr val="FED1A0"/>
                </a:solidFill>
                <a:round/>
                <a:headEnd/>
                <a:tailEnd/>
              </a:ln>
            </p:spPr>
            <p:txBody>
              <a:bodyPr lIns="87819" tIns="43910" rIns="87819" bIns="43910"/>
              <a:lstStyle/>
              <a:p>
                <a:endParaRPr lang="en-US"/>
              </a:p>
            </p:txBody>
          </p:sp>
          <p:sp>
            <p:nvSpPr>
              <p:cNvPr id="6183" name="Freeform 30"/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auto">
              <a:xfrm rot="-434746">
                <a:off x="2612" y="1640"/>
                <a:ext cx="207" cy="110"/>
              </a:xfrm>
              <a:custGeom>
                <a:avLst/>
                <a:gdLst>
                  <a:gd name="T0" fmla="*/ 52882029 w 96"/>
                  <a:gd name="T1" fmla="*/ 0 h 52"/>
                  <a:gd name="T2" fmla="*/ 17516193 w 96"/>
                  <a:gd name="T3" fmla="*/ 5788084 h 52"/>
                  <a:gd name="T4" fmla="*/ 0 w 96"/>
                  <a:gd name="T5" fmla="*/ 24474203 h 52"/>
                  <a:gd name="T6" fmla="*/ 52882029 w 96"/>
                  <a:gd name="T7" fmla="*/ 36653798 h 52"/>
                  <a:gd name="T8" fmla="*/ 60682143 w 96"/>
                  <a:gd name="T9" fmla="*/ 73506565 h 52"/>
                  <a:gd name="T10" fmla="*/ 60682143 w 96"/>
                  <a:gd name="T11" fmla="*/ 79272268 h 52"/>
                  <a:gd name="T12" fmla="*/ 113521211 w 96"/>
                  <a:gd name="T13" fmla="*/ 67034929 h 52"/>
                  <a:gd name="T14" fmla="*/ 130845888 w 96"/>
                  <a:gd name="T15" fmla="*/ 67034929 h 52"/>
                  <a:gd name="T16" fmla="*/ 210040897 w 96"/>
                  <a:gd name="T17" fmla="*/ 36653798 h 52"/>
                  <a:gd name="T18" fmla="*/ 201113578 w 96"/>
                  <a:gd name="T19" fmla="*/ 30248122 h 52"/>
                  <a:gd name="T20" fmla="*/ 60682143 w 96"/>
                  <a:gd name="T21" fmla="*/ 12244020 h 52"/>
                  <a:gd name="T22" fmla="*/ 52882029 w 96"/>
                  <a:gd name="T23" fmla="*/ 0 h 5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96"/>
                  <a:gd name="T37" fmla="*/ 0 h 52"/>
                  <a:gd name="T38" fmla="*/ 96 w 96"/>
                  <a:gd name="T39" fmla="*/ 52 h 52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96" h="52">
                    <a:moveTo>
                      <a:pt x="24" y="0"/>
                    </a:moveTo>
                    <a:lnTo>
                      <a:pt x="8" y="4"/>
                    </a:lnTo>
                    <a:lnTo>
                      <a:pt x="0" y="16"/>
                    </a:lnTo>
                    <a:lnTo>
                      <a:pt x="24" y="24"/>
                    </a:lnTo>
                    <a:lnTo>
                      <a:pt x="28" y="48"/>
                    </a:lnTo>
                    <a:lnTo>
                      <a:pt x="28" y="52"/>
                    </a:lnTo>
                    <a:lnTo>
                      <a:pt x="52" y="44"/>
                    </a:lnTo>
                    <a:lnTo>
                      <a:pt x="60" y="44"/>
                    </a:lnTo>
                    <a:lnTo>
                      <a:pt x="96" y="24"/>
                    </a:lnTo>
                    <a:lnTo>
                      <a:pt x="92" y="20"/>
                    </a:lnTo>
                    <a:lnTo>
                      <a:pt x="28" y="8"/>
                    </a:lnTo>
                    <a:lnTo>
                      <a:pt x="24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A74109"/>
                  </a:gs>
                  <a:gs pos="100000">
                    <a:srgbClr val="4D1E04"/>
                  </a:gs>
                </a:gsLst>
                <a:lin ang="5400000" scaled="1"/>
              </a:gradFill>
              <a:ln w="6350" cap="rnd">
                <a:solidFill>
                  <a:srgbClr val="FED1A0"/>
                </a:solidFill>
                <a:round/>
                <a:headEnd/>
                <a:tailEnd/>
              </a:ln>
            </p:spPr>
            <p:txBody>
              <a:bodyPr lIns="87819" tIns="43910" rIns="87819" bIns="43910"/>
              <a:lstStyle/>
              <a:p>
                <a:endParaRPr lang="en-US"/>
              </a:p>
            </p:txBody>
          </p:sp>
        </p:grpSp>
        <p:pic>
          <p:nvPicPr>
            <p:cNvPr id="6156" name="Picture 187"/>
            <p:cNvPicPr>
              <a:picLocks noChangeAspect="1" noChangeArrowheads="1"/>
            </p:cNvPicPr>
            <p:nvPr/>
          </p:nvPicPr>
          <p:blipFill>
            <a:blip r:embed="rId4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364" r="12987"/>
            <a:stretch>
              <a:fillRect/>
            </a:stretch>
          </p:blipFill>
          <p:spPr bwMode="auto">
            <a:xfrm>
              <a:off x="4068" y="2041"/>
              <a:ext cx="1302" cy="799"/>
            </a:xfrm>
            <a:prstGeom prst="rect">
              <a:avLst/>
            </a:prstGeom>
            <a:noFill/>
            <a:ln w="28575">
              <a:solidFill>
                <a:srgbClr val="B2B2B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150" name="Picture 40" descr="TNS_Eng_horizontal_logo_RGB_large"/>
          <p:cNvPicPr>
            <a:picLocks noChangeAspect="1" noChangeArrowheads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94" t="16336" r="5894" b="16336"/>
          <a:stretch>
            <a:fillRect/>
          </a:stretch>
        </p:blipFill>
        <p:spPr bwMode="auto">
          <a:xfrm>
            <a:off x="2108200" y="2276475"/>
            <a:ext cx="2460625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1" name="4 Marcador de número de diapositiva"/>
          <p:cNvSpPr txBox="1"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8153400" y="6648450"/>
            <a:ext cx="885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2F0DAE0F-AE18-44CE-8708-0BC5A345C0C1}" type="slidenum">
              <a:rPr lang="en-US" sz="900">
                <a:solidFill>
                  <a:srgbClr val="7F329A"/>
                </a:solidFill>
                <a:cs typeface="Arial" pitchFamily="34" charset="0"/>
              </a:rPr>
              <a:pPr algn="r" eaLnBrk="1" hangingPunct="1"/>
              <a:t>2</a:t>
            </a:fld>
            <a:endParaRPr lang="en-US" sz="900">
              <a:solidFill>
                <a:srgbClr val="7F329A"/>
              </a:solidFill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94" name="Rectangle 54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0" name="think-cell Slide" r:id="rId34" imgW="0" imgH="0" progId="TCLayout.ActiveDocument.1">
                  <p:embed/>
                </p:oleObj>
              </mc:Choice>
              <mc:Fallback>
                <p:oleObj name="think-cell Slide" r:id="rId34" imgW="0" imgH="0" progId="TCLayout.ActiveDocument.1">
                  <p:embed/>
                  <p:pic>
                    <p:nvPicPr>
                      <p:cNvPr id="0" name="Rectangle 54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3795" name="Object 53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1730375" y="3025775"/>
          <a:ext cx="2719388" cy="3032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1" name="Chart" r:id="rId35" imgW="2730500" imgH="3035300" progId="MSGraph.Chart.8">
                  <p:embed followColorScheme="full"/>
                </p:oleObj>
              </mc:Choice>
              <mc:Fallback>
                <p:oleObj name="Chart" r:id="rId35" imgW="2730500" imgH="3035300" progId="MSGraph.Chart.8">
                  <p:embed followColorScheme="full"/>
                  <p:pic>
                    <p:nvPicPr>
                      <p:cNvPr id="0" name="Object 53"/>
                      <p:cNvPicPr>
                        <a:picLocks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White">
                      <a:xfrm>
                        <a:off x="1730375" y="3025775"/>
                        <a:ext cx="2719388" cy="30321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796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s-ES_tradnl" smtClean="0">
                <a:solidFill>
                  <a:srgbClr val="000000"/>
                </a:solidFill>
                <a:ea typeface="ＭＳ Ｐゴシック" pitchFamily="34" charset="-128"/>
                <a:cs typeface="Arial" pitchFamily="34" charset="0"/>
              </a:rPr>
              <a:t>Gender equity and outcomes are tracked closely</a:t>
            </a:r>
            <a:endParaRPr lang="en-US" smtClean="0">
              <a:solidFill>
                <a:srgbClr val="000000"/>
              </a:solidFill>
              <a:ea typeface="ＭＳ Ｐゴシック" pitchFamily="34" charset="-128"/>
              <a:cs typeface="Arial" pitchFamily="34" charset="0"/>
            </a:endParaRPr>
          </a:p>
        </p:txBody>
      </p:sp>
      <p:grpSp>
        <p:nvGrpSpPr>
          <p:cNvPr id="33797" name="Group 3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056563" y="693738"/>
            <a:ext cx="974725" cy="344487"/>
            <a:chOff x="220" y="1866"/>
            <a:chExt cx="5348" cy="1886"/>
          </a:xfrm>
        </p:grpSpPr>
        <p:sp>
          <p:nvSpPr>
            <p:cNvPr id="33809" name="Line 4"/>
            <p:cNvSpPr>
              <a:spLocks noChangeShapeType="1"/>
            </p:cNvSpPr>
            <p:nvPr>
              <p:custDataLst>
                <p:tags r:id="rId17"/>
              </p:custDataLst>
            </p:nvPr>
          </p:nvSpPr>
          <p:spPr bwMode="auto">
            <a:xfrm>
              <a:off x="3974" y="2414"/>
              <a:ext cx="157" cy="9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3810" name="Arc 5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2955" y="2361"/>
              <a:ext cx="470" cy="269"/>
            </a:xfrm>
            <a:custGeom>
              <a:avLst/>
              <a:gdLst>
                <a:gd name="T0" fmla="*/ 0 w 24969"/>
                <a:gd name="T1" fmla="*/ 0 h 21600"/>
                <a:gd name="T2" fmla="*/ 0 w 24969"/>
                <a:gd name="T3" fmla="*/ 0 h 21600"/>
                <a:gd name="T4" fmla="*/ 0 w 24969"/>
                <a:gd name="T5" fmla="*/ 0 h 21600"/>
                <a:gd name="T6" fmla="*/ 0 60000 65536"/>
                <a:gd name="T7" fmla="*/ 0 60000 65536"/>
                <a:gd name="T8" fmla="*/ 0 60000 65536"/>
                <a:gd name="T9" fmla="*/ 0 w 24969"/>
                <a:gd name="T10" fmla="*/ 0 h 21600"/>
                <a:gd name="T11" fmla="*/ 24969 w 24969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969" h="21600" fill="none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</a:path>
                <a:path w="24969" h="21600" stroke="0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  <a:lnTo>
                    <a:pt x="21594" y="21600"/>
                  </a:lnTo>
                  <a:lnTo>
                    <a:pt x="-1" y="21094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3811" name="Arc 6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2624" y="1988"/>
              <a:ext cx="984" cy="548"/>
            </a:xfrm>
            <a:custGeom>
              <a:avLst/>
              <a:gdLst>
                <a:gd name="T0" fmla="*/ 0 w 24568"/>
                <a:gd name="T1" fmla="*/ 0 h 21600"/>
                <a:gd name="T2" fmla="*/ 0 w 24568"/>
                <a:gd name="T3" fmla="*/ 0 h 21600"/>
                <a:gd name="T4" fmla="*/ 0 w 24568"/>
                <a:gd name="T5" fmla="*/ 0 h 21600"/>
                <a:gd name="T6" fmla="*/ 0 60000 65536"/>
                <a:gd name="T7" fmla="*/ 0 60000 65536"/>
                <a:gd name="T8" fmla="*/ 0 60000 65536"/>
                <a:gd name="T9" fmla="*/ 0 w 24568"/>
                <a:gd name="T10" fmla="*/ 0 h 21600"/>
                <a:gd name="T11" fmla="*/ 24568 w 24568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568" h="21600" fill="none" extrusionOk="0">
                  <a:moveTo>
                    <a:pt x="-1" y="17428"/>
                  </a:moveTo>
                  <a:cubicBezTo>
                    <a:pt x="1992" y="7301"/>
                    <a:pt x="10871" y="-1"/>
                    <a:pt x="21193" y="-1"/>
                  </a:cubicBezTo>
                  <a:cubicBezTo>
                    <a:pt x="22323" y="-1"/>
                    <a:pt x="23451" y="88"/>
                    <a:pt x="24567" y="265"/>
                  </a:cubicBezTo>
                </a:path>
                <a:path w="24568" h="21600" stroke="0" extrusionOk="0">
                  <a:moveTo>
                    <a:pt x="-1" y="17428"/>
                  </a:moveTo>
                  <a:cubicBezTo>
                    <a:pt x="1992" y="7301"/>
                    <a:pt x="10871" y="-1"/>
                    <a:pt x="21193" y="-1"/>
                  </a:cubicBezTo>
                  <a:cubicBezTo>
                    <a:pt x="22323" y="-1"/>
                    <a:pt x="23451" y="88"/>
                    <a:pt x="24567" y="265"/>
                  </a:cubicBezTo>
                  <a:lnTo>
                    <a:pt x="21193" y="21600"/>
                  </a:lnTo>
                  <a:lnTo>
                    <a:pt x="-1" y="17428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3812" name="Freeform 7"/>
            <p:cNvSpPr>
              <a:spLocks/>
            </p:cNvSpPr>
            <p:nvPr>
              <p:custDataLst>
                <p:tags r:id="rId20"/>
              </p:custDataLst>
            </p:nvPr>
          </p:nvSpPr>
          <p:spPr bwMode="blackWhite">
            <a:xfrm>
              <a:off x="2546" y="1866"/>
              <a:ext cx="854" cy="678"/>
            </a:xfrm>
            <a:custGeom>
              <a:avLst/>
              <a:gdLst>
                <a:gd name="T0" fmla="*/ 0 w 854"/>
                <a:gd name="T1" fmla="*/ 570 h 675"/>
                <a:gd name="T2" fmla="*/ 660 w 854"/>
                <a:gd name="T3" fmla="*/ 567 h 675"/>
                <a:gd name="T4" fmla="*/ 660 w 854"/>
                <a:gd name="T5" fmla="*/ 690 h 675"/>
                <a:gd name="T6" fmla="*/ 854 w 854"/>
                <a:gd name="T7" fmla="*/ 334 h 675"/>
                <a:gd name="T8" fmla="*/ 662 w 854"/>
                <a:gd name="T9" fmla="*/ 0 h 675"/>
                <a:gd name="T10" fmla="*/ 663 w 854"/>
                <a:gd name="T11" fmla="*/ 131 h 675"/>
                <a:gd name="T12" fmla="*/ 12 w 854"/>
                <a:gd name="T13" fmla="*/ 131 h 675"/>
                <a:gd name="T14" fmla="*/ 124 w 854"/>
                <a:gd name="T15" fmla="*/ 331 h 675"/>
                <a:gd name="T16" fmla="*/ 0 w 854"/>
                <a:gd name="T17" fmla="*/ 570 h 6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54"/>
                <a:gd name="T28" fmla="*/ 0 h 675"/>
                <a:gd name="T29" fmla="*/ 854 w 854"/>
                <a:gd name="T30" fmla="*/ 675 h 6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54" h="675">
                  <a:moveTo>
                    <a:pt x="0" y="558"/>
                  </a:moveTo>
                  <a:lnTo>
                    <a:pt x="660" y="556"/>
                  </a:lnTo>
                  <a:lnTo>
                    <a:pt x="660" y="675"/>
                  </a:lnTo>
                  <a:lnTo>
                    <a:pt x="854" y="329"/>
                  </a:lnTo>
                  <a:lnTo>
                    <a:pt x="662" y="0"/>
                  </a:lnTo>
                  <a:lnTo>
                    <a:pt x="663" y="126"/>
                  </a:lnTo>
                  <a:lnTo>
                    <a:pt x="12" y="126"/>
                  </a:lnTo>
                  <a:lnTo>
                    <a:pt x="124" y="3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813" name="Arc 8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455" y="1988"/>
              <a:ext cx="984" cy="548"/>
            </a:xfrm>
            <a:custGeom>
              <a:avLst/>
              <a:gdLst>
                <a:gd name="T0" fmla="*/ 0 w 24961"/>
                <a:gd name="T1" fmla="*/ 0 h 21600"/>
                <a:gd name="T2" fmla="*/ 0 w 24961"/>
                <a:gd name="T3" fmla="*/ 0 h 21600"/>
                <a:gd name="T4" fmla="*/ 0 w 24961"/>
                <a:gd name="T5" fmla="*/ 0 h 21600"/>
                <a:gd name="T6" fmla="*/ 0 60000 65536"/>
                <a:gd name="T7" fmla="*/ 0 60000 65536"/>
                <a:gd name="T8" fmla="*/ 0 60000 65536"/>
                <a:gd name="T9" fmla="*/ 0 w 24961"/>
                <a:gd name="T10" fmla="*/ 0 h 21600"/>
                <a:gd name="T11" fmla="*/ 24961 w 24961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961" h="21600" fill="none" extrusionOk="0">
                  <a:moveTo>
                    <a:pt x="-1" y="20825"/>
                  </a:moveTo>
                  <a:cubicBezTo>
                    <a:pt x="416" y="9205"/>
                    <a:pt x="9957" y="-1"/>
                    <a:pt x="21586" y="-1"/>
                  </a:cubicBezTo>
                  <a:cubicBezTo>
                    <a:pt x="22716" y="-1"/>
                    <a:pt x="23844" y="88"/>
                    <a:pt x="24960" y="265"/>
                  </a:cubicBezTo>
                </a:path>
                <a:path w="24961" h="21600" stroke="0" extrusionOk="0">
                  <a:moveTo>
                    <a:pt x="-1" y="20825"/>
                  </a:moveTo>
                  <a:cubicBezTo>
                    <a:pt x="416" y="9205"/>
                    <a:pt x="9957" y="-1"/>
                    <a:pt x="21586" y="-1"/>
                  </a:cubicBezTo>
                  <a:cubicBezTo>
                    <a:pt x="22716" y="-1"/>
                    <a:pt x="23844" y="88"/>
                    <a:pt x="24960" y="265"/>
                  </a:cubicBezTo>
                  <a:lnTo>
                    <a:pt x="21586" y="21600"/>
                  </a:lnTo>
                  <a:lnTo>
                    <a:pt x="-1" y="20825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3814" name="Arc 9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812" y="2387"/>
              <a:ext cx="479" cy="278"/>
            </a:xfrm>
            <a:custGeom>
              <a:avLst/>
              <a:gdLst>
                <a:gd name="T0" fmla="*/ 0 w 24969"/>
                <a:gd name="T1" fmla="*/ 0 h 21600"/>
                <a:gd name="T2" fmla="*/ 0 w 24969"/>
                <a:gd name="T3" fmla="*/ 0 h 21600"/>
                <a:gd name="T4" fmla="*/ 0 w 24969"/>
                <a:gd name="T5" fmla="*/ 0 h 21600"/>
                <a:gd name="T6" fmla="*/ 0 60000 65536"/>
                <a:gd name="T7" fmla="*/ 0 60000 65536"/>
                <a:gd name="T8" fmla="*/ 0 60000 65536"/>
                <a:gd name="T9" fmla="*/ 0 w 24969"/>
                <a:gd name="T10" fmla="*/ 0 h 21600"/>
                <a:gd name="T11" fmla="*/ 24969 w 24969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969" h="21600" fill="none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</a:path>
                <a:path w="24969" h="21600" stroke="0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  <a:lnTo>
                    <a:pt x="21594" y="21600"/>
                  </a:lnTo>
                  <a:lnTo>
                    <a:pt x="-1" y="21094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3815" name="Freeform 10"/>
            <p:cNvSpPr>
              <a:spLocks/>
            </p:cNvSpPr>
            <p:nvPr>
              <p:custDataLst>
                <p:tags r:id="rId23"/>
              </p:custDataLst>
            </p:nvPr>
          </p:nvSpPr>
          <p:spPr bwMode="blackWhite">
            <a:xfrm>
              <a:off x="2354" y="2379"/>
              <a:ext cx="723" cy="982"/>
            </a:xfrm>
            <a:custGeom>
              <a:avLst/>
              <a:gdLst>
                <a:gd name="T0" fmla="*/ 185 w 933"/>
                <a:gd name="T1" fmla="*/ 0 h 1276"/>
                <a:gd name="T2" fmla="*/ 44 w 933"/>
                <a:gd name="T3" fmla="*/ 1 h 1276"/>
                <a:gd name="T4" fmla="*/ 88 w 933"/>
                <a:gd name="T5" fmla="*/ 25 h 1276"/>
                <a:gd name="T6" fmla="*/ 178 w 933"/>
                <a:gd name="T7" fmla="*/ 345 h 1276"/>
                <a:gd name="T8" fmla="*/ 190 w 933"/>
                <a:gd name="T9" fmla="*/ 264 h 1276"/>
                <a:gd name="T10" fmla="*/ 260 w 933"/>
                <a:gd name="T11" fmla="*/ 235 h 1276"/>
                <a:gd name="T12" fmla="*/ 234 w 933"/>
                <a:gd name="T13" fmla="*/ 211 h 1276"/>
                <a:gd name="T14" fmla="*/ 220 w 933"/>
                <a:gd name="T15" fmla="*/ 192 h 1276"/>
                <a:gd name="T16" fmla="*/ 210 w 933"/>
                <a:gd name="T17" fmla="*/ 162 h 1276"/>
                <a:gd name="T18" fmla="*/ 211 w 933"/>
                <a:gd name="T19" fmla="*/ 94 h 1276"/>
                <a:gd name="T20" fmla="*/ 257 w 933"/>
                <a:gd name="T21" fmla="*/ 119 h 1276"/>
                <a:gd name="T22" fmla="*/ 185 w 933"/>
                <a:gd name="T23" fmla="*/ 0 h 127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33"/>
                <a:gd name="T37" fmla="*/ 0 h 1276"/>
                <a:gd name="T38" fmla="*/ 933 w 933"/>
                <a:gd name="T39" fmla="*/ 1276 h 127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33" h="1276">
                  <a:moveTo>
                    <a:pt x="662" y="0"/>
                  </a:moveTo>
                  <a:lnTo>
                    <a:pt x="156" y="1"/>
                  </a:lnTo>
                  <a:lnTo>
                    <a:pt x="314" y="93"/>
                  </a:lnTo>
                  <a:cubicBezTo>
                    <a:pt x="314" y="93"/>
                    <a:pt x="0" y="771"/>
                    <a:pt x="637" y="1276"/>
                  </a:cubicBezTo>
                  <a:lnTo>
                    <a:pt x="679" y="978"/>
                  </a:lnTo>
                  <a:cubicBezTo>
                    <a:pt x="679" y="978"/>
                    <a:pt x="813" y="923"/>
                    <a:pt x="933" y="872"/>
                  </a:cubicBezTo>
                  <a:cubicBezTo>
                    <a:pt x="885" y="843"/>
                    <a:pt x="838" y="779"/>
                    <a:pt x="838" y="779"/>
                  </a:cubicBezTo>
                  <a:lnTo>
                    <a:pt x="788" y="711"/>
                  </a:lnTo>
                  <a:lnTo>
                    <a:pt x="752" y="600"/>
                  </a:lnTo>
                  <a:cubicBezTo>
                    <a:pt x="752" y="600"/>
                    <a:pt x="719" y="481"/>
                    <a:pt x="755" y="348"/>
                  </a:cubicBezTo>
                  <a:cubicBezTo>
                    <a:pt x="839" y="395"/>
                    <a:pt x="923" y="444"/>
                    <a:pt x="923" y="444"/>
                  </a:cubicBezTo>
                  <a:lnTo>
                    <a:pt x="662" y="0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816" name="Freeform 11"/>
            <p:cNvSpPr>
              <a:spLocks/>
            </p:cNvSpPr>
            <p:nvPr>
              <p:custDataLst>
                <p:tags r:id="rId24"/>
              </p:custDataLst>
            </p:nvPr>
          </p:nvSpPr>
          <p:spPr bwMode="blackWhite">
            <a:xfrm rot="4209998">
              <a:off x="86" y="2643"/>
              <a:ext cx="1139" cy="784"/>
            </a:xfrm>
            <a:custGeom>
              <a:avLst/>
              <a:gdLst>
                <a:gd name="T0" fmla="*/ 16 w 1485"/>
                <a:gd name="T1" fmla="*/ 66 h 1021"/>
                <a:gd name="T2" fmla="*/ 0 w 1485"/>
                <a:gd name="T3" fmla="*/ 203 h 1021"/>
                <a:gd name="T4" fmla="*/ 31 w 1485"/>
                <a:gd name="T5" fmla="*/ 161 h 1021"/>
                <a:gd name="T6" fmla="*/ 394 w 1485"/>
                <a:gd name="T7" fmla="*/ 39 h 1021"/>
                <a:gd name="T8" fmla="*/ 311 w 1485"/>
                <a:gd name="T9" fmla="*/ 56 h 1021"/>
                <a:gd name="T10" fmla="*/ 265 w 1485"/>
                <a:gd name="T11" fmla="*/ 0 h 1021"/>
                <a:gd name="T12" fmla="*/ 229 w 1485"/>
                <a:gd name="T13" fmla="*/ 37 h 1021"/>
                <a:gd name="T14" fmla="*/ 206 w 1485"/>
                <a:gd name="T15" fmla="*/ 51 h 1021"/>
                <a:gd name="T16" fmla="*/ 170 w 1485"/>
                <a:gd name="T17" fmla="*/ 61 h 1021"/>
                <a:gd name="T18" fmla="*/ 115 w 1485"/>
                <a:gd name="T19" fmla="*/ 51 h 1021"/>
                <a:gd name="T20" fmla="*/ 142 w 1485"/>
                <a:gd name="T21" fmla="*/ 15 h 1021"/>
                <a:gd name="T22" fmla="*/ 16 w 1485"/>
                <a:gd name="T23" fmla="*/ 66 h 10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85"/>
                <a:gd name="T37" fmla="*/ 0 h 1021"/>
                <a:gd name="T38" fmla="*/ 1485 w 1485"/>
                <a:gd name="T39" fmla="*/ 1021 h 102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85" h="1021">
                  <a:moveTo>
                    <a:pt x="61" y="248"/>
                  </a:moveTo>
                  <a:lnTo>
                    <a:pt x="0" y="762"/>
                  </a:lnTo>
                  <a:cubicBezTo>
                    <a:pt x="0" y="762"/>
                    <a:pt x="59" y="684"/>
                    <a:pt x="118" y="606"/>
                  </a:cubicBezTo>
                  <a:cubicBezTo>
                    <a:pt x="136" y="628"/>
                    <a:pt x="994" y="1021"/>
                    <a:pt x="1485" y="146"/>
                  </a:cubicBezTo>
                  <a:lnTo>
                    <a:pt x="1170" y="210"/>
                  </a:lnTo>
                  <a:cubicBezTo>
                    <a:pt x="1170" y="210"/>
                    <a:pt x="1084" y="105"/>
                    <a:pt x="999" y="0"/>
                  </a:cubicBezTo>
                  <a:cubicBezTo>
                    <a:pt x="946" y="83"/>
                    <a:pt x="860" y="137"/>
                    <a:pt x="860" y="137"/>
                  </a:cubicBezTo>
                  <a:lnTo>
                    <a:pt x="778" y="190"/>
                  </a:lnTo>
                  <a:lnTo>
                    <a:pt x="638" y="226"/>
                  </a:lnTo>
                  <a:cubicBezTo>
                    <a:pt x="581" y="226"/>
                    <a:pt x="452" y="219"/>
                    <a:pt x="435" y="191"/>
                  </a:cubicBezTo>
                  <a:cubicBezTo>
                    <a:pt x="485" y="124"/>
                    <a:pt x="535" y="57"/>
                    <a:pt x="535" y="57"/>
                  </a:cubicBezTo>
                  <a:lnTo>
                    <a:pt x="61" y="248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817" name="Freeform 12"/>
            <p:cNvSpPr>
              <a:spLocks/>
            </p:cNvSpPr>
            <p:nvPr>
              <p:custDataLst>
                <p:tags r:id="rId25"/>
              </p:custDataLst>
            </p:nvPr>
          </p:nvSpPr>
          <p:spPr bwMode="blackWhite">
            <a:xfrm>
              <a:off x="1074" y="2005"/>
              <a:ext cx="862" cy="1608"/>
            </a:xfrm>
            <a:custGeom>
              <a:avLst/>
              <a:gdLst>
                <a:gd name="T0" fmla="*/ 182 w 976"/>
                <a:gd name="T1" fmla="*/ 913 h 1811"/>
                <a:gd name="T2" fmla="*/ 242 w 976"/>
                <a:gd name="T3" fmla="*/ 890 h 1811"/>
                <a:gd name="T4" fmla="*/ 297 w 976"/>
                <a:gd name="T5" fmla="*/ 859 h 1811"/>
                <a:gd name="T6" fmla="*/ 351 w 976"/>
                <a:gd name="T7" fmla="*/ 820 h 1811"/>
                <a:gd name="T8" fmla="*/ 397 w 976"/>
                <a:gd name="T9" fmla="*/ 776 h 1811"/>
                <a:gd name="T10" fmla="*/ 439 w 976"/>
                <a:gd name="T11" fmla="*/ 725 h 1811"/>
                <a:gd name="T12" fmla="*/ 474 w 976"/>
                <a:gd name="T13" fmla="*/ 668 h 1811"/>
                <a:gd name="T14" fmla="*/ 498 w 976"/>
                <a:gd name="T15" fmla="*/ 607 h 1811"/>
                <a:gd name="T16" fmla="*/ 517 w 976"/>
                <a:gd name="T17" fmla="*/ 543 h 1811"/>
                <a:gd name="T18" fmla="*/ 524 w 976"/>
                <a:gd name="T19" fmla="*/ 478 h 1811"/>
                <a:gd name="T20" fmla="*/ 522 w 976"/>
                <a:gd name="T21" fmla="*/ 411 h 1811"/>
                <a:gd name="T22" fmla="*/ 510 w 976"/>
                <a:gd name="T23" fmla="*/ 345 h 1811"/>
                <a:gd name="T24" fmla="*/ 491 w 976"/>
                <a:gd name="T25" fmla="*/ 282 h 1811"/>
                <a:gd name="T26" fmla="*/ 462 w 976"/>
                <a:gd name="T27" fmla="*/ 222 h 1811"/>
                <a:gd name="T28" fmla="*/ 424 w 976"/>
                <a:gd name="T29" fmla="*/ 168 h 1811"/>
                <a:gd name="T30" fmla="*/ 381 w 976"/>
                <a:gd name="T31" fmla="*/ 119 h 1811"/>
                <a:gd name="T32" fmla="*/ 330 w 976"/>
                <a:gd name="T33" fmla="*/ 78 h 1811"/>
                <a:gd name="T34" fmla="*/ 274 w 976"/>
                <a:gd name="T35" fmla="*/ 45 h 1811"/>
                <a:gd name="T36" fmla="*/ 215 w 976"/>
                <a:gd name="T37" fmla="*/ 20 h 1811"/>
                <a:gd name="T38" fmla="*/ 150 w 976"/>
                <a:gd name="T39" fmla="*/ 4 h 1811"/>
                <a:gd name="T40" fmla="*/ 158 w 976"/>
                <a:gd name="T41" fmla="*/ 61 h 1811"/>
                <a:gd name="T42" fmla="*/ 122 w 976"/>
                <a:gd name="T43" fmla="*/ 240 h 1811"/>
                <a:gd name="T44" fmla="*/ 163 w 976"/>
                <a:gd name="T45" fmla="*/ 256 h 1811"/>
                <a:gd name="T46" fmla="*/ 204 w 976"/>
                <a:gd name="T47" fmla="*/ 280 h 1811"/>
                <a:gd name="T48" fmla="*/ 237 w 976"/>
                <a:gd name="T49" fmla="*/ 313 h 1811"/>
                <a:gd name="T50" fmla="*/ 263 w 976"/>
                <a:gd name="T51" fmla="*/ 352 h 1811"/>
                <a:gd name="T52" fmla="*/ 280 w 976"/>
                <a:gd name="T53" fmla="*/ 396 h 1811"/>
                <a:gd name="T54" fmla="*/ 290 w 976"/>
                <a:gd name="T55" fmla="*/ 441 h 1811"/>
                <a:gd name="T56" fmla="*/ 288 w 976"/>
                <a:gd name="T57" fmla="*/ 489 h 1811"/>
                <a:gd name="T58" fmla="*/ 278 w 976"/>
                <a:gd name="T59" fmla="*/ 535 h 1811"/>
                <a:gd name="T60" fmla="*/ 259 w 976"/>
                <a:gd name="T61" fmla="*/ 578 h 1811"/>
                <a:gd name="T62" fmla="*/ 231 w 976"/>
                <a:gd name="T63" fmla="*/ 615 h 1811"/>
                <a:gd name="T64" fmla="*/ 197 w 976"/>
                <a:gd name="T65" fmla="*/ 646 h 1811"/>
                <a:gd name="T66" fmla="*/ 157 w 976"/>
                <a:gd name="T67" fmla="*/ 671 h 1811"/>
                <a:gd name="T68" fmla="*/ 136 w 976"/>
                <a:gd name="T69" fmla="*/ 602 h 1811"/>
                <a:gd name="T70" fmla="*/ 150 w 976"/>
                <a:gd name="T71" fmla="*/ 999 h 181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76"/>
                <a:gd name="T109" fmla="*/ 0 h 1811"/>
                <a:gd name="T110" fmla="*/ 976 w 976"/>
                <a:gd name="T111" fmla="*/ 1811 h 181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76" h="1811">
                  <a:moveTo>
                    <a:pt x="279" y="1669"/>
                  </a:moveTo>
                  <a:lnTo>
                    <a:pt x="338" y="1654"/>
                  </a:lnTo>
                  <a:lnTo>
                    <a:pt x="394" y="1635"/>
                  </a:lnTo>
                  <a:lnTo>
                    <a:pt x="449" y="1612"/>
                  </a:lnTo>
                  <a:lnTo>
                    <a:pt x="502" y="1585"/>
                  </a:lnTo>
                  <a:lnTo>
                    <a:pt x="553" y="1555"/>
                  </a:lnTo>
                  <a:lnTo>
                    <a:pt x="601" y="1520"/>
                  </a:lnTo>
                  <a:lnTo>
                    <a:pt x="651" y="1485"/>
                  </a:lnTo>
                  <a:lnTo>
                    <a:pt x="697" y="1447"/>
                  </a:lnTo>
                  <a:lnTo>
                    <a:pt x="741" y="1405"/>
                  </a:lnTo>
                  <a:lnTo>
                    <a:pt x="782" y="1361"/>
                  </a:lnTo>
                  <a:lnTo>
                    <a:pt x="818" y="1313"/>
                  </a:lnTo>
                  <a:lnTo>
                    <a:pt x="851" y="1263"/>
                  </a:lnTo>
                  <a:lnTo>
                    <a:pt x="882" y="1210"/>
                  </a:lnTo>
                  <a:lnTo>
                    <a:pt x="908" y="1156"/>
                  </a:lnTo>
                  <a:lnTo>
                    <a:pt x="929" y="1100"/>
                  </a:lnTo>
                  <a:lnTo>
                    <a:pt x="947" y="1043"/>
                  </a:lnTo>
                  <a:lnTo>
                    <a:pt x="961" y="984"/>
                  </a:lnTo>
                  <a:lnTo>
                    <a:pt x="970" y="924"/>
                  </a:lnTo>
                  <a:lnTo>
                    <a:pt x="975" y="865"/>
                  </a:lnTo>
                  <a:lnTo>
                    <a:pt x="975" y="804"/>
                  </a:lnTo>
                  <a:lnTo>
                    <a:pt x="972" y="744"/>
                  </a:lnTo>
                  <a:lnTo>
                    <a:pt x="963" y="685"/>
                  </a:lnTo>
                  <a:lnTo>
                    <a:pt x="950" y="625"/>
                  </a:lnTo>
                  <a:lnTo>
                    <a:pt x="935" y="567"/>
                  </a:lnTo>
                  <a:lnTo>
                    <a:pt x="913" y="511"/>
                  </a:lnTo>
                  <a:lnTo>
                    <a:pt x="889" y="456"/>
                  </a:lnTo>
                  <a:lnTo>
                    <a:pt x="859" y="403"/>
                  </a:lnTo>
                  <a:lnTo>
                    <a:pt x="826" y="352"/>
                  </a:lnTo>
                  <a:lnTo>
                    <a:pt x="790" y="304"/>
                  </a:lnTo>
                  <a:lnTo>
                    <a:pt x="751" y="259"/>
                  </a:lnTo>
                  <a:lnTo>
                    <a:pt x="708" y="216"/>
                  </a:lnTo>
                  <a:lnTo>
                    <a:pt x="662" y="178"/>
                  </a:lnTo>
                  <a:lnTo>
                    <a:pt x="614" y="142"/>
                  </a:lnTo>
                  <a:lnTo>
                    <a:pt x="563" y="109"/>
                  </a:lnTo>
                  <a:lnTo>
                    <a:pt x="510" y="81"/>
                  </a:lnTo>
                  <a:lnTo>
                    <a:pt x="455" y="56"/>
                  </a:lnTo>
                  <a:lnTo>
                    <a:pt x="398" y="36"/>
                  </a:lnTo>
                  <a:lnTo>
                    <a:pt x="340" y="20"/>
                  </a:lnTo>
                  <a:lnTo>
                    <a:pt x="281" y="8"/>
                  </a:lnTo>
                  <a:lnTo>
                    <a:pt x="222" y="0"/>
                  </a:lnTo>
                  <a:lnTo>
                    <a:pt x="294" y="112"/>
                  </a:lnTo>
                  <a:lnTo>
                    <a:pt x="369" y="222"/>
                  </a:lnTo>
                  <a:lnTo>
                    <a:pt x="226" y="434"/>
                  </a:lnTo>
                  <a:lnTo>
                    <a:pt x="268" y="446"/>
                  </a:lnTo>
                  <a:lnTo>
                    <a:pt x="306" y="463"/>
                  </a:lnTo>
                  <a:lnTo>
                    <a:pt x="344" y="483"/>
                  </a:lnTo>
                  <a:lnTo>
                    <a:pt x="379" y="508"/>
                  </a:lnTo>
                  <a:lnTo>
                    <a:pt x="411" y="536"/>
                  </a:lnTo>
                  <a:lnTo>
                    <a:pt x="440" y="567"/>
                  </a:lnTo>
                  <a:lnTo>
                    <a:pt x="467" y="601"/>
                  </a:lnTo>
                  <a:lnTo>
                    <a:pt x="489" y="637"/>
                  </a:lnTo>
                  <a:lnTo>
                    <a:pt x="508" y="676"/>
                  </a:lnTo>
                  <a:lnTo>
                    <a:pt x="521" y="716"/>
                  </a:lnTo>
                  <a:lnTo>
                    <a:pt x="531" y="758"/>
                  </a:lnTo>
                  <a:lnTo>
                    <a:pt x="538" y="801"/>
                  </a:lnTo>
                  <a:lnTo>
                    <a:pt x="539" y="843"/>
                  </a:lnTo>
                  <a:lnTo>
                    <a:pt x="536" y="886"/>
                  </a:lnTo>
                  <a:lnTo>
                    <a:pt x="529" y="928"/>
                  </a:lnTo>
                  <a:lnTo>
                    <a:pt x="517" y="969"/>
                  </a:lnTo>
                  <a:lnTo>
                    <a:pt x="501" y="1009"/>
                  </a:lnTo>
                  <a:lnTo>
                    <a:pt x="482" y="1046"/>
                  </a:lnTo>
                  <a:lnTo>
                    <a:pt x="458" y="1082"/>
                  </a:lnTo>
                  <a:lnTo>
                    <a:pt x="431" y="1115"/>
                  </a:lnTo>
                  <a:lnTo>
                    <a:pt x="401" y="1145"/>
                  </a:lnTo>
                  <a:lnTo>
                    <a:pt x="367" y="1172"/>
                  </a:lnTo>
                  <a:lnTo>
                    <a:pt x="331" y="1196"/>
                  </a:lnTo>
                  <a:lnTo>
                    <a:pt x="293" y="1215"/>
                  </a:lnTo>
                  <a:lnTo>
                    <a:pt x="253" y="1230"/>
                  </a:lnTo>
                  <a:lnTo>
                    <a:pt x="253" y="1093"/>
                  </a:lnTo>
                  <a:lnTo>
                    <a:pt x="0" y="1420"/>
                  </a:lnTo>
                  <a:lnTo>
                    <a:pt x="279" y="1810"/>
                  </a:lnTo>
                  <a:lnTo>
                    <a:pt x="279" y="1669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818" name="Freeform 13"/>
            <p:cNvSpPr>
              <a:spLocks/>
            </p:cNvSpPr>
            <p:nvPr>
              <p:custDataLst>
                <p:tags r:id="rId26"/>
              </p:custDataLst>
            </p:nvPr>
          </p:nvSpPr>
          <p:spPr bwMode="blackWhite">
            <a:xfrm>
              <a:off x="1431" y="1866"/>
              <a:ext cx="1167" cy="678"/>
            </a:xfrm>
            <a:custGeom>
              <a:avLst/>
              <a:gdLst>
                <a:gd name="T0" fmla="*/ 214 w 1429"/>
                <a:gd name="T1" fmla="*/ 249 h 830"/>
                <a:gd name="T2" fmla="*/ 433 w 1429"/>
                <a:gd name="T3" fmla="*/ 249 h 830"/>
                <a:gd name="T4" fmla="*/ 433 w 1429"/>
                <a:gd name="T5" fmla="*/ 302 h 830"/>
                <a:gd name="T6" fmla="*/ 519 w 1429"/>
                <a:gd name="T7" fmla="*/ 148 h 830"/>
                <a:gd name="T8" fmla="*/ 433 w 1429"/>
                <a:gd name="T9" fmla="*/ 0 h 830"/>
                <a:gd name="T10" fmla="*/ 434 w 1429"/>
                <a:gd name="T11" fmla="*/ 56 h 830"/>
                <a:gd name="T12" fmla="*/ 0 w 1429"/>
                <a:gd name="T13" fmla="*/ 56 h 830"/>
                <a:gd name="T14" fmla="*/ 214 w 1429"/>
                <a:gd name="T15" fmla="*/ 249 h 8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29"/>
                <a:gd name="T25" fmla="*/ 0 h 830"/>
                <a:gd name="T26" fmla="*/ 1429 w 1429"/>
                <a:gd name="T27" fmla="*/ 830 h 83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29" h="830">
                  <a:moveTo>
                    <a:pt x="589" y="684"/>
                  </a:moveTo>
                  <a:cubicBezTo>
                    <a:pt x="886" y="685"/>
                    <a:pt x="1191" y="684"/>
                    <a:pt x="1191" y="684"/>
                  </a:cubicBezTo>
                  <a:lnTo>
                    <a:pt x="1191" y="830"/>
                  </a:lnTo>
                  <a:lnTo>
                    <a:pt x="1429" y="404"/>
                  </a:lnTo>
                  <a:lnTo>
                    <a:pt x="1193" y="0"/>
                  </a:lnTo>
                  <a:lnTo>
                    <a:pt x="1194" y="155"/>
                  </a:lnTo>
                  <a:lnTo>
                    <a:pt x="0" y="154"/>
                  </a:lnTo>
                  <a:cubicBezTo>
                    <a:pt x="0" y="154"/>
                    <a:pt x="411" y="237"/>
                    <a:pt x="589" y="684"/>
                  </a:cubicBez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819" name="Freeform 14"/>
            <p:cNvSpPr>
              <a:spLocks/>
            </p:cNvSpPr>
            <p:nvPr>
              <p:custDataLst>
                <p:tags r:id="rId27"/>
              </p:custDataLst>
            </p:nvPr>
          </p:nvSpPr>
          <p:spPr bwMode="blackWhite">
            <a:xfrm>
              <a:off x="2859" y="2970"/>
              <a:ext cx="1150" cy="782"/>
            </a:xfrm>
            <a:custGeom>
              <a:avLst/>
              <a:gdLst>
                <a:gd name="T0" fmla="*/ 17 w 1485"/>
                <a:gd name="T1" fmla="*/ 66 h 1021"/>
                <a:gd name="T2" fmla="*/ 0 w 1485"/>
                <a:gd name="T3" fmla="*/ 201 h 1021"/>
                <a:gd name="T4" fmla="*/ 33 w 1485"/>
                <a:gd name="T5" fmla="*/ 159 h 1021"/>
                <a:gd name="T6" fmla="*/ 414 w 1485"/>
                <a:gd name="T7" fmla="*/ 39 h 1021"/>
                <a:gd name="T8" fmla="*/ 326 w 1485"/>
                <a:gd name="T9" fmla="*/ 55 h 1021"/>
                <a:gd name="T10" fmla="*/ 278 w 1485"/>
                <a:gd name="T11" fmla="*/ 0 h 1021"/>
                <a:gd name="T12" fmla="*/ 240 w 1485"/>
                <a:gd name="T13" fmla="*/ 36 h 1021"/>
                <a:gd name="T14" fmla="*/ 217 w 1485"/>
                <a:gd name="T15" fmla="*/ 51 h 1021"/>
                <a:gd name="T16" fmla="*/ 178 w 1485"/>
                <a:gd name="T17" fmla="*/ 60 h 1021"/>
                <a:gd name="T18" fmla="*/ 121 w 1485"/>
                <a:gd name="T19" fmla="*/ 51 h 1021"/>
                <a:gd name="T20" fmla="*/ 149 w 1485"/>
                <a:gd name="T21" fmla="*/ 15 h 1021"/>
                <a:gd name="T22" fmla="*/ 17 w 1485"/>
                <a:gd name="T23" fmla="*/ 66 h 10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85"/>
                <a:gd name="T37" fmla="*/ 0 h 1021"/>
                <a:gd name="T38" fmla="*/ 1485 w 1485"/>
                <a:gd name="T39" fmla="*/ 1021 h 102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85" h="1021">
                  <a:moveTo>
                    <a:pt x="61" y="248"/>
                  </a:moveTo>
                  <a:lnTo>
                    <a:pt x="0" y="762"/>
                  </a:lnTo>
                  <a:cubicBezTo>
                    <a:pt x="0" y="762"/>
                    <a:pt x="59" y="684"/>
                    <a:pt x="118" y="606"/>
                  </a:cubicBezTo>
                  <a:cubicBezTo>
                    <a:pt x="136" y="628"/>
                    <a:pt x="994" y="1021"/>
                    <a:pt x="1485" y="146"/>
                  </a:cubicBezTo>
                  <a:lnTo>
                    <a:pt x="1170" y="210"/>
                  </a:lnTo>
                  <a:cubicBezTo>
                    <a:pt x="1170" y="210"/>
                    <a:pt x="1084" y="105"/>
                    <a:pt x="999" y="0"/>
                  </a:cubicBezTo>
                  <a:cubicBezTo>
                    <a:pt x="946" y="83"/>
                    <a:pt x="860" y="137"/>
                    <a:pt x="860" y="137"/>
                  </a:cubicBezTo>
                  <a:lnTo>
                    <a:pt x="778" y="190"/>
                  </a:lnTo>
                  <a:lnTo>
                    <a:pt x="638" y="226"/>
                  </a:lnTo>
                  <a:cubicBezTo>
                    <a:pt x="581" y="226"/>
                    <a:pt x="452" y="219"/>
                    <a:pt x="435" y="191"/>
                  </a:cubicBezTo>
                  <a:cubicBezTo>
                    <a:pt x="485" y="124"/>
                    <a:pt x="535" y="57"/>
                    <a:pt x="535" y="57"/>
                  </a:cubicBezTo>
                  <a:lnTo>
                    <a:pt x="61" y="248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820" name="Freeform 15"/>
            <p:cNvSpPr>
              <a:spLocks/>
            </p:cNvSpPr>
            <p:nvPr>
              <p:custDataLst>
                <p:tags r:id="rId28"/>
              </p:custDataLst>
            </p:nvPr>
          </p:nvSpPr>
          <p:spPr bwMode="blackWhite">
            <a:xfrm>
              <a:off x="3617" y="1866"/>
              <a:ext cx="1158" cy="678"/>
            </a:xfrm>
            <a:custGeom>
              <a:avLst/>
              <a:gdLst>
                <a:gd name="T0" fmla="*/ 206 w 1429"/>
                <a:gd name="T1" fmla="*/ 249 h 830"/>
                <a:gd name="T2" fmla="*/ 417 w 1429"/>
                <a:gd name="T3" fmla="*/ 249 h 830"/>
                <a:gd name="T4" fmla="*/ 417 w 1429"/>
                <a:gd name="T5" fmla="*/ 302 h 830"/>
                <a:gd name="T6" fmla="*/ 499 w 1429"/>
                <a:gd name="T7" fmla="*/ 148 h 830"/>
                <a:gd name="T8" fmla="*/ 417 w 1429"/>
                <a:gd name="T9" fmla="*/ 0 h 830"/>
                <a:gd name="T10" fmla="*/ 417 w 1429"/>
                <a:gd name="T11" fmla="*/ 56 h 830"/>
                <a:gd name="T12" fmla="*/ 0 w 1429"/>
                <a:gd name="T13" fmla="*/ 56 h 830"/>
                <a:gd name="T14" fmla="*/ 206 w 1429"/>
                <a:gd name="T15" fmla="*/ 249 h 8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29"/>
                <a:gd name="T25" fmla="*/ 0 h 830"/>
                <a:gd name="T26" fmla="*/ 1429 w 1429"/>
                <a:gd name="T27" fmla="*/ 830 h 83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29" h="830">
                  <a:moveTo>
                    <a:pt x="589" y="684"/>
                  </a:moveTo>
                  <a:cubicBezTo>
                    <a:pt x="886" y="685"/>
                    <a:pt x="1191" y="684"/>
                    <a:pt x="1191" y="684"/>
                  </a:cubicBezTo>
                  <a:lnTo>
                    <a:pt x="1191" y="830"/>
                  </a:lnTo>
                  <a:lnTo>
                    <a:pt x="1429" y="404"/>
                  </a:lnTo>
                  <a:lnTo>
                    <a:pt x="1193" y="0"/>
                  </a:lnTo>
                  <a:lnTo>
                    <a:pt x="1194" y="155"/>
                  </a:lnTo>
                  <a:lnTo>
                    <a:pt x="0" y="154"/>
                  </a:lnTo>
                  <a:cubicBezTo>
                    <a:pt x="0" y="154"/>
                    <a:pt x="411" y="237"/>
                    <a:pt x="589" y="684"/>
                  </a:cubicBezTo>
                  <a:close/>
                </a:path>
              </a:pathLst>
            </a:custGeom>
            <a:solidFill>
              <a:schemeClr val="accent2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821" name="Freeform 16"/>
            <p:cNvSpPr>
              <a:spLocks/>
            </p:cNvSpPr>
            <p:nvPr>
              <p:custDataLst>
                <p:tags r:id="rId29"/>
              </p:custDataLst>
            </p:nvPr>
          </p:nvSpPr>
          <p:spPr bwMode="blackWhite">
            <a:xfrm>
              <a:off x="3312" y="1979"/>
              <a:ext cx="862" cy="1112"/>
            </a:xfrm>
            <a:custGeom>
              <a:avLst/>
              <a:gdLst>
                <a:gd name="T0" fmla="*/ 168 w 1115"/>
                <a:gd name="T1" fmla="*/ 394 h 1441"/>
                <a:gd name="T2" fmla="*/ 308 w 1115"/>
                <a:gd name="T3" fmla="*/ 361 h 1441"/>
                <a:gd name="T4" fmla="*/ 264 w 1115"/>
                <a:gd name="T5" fmla="*/ 349 h 1441"/>
                <a:gd name="T6" fmla="*/ 0 w 1115"/>
                <a:gd name="T7" fmla="*/ 0 h 1441"/>
                <a:gd name="T8" fmla="*/ 49 w 1115"/>
                <a:gd name="T9" fmla="*/ 66 h 1441"/>
                <a:gd name="T10" fmla="*/ 19 w 1115"/>
                <a:gd name="T11" fmla="*/ 137 h 1441"/>
                <a:gd name="T12" fmla="*/ 99 w 1115"/>
                <a:gd name="T13" fmla="*/ 179 h 1441"/>
                <a:gd name="T14" fmla="*/ 119 w 1115"/>
                <a:gd name="T15" fmla="*/ 202 h 1441"/>
                <a:gd name="T16" fmla="*/ 130 w 1115"/>
                <a:gd name="T17" fmla="*/ 229 h 1441"/>
                <a:gd name="T18" fmla="*/ 132 w 1115"/>
                <a:gd name="T19" fmla="*/ 305 h 1441"/>
                <a:gd name="T20" fmla="*/ 80 w 1115"/>
                <a:gd name="T21" fmla="*/ 290 h 1441"/>
                <a:gd name="T22" fmla="*/ 168 w 1115"/>
                <a:gd name="T23" fmla="*/ 394 h 144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115"/>
                <a:gd name="T37" fmla="*/ 0 h 1441"/>
                <a:gd name="T38" fmla="*/ 1115 w 1115"/>
                <a:gd name="T39" fmla="*/ 1441 h 144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115" h="1441">
                  <a:moveTo>
                    <a:pt x="609" y="1441"/>
                  </a:moveTo>
                  <a:lnTo>
                    <a:pt x="1115" y="1321"/>
                  </a:lnTo>
                  <a:lnTo>
                    <a:pt x="956" y="1274"/>
                  </a:lnTo>
                  <a:cubicBezTo>
                    <a:pt x="1096" y="922"/>
                    <a:pt x="928" y="37"/>
                    <a:pt x="0" y="0"/>
                  </a:cubicBezTo>
                  <a:cubicBezTo>
                    <a:pt x="90" y="114"/>
                    <a:pt x="178" y="244"/>
                    <a:pt x="178" y="244"/>
                  </a:cubicBezTo>
                  <a:cubicBezTo>
                    <a:pt x="178" y="244"/>
                    <a:pt x="120" y="371"/>
                    <a:pt x="67" y="503"/>
                  </a:cubicBezTo>
                  <a:cubicBezTo>
                    <a:pt x="249" y="531"/>
                    <a:pt x="357" y="655"/>
                    <a:pt x="357" y="655"/>
                  </a:cubicBezTo>
                  <a:lnTo>
                    <a:pt x="431" y="740"/>
                  </a:lnTo>
                  <a:lnTo>
                    <a:pt x="469" y="839"/>
                  </a:lnTo>
                  <a:cubicBezTo>
                    <a:pt x="523" y="963"/>
                    <a:pt x="478" y="1116"/>
                    <a:pt x="478" y="1116"/>
                  </a:cubicBezTo>
                  <a:lnTo>
                    <a:pt x="287" y="1060"/>
                  </a:lnTo>
                  <a:lnTo>
                    <a:pt x="609" y="1441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822" name="Freeform 17"/>
            <p:cNvSpPr>
              <a:spLocks/>
            </p:cNvSpPr>
            <p:nvPr>
              <p:custDataLst>
                <p:tags r:id="rId30"/>
              </p:custDataLst>
            </p:nvPr>
          </p:nvSpPr>
          <p:spPr bwMode="blackWhite">
            <a:xfrm>
              <a:off x="4714" y="1866"/>
              <a:ext cx="854" cy="678"/>
            </a:xfrm>
            <a:custGeom>
              <a:avLst/>
              <a:gdLst>
                <a:gd name="T0" fmla="*/ 0 w 854"/>
                <a:gd name="T1" fmla="*/ 570 h 675"/>
                <a:gd name="T2" fmla="*/ 660 w 854"/>
                <a:gd name="T3" fmla="*/ 567 h 675"/>
                <a:gd name="T4" fmla="*/ 660 w 854"/>
                <a:gd name="T5" fmla="*/ 690 h 675"/>
                <a:gd name="T6" fmla="*/ 854 w 854"/>
                <a:gd name="T7" fmla="*/ 334 h 675"/>
                <a:gd name="T8" fmla="*/ 662 w 854"/>
                <a:gd name="T9" fmla="*/ 0 h 675"/>
                <a:gd name="T10" fmla="*/ 663 w 854"/>
                <a:gd name="T11" fmla="*/ 131 h 675"/>
                <a:gd name="T12" fmla="*/ 12 w 854"/>
                <a:gd name="T13" fmla="*/ 131 h 675"/>
                <a:gd name="T14" fmla="*/ 124 w 854"/>
                <a:gd name="T15" fmla="*/ 331 h 675"/>
                <a:gd name="T16" fmla="*/ 0 w 854"/>
                <a:gd name="T17" fmla="*/ 570 h 6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54"/>
                <a:gd name="T28" fmla="*/ 0 h 675"/>
                <a:gd name="T29" fmla="*/ 854 w 854"/>
                <a:gd name="T30" fmla="*/ 675 h 6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54" h="675">
                  <a:moveTo>
                    <a:pt x="0" y="558"/>
                  </a:moveTo>
                  <a:lnTo>
                    <a:pt x="660" y="556"/>
                  </a:lnTo>
                  <a:lnTo>
                    <a:pt x="660" y="675"/>
                  </a:lnTo>
                  <a:lnTo>
                    <a:pt x="854" y="329"/>
                  </a:lnTo>
                  <a:lnTo>
                    <a:pt x="662" y="0"/>
                  </a:lnTo>
                  <a:lnTo>
                    <a:pt x="663" y="126"/>
                  </a:lnTo>
                  <a:lnTo>
                    <a:pt x="12" y="126"/>
                  </a:lnTo>
                  <a:lnTo>
                    <a:pt x="124" y="3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823" name="Freeform 18"/>
            <p:cNvSpPr>
              <a:spLocks/>
            </p:cNvSpPr>
            <p:nvPr>
              <p:custDataLst>
                <p:tags r:id="rId31"/>
              </p:custDataLst>
            </p:nvPr>
          </p:nvSpPr>
          <p:spPr bwMode="blackWhite">
            <a:xfrm>
              <a:off x="220" y="1866"/>
              <a:ext cx="1097" cy="678"/>
            </a:xfrm>
            <a:custGeom>
              <a:avLst/>
              <a:gdLst>
                <a:gd name="T0" fmla="*/ 0 w 1094"/>
                <a:gd name="T1" fmla="*/ 570 h 675"/>
                <a:gd name="T2" fmla="*/ 855 w 1094"/>
                <a:gd name="T3" fmla="*/ 567 h 675"/>
                <a:gd name="T4" fmla="*/ 855 w 1094"/>
                <a:gd name="T5" fmla="*/ 690 h 675"/>
                <a:gd name="T6" fmla="*/ 1109 w 1094"/>
                <a:gd name="T7" fmla="*/ 334 h 675"/>
                <a:gd name="T8" fmla="*/ 858 w 1094"/>
                <a:gd name="T9" fmla="*/ 0 h 675"/>
                <a:gd name="T10" fmla="*/ 859 w 1094"/>
                <a:gd name="T11" fmla="*/ 131 h 675"/>
                <a:gd name="T12" fmla="*/ 4 w 1094"/>
                <a:gd name="T13" fmla="*/ 131 h 675"/>
                <a:gd name="T14" fmla="*/ 0 w 1094"/>
                <a:gd name="T15" fmla="*/ 570 h 67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94"/>
                <a:gd name="T25" fmla="*/ 0 h 675"/>
                <a:gd name="T26" fmla="*/ 1094 w 1094"/>
                <a:gd name="T27" fmla="*/ 675 h 67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94" h="675">
                  <a:moveTo>
                    <a:pt x="0" y="558"/>
                  </a:moveTo>
                  <a:lnTo>
                    <a:pt x="845" y="556"/>
                  </a:lnTo>
                  <a:lnTo>
                    <a:pt x="845" y="675"/>
                  </a:lnTo>
                  <a:lnTo>
                    <a:pt x="1094" y="329"/>
                  </a:lnTo>
                  <a:lnTo>
                    <a:pt x="848" y="0"/>
                  </a:lnTo>
                  <a:lnTo>
                    <a:pt x="849" y="126"/>
                  </a:lnTo>
                  <a:lnTo>
                    <a:pt x="4" y="1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33798" name="AutoShape 20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310563" y="1252538"/>
            <a:ext cx="701675" cy="18256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342900" indent="-342900" algn="r" defTabSz="895350" eaLnBrk="0" hangingPunct="0">
              <a:buSzPct val="120000"/>
            </a:pPr>
            <a:r>
              <a:rPr lang="en-US" sz="1200">
                <a:solidFill>
                  <a:schemeClr val="tx2"/>
                </a:solidFill>
                <a:latin typeface="Trebuchet MS" pitchFamily="34" charset="0"/>
              </a:rPr>
              <a:t>COLOMBIA</a:t>
            </a:r>
          </a:p>
        </p:txBody>
      </p:sp>
      <p:cxnSp>
        <p:nvCxnSpPr>
          <p:cNvPr id="33799" name="AutoShape 21"/>
          <p:cNvCxnSpPr>
            <a:cxnSpLocks noChangeShapeType="1"/>
            <a:stCxn id="33798" idx="2"/>
            <a:endCxn id="33798" idx="0"/>
          </p:cNvCxnSpPr>
          <p:nvPr>
            <p:custDataLst>
              <p:tags r:id="rId7"/>
            </p:custDataLst>
          </p:nvPr>
        </p:nvCxnSpPr>
        <p:spPr bwMode="auto">
          <a:xfrm>
            <a:off x="8310563" y="1252538"/>
            <a:ext cx="701675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3800" name="AutoShape 22"/>
          <p:cNvCxnSpPr>
            <a:cxnSpLocks noChangeShapeType="1"/>
            <a:stCxn id="33798" idx="4"/>
            <a:endCxn id="33798" idx="6"/>
          </p:cNvCxnSpPr>
          <p:nvPr>
            <p:custDataLst>
              <p:tags r:id="rId8"/>
            </p:custDataLst>
          </p:nvPr>
        </p:nvCxnSpPr>
        <p:spPr bwMode="auto">
          <a:xfrm>
            <a:off x="8310563" y="1435100"/>
            <a:ext cx="701675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3801" name="Rectangle 30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17550" y="3579813"/>
            <a:ext cx="849313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r">
              <a:buSzPct val="120000"/>
            </a:pPr>
            <a:r>
              <a:rPr lang="es-ES_tradnl" sz="1300">
                <a:solidFill>
                  <a:schemeClr val="tx2"/>
                </a:solidFill>
              </a:rPr>
              <a:t>Female led businesses</a:t>
            </a:r>
          </a:p>
        </p:txBody>
      </p:sp>
      <p:sp>
        <p:nvSpPr>
          <p:cNvPr id="33802" name="Rectangle 32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717550" y="5040313"/>
            <a:ext cx="849313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r">
              <a:buSzPct val="120000"/>
            </a:pPr>
            <a:r>
              <a:rPr lang="es-ES_tradnl" sz="1300">
                <a:solidFill>
                  <a:schemeClr val="tx2"/>
                </a:solidFill>
              </a:rPr>
              <a:t>Male led businesses</a:t>
            </a:r>
          </a:p>
        </p:txBody>
      </p:sp>
      <p:sp>
        <p:nvSpPr>
          <p:cNvPr id="33803" name="Text Box 16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31763" y="6615113"/>
            <a:ext cx="64023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000">
                <a:cs typeface="Arial" pitchFamily="34" charset="0"/>
              </a:rPr>
              <a:t>Source: TNS Data</a:t>
            </a:r>
          </a:p>
        </p:txBody>
      </p:sp>
      <p:sp>
        <p:nvSpPr>
          <p:cNvPr id="33804" name="AutoShape 8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 rot="5400000">
            <a:off x="2455069" y="1743869"/>
            <a:ext cx="508000" cy="1960562"/>
          </a:xfrm>
          <a:prstGeom prst="homePlate">
            <a:avLst>
              <a:gd name="adj" fmla="val 17190"/>
            </a:avLst>
          </a:prstGeom>
          <a:gradFill rotWithShape="1">
            <a:gsLst>
              <a:gs pos="0">
                <a:schemeClr val="bg1"/>
              </a:gs>
              <a:gs pos="100000">
                <a:srgbClr val="CCCCCC"/>
              </a:gs>
            </a:gsLst>
            <a:lin ang="5400000" scaled="1"/>
          </a:gra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rot="10800000" vert="eaVert" lIns="37477" tIns="37477" rIns="37477" bIns="37477" anchor="ctr"/>
          <a:lstStyle/>
          <a:p>
            <a:pPr algn="ctr" defTabSz="952500">
              <a:lnSpc>
                <a:spcPct val="90000"/>
              </a:lnSpc>
            </a:pPr>
            <a:r>
              <a:rPr lang="en-US" sz="1300" b="1">
                <a:cs typeface="Arial" pitchFamily="34" charset="0"/>
              </a:rPr>
              <a:t>Business Leaders</a:t>
            </a:r>
          </a:p>
        </p:txBody>
      </p:sp>
      <p:sp>
        <p:nvSpPr>
          <p:cNvPr id="33805" name="AutoShape 10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 rot="5400000">
            <a:off x="7081044" y="1742281"/>
            <a:ext cx="508000" cy="1963738"/>
          </a:xfrm>
          <a:prstGeom prst="homePlate">
            <a:avLst>
              <a:gd name="adj" fmla="val 17190"/>
            </a:avLst>
          </a:prstGeom>
          <a:gradFill rotWithShape="1">
            <a:gsLst>
              <a:gs pos="0">
                <a:schemeClr val="bg1"/>
              </a:gs>
              <a:gs pos="100000">
                <a:srgbClr val="CCCCCC"/>
              </a:gs>
            </a:gsLst>
            <a:lin ang="5400000" scaled="1"/>
          </a:gra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rot="10800000" vert="eaVert" lIns="37477" tIns="37477" rIns="37477" bIns="37477" anchor="ctr"/>
          <a:lstStyle/>
          <a:p>
            <a:pPr algn="ctr" defTabSz="952500">
              <a:lnSpc>
                <a:spcPct val="90000"/>
              </a:lnSpc>
            </a:pPr>
            <a:r>
              <a:rPr lang="en-US" sz="1300" b="1" dirty="0">
                <a:cs typeface="Arial" pitchFamily="34" charset="0"/>
              </a:rPr>
              <a:t>Sales generating businesses</a:t>
            </a:r>
          </a:p>
        </p:txBody>
      </p:sp>
      <p:sp>
        <p:nvSpPr>
          <p:cNvPr id="33806" name="AutoShape 9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 rot="5400000">
            <a:off x="4766469" y="1745456"/>
            <a:ext cx="508000" cy="1957388"/>
          </a:xfrm>
          <a:prstGeom prst="homePlate">
            <a:avLst>
              <a:gd name="adj" fmla="val 17190"/>
            </a:avLst>
          </a:prstGeom>
          <a:gradFill rotWithShape="1">
            <a:gsLst>
              <a:gs pos="0">
                <a:schemeClr val="bg1"/>
              </a:gs>
              <a:gs pos="100000">
                <a:srgbClr val="CCCCCC"/>
              </a:gs>
            </a:gsLst>
            <a:lin ang="5400000" scaled="1"/>
          </a:gra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rot="10800000" vert="eaVert" lIns="37477" tIns="37477" rIns="37477" bIns="37477" anchor="ctr"/>
          <a:lstStyle/>
          <a:p>
            <a:pPr algn="ctr" defTabSz="952500">
              <a:lnSpc>
                <a:spcPct val="90000"/>
              </a:lnSpc>
            </a:pPr>
            <a:r>
              <a:rPr lang="en-US" sz="1300" b="1">
                <a:cs typeface="Arial" pitchFamily="34" charset="0"/>
              </a:rPr>
              <a:t>Employment Generation</a:t>
            </a:r>
          </a:p>
        </p:txBody>
      </p:sp>
      <p:graphicFrame>
        <p:nvGraphicFramePr>
          <p:cNvPr id="33807" name="Object 55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4008438" y="3025775"/>
          <a:ext cx="2719387" cy="3032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2" name="Chart" r:id="rId37" imgW="2730500" imgH="3035300" progId="MSGraph.Chart.8">
                  <p:embed followColorScheme="full"/>
                </p:oleObj>
              </mc:Choice>
              <mc:Fallback>
                <p:oleObj name="Chart" r:id="rId37" imgW="2730500" imgH="3035300" progId="MSGraph.Chart.8">
                  <p:embed followColorScheme="full"/>
                  <p:pic>
                    <p:nvPicPr>
                      <p:cNvPr id="0" name="Object 55"/>
                      <p:cNvPicPr>
                        <a:picLocks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White">
                      <a:xfrm>
                        <a:off x="4008438" y="3025775"/>
                        <a:ext cx="2719387" cy="30321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3808" name="Object 56"/>
          <p:cNvGraphicFramePr>
            <a:graphicFrameLocks/>
          </p:cNvGraphicFramePr>
          <p:nvPr>
            <p:custDataLst>
              <p:tags r:id="rId16"/>
            </p:custDataLst>
          </p:nvPr>
        </p:nvGraphicFramePr>
        <p:xfrm>
          <a:off x="6318250" y="3025775"/>
          <a:ext cx="2719388" cy="3032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3" name="Chart" r:id="rId39" imgW="2730500" imgH="3035300" progId="MSGraph.Chart.8">
                  <p:embed followColorScheme="full"/>
                </p:oleObj>
              </mc:Choice>
              <mc:Fallback>
                <p:oleObj name="Chart" r:id="rId39" imgW="2730500" imgH="3035300" progId="MSGraph.Chart.8">
                  <p:embed followColorScheme="full"/>
                  <p:pic>
                    <p:nvPicPr>
                      <p:cNvPr id="0" name="Object 56"/>
                      <p:cNvPicPr>
                        <a:picLocks noChangeArrowheads="1"/>
                      </p:cNvPicPr>
                      <p:nvPr/>
                    </p:nvPicPr>
                    <p:blipFill>
                      <a:blip r:embed="rId4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White">
                      <a:xfrm>
                        <a:off x="6318250" y="3025775"/>
                        <a:ext cx="2719388" cy="30321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818" name="Rectangle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6" name="think-cell Slide" r:id="rId28" imgW="0" imgH="0" progId="TCLayout.ActiveDocument.1">
                  <p:embed/>
                </p:oleObj>
              </mc:Choice>
              <mc:Fallback>
                <p:oleObj name="think-cell Slide" r:id="rId28" imgW="0" imgH="0" progId="TCLayout.ActiveDocument.1">
                  <p:embed/>
                  <p:pic>
                    <p:nvPicPr>
                      <p:cNvPr id="0" name="Rectangle 1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4409" name="AutoShap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1709738" y="1566862"/>
            <a:ext cx="508000" cy="2314575"/>
          </a:xfrm>
          <a:prstGeom prst="homePlate">
            <a:avLst>
              <a:gd name="adj" fmla="val 17190"/>
            </a:avLst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100000">
                <a:schemeClr val="accent2"/>
              </a:gs>
            </a:gsLst>
            <a:lin ang="5400000" scaled="1"/>
          </a:gra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rot="10800000" vert="eaVert" lIns="37477" tIns="37477" rIns="37477" bIns="37477" anchor="ctr"/>
          <a:lstStyle/>
          <a:p>
            <a:pPr algn="ctr" defTabSz="952500">
              <a:lnSpc>
                <a:spcPct val="90000"/>
              </a:lnSpc>
              <a:defRPr/>
            </a:pPr>
            <a:r>
              <a:rPr lang="en-US" sz="1300" b="1">
                <a:solidFill>
                  <a:schemeClr val="bg1"/>
                </a:solidFill>
                <a:latin typeface="Arial" charset="0"/>
                <a:ea typeface="ＭＳ Ｐゴシック" charset="0"/>
                <a:cs typeface="Arial" charset="0"/>
              </a:rPr>
              <a:t>Traditional BPC</a:t>
            </a:r>
          </a:p>
          <a:p>
            <a:pPr algn="ctr" defTabSz="952500">
              <a:lnSpc>
                <a:spcPct val="90000"/>
              </a:lnSpc>
              <a:defRPr/>
            </a:pPr>
            <a:r>
              <a:rPr lang="en-US" sz="1300" b="1">
                <a:solidFill>
                  <a:schemeClr val="bg1"/>
                </a:solidFill>
                <a:latin typeface="Arial" charset="0"/>
                <a:ea typeface="ＭＳ Ｐゴシック" charset="0"/>
                <a:cs typeface="Arial" charset="0"/>
              </a:rPr>
              <a:t>(Central America)</a:t>
            </a:r>
          </a:p>
        </p:txBody>
      </p:sp>
      <p:sp>
        <p:nvSpPr>
          <p:cNvPr id="314410" name="AutoShape 10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7171532" y="1564481"/>
            <a:ext cx="508000" cy="2319337"/>
          </a:xfrm>
          <a:prstGeom prst="homePlate">
            <a:avLst>
              <a:gd name="adj" fmla="val 17190"/>
            </a:avLst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100000">
                <a:schemeClr val="accent2"/>
              </a:gs>
            </a:gsLst>
            <a:lin ang="5400000" scaled="1"/>
          </a:gra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rot="10800000" vert="eaVert" lIns="37477" tIns="37477" rIns="37477" bIns="37477" anchor="ctr"/>
          <a:lstStyle/>
          <a:p>
            <a:pPr algn="ctr" defTabSz="952500">
              <a:lnSpc>
                <a:spcPct val="90000"/>
              </a:lnSpc>
              <a:defRPr/>
            </a:pPr>
            <a:r>
              <a:rPr lang="en-US" sz="1300" b="1" dirty="0">
                <a:solidFill>
                  <a:schemeClr val="bg1"/>
                </a:solidFill>
                <a:latin typeface="Arial" charset="0"/>
                <a:ea typeface="ＭＳ Ｐゴシック" charset="0"/>
                <a:cs typeface="Arial" charset="0"/>
              </a:rPr>
              <a:t>Beyond SME Promotion</a:t>
            </a:r>
          </a:p>
        </p:txBody>
      </p:sp>
      <p:sp>
        <p:nvSpPr>
          <p:cNvPr id="314411" name="AutoShape 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4438650" y="1568450"/>
            <a:ext cx="508000" cy="2311400"/>
          </a:xfrm>
          <a:prstGeom prst="homePlate">
            <a:avLst>
              <a:gd name="adj" fmla="val 17190"/>
            </a:avLst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100000">
                <a:schemeClr val="accent2"/>
              </a:gs>
            </a:gsLst>
            <a:lin ang="5400000" scaled="1"/>
          </a:gra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rot="10800000" vert="eaVert" lIns="37477" tIns="37477" rIns="37477" bIns="37477" anchor="ctr"/>
          <a:lstStyle/>
          <a:p>
            <a:pPr algn="ctr" defTabSz="952500">
              <a:lnSpc>
                <a:spcPct val="90000"/>
              </a:lnSpc>
              <a:defRPr/>
            </a:pPr>
            <a:r>
              <a:rPr lang="en-US" sz="1300" b="1" dirty="0">
                <a:solidFill>
                  <a:schemeClr val="bg1"/>
                </a:solidFill>
                <a:latin typeface="Arial" charset="0"/>
                <a:ea typeface="ＭＳ Ｐゴシック" charset="0"/>
                <a:cs typeface="Arial" charset="0"/>
              </a:rPr>
              <a:t>SME Promotion</a:t>
            </a:r>
          </a:p>
          <a:p>
            <a:pPr algn="ctr" defTabSz="952500">
              <a:lnSpc>
                <a:spcPct val="90000"/>
              </a:lnSpc>
              <a:defRPr/>
            </a:pPr>
            <a:r>
              <a:rPr lang="en-US" sz="1300" b="1" dirty="0">
                <a:solidFill>
                  <a:schemeClr val="bg1"/>
                </a:solidFill>
                <a:latin typeface="Arial" charset="0"/>
                <a:ea typeface="ＭＳ Ｐゴシック" charset="0"/>
                <a:cs typeface="Arial" charset="0"/>
              </a:rPr>
              <a:t>(South America)</a:t>
            </a:r>
          </a:p>
        </p:txBody>
      </p:sp>
      <p:grpSp>
        <p:nvGrpSpPr>
          <p:cNvPr id="34822" name="Group 24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8056563" y="693738"/>
            <a:ext cx="974725" cy="344487"/>
            <a:chOff x="220" y="1866"/>
            <a:chExt cx="5348" cy="1886"/>
          </a:xfrm>
        </p:grpSpPr>
        <p:sp>
          <p:nvSpPr>
            <p:cNvPr id="34827" name="Line 25"/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auto">
            <a:xfrm>
              <a:off x="3974" y="2414"/>
              <a:ext cx="157" cy="9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4828" name="Arc 26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955" y="2361"/>
              <a:ext cx="470" cy="269"/>
            </a:xfrm>
            <a:custGeom>
              <a:avLst/>
              <a:gdLst>
                <a:gd name="T0" fmla="*/ 0 w 24969"/>
                <a:gd name="T1" fmla="*/ 0 h 21600"/>
                <a:gd name="T2" fmla="*/ 0 w 24969"/>
                <a:gd name="T3" fmla="*/ 0 h 21600"/>
                <a:gd name="T4" fmla="*/ 0 w 24969"/>
                <a:gd name="T5" fmla="*/ 0 h 21600"/>
                <a:gd name="T6" fmla="*/ 0 60000 65536"/>
                <a:gd name="T7" fmla="*/ 0 60000 65536"/>
                <a:gd name="T8" fmla="*/ 0 60000 65536"/>
                <a:gd name="T9" fmla="*/ 0 w 24969"/>
                <a:gd name="T10" fmla="*/ 0 h 21600"/>
                <a:gd name="T11" fmla="*/ 24969 w 24969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969" h="21600" fill="none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</a:path>
                <a:path w="24969" h="21600" stroke="0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  <a:lnTo>
                    <a:pt x="21594" y="21600"/>
                  </a:lnTo>
                  <a:lnTo>
                    <a:pt x="-1" y="21094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4829" name="Arc 27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2624" y="1988"/>
              <a:ext cx="984" cy="548"/>
            </a:xfrm>
            <a:custGeom>
              <a:avLst/>
              <a:gdLst>
                <a:gd name="T0" fmla="*/ 0 w 24568"/>
                <a:gd name="T1" fmla="*/ 0 h 21600"/>
                <a:gd name="T2" fmla="*/ 0 w 24568"/>
                <a:gd name="T3" fmla="*/ 0 h 21600"/>
                <a:gd name="T4" fmla="*/ 0 w 24568"/>
                <a:gd name="T5" fmla="*/ 0 h 21600"/>
                <a:gd name="T6" fmla="*/ 0 60000 65536"/>
                <a:gd name="T7" fmla="*/ 0 60000 65536"/>
                <a:gd name="T8" fmla="*/ 0 60000 65536"/>
                <a:gd name="T9" fmla="*/ 0 w 24568"/>
                <a:gd name="T10" fmla="*/ 0 h 21600"/>
                <a:gd name="T11" fmla="*/ 24568 w 24568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568" h="21600" fill="none" extrusionOk="0">
                  <a:moveTo>
                    <a:pt x="-1" y="17428"/>
                  </a:moveTo>
                  <a:cubicBezTo>
                    <a:pt x="1992" y="7301"/>
                    <a:pt x="10871" y="-1"/>
                    <a:pt x="21193" y="-1"/>
                  </a:cubicBezTo>
                  <a:cubicBezTo>
                    <a:pt x="22323" y="-1"/>
                    <a:pt x="23451" y="88"/>
                    <a:pt x="24567" y="265"/>
                  </a:cubicBezTo>
                </a:path>
                <a:path w="24568" h="21600" stroke="0" extrusionOk="0">
                  <a:moveTo>
                    <a:pt x="-1" y="17428"/>
                  </a:moveTo>
                  <a:cubicBezTo>
                    <a:pt x="1992" y="7301"/>
                    <a:pt x="10871" y="-1"/>
                    <a:pt x="21193" y="-1"/>
                  </a:cubicBezTo>
                  <a:cubicBezTo>
                    <a:pt x="22323" y="-1"/>
                    <a:pt x="23451" y="88"/>
                    <a:pt x="24567" y="265"/>
                  </a:cubicBezTo>
                  <a:lnTo>
                    <a:pt x="21193" y="21600"/>
                  </a:lnTo>
                  <a:lnTo>
                    <a:pt x="-1" y="17428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4830" name="Freeform 28"/>
            <p:cNvSpPr>
              <a:spLocks/>
            </p:cNvSpPr>
            <p:nvPr>
              <p:custDataLst>
                <p:tags r:id="rId14"/>
              </p:custDataLst>
            </p:nvPr>
          </p:nvSpPr>
          <p:spPr bwMode="blackWhite">
            <a:xfrm>
              <a:off x="2546" y="1866"/>
              <a:ext cx="854" cy="678"/>
            </a:xfrm>
            <a:custGeom>
              <a:avLst/>
              <a:gdLst>
                <a:gd name="T0" fmla="*/ 0 w 854"/>
                <a:gd name="T1" fmla="*/ 570 h 675"/>
                <a:gd name="T2" fmla="*/ 660 w 854"/>
                <a:gd name="T3" fmla="*/ 567 h 675"/>
                <a:gd name="T4" fmla="*/ 660 w 854"/>
                <a:gd name="T5" fmla="*/ 690 h 675"/>
                <a:gd name="T6" fmla="*/ 854 w 854"/>
                <a:gd name="T7" fmla="*/ 334 h 675"/>
                <a:gd name="T8" fmla="*/ 662 w 854"/>
                <a:gd name="T9" fmla="*/ 0 h 675"/>
                <a:gd name="T10" fmla="*/ 663 w 854"/>
                <a:gd name="T11" fmla="*/ 131 h 675"/>
                <a:gd name="T12" fmla="*/ 12 w 854"/>
                <a:gd name="T13" fmla="*/ 131 h 675"/>
                <a:gd name="T14" fmla="*/ 124 w 854"/>
                <a:gd name="T15" fmla="*/ 331 h 675"/>
                <a:gd name="T16" fmla="*/ 0 w 854"/>
                <a:gd name="T17" fmla="*/ 570 h 6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54"/>
                <a:gd name="T28" fmla="*/ 0 h 675"/>
                <a:gd name="T29" fmla="*/ 854 w 854"/>
                <a:gd name="T30" fmla="*/ 675 h 6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54" h="675">
                  <a:moveTo>
                    <a:pt x="0" y="558"/>
                  </a:moveTo>
                  <a:lnTo>
                    <a:pt x="660" y="556"/>
                  </a:lnTo>
                  <a:lnTo>
                    <a:pt x="660" y="675"/>
                  </a:lnTo>
                  <a:lnTo>
                    <a:pt x="854" y="329"/>
                  </a:lnTo>
                  <a:lnTo>
                    <a:pt x="662" y="0"/>
                  </a:lnTo>
                  <a:lnTo>
                    <a:pt x="663" y="126"/>
                  </a:lnTo>
                  <a:lnTo>
                    <a:pt x="12" y="126"/>
                  </a:lnTo>
                  <a:lnTo>
                    <a:pt x="124" y="3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831" name="Arc 29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55" y="1988"/>
              <a:ext cx="984" cy="548"/>
            </a:xfrm>
            <a:custGeom>
              <a:avLst/>
              <a:gdLst>
                <a:gd name="T0" fmla="*/ 0 w 24961"/>
                <a:gd name="T1" fmla="*/ 0 h 21600"/>
                <a:gd name="T2" fmla="*/ 0 w 24961"/>
                <a:gd name="T3" fmla="*/ 0 h 21600"/>
                <a:gd name="T4" fmla="*/ 0 w 24961"/>
                <a:gd name="T5" fmla="*/ 0 h 21600"/>
                <a:gd name="T6" fmla="*/ 0 60000 65536"/>
                <a:gd name="T7" fmla="*/ 0 60000 65536"/>
                <a:gd name="T8" fmla="*/ 0 60000 65536"/>
                <a:gd name="T9" fmla="*/ 0 w 24961"/>
                <a:gd name="T10" fmla="*/ 0 h 21600"/>
                <a:gd name="T11" fmla="*/ 24961 w 24961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961" h="21600" fill="none" extrusionOk="0">
                  <a:moveTo>
                    <a:pt x="-1" y="20825"/>
                  </a:moveTo>
                  <a:cubicBezTo>
                    <a:pt x="416" y="9205"/>
                    <a:pt x="9957" y="-1"/>
                    <a:pt x="21586" y="-1"/>
                  </a:cubicBezTo>
                  <a:cubicBezTo>
                    <a:pt x="22716" y="-1"/>
                    <a:pt x="23844" y="88"/>
                    <a:pt x="24960" y="265"/>
                  </a:cubicBezTo>
                </a:path>
                <a:path w="24961" h="21600" stroke="0" extrusionOk="0">
                  <a:moveTo>
                    <a:pt x="-1" y="20825"/>
                  </a:moveTo>
                  <a:cubicBezTo>
                    <a:pt x="416" y="9205"/>
                    <a:pt x="9957" y="-1"/>
                    <a:pt x="21586" y="-1"/>
                  </a:cubicBezTo>
                  <a:cubicBezTo>
                    <a:pt x="22716" y="-1"/>
                    <a:pt x="23844" y="88"/>
                    <a:pt x="24960" y="265"/>
                  </a:cubicBezTo>
                  <a:lnTo>
                    <a:pt x="21586" y="21600"/>
                  </a:lnTo>
                  <a:lnTo>
                    <a:pt x="-1" y="20825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4832" name="Arc 30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812" y="2387"/>
              <a:ext cx="479" cy="278"/>
            </a:xfrm>
            <a:custGeom>
              <a:avLst/>
              <a:gdLst>
                <a:gd name="T0" fmla="*/ 0 w 24969"/>
                <a:gd name="T1" fmla="*/ 0 h 21600"/>
                <a:gd name="T2" fmla="*/ 0 w 24969"/>
                <a:gd name="T3" fmla="*/ 0 h 21600"/>
                <a:gd name="T4" fmla="*/ 0 w 24969"/>
                <a:gd name="T5" fmla="*/ 0 h 21600"/>
                <a:gd name="T6" fmla="*/ 0 60000 65536"/>
                <a:gd name="T7" fmla="*/ 0 60000 65536"/>
                <a:gd name="T8" fmla="*/ 0 60000 65536"/>
                <a:gd name="T9" fmla="*/ 0 w 24969"/>
                <a:gd name="T10" fmla="*/ 0 h 21600"/>
                <a:gd name="T11" fmla="*/ 24969 w 24969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969" h="21600" fill="none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</a:path>
                <a:path w="24969" h="21600" stroke="0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  <a:lnTo>
                    <a:pt x="21594" y="21600"/>
                  </a:lnTo>
                  <a:lnTo>
                    <a:pt x="-1" y="21094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4833" name="Freeform 31"/>
            <p:cNvSpPr>
              <a:spLocks/>
            </p:cNvSpPr>
            <p:nvPr>
              <p:custDataLst>
                <p:tags r:id="rId17"/>
              </p:custDataLst>
            </p:nvPr>
          </p:nvSpPr>
          <p:spPr bwMode="blackWhite">
            <a:xfrm>
              <a:off x="2354" y="2379"/>
              <a:ext cx="723" cy="982"/>
            </a:xfrm>
            <a:custGeom>
              <a:avLst/>
              <a:gdLst>
                <a:gd name="T0" fmla="*/ 185 w 933"/>
                <a:gd name="T1" fmla="*/ 0 h 1276"/>
                <a:gd name="T2" fmla="*/ 44 w 933"/>
                <a:gd name="T3" fmla="*/ 1 h 1276"/>
                <a:gd name="T4" fmla="*/ 88 w 933"/>
                <a:gd name="T5" fmla="*/ 25 h 1276"/>
                <a:gd name="T6" fmla="*/ 178 w 933"/>
                <a:gd name="T7" fmla="*/ 345 h 1276"/>
                <a:gd name="T8" fmla="*/ 190 w 933"/>
                <a:gd name="T9" fmla="*/ 264 h 1276"/>
                <a:gd name="T10" fmla="*/ 260 w 933"/>
                <a:gd name="T11" fmla="*/ 235 h 1276"/>
                <a:gd name="T12" fmla="*/ 234 w 933"/>
                <a:gd name="T13" fmla="*/ 211 h 1276"/>
                <a:gd name="T14" fmla="*/ 220 w 933"/>
                <a:gd name="T15" fmla="*/ 192 h 1276"/>
                <a:gd name="T16" fmla="*/ 210 w 933"/>
                <a:gd name="T17" fmla="*/ 162 h 1276"/>
                <a:gd name="T18" fmla="*/ 211 w 933"/>
                <a:gd name="T19" fmla="*/ 94 h 1276"/>
                <a:gd name="T20" fmla="*/ 257 w 933"/>
                <a:gd name="T21" fmla="*/ 119 h 1276"/>
                <a:gd name="T22" fmla="*/ 185 w 933"/>
                <a:gd name="T23" fmla="*/ 0 h 127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33"/>
                <a:gd name="T37" fmla="*/ 0 h 1276"/>
                <a:gd name="T38" fmla="*/ 933 w 933"/>
                <a:gd name="T39" fmla="*/ 1276 h 127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33" h="1276">
                  <a:moveTo>
                    <a:pt x="662" y="0"/>
                  </a:moveTo>
                  <a:lnTo>
                    <a:pt x="156" y="1"/>
                  </a:lnTo>
                  <a:lnTo>
                    <a:pt x="314" y="93"/>
                  </a:lnTo>
                  <a:cubicBezTo>
                    <a:pt x="314" y="93"/>
                    <a:pt x="0" y="771"/>
                    <a:pt x="637" y="1276"/>
                  </a:cubicBezTo>
                  <a:lnTo>
                    <a:pt x="679" y="978"/>
                  </a:lnTo>
                  <a:cubicBezTo>
                    <a:pt x="679" y="978"/>
                    <a:pt x="813" y="923"/>
                    <a:pt x="933" y="872"/>
                  </a:cubicBezTo>
                  <a:cubicBezTo>
                    <a:pt x="885" y="843"/>
                    <a:pt x="838" y="779"/>
                    <a:pt x="838" y="779"/>
                  </a:cubicBezTo>
                  <a:lnTo>
                    <a:pt x="788" y="711"/>
                  </a:lnTo>
                  <a:lnTo>
                    <a:pt x="752" y="600"/>
                  </a:lnTo>
                  <a:cubicBezTo>
                    <a:pt x="752" y="600"/>
                    <a:pt x="719" y="481"/>
                    <a:pt x="755" y="348"/>
                  </a:cubicBezTo>
                  <a:cubicBezTo>
                    <a:pt x="839" y="395"/>
                    <a:pt x="923" y="444"/>
                    <a:pt x="923" y="444"/>
                  </a:cubicBezTo>
                  <a:lnTo>
                    <a:pt x="662" y="0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834" name="Freeform 32"/>
            <p:cNvSpPr>
              <a:spLocks/>
            </p:cNvSpPr>
            <p:nvPr>
              <p:custDataLst>
                <p:tags r:id="rId18"/>
              </p:custDataLst>
            </p:nvPr>
          </p:nvSpPr>
          <p:spPr bwMode="blackWhite">
            <a:xfrm rot="4209998">
              <a:off x="86" y="2643"/>
              <a:ext cx="1139" cy="784"/>
            </a:xfrm>
            <a:custGeom>
              <a:avLst/>
              <a:gdLst>
                <a:gd name="T0" fmla="*/ 16 w 1485"/>
                <a:gd name="T1" fmla="*/ 66 h 1021"/>
                <a:gd name="T2" fmla="*/ 0 w 1485"/>
                <a:gd name="T3" fmla="*/ 203 h 1021"/>
                <a:gd name="T4" fmla="*/ 31 w 1485"/>
                <a:gd name="T5" fmla="*/ 161 h 1021"/>
                <a:gd name="T6" fmla="*/ 394 w 1485"/>
                <a:gd name="T7" fmla="*/ 39 h 1021"/>
                <a:gd name="T8" fmla="*/ 311 w 1485"/>
                <a:gd name="T9" fmla="*/ 56 h 1021"/>
                <a:gd name="T10" fmla="*/ 265 w 1485"/>
                <a:gd name="T11" fmla="*/ 0 h 1021"/>
                <a:gd name="T12" fmla="*/ 229 w 1485"/>
                <a:gd name="T13" fmla="*/ 37 h 1021"/>
                <a:gd name="T14" fmla="*/ 206 w 1485"/>
                <a:gd name="T15" fmla="*/ 51 h 1021"/>
                <a:gd name="T16" fmla="*/ 170 w 1485"/>
                <a:gd name="T17" fmla="*/ 61 h 1021"/>
                <a:gd name="T18" fmla="*/ 115 w 1485"/>
                <a:gd name="T19" fmla="*/ 51 h 1021"/>
                <a:gd name="T20" fmla="*/ 142 w 1485"/>
                <a:gd name="T21" fmla="*/ 15 h 1021"/>
                <a:gd name="T22" fmla="*/ 16 w 1485"/>
                <a:gd name="T23" fmla="*/ 66 h 10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85"/>
                <a:gd name="T37" fmla="*/ 0 h 1021"/>
                <a:gd name="T38" fmla="*/ 1485 w 1485"/>
                <a:gd name="T39" fmla="*/ 1021 h 102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85" h="1021">
                  <a:moveTo>
                    <a:pt x="61" y="248"/>
                  </a:moveTo>
                  <a:lnTo>
                    <a:pt x="0" y="762"/>
                  </a:lnTo>
                  <a:cubicBezTo>
                    <a:pt x="0" y="762"/>
                    <a:pt x="59" y="684"/>
                    <a:pt x="118" y="606"/>
                  </a:cubicBezTo>
                  <a:cubicBezTo>
                    <a:pt x="136" y="628"/>
                    <a:pt x="994" y="1021"/>
                    <a:pt x="1485" y="146"/>
                  </a:cubicBezTo>
                  <a:lnTo>
                    <a:pt x="1170" y="210"/>
                  </a:lnTo>
                  <a:cubicBezTo>
                    <a:pt x="1170" y="210"/>
                    <a:pt x="1084" y="105"/>
                    <a:pt x="999" y="0"/>
                  </a:cubicBezTo>
                  <a:cubicBezTo>
                    <a:pt x="946" y="83"/>
                    <a:pt x="860" y="137"/>
                    <a:pt x="860" y="137"/>
                  </a:cubicBezTo>
                  <a:lnTo>
                    <a:pt x="778" y="190"/>
                  </a:lnTo>
                  <a:lnTo>
                    <a:pt x="638" y="226"/>
                  </a:lnTo>
                  <a:cubicBezTo>
                    <a:pt x="581" y="226"/>
                    <a:pt x="452" y="219"/>
                    <a:pt x="435" y="191"/>
                  </a:cubicBezTo>
                  <a:cubicBezTo>
                    <a:pt x="485" y="124"/>
                    <a:pt x="535" y="57"/>
                    <a:pt x="535" y="57"/>
                  </a:cubicBezTo>
                  <a:lnTo>
                    <a:pt x="61" y="248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835" name="Freeform 33"/>
            <p:cNvSpPr>
              <a:spLocks/>
            </p:cNvSpPr>
            <p:nvPr>
              <p:custDataLst>
                <p:tags r:id="rId19"/>
              </p:custDataLst>
            </p:nvPr>
          </p:nvSpPr>
          <p:spPr bwMode="blackWhite">
            <a:xfrm>
              <a:off x="1074" y="2005"/>
              <a:ext cx="862" cy="1608"/>
            </a:xfrm>
            <a:custGeom>
              <a:avLst/>
              <a:gdLst>
                <a:gd name="T0" fmla="*/ 182 w 976"/>
                <a:gd name="T1" fmla="*/ 913 h 1811"/>
                <a:gd name="T2" fmla="*/ 242 w 976"/>
                <a:gd name="T3" fmla="*/ 890 h 1811"/>
                <a:gd name="T4" fmla="*/ 297 w 976"/>
                <a:gd name="T5" fmla="*/ 859 h 1811"/>
                <a:gd name="T6" fmla="*/ 351 w 976"/>
                <a:gd name="T7" fmla="*/ 820 h 1811"/>
                <a:gd name="T8" fmla="*/ 397 w 976"/>
                <a:gd name="T9" fmla="*/ 776 h 1811"/>
                <a:gd name="T10" fmla="*/ 439 w 976"/>
                <a:gd name="T11" fmla="*/ 725 h 1811"/>
                <a:gd name="T12" fmla="*/ 474 w 976"/>
                <a:gd name="T13" fmla="*/ 668 h 1811"/>
                <a:gd name="T14" fmla="*/ 498 w 976"/>
                <a:gd name="T15" fmla="*/ 607 h 1811"/>
                <a:gd name="T16" fmla="*/ 517 w 976"/>
                <a:gd name="T17" fmla="*/ 543 h 1811"/>
                <a:gd name="T18" fmla="*/ 524 w 976"/>
                <a:gd name="T19" fmla="*/ 478 h 1811"/>
                <a:gd name="T20" fmla="*/ 522 w 976"/>
                <a:gd name="T21" fmla="*/ 411 h 1811"/>
                <a:gd name="T22" fmla="*/ 510 w 976"/>
                <a:gd name="T23" fmla="*/ 345 h 1811"/>
                <a:gd name="T24" fmla="*/ 491 w 976"/>
                <a:gd name="T25" fmla="*/ 282 h 1811"/>
                <a:gd name="T26" fmla="*/ 462 w 976"/>
                <a:gd name="T27" fmla="*/ 222 h 1811"/>
                <a:gd name="T28" fmla="*/ 424 w 976"/>
                <a:gd name="T29" fmla="*/ 168 h 1811"/>
                <a:gd name="T30" fmla="*/ 381 w 976"/>
                <a:gd name="T31" fmla="*/ 119 h 1811"/>
                <a:gd name="T32" fmla="*/ 330 w 976"/>
                <a:gd name="T33" fmla="*/ 78 h 1811"/>
                <a:gd name="T34" fmla="*/ 274 w 976"/>
                <a:gd name="T35" fmla="*/ 45 h 1811"/>
                <a:gd name="T36" fmla="*/ 215 w 976"/>
                <a:gd name="T37" fmla="*/ 20 h 1811"/>
                <a:gd name="T38" fmla="*/ 150 w 976"/>
                <a:gd name="T39" fmla="*/ 4 h 1811"/>
                <a:gd name="T40" fmla="*/ 158 w 976"/>
                <a:gd name="T41" fmla="*/ 61 h 1811"/>
                <a:gd name="T42" fmla="*/ 122 w 976"/>
                <a:gd name="T43" fmla="*/ 240 h 1811"/>
                <a:gd name="T44" fmla="*/ 163 w 976"/>
                <a:gd name="T45" fmla="*/ 256 h 1811"/>
                <a:gd name="T46" fmla="*/ 204 w 976"/>
                <a:gd name="T47" fmla="*/ 280 h 1811"/>
                <a:gd name="T48" fmla="*/ 237 w 976"/>
                <a:gd name="T49" fmla="*/ 313 h 1811"/>
                <a:gd name="T50" fmla="*/ 263 w 976"/>
                <a:gd name="T51" fmla="*/ 352 h 1811"/>
                <a:gd name="T52" fmla="*/ 280 w 976"/>
                <a:gd name="T53" fmla="*/ 396 h 1811"/>
                <a:gd name="T54" fmla="*/ 290 w 976"/>
                <a:gd name="T55" fmla="*/ 441 h 1811"/>
                <a:gd name="T56" fmla="*/ 288 w 976"/>
                <a:gd name="T57" fmla="*/ 489 h 1811"/>
                <a:gd name="T58" fmla="*/ 278 w 976"/>
                <a:gd name="T59" fmla="*/ 535 h 1811"/>
                <a:gd name="T60" fmla="*/ 259 w 976"/>
                <a:gd name="T61" fmla="*/ 578 h 1811"/>
                <a:gd name="T62" fmla="*/ 231 w 976"/>
                <a:gd name="T63" fmla="*/ 615 h 1811"/>
                <a:gd name="T64" fmla="*/ 197 w 976"/>
                <a:gd name="T65" fmla="*/ 646 h 1811"/>
                <a:gd name="T66" fmla="*/ 157 w 976"/>
                <a:gd name="T67" fmla="*/ 671 h 1811"/>
                <a:gd name="T68" fmla="*/ 136 w 976"/>
                <a:gd name="T69" fmla="*/ 602 h 1811"/>
                <a:gd name="T70" fmla="*/ 150 w 976"/>
                <a:gd name="T71" fmla="*/ 999 h 181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76"/>
                <a:gd name="T109" fmla="*/ 0 h 1811"/>
                <a:gd name="T110" fmla="*/ 976 w 976"/>
                <a:gd name="T111" fmla="*/ 1811 h 181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76" h="1811">
                  <a:moveTo>
                    <a:pt x="279" y="1669"/>
                  </a:moveTo>
                  <a:lnTo>
                    <a:pt x="338" y="1654"/>
                  </a:lnTo>
                  <a:lnTo>
                    <a:pt x="394" y="1635"/>
                  </a:lnTo>
                  <a:lnTo>
                    <a:pt x="449" y="1612"/>
                  </a:lnTo>
                  <a:lnTo>
                    <a:pt x="502" y="1585"/>
                  </a:lnTo>
                  <a:lnTo>
                    <a:pt x="553" y="1555"/>
                  </a:lnTo>
                  <a:lnTo>
                    <a:pt x="601" y="1520"/>
                  </a:lnTo>
                  <a:lnTo>
                    <a:pt x="651" y="1485"/>
                  </a:lnTo>
                  <a:lnTo>
                    <a:pt x="697" y="1447"/>
                  </a:lnTo>
                  <a:lnTo>
                    <a:pt x="741" y="1405"/>
                  </a:lnTo>
                  <a:lnTo>
                    <a:pt x="782" y="1361"/>
                  </a:lnTo>
                  <a:lnTo>
                    <a:pt x="818" y="1313"/>
                  </a:lnTo>
                  <a:lnTo>
                    <a:pt x="851" y="1263"/>
                  </a:lnTo>
                  <a:lnTo>
                    <a:pt x="882" y="1210"/>
                  </a:lnTo>
                  <a:lnTo>
                    <a:pt x="908" y="1156"/>
                  </a:lnTo>
                  <a:lnTo>
                    <a:pt x="929" y="1100"/>
                  </a:lnTo>
                  <a:lnTo>
                    <a:pt x="947" y="1043"/>
                  </a:lnTo>
                  <a:lnTo>
                    <a:pt x="961" y="984"/>
                  </a:lnTo>
                  <a:lnTo>
                    <a:pt x="970" y="924"/>
                  </a:lnTo>
                  <a:lnTo>
                    <a:pt x="975" y="865"/>
                  </a:lnTo>
                  <a:lnTo>
                    <a:pt x="975" y="804"/>
                  </a:lnTo>
                  <a:lnTo>
                    <a:pt x="972" y="744"/>
                  </a:lnTo>
                  <a:lnTo>
                    <a:pt x="963" y="685"/>
                  </a:lnTo>
                  <a:lnTo>
                    <a:pt x="950" y="625"/>
                  </a:lnTo>
                  <a:lnTo>
                    <a:pt x="935" y="567"/>
                  </a:lnTo>
                  <a:lnTo>
                    <a:pt x="913" y="511"/>
                  </a:lnTo>
                  <a:lnTo>
                    <a:pt x="889" y="456"/>
                  </a:lnTo>
                  <a:lnTo>
                    <a:pt x="859" y="403"/>
                  </a:lnTo>
                  <a:lnTo>
                    <a:pt x="826" y="352"/>
                  </a:lnTo>
                  <a:lnTo>
                    <a:pt x="790" y="304"/>
                  </a:lnTo>
                  <a:lnTo>
                    <a:pt x="751" y="259"/>
                  </a:lnTo>
                  <a:lnTo>
                    <a:pt x="708" y="216"/>
                  </a:lnTo>
                  <a:lnTo>
                    <a:pt x="662" y="178"/>
                  </a:lnTo>
                  <a:lnTo>
                    <a:pt x="614" y="142"/>
                  </a:lnTo>
                  <a:lnTo>
                    <a:pt x="563" y="109"/>
                  </a:lnTo>
                  <a:lnTo>
                    <a:pt x="510" y="81"/>
                  </a:lnTo>
                  <a:lnTo>
                    <a:pt x="455" y="56"/>
                  </a:lnTo>
                  <a:lnTo>
                    <a:pt x="398" y="36"/>
                  </a:lnTo>
                  <a:lnTo>
                    <a:pt x="340" y="20"/>
                  </a:lnTo>
                  <a:lnTo>
                    <a:pt x="281" y="8"/>
                  </a:lnTo>
                  <a:lnTo>
                    <a:pt x="222" y="0"/>
                  </a:lnTo>
                  <a:lnTo>
                    <a:pt x="294" y="112"/>
                  </a:lnTo>
                  <a:lnTo>
                    <a:pt x="369" y="222"/>
                  </a:lnTo>
                  <a:lnTo>
                    <a:pt x="226" y="434"/>
                  </a:lnTo>
                  <a:lnTo>
                    <a:pt x="268" y="446"/>
                  </a:lnTo>
                  <a:lnTo>
                    <a:pt x="306" y="463"/>
                  </a:lnTo>
                  <a:lnTo>
                    <a:pt x="344" y="483"/>
                  </a:lnTo>
                  <a:lnTo>
                    <a:pt x="379" y="508"/>
                  </a:lnTo>
                  <a:lnTo>
                    <a:pt x="411" y="536"/>
                  </a:lnTo>
                  <a:lnTo>
                    <a:pt x="440" y="567"/>
                  </a:lnTo>
                  <a:lnTo>
                    <a:pt x="467" y="601"/>
                  </a:lnTo>
                  <a:lnTo>
                    <a:pt x="489" y="637"/>
                  </a:lnTo>
                  <a:lnTo>
                    <a:pt x="508" y="676"/>
                  </a:lnTo>
                  <a:lnTo>
                    <a:pt x="521" y="716"/>
                  </a:lnTo>
                  <a:lnTo>
                    <a:pt x="531" y="758"/>
                  </a:lnTo>
                  <a:lnTo>
                    <a:pt x="538" y="801"/>
                  </a:lnTo>
                  <a:lnTo>
                    <a:pt x="539" y="843"/>
                  </a:lnTo>
                  <a:lnTo>
                    <a:pt x="536" y="886"/>
                  </a:lnTo>
                  <a:lnTo>
                    <a:pt x="529" y="928"/>
                  </a:lnTo>
                  <a:lnTo>
                    <a:pt x="517" y="969"/>
                  </a:lnTo>
                  <a:lnTo>
                    <a:pt x="501" y="1009"/>
                  </a:lnTo>
                  <a:lnTo>
                    <a:pt x="482" y="1046"/>
                  </a:lnTo>
                  <a:lnTo>
                    <a:pt x="458" y="1082"/>
                  </a:lnTo>
                  <a:lnTo>
                    <a:pt x="431" y="1115"/>
                  </a:lnTo>
                  <a:lnTo>
                    <a:pt x="401" y="1145"/>
                  </a:lnTo>
                  <a:lnTo>
                    <a:pt x="367" y="1172"/>
                  </a:lnTo>
                  <a:lnTo>
                    <a:pt x="331" y="1196"/>
                  </a:lnTo>
                  <a:lnTo>
                    <a:pt x="293" y="1215"/>
                  </a:lnTo>
                  <a:lnTo>
                    <a:pt x="253" y="1230"/>
                  </a:lnTo>
                  <a:lnTo>
                    <a:pt x="253" y="1093"/>
                  </a:lnTo>
                  <a:lnTo>
                    <a:pt x="0" y="1420"/>
                  </a:lnTo>
                  <a:lnTo>
                    <a:pt x="279" y="1810"/>
                  </a:lnTo>
                  <a:lnTo>
                    <a:pt x="279" y="1669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836" name="Freeform 34"/>
            <p:cNvSpPr>
              <a:spLocks/>
            </p:cNvSpPr>
            <p:nvPr>
              <p:custDataLst>
                <p:tags r:id="rId20"/>
              </p:custDataLst>
            </p:nvPr>
          </p:nvSpPr>
          <p:spPr bwMode="blackWhite">
            <a:xfrm>
              <a:off x="1431" y="1866"/>
              <a:ext cx="1167" cy="678"/>
            </a:xfrm>
            <a:custGeom>
              <a:avLst/>
              <a:gdLst>
                <a:gd name="T0" fmla="*/ 214 w 1429"/>
                <a:gd name="T1" fmla="*/ 249 h 830"/>
                <a:gd name="T2" fmla="*/ 433 w 1429"/>
                <a:gd name="T3" fmla="*/ 249 h 830"/>
                <a:gd name="T4" fmla="*/ 433 w 1429"/>
                <a:gd name="T5" fmla="*/ 302 h 830"/>
                <a:gd name="T6" fmla="*/ 519 w 1429"/>
                <a:gd name="T7" fmla="*/ 148 h 830"/>
                <a:gd name="T8" fmla="*/ 433 w 1429"/>
                <a:gd name="T9" fmla="*/ 0 h 830"/>
                <a:gd name="T10" fmla="*/ 434 w 1429"/>
                <a:gd name="T11" fmla="*/ 56 h 830"/>
                <a:gd name="T12" fmla="*/ 0 w 1429"/>
                <a:gd name="T13" fmla="*/ 56 h 830"/>
                <a:gd name="T14" fmla="*/ 214 w 1429"/>
                <a:gd name="T15" fmla="*/ 249 h 8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29"/>
                <a:gd name="T25" fmla="*/ 0 h 830"/>
                <a:gd name="T26" fmla="*/ 1429 w 1429"/>
                <a:gd name="T27" fmla="*/ 830 h 83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29" h="830">
                  <a:moveTo>
                    <a:pt x="589" y="684"/>
                  </a:moveTo>
                  <a:cubicBezTo>
                    <a:pt x="886" y="685"/>
                    <a:pt x="1191" y="684"/>
                    <a:pt x="1191" y="684"/>
                  </a:cubicBezTo>
                  <a:lnTo>
                    <a:pt x="1191" y="830"/>
                  </a:lnTo>
                  <a:lnTo>
                    <a:pt x="1429" y="404"/>
                  </a:lnTo>
                  <a:lnTo>
                    <a:pt x="1193" y="0"/>
                  </a:lnTo>
                  <a:lnTo>
                    <a:pt x="1194" y="155"/>
                  </a:lnTo>
                  <a:lnTo>
                    <a:pt x="0" y="154"/>
                  </a:lnTo>
                  <a:cubicBezTo>
                    <a:pt x="0" y="154"/>
                    <a:pt x="411" y="237"/>
                    <a:pt x="589" y="684"/>
                  </a:cubicBez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837" name="Freeform 35"/>
            <p:cNvSpPr>
              <a:spLocks/>
            </p:cNvSpPr>
            <p:nvPr>
              <p:custDataLst>
                <p:tags r:id="rId21"/>
              </p:custDataLst>
            </p:nvPr>
          </p:nvSpPr>
          <p:spPr bwMode="blackWhite">
            <a:xfrm>
              <a:off x="2859" y="2970"/>
              <a:ext cx="1150" cy="782"/>
            </a:xfrm>
            <a:custGeom>
              <a:avLst/>
              <a:gdLst>
                <a:gd name="T0" fmla="*/ 17 w 1485"/>
                <a:gd name="T1" fmla="*/ 66 h 1021"/>
                <a:gd name="T2" fmla="*/ 0 w 1485"/>
                <a:gd name="T3" fmla="*/ 201 h 1021"/>
                <a:gd name="T4" fmla="*/ 33 w 1485"/>
                <a:gd name="T5" fmla="*/ 159 h 1021"/>
                <a:gd name="T6" fmla="*/ 414 w 1485"/>
                <a:gd name="T7" fmla="*/ 39 h 1021"/>
                <a:gd name="T8" fmla="*/ 326 w 1485"/>
                <a:gd name="T9" fmla="*/ 55 h 1021"/>
                <a:gd name="T10" fmla="*/ 278 w 1485"/>
                <a:gd name="T11" fmla="*/ 0 h 1021"/>
                <a:gd name="T12" fmla="*/ 240 w 1485"/>
                <a:gd name="T13" fmla="*/ 36 h 1021"/>
                <a:gd name="T14" fmla="*/ 217 w 1485"/>
                <a:gd name="T15" fmla="*/ 51 h 1021"/>
                <a:gd name="T16" fmla="*/ 178 w 1485"/>
                <a:gd name="T17" fmla="*/ 60 h 1021"/>
                <a:gd name="T18" fmla="*/ 121 w 1485"/>
                <a:gd name="T19" fmla="*/ 51 h 1021"/>
                <a:gd name="T20" fmla="*/ 149 w 1485"/>
                <a:gd name="T21" fmla="*/ 15 h 1021"/>
                <a:gd name="T22" fmla="*/ 17 w 1485"/>
                <a:gd name="T23" fmla="*/ 66 h 10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85"/>
                <a:gd name="T37" fmla="*/ 0 h 1021"/>
                <a:gd name="T38" fmla="*/ 1485 w 1485"/>
                <a:gd name="T39" fmla="*/ 1021 h 102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85" h="1021">
                  <a:moveTo>
                    <a:pt x="61" y="248"/>
                  </a:moveTo>
                  <a:lnTo>
                    <a:pt x="0" y="762"/>
                  </a:lnTo>
                  <a:cubicBezTo>
                    <a:pt x="0" y="762"/>
                    <a:pt x="59" y="684"/>
                    <a:pt x="118" y="606"/>
                  </a:cubicBezTo>
                  <a:cubicBezTo>
                    <a:pt x="136" y="628"/>
                    <a:pt x="994" y="1021"/>
                    <a:pt x="1485" y="146"/>
                  </a:cubicBezTo>
                  <a:lnTo>
                    <a:pt x="1170" y="210"/>
                  </a:lnTo>
                  <a:cubicBezTo>
                    <a:pt x="1170" y="210"/>
                    <a:pt x="1084" y="105"/>
                    <a:pt x="999" y="0"/>
                  </a:cubicBezTo>
                  <a:cubicBezTo>
                    <a:pt x="946" y="83"/>
                    <a:pt x="860" y="137"/>
                    <a:pt x="860" y="137"/>
                  </a:cubicBezTo>
                  <a:lnTo>
                    <a:pt x="778" y="190"/>
                  </a:lnTo>
                  <a:lnTo>
                    <a:pt x="638" y="226"/>
                  </a:lnTo>
                  <a:cubicBezTo>
                    <a:pt x="581" y="226"/>
                    <a:pt x="452" y="219"/>
                    <a:pt x="435" y="191"/>
                  </a:cubicBezTo>
                  <a:cubicBezTo>
                    <a:pt x="485" y="124"/>
                    <a:pt x="535" y="57"/>
                    <a:pt x="535" y="57"/>
                  </a:cubicBezTo>
                  <a:lnTo>
                    <a:pt x="61" y="248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838" name="Freeform 36"/>
            <p:cNvSpPr>
              <a:spLocks/>
            </p:cNvSpPr>
            <p:nvPr>
              <p:custDataLst>
                <p:tags r:id="rId22"/>
              </p:custDataLst>
            </p:nvPr>
          </p:nvSpPr>
          <p:spPr bwMode="blackWhite">
            <a:xfrm>
              <a:off x="3617" y="1866"/>
              <a:ext cx="1158" cy="678"/>
            </a:xfrm>
            <a:custGeom>
              <a:avLst/>
              <a:gdLst>
                <a:gd name="T0" fmla="*/ 206 w 1429"/>
                <a:gd name="T1" fmla="*/ 249 h 830"/>
                <a:gd name="T2" fmla="*/ 417 w 1429"/>
                <a:gd name="T3" fmla="*/ 249 h 830"/>
                <a:gd name="T4" fmla="*/ 417 w 1429"/>
                <a:gd name="T5" fmla="*/ 302 h 830"/>
                <a:gd name="T6" fmla="*/ 499 w 1429"/>
                <a:gd name="T7" fmla="*/ 148 h 830"/>
                <a:gd name="T8" fmla="*/ 417 w 1429"/>
                <a:gd name="T9" fmla="*/ 0 h 830"/>
                <a:gd name="T10" fmla="*/ 417 w 1429"/>
                <a:gd name="T11" fmla="*/ 56 h 830"/>
                <a:gd name="T12" fmla="*/ 0 w 1429"/>
                <a:gd name="T13" fmla="*/ 56 h 830"/>
                <a:gd name="T14" fmla="*/ 206 w 1429"/>
                <a:gd name="T15" fmla="*/ 249 h 8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29"/>
                <a:gd name="T25" fmla="*/ 0 h 830"/>
                <a:gd name="T26" fmla="*/ 1429 w 1429"/>
                <a:gd name="T27" fmla="*/ 830 h 83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29" h="830">
                  <a:moveTo>
                    <a:pt x="589" y="684"/>
                  </a:moveTo>
                  <a:cubicBezTo>
                    <a:pt x="886" y="685"/>
                    <a:pt x="1191" y="684"/>
                    <a:pt x="1191" y="684"/>
                  </a:cubicBezTo>
                  <a:lnTo>
                    <a:pt x="1191" y="830"/>
                  </a:lnTo>
                  <a:lnTo>
                    <a:pt x="1429" y="404"/>
                  </a:lnTo>
                  <a:lnTo>
                    <a:pt x="1193" y="0"/>
                  </a:lnTo>
                  <a:lnTo>
                    <a:pt x="1194" y="155"/>
                  </a:lnTo>
                  <a:lnTo>
                    <a:pt x="0" y="154"/>
                  </a:lnTo>
                  <a:cubicBezTo>
                    <a:pt x="0" y="154"/>
                    <a:pt x="411" y="237"/>
                    <a:pt x="589" y="684"/>
                  </a:cubicBez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839" name="Freeform 37"/>
            <p:cNvSpPr>
              <a:spLocks/>
            </p:cNvSpPr>
            <p:nvPr>
              <p:custDataLst>
                <p:tags r:id="rId23"/>
              </p:custDataLst>
            </p:nvPr>
          </p:nvSpPr>
          <p:spPr bwMode="blackWhite">
            <a:xfrm>
              <a:off x="3312" y="1979"/>
              <a:ext cx="862" cy="1112"/>
            </a:xfrm>
            <a:custGeom>
              <a:avLst/>
              <a:gdLst>
                <a:gd name="T0" fmla="*/ 168 w 1115"/>
                <a:gd name="T1" fmla="*/ 394 h 1441"/>
                <a:gd name="T2" fmla="*/ 308 w 1115"/>
                <a:gd name="T3" fmla="*/ 361 h 1441"/>
                <a:gd name="T4" fmla="*/ 264 w 1115"/>
                <a:gd name="T5" fmla="*/ 349 h 1441"/>
                <a:gd name="T6" fmla="*/ 0 w 1115"/>
                <a:gd name="T7" fmla="*/ 0 h 1441"/>
                <a:gd name="T8" fmla="*/ 49 w 1115"/>
                <a:gd name="T9" fmla="*/ 66 h 1441"/>
                <a:gd name="T10" fmla="*/ 19 w 1115"/>
                <a:gd name="T11" fmla="*/ 137 h 1441"/>
                <a:gd name="T12" fmla="*/ 99 w 1115"/>
                <a:gd name="T13" fmla="*/ 179 h 1441"/>
                <a:gd name="T14" fmla="*/ 119 w 1115"/>
                <a:gd name="T15" fmla="*/ 202 h 1441"/>
                <a:gd name="T16" fmla="*/ 130 w 1115"/>
                <a:gd name="T17" fmla="*/ 229 h 1441"/>
                <a:gd name="T18" fmla="*/ 132 w 1115"/>
                <a:gd name="T19" fmla="*/ 305 h 1441"/>
                <a:gd name="T20" fmla="*/ 80 w 1115"/>
                <a:gd name="T21" fmla="*/ 290 h 1441"/>
                <a:gd name="T22" fmla="*/ 168 w 1115"/>
                <a:gd name="T23" fmla="*/ 394 h 144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115"/>
                <a:gd name="T37" fmla="*/ 0 h 1441"/>
                <a:gd name="T38" fmla="*/ 1115 w 1115"/>
                <a:gd name="T39" fmla="*/ 1441 h 144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115" h="1441">
                  <a:moveTo>
                    <a:pt x="609" y="1441"/>
                  </a:moveTo>
                  <a:lnTo>
                    <a:pt x="1115" y="1321"/>
                  </a:lnTo>
                  <a:lnTo>
                    <a:pt x="956" y="1274"/>
                  </a:lnTo>
                  <a:cubicBezTo>
                    <a:pt x="1096" y="922"/>
                    <a:pt x="928" y="37"/>
                    <a:pt x="0" y="0"/>
                  </a:cubicBezTo>
                  <a:cubicBezTo>
                    <a:pt x="90" y="114"/>
                    <a:pt x="178" y="244"/>
                    <a:pt x="178" y="244"/>
                  </a:cubicBezTo>
                  <a:cubicBezTo>
                    <a:pt x="178" y="244"/>
                    <a:pt x="120" y="371"/>
                    <a:pt x="67" y="503"/>
                  </a:cubicBezTo>
                  <a:cubicBezTo>
                    <a:pt x="249" y="531"/>
                    <a:pt x="357" y="655"/>
                    <a:pt x="357" y="655"/>
                  </a:cubicBezTo>
                  <a:lnTo>
                    <a:pt x="431" y="740"/>
                  </a:lnTo>
                  <a:lnTo>
                    <a:pt x="469" y="839"/>
                  </a:lnTo>
                  <a:cubicBezTo>
                    <a:pt x="523" y="963"/>
                    <a:pt x="478" y="1116"/>
                    <a:pt x="478" y="1116"/>
                  </a:cubicBezTo>
                  <a:lnTo>
                    <a:pt x="287" y="1060"/>
                  </a:lnTo>
                  <a:lnTo>
                    <a:pt x="609" y="1441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840" name="Freeform 38"/>
            <p:cNvSpPr>
              <a:spLocks/>
            </p:cNvSpPr>
            <p:nvPr>
              <p:custDataLst>
                <p:tags r:id="rId24"/>
              </p:custDataLst>
            </p:nvPr>
          </p:nvSpPr>
          <p:spPr bwMode="blackWhite">
            <a:xfrm>
              <a:off x="4714" y="1866"/>
              <a:ext cx="854" cy="678"/>
            </a:xfrm>
            <a:custGeom>
              <a:avLst/>
              <a:gdLst>
                <a:gd name="T0" fmla="*/ 0 w 854"/>
                <a:gd name="T1" fmla="*/ 570 h 675"/>
                <a:gd name="T2" fmla="*/ 660 w 854"/>
                <a:gd name="T3" fmla="*/ 567 h 675"/>
                <a:gd name="T4" fmla="*/ 660 w 854"/>
                <a:gd name="T5" fmla="*/ 690 h 675"/>
                <a:gd name="T6" fmla="*/ 854 w 854"/>
                <a:gd name="T7" fmla="*/ 334 h 675"/>
                <a:gd name="T8" fmla="*/ 662 w 854"/>
                <a:gd name="T9" fmla="*/ 0 h 675"/>
                <a:gd name="T10" fmla="*/ 663 w 854"/>
                <a:gd name="T11" fmla="*/ 131 h 675"/>
                <a:gd name="T12" fmla="*/ 12 w 854"/>
                <a:gd name="T13" fmla="*/ 131 h 675"/>
                <a:gd name="T14" fmla="*/ 124 w 854"/>
                <a:gd name="T15" fmla="*/ 331 h 675"/>
                <a:gd name="T16" fmla="*/ 0 w 854"/>
                <a:gd name="T17" fmla="*/ 570 h 6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54"/>
                <a:gd name="T28" fmla="*/ 0 h 675"/>
                <a:gd name="T29" fmla="*/ 854 w 854"/>
                <a:gd name="T30" fmla="*/ 675 h 6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54" h="675">
                  <a:moveTo>
                    <a:pt x="0" y="558"/>
                  </a:moveTo>
                  <a:lnTo>
                    <a:pt x="660" y="556"/>
                  </a:lnTo>
                  <a:lnTo>
                    <a:pt x="660" y="675"/>
                  </a:lnTo>
                  <a:lnTo>
                    <a:pt x="854" y="329"/>
                  </a:lnTo>
                  <a:lnTo>
                    <a:pt x="662" y="0"/>
                  </a:lnTo>
                  <a:lnTo>
                    <a:pt x="663" y="126"/>
                  </a:lnTo>
                  <a:lnTo>
                    <a:pt x="12" y="126"/>
                  </a:lnTo>
                  <a:lnTo>
                    <a:pt x="124" y="3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chemeClr val="accent2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841" name="Freeform 39"/>
            <p:cNvSpPr>
              <a:spLocks/>
            </p:cNvSpPr>
            <p:nvPr>
              <p:custDataLst>
                <p:tags r:id="rId25"/>
              </p:custDataLst>
            </p:nvPr>
          </p:nvSpPr>
          <p:spPr bwMode="blackWhite">
            <a:xfrm>
              <a:off x="220" y="1866"/>
              <a:ext cx="1097" cy="678"/>
            </a:xfrm>
            <a:custGeom>
              <a:avLst/>
              <a:gdLst>
                <a:gd name="T0" fmla="*/ 0 w 1094"/>
                <a:gd name="T1" fmla="*/ 570 h 675"/>
                <a:gd name="T2" fmla="*/ 855 w 1094"/>
                <a:gd name="T3" fmla="*/ 567 h 675"/>
                <a:gd name="T4" fmla="*/ 855 w 1094"/>
                <a:gd name="T5" fmla="*/ 690 h 675"/>
                <a:gd name="T6" fmla="*/ 1109 w 1094"/>
                <a:gd name="T7" fmla="*/ 334 h 675"/>
                <a:gd name="T8" fmla="*/ 858 w 1094"/>
                <a:gd name="T9" fmla="*/ 0 h 675"/>
                <a:gd name="T10" fmla="*/ 859 w 1094"/>
                <a:gd name="T11" fmla="*/ 131 h 675"/>
                <a:gd name="T12" fmla="*/ 4 w 1094"/>
                <a:gd name="T13" fmla="*/ 131 h 675"/>
                <a:gd name="T14" fmla="*/ 0 w 1094"/>
                <a:gd name="T15" fmla="*/ 570 h 67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94"/>
                <a:gd name="T25" fmla="*/ 0 h 675"/>
                <a:gd name="T26" fmla="*/ 1094 w 1094"/>
                <a:gd name="T27" fmla="*/ 675 h 67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94" h="675">
                  <a:moveTo>
                    <a:pt x="0" y="558"/>
                  </a:moveTo>
                  <a:lnTo>
                    <a:pt x="845" y="556"/>
                  </a:lnTo>
                  <a:lnTo>
                    <a:pt x="845" y="675"/>
                  </a:lnTo>
                  <a:lnTo>
                    <a:pt x="1094" y="329"/>
                  </a:lnTo>
                  <a:lnTo>
                    <a:pt x="848" y="0"/>
                  </a:lnTo>
                  <a:lnTo>
                    <a:pt x="849" y="126"/>
                  </a:lnTo>
                  <a:lnTo>
                    <a:pt x="4" y="1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34823" name="Rectangle 40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smtClean="0">
                <a:ea typeface="ＭＳ Ｐゴシック" pitchFamily="34" charset="-128"/>
                <a:cs typeface="Arial" pitchFamily="34" charset="0"/>
              </a:rPr>
              <a:t>The next step in entrepreneurship is to go beyond SME Promotion</a:t>
            </a:r>
          </a:p>
        </p:txBody>
      </p:sp>
      <p:sp>
        <p:nvSpPr>
          <p:cNvPr id="34824" name="Rectangle 60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06450" y="3125788"/>
            <a:ext cx="23241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47638" lvl="1" indent="-146050" defTabSz="912813">
              <a:spcAft>
                <a:spcPts val="8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solidFill>
                  <a:srgbClr val="000000"/>
                </a:solidFill>
                <a:cs typeface="Arial" pitchFamily="34" charset="0"/>
              </a:rPr>
              <a:t>Learn to create business plans and obtain seed capital</a:t>
            </a:r>
          </a:p>
        </p:txBody>
      </p:sp>
      <p:sp>
        <p:nvSpPr>
          <p:cNvPr id="34825" name="Rectangle 60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517900" y="3125788"/>
            <a:ext cx="2324100" cy="170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47638" lvl="1" indent="-146050" defTabSz="912813">
              <a:spcAft>
                <a:spcPts val="8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solidFill>
                  <a:srgbClr val="000000"/>
                </a:solidFill>
                <a:cs typeface="Arial" pitchFamily="34" charset="0"/>
              </a:rPr>
              <a:t>Learn to create business plans and obtain seed capital</a:t>
            </a:r>
          </a:p>
          <a:p>
            <a:pPr marL="147638" lvl="1" indent="-146050" defTabSz="912813">
              <a:spcAft>
                <a:spcPts val="8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solidFill>
                  <a:srgbClr val="000000"/>
                </a:solidFill>
                <a:cs typeface="Arial" pitchFamily="34" charset="0"/>
              </a:rPr>
              <a:t>Improved selection</a:t>
            </a:r>
          </a:p>
          <a:p>
            <a:pPr marL="147638" lvl="1" indent="-146050" defTabSz="912813">
              <a:spcAft>
                <a:spcPts val="8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solidFill>
                  <a:srgbClr val="000000"/>
                </a:solidFill>
                <a:cs typeface="Arial" pitchFamily="34" charset="0"/>
              </a:rPr>
              <a:t>Aftercare</a:t>
            </a:r>
          </a:p>
          <a:p>
            <a:pPr marL="147638" lvl="1" indent="-146050" defTabSz="912813">
              <a:spcAft>
                <a:spcPts val="8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solidFill>
                  <a:srgbClr val="000000"/>
                </a:solidFill>
                <a:cs typeface="Arial" pitchFamily="34" charset="0"/>
              </a:rPr>
              <a:t>Training and toolkits on accessing markets and capital </a:t>
            </a:r>
          </a:p>
        </p:txBody>
      </p:sp>
      <p:sp>
        <p:nvSpPr>
          <p:cNvPr id="34826" name="Rectangle 60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253163" y="3125788"/>
            <a:ext cx="2324100" cy="278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47638" lvl="1" indent="-146050" defTabSz="912813">
              <a:spcAft>
                <a:spcPts val="8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solidFill>
                  <a:srgbClr val="000000"/>
                </a:solidFill>
                <a:cs typeface="Arial" pitchFamily="34" charset="0"/>
              </a:rPr>
              <a:t>Learn to create business plans and obtain seed capital</a:t>
            </a:r>
          </a:p>
          <a:p>
            <a:pPr marL="147638" lvl="1" indent="-146050" defTabSz="912813">
              <a:spcAft>
                <a:spcPts val="8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solidFill>
                  <a:srgbClr val="000000"/>
                </a:solidFill>
                <a:cs typeface="Arial" pitchFamily="34" charset="0"/>
              </a:rPr>
              <a:t>Improved selection</a:t>
            </a:r>
          </a:p>
          <a:p>
            <a:pPr marL="147638" lvl="1" indent="-146050" defTabSz="912813">
              <a:spcAft>
                <a:spcPts val="8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solidFill>
                  <a:srgbClr val="000000"/>
                </a:solidFill>
                <a:cs typeface="Arial" pitchFamily="34" charset="0"/>
              </a:rPr>
              <a:t>Training and toolkits on accessing markets and capital </a:t>
            </a:r>
          </a:p>
          <a:p>
            <a:pPr marL="147638" lvl="1" indent="-146050" defTabSz="912813">
              <a:spcAft>
                <a:spcPts val="8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solidFill>
                  <a:srgbClr val="000000"/>
                </a:solidFill>
                <a:cs typeface="Arial" pitchFamily="34" charset="0"/>
              </a:rPr>
              <a:t>Push the businesses with the greatest potential to generate growth and job creation</a:t>
            </a:r>
          </a:p>
          <a:p>
            <a:pPr marL="147638" lvl="1" indent="-146050" defTabSz="912813">
              <a:spcAft>
                <a:spcPts val="8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solidFill>
                  <a:srgbClr val="000000"/>
                </a:solidFill>
                <a:cs typeface="Arial" pitchFamily="34" charset="0"/>
              </a:rPr>
              <a:t>Targeted consulting interventions to achieve sustained growth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842" name="Rectangle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2" name="think-cell Slide" r:id="rId26" imgW="0" imgH="0" progId="TCLayout.ActiveDocument.1">
                  <p:embed/>
                </p:oleObj>
              </mc:Choice>
              <mc:Fallback>
                <p:oleObj name="think-cell Slide" r:id="rId26" imgW="0" imgH="0" progId="TCLayout.ActiveDocument.1">
                  <p:embed/>
                  <p:pic>
                    <p:nvPicPr>
                      <p:cNvPr id="0" name="Rectangle 1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843" name="Rectangle 14"/>
          <p:cNvSpPr>
            <a:spLocks noGrp="1" noChangeArrowheads="1"/>
          </p:cNvSpPr>
          <p:nvPr>
            <p:ph type="title"/>
          </p:nvPr>
        </p:nvSpPr>
        <p:spPr>
          <a:xfrm>
            <a:off x="685800" y="1358900"/>
            <a:ext cx="7772400" cy="609600"/>
          </a:xfrm>
        </p:spPr>
        <p:txBody>
          <a:bodyPr/>
          <a:lstStyle/>
          <a:p>
            <a:r>
              <a:rPr lang="en-US" sz="2000" smtClean="0">
                <a:ea typeface="ＭＳ Ｐゴシック" pitchFamily="34" charset="-128"/>
                <a:cs typeface="Arial" pitchFamily="34" charset="0"/>
              </a:rPr>
              <a:t>The new model will provide access to capital and markets to promote rapid growth: Business Accelerator</a:t>
            </a:r>
          </a:p>
        </p:txBody>
      </p:sp>
      <p:sp>
        <p:nvSpPr>
          <p:cNvPr id="35844" name="AutoShape 31"/>
          <p:cNvSpPr>
            <a:spLocks noChangeArrowheads="1"/>
          </p:cNvSpPr>
          <p:nvPr>
            <p:custDataLst>
              <p:tags r:id="rId3"/>
            </p:custDataLst>
          </p:nvPr>
        </p:nvSpPr>
        <p:spPr bwMode="ltGray">
          <a:xfrm>
            <a:off x="3346450" y="3208338"/>
            <a:ext cx="904875" cy="720725"/>
          </a:xfrm>
          <a:prstGeom prst="roundRect">
            <a:avLst>
              <a:gd name="adj" fmla="val 0"/>
            </a:avLst>
          </a:prstGeom>
          <a:noFill/>
          <a:ln w="19050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 anchorCtr="1"/>
          <a:lstStyle/>
          <a:p>
            <a:pPr algn="ctr">
              <a:lnSpc>
                <a:spcPct val="95000"/>
              </a:lnSpc>
            </a:pPr>
            <a:r>
              <a:rPr lang="es-ES_tradnl" sz="1400" b="1">
                <a:solidFill>
                  <a:schemeClr val="tx2"/>
                </a:solidFill>
                <a:cs typeface="Arial" pitchFamily="34" charset="0"/>
              </a:rPr>
              <a:t>Access to</a:t>
            </a:r>
          </a:p>
          <a:p>
            <a:pPr algn="ctr">
              <a:lnSpc>
                <a:spcPct val="95000"/>
              </a:lnSpc>
            </a:pPr>
            <a:r>
              <a:rPr lang="es-ES_tradnl" sz="1400" b="1">
                <a:solidFill>
                  <a:schemeClr val="tx2"/>
                </a:solidFill>
                <a:cs typeface="Arial" pitchFamily="34" charset="0"/>
              </a:rPr>
              <a:t>Capital</a:t>
            </a:r>
          </a:p>
        </p:txBody>
      </p:sp>
      <p:sp>
        <p:nvSpPr>
          <p:cNvPr id="35845" name="AutoShape 34"/>
          <p:cNvSpPr>
            <a:spLocks noChangeArrowheads="1"/>
          </p:cNvSpPr>
          <p:nvPr>
            <p:custDataLst>
              <p:tags r:id="rId4"/>
            </p:custDataLst>
          </p:nvPr>
        </p:nvSpPr>
        <p:spPr bwMode="ltGray">
          <a:xfrm>
            <a:off x="5592763" y="3208338"/>
            <a:ext cx="904875" cy="720725"/>
          </a:xfrm>
          <a:prstGeom prst="roundRect">
            <a:avLst>
              <a:gd name="adj" fmla="val 0"/>
            </a:avLst>
          </a:prstGeom>
          <a:noFill/>
          <a:ln w="19050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 anchorCtr="1"/>
          <a:lstStyle/>
          <a:p>
            <a:pPr algn="ctr">
              <a:lnSpc>
                <a:spcPct val="95000"/>
              </a:lnSpc>
            </a:pPr>
            <a:r>
              <a:rPr lang="es-ES_tradnl" sz="1400" b="1">
                <a:solidFill>
                  <a:schemeClr val="tx2"/>
                </a:solidFill>
                <a:cs typeface="Arial" pitchFamily="34" charset="0"/>
              </a:rPr>
              <a:t>Access to </a:t>
            </a:r>
          </a:p>
          <a:p>
            <a:pPr algn="ctr">
              <a:lnSpc>
                <a:spcPct val="95000"/>
              </a:lnSpc>
            </a:pPr>
            <a:r>
              <a:rPr lang="es-ES_tradnl" sz="1400" b="1">
                <a:solidFill>
                  <a:schemeClr val="tx2"/>
                </a:solidFill>
                <a:cs typeface="Arial" pitchFamily="34" charset="0"/>
              </a:rPr>
              <a:t>Markets</a:t>
            </a:r>
          </a:p>
        </p:txBody>
      </p:sp>
      <p:sp>
        <p:nvSpPr>
          <p:cNvPr id="35846" name="Oval 36"/>
          <p:cNvSpPr>
            <a:spLocks noChangeArrowheads="1"/>
          </p:cNvSpPr>
          <p:nvPr>
            <p:custDataLst>
              <p:tags r:id="rId5"/>
            </p:custDataLst>
          </p:nvPr>
        </p:nvSpPr>
        <p:spPr bwMode="ltGray">
          <a:xfrm>
            <a:off x="4464050" y="3170238"/>
            <a:ext cx="914400" cy="795337"/>
          </a:xfrm>
          <a:prstGeom prst="ellipse">
            <a:avLst/>
          </a:prstGeom>
          <a:solidFill>
            <a:schemeClr val="accent2"/>
          </a:solidFill>
          <a:ln w="19050">
            <a:solidFill>
              <a:srgbClr val="808080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r>
              <a:rPr lang="es-ES_tradnl" sz="1400" b="1">
                <a:solidFill>
                  <a:schemeClr val="bg1"/>
                </a:solidFill>
                <a:cs typeface="Arial" pitchFamily="34" charset="0"/>
              </a:rPr>
              <a:t>Growth</a:t>
            </a:r>
          </a:p>
        </p:txBody>
      </p:sp>
      <p:sp>
        <p:nvSpPr>
          <p:cNvPr id="35847" name="Arc 13"/>
          <p:cNvSpPr>
            <a:spLocks/>
          </p:cNvSpPr>
          <p:nvPr/>
        </p:nvSpPr>
        <p:spPr bwMode="auto">
          <a:xfrm>
            <a:off x="3622675" y="2330450"/>
            <a:ext cx="2590800" cy="914400"/>
          </a:xfrm>
          <a:custGeom>
            <a:avLst/>
            <a:gdLst>
              <a:gd name="T0" fmla="*/ 0 w 42621"/>
              <a:gd name="T1" fmla="*/ 2147483647 h 21600"/>
              <a:gd name="T2" fmla="*/ 2147483647 w 42621"/>
              <a:gd name="T3" fmla="*/ 2147483647 h 21600"/>
              <a:gd name="T4" fmla="*/ 2147483647 w 42621"/>
              <a:gd name="T5" fmla="*/ 2147483647 h 21600"/>
              <a:gd name="T6" fmla="*/ 0 60000 65536"/>
              <a:gd name="T7" fmla="*/ 0 60000 65536"/>
              <a:gd name="T8" fmla="*/ 0 60000 65536"/>
              <a:gd name="T9" fmla="*/ 0 w 42621"/>
              <a:gd name="T10" fmla="*/ 0 h 21600"/>
              <a:gd name="T11" fmla="*/ 42621 w 42621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2621" h="21600" fill="none" extrusionOk="0">
                <a:moveTo>
                  <a:pt x="0" y="18084"/>
                </a:moveTo>
                <a:cubicBezTo>
                  <a:pt x="1721" y="7652"/>
                  <a:pt x="10739" y="-1"/>
                  <a:pt x="21312" y="-1"/>
                </a:cubicBezTo>
                <a:cubicBezTo>
                  <a:pt x="31877" y="-1"/>
                  <a:pt x="40891" y="7642"/>
                  <a:pt x="42620" y="18065"/>
                </a:cubicBezTo>
              </a:path>
              <a:path w="42621" h="21600" stroke="0" extrusionOk="0">
                <a:moveTo>
                  <a:pt x="0" y="18084"/>
                </a:moveTo>
                <a:cubicBezTo>
                  <a:pt x="1721" y="7652"/>
                  <a:pt x="10739" y="-1"/>
                  <a:pt x="21312" y="-1"/>
                </a:cubicBezTo>
                <a:cubicBezTo>
                  <a:pt x="31877" y="-1"/>
                  <a:pt x="40891" y="7642"/>
                  <a:pt x="42620" y="18065"/>
                </a:cubicBezTo>
                <a:lnTo>
                  <a:pt x="21312" y="21600"/>
                </a:lnTo>
                <a:lnTo>
                  <a:pt x="0" y="18084"/>
                </a:lnTo>
                <a:close/>
              </a:path>
            </a:pathLst>
          </a:custGeom>
          <a:noFill/>
          <a:ln w="38100">
            <a:solidFill>
              <a:srgbClr val="808080"/>
            </a:solidFill>
            <a:round/>
            <a:headEnd type="triangle" w="lg" len="med"/>
            <a:tailEnd type="triangle" w="lg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5848" name="Arc 14"/>
          <p:cNvSpPr>
            <a:spLocks/>
          </p:cNvSpPr>
          <p:nvPr/>
        </p:nvSpPr>
        <p:spPr bwMode="auto">
          <a:xfrm flipV="1">
            <a:off x="3622675" y="3867150"/>
            <a:ext cx="2590800" cy="914400"/>
          </a:xfrm>
          <a:custGeom>
            <a:avLst/>
            <a:gdLst>
              <a:gd name="T0" fmla="*/ 0 w 42621"/>
              <a:gd name="T1" fmla="*/ 2147483647 h 21600"/>
              <a:gd name="T2" fmla="*/ 2147483647 w 42621"/>
              <a:gd name="T3" fmla="*/ 2147483647 h 21600"/>
              <a:gd name="T4" fmla="*/ 2147483647 w 42621"/>
              <a:gd name="T5" fmla="*/ 2147483647 h 21600"/>
              <a:gd name="T6" fmla="*/ 0 60000 65536"/>
              <a:gd name="T7" fmla="*/ 0 60000 65536"/>
              <a:gd name="T8" fmla="*/ 0 60000 65536"/>
              <a:gd name="T9" fmla="*/ 0 w 42621"/>
              <a:gd name="T10" fmla="*/ 0 h 21600"/>
              <a:gd name="T11" fmla="*/ 42621 w 42621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2621" h="21600" fill="none" extrusionOk="0">
                <a:moveTo>
                  <a:pt x="0" y="18084"/>
                </a:moveTo>
                <a:cubicBezTo>
                  <a:pt x="1721" y="7652"/>
                  <a:pt x="10739" y="-1"/>
                  <a:pt x="21312" y="-1"/>
                </a:cubicBezTo>
                <a:cubicBezTo>
                  <a:pt x="31877" y="-1"/>
                  <a:pt x="40891" y="7642"/>
                  <a:pt x="42620" y="18065"/>
                </a:cubicBezTo>
              </a:path>
              <a:path w="42621" h="21600" stroke="0" extrusionOk="0">
                <a:moveTo>
                  <a:pt x="0" y="18084"/>
                </a:moveTo>
                <a:cubicBezTo>
                  <a:pt x="1721" y="7652"/>
                  <a:pt x="10739" y="-1"/>
                  <a:pt x="21312" y="-1"/>
                </a:cubicBezTo>
                <a:cubicBezTo>
                  <a:pt x="31877" y="-1"/>
                  <a:pt x="40891" y="7642"/>
                  <a:pt x="42620" y="18065"/>
                </a:cubicBezTo>
                <a:lnTo>
                  <a:pt x="21312" y="21600"/>
                </a:lnTo>
                <a:lnTo>
                  <a:pt x="0" y="18084"/>
                </a:lnTo>
                <a:close/>
              </a:path>
            </a:pathLst>
          </a:custGeom>
          <a:noFill/>
          <a:ln w="38100">
            <a:solidFill>
              <a:srgbClr val="808080"/>
            </a:solidFill>
            <a:round/>
            <a:headEnd type="triangle" w="lg" len="med"/>
            <a:tailEnd type="triangle" w="lg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5849" name="Rectangle 6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780213" y="2622550"/>
            <a:ext cx="1576387" cy="1927225"/>
          </a:xfrm>
          <a:prstGeom prst="rect">
            <a:avLst/>
          </a:prstGeom>
          <a:solidFill>
            <a:srgbClr val="F5F5F5"/>
          </a:solidFill>
          <a:ln w="9525">
            <a:solidFill>
              <a:srgbClr val="808080"/>
            </a:solidFill>
            <a:miter lim="800000"/>
            <a:headEnd/>
            <a:tailEnd/>
          </a:ln>
        </p:spPr>
        <p:txBody>
          <a:bodyPr lIns="108000" tIns="108000" rIns="108000" bIns="108000">
            <a:spAutoFit/>
          </a:bodyPr>
          <a:lstStyle/>
          <a:p>
            <a:pPr marL="144463" lvl="1" indent="-142875" defTabSz="895350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cs typeface="Arial" pitchFamily="34" charset="0"/>
              </a:rPr>
              <a:t>Market linkages</a:t>
            </a:r>
          </a:p>
          <a:p>
            <a:pPr marL="144463" lvl="1" indent="-142875" defTabSz="895350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cs typeface="Arial" pitchFamily="34" charset="0"/>
              </a:rPr>
              <a:t>Market info</a:t>
            </a:r>
          </a:p>
          <a:p>
            <a:pPr marL="144463" lvl="1" indent="-142875" defTabSz="895350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cs typeface="Arial" pitchFamily="34" charset="0"/>
              </a:rPr>
              <a:t>Marketing training</a:t>
            </a:r>
          </a:p>
          <a:p>
            <a:pPr marL="144463" lvl="1" indent="-142875" defTabSz="895350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cs typeface="Arial" pitchFamily="34" charset="0"/>
              </a:rPr>
              <a:t>Market niches</a:t>
            </a:r>
          </a:p>
          <a:p>
            <a:pPr marL="144463" lvl="1" indent="-142875" defTabSz="895350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cs typeface="Arial" pitchFamily="34" charset="0"/>
              </a:rPr>
              <a:t>Specific issues (packaging)</a:t>
            </a:r>
          </a:p>
        </p:txBody>
      </p:sp>
      <p:sp>
        <p:nvSpPr>
          <p:cNvPr id="35850" name="Rectangle 6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212850" y="2622550"/>
            <a:ext cx="1843088" cy="1927225"/>
          </a:xfrm>
          <a:prstGeom prst="rect">
            <a:avLst/>
          </a:prstGeom>
          <a:solidFill>
            <a:srgbClr val="F5F5F5"/>
          </a:solidFill>
          <a:ln w="9525">
            <a:solidFill>
              <a:srgbClr val="808080"/>
            </a:solidFill>
            <a:miter lim="800000"/>
            <a:headEnd/>
            <a:tailEnd/>
          </a:ln>
        </p:spPr>
        <p:txBody>
          <a:bodyPr lIns="108000" tIns="108000" rIns="108000" bIns="108000">
            <a:spAutoFit/>
          </a:bodyPr>
          <a:lstStyle/>
          <a:p>
            <a:pPr marL="144463" lvl="1" indent="-142875" defTabSz="895350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cs typeface="Arial" pitchFamily="34" charset="0"/>
              </a:rPr>
              <a:t>Financial planning accounting</a:t>
            </a:r>
          </a:p>
          <a:p>
            <a:pPr marL="144463" lvl="1" indent="-142875" defTabSz="895350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cs typeface="Arial" pitchFamily="34" charset="0"/>
              </a:rPr>
              <a:t>Rationalization of capital needs</a:t>
            </a:r>
          </a:p>
          <a:p>
            <a:pPr marL="144463" lvl="1" indent="-142875" defTabSz="895350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cs typeface="Arial" pitchFamily="34" charset="0"/>
              </a:rPr>
              <a:t>Intro to capital sources</a:t>
            </a:r>
          </a:p>
          <a:p>
            <a:pPr marL="144463" lvl="1" indent="-142875" defTabSz="895350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cs typeface="Arial" pitchFamily="34" charset="0"/>
              </a:rPr>
              <a:t>Help with negotiation</a:t>
            </a:r>
          </a:p>
        </p:txBody>
      </p:sp>
      <p:sp>
        <p:nvSpPr>
          <p:cNvPr id="35851" name="Rectangle 6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260850" y="5207000"/>
            <a:ext cx="1311275" cy="1076325"/>
          </a:xfrm>
          <a:prstGeom prst="rect">
            <a:avLst/>
          </a:prstGeom>
          <a:solidFill>
            <a:srgbClr val="F5F5F5"/>
          </a:solidFill>
          <a:ln w="9525">
            <a:solidFill>
              <a:srgbClr val="808080"/>
            </a:solidFill>
            <a:miter lim="800000"/>
            <a:headEnd/>
            <a:tailEnd/>
          </a:ln>
        </p:spPr>
        <p:txBody>
          <a:bodyPr lIns="108000" tIns="108000" rIns="108000" bIns="108000">
            <a:spAutoFit/>
          </a:bodyPr>
          <a:lstStyle/>
          <a:p>
            <a:pPr marL="144463" lvl="1" indent="-142875" defTabSz="895350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cs typeface="Arial" pitchFamily="34" charset="0"/>
              </a:rPr>
              <a:t>Strategic planning</a:t>
            </a:r>
          </a:p>
          <a:p>
            <a:pPr marL="144463" lvl="1" indent="-142875" defTabSz="895350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cs typeface="Arial" pitchFamily="34" charset="0"/>
              </a:rPr>
              <a:t>Human resources</a:t>
            </a:r>
          </a:p>
        </p:txBody>
      </p:sp>
      <p:grpSp>
        <p:nvGrpSpPr>
          <p:cNvPr id="35852" name="Group 60"/>
          <p:cNvGrpSpPr>
            <a:grpSpLocks/>
          </p:cNvGrpSpPr>
          <p:nvPr/>
        </p:nvGrpSpPr>
        <p:grpSpPr bwMode="auto">
          <a:xfrm>
            <a:off x="8056563" y="693738"/>
            <a:ext cx="974725" cy="344487"/>
            <a:chOff x="220" y="1866"/>
            <a:chExt cx="5348" cy="1886"/>
          </a:xfrm>
        </p:grpSpPr>
        <p:sp>
          <p:nvSpPr>
            <p:cNvPr id="35853" name="Line 45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>
              <a:off x="3974" y="2414"/>
              <a:ext cx="157" cy="9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5854" name="Arc 46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2955" y="2361"/>
              <a:ext cx="470" cy="269"/>
            </a:xfrm>
            <a:custGeom>
              <a:avLst/>
              <a:gdLst>
                <a:gd name="T0" fmla="*/ 0 w 24969"/>
                <a:gd name="T1" fmla="*/ 0 h 21600"/>
                <a:gd name="T2" fmla="*/ 0 w 24969"/>
                <a:gd name="T3" fmla="*/ 0 h 21600"/>
                <a:gd name="T4" fmla="*/ 0 w 24969"/>
                <a:gd name="T5" fmla="*/ 0 h 21600"/>
                <a:gd name="T6" fmla="*/ 0 60000 65536"/>
                <a:gd name="T7" fmla="*/ 0 60000 65536"/>
                <a:gd name="T8" fmla="*/ 0 60000 65536"/>
                <a:gd name="T9" fmla="*/ 0 w 24969"/>
                <a:gd name="T10" fmla="*/ 0 h 21600"/>
                <a:gd name="T11" fmla="*/ 24969 w 24969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969" h="21600" fill="none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</a:path>
                <a:path w="24969" h="21600" stroke="0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  <a:lnTo>
                    <a:pt x="21594" y="21600"/>
                  </a:lnTo>
                  <a:lnTo>
                    <a:pt x="-1" y="21094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5855" name="Arc 47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624" y="1988"/>
              <a:ext cx="984" cy="548"/>
            </a:xfrm>
            <a:custGeom>
              <a:avLst/>
              <a:gdLst>
                <a:gd name="T0" fmla="*/ 0 w 24568"/>
                <a:gd name="T1" fmla="*/ 0 h 21600"/>
                <a:gd name="T2" fmla="*/ 0 w 24568"/>
                <a:gd name="T3" fmla="*/ 0 h 21600"/>
                <a:gd name="T4" fmla="*/ 0 w 24568"/>
                <a:gd name="T5" fmla="*/ 0 h 21600"/>
                <a:gd name="T6" fmla="*/ 0 60000 65536"/>
                <a:gd name="T7" fmla="*/ 0 60000 65536"/>
                <a:gd name="T8" fmla="*/ 0 60000 65536"/>
                <a:gd name="T9" fmla="*/ 0 w 24568"/>
                <a:gd name="T10" fmla="*/ 0 h 21600"/>
                <a:gd name="T11" fmla="*/ 24568 w 24568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568" h="21600" fill="none" extrusionOk="0">
                  <a:moveTo>
                    <a:pt x="-1" y="17428"/>
                  </a:moveTo>
                  <a:cubicBezTo>
                    <a:pt x="1992" y="7301"/>
                    <a:pt x="10871" y="-1"/>
                    <a:pt x="21193" y="-1"/>
                  </a:cubicBezTo>
                  <a:cubicBezTo>
                    <a:pt x="22323" y="-1"/>
                    <a:pt x="23451" y="88"/>
                    <a:pt x="24567" y="265"/>
                  </a:cubicBezTo>
                </a:path>
                <a:path w="24568" h="21600" stroke="0" extrusionOk="0">
                  <a:moveTo>
                    <a:pt x="-1" y="17428"/>
                  </a:moveTo>
                  <a:cubicBezTo>
                    <a:pt x="1992" y="7301"/>
                    <a:pt x="10871" y="-1"/>
                    <a:pt x="21193" y="-1"/>
                  </a:cubicBezTo>
                  <a:cubicBezTo>
                    <a:pt x="22323" y="-1"/>
                    <a:pt x="23451" y="88"/>
                    <a:pt x="24567" y="265"/>
                  </a:cubicBezTo>
                  <a:lnTo>
                    <a:pt x="21193" y="21600"/>
                  </a:lnTo>
                  <a:lnTo>
                    <a:pt x="-1" y="17428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5856" name="Freeform 48"/>
            <p:cNvSpPr>
              <a:spLocks/>
            </p:cNvSpPr>
            <p:nvPr>
              <p:custDataLst>
                <p:tags r:id="rId12"/>
              </p:custDataLst>
            </p:nvPr>
          </p:nvSpPr>
          <p:spPr bwMode="blackWhite">
            <a:xfrm>
              <a:off x="2546" y="1866"/>
              <a:ext cx="854" cy="678"/>
            </a:xfrm>
            <a:custGeom>
              <a:avLst/>
              <a:gdLst>
                <a:gd name="T0" fmla="*/ 0 w 854"/>
                <a:gd name="T1" fmla="*/ 570 h 675"/>
                <a:gd name="T2" fmla="*/ 660 w 854"/>
                <a:gd name="T3" fmla="*/ 567 h 675"/>
                <a:gd name="T4" fmla="*/ 660 w 854"/>
                <a:gd name="T5" fmla="*/ 690 h 675"/>
                <a:gd name="T6" fmla="*/ 854 w 854"/>
                <a:gd name="T7" fmla="*/ 334 h 675"/>
                <a:gd name="T8" fmla="*/ 662 w 854"/>
                <a:gd name="T9" fmla="*/ 0 h 675"/>
                <a:gd name="T10" fmla="*/ 663 w 854"/>
                <a:gd name="T11" fmla="*/ 131 h 675"/>
                <a:gd name="T12" fmla="*/ 12 w 854"/>
                <a:gd name="T13" fmla="*/ 131 h 675"/>
                <a:gd name="T14" fmla="*/ 124 w 854"/>
                <a:gd name="T15" fmla="*/ 331 h 675"/>
                <a:gd name="T16" fmla="*/ 0 w 854"/>
                <a:gd name="T17" fmla="*/ 570 h 6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54"/>
                <a:gd name="T28" fmla="*/ 0 h 675"/>
                <a:gd name="T29" fmla="*/ 854 w 854"/>
                <a:gd name="T30" fmla="*/ 675 h 6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54" h="675">
                  <a:moveTo>
                    <a:pt x="0" y="558"/>
                  </a:moveTo>
                  <a:lnTo>
                    <a:pt x="660" y="556"/>
                  </a:lnTo>
                  <a:lnTo>
                    <a:pt x="660" y="675"/>
                  </a:lnTo>
                  <a:lnTo>
                    <a:pt x="854" y="329"/>
                  </a:lnTo>
                  <a:lnTo>
                    <a:pt x="662" y="0"/>
                  </a:lnTo>
                  <a:lnTo>
                    <a:pt x="663" y="126"/>
                  </a:lnTo>
                  <a:lnTo>
                    <a:pt x="12" y="126"/>
                  </a:lnTo>
                  <a:lnTo>
                    <a:pt x="124" y="3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857" name="Arc 49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455" y="1988"/>
              <a:ext cx="984" cy="548"/>
            </a:xfrm>
            <a:custGeom>
              <a:avLst/>
              <a:gdLst>
                <a:gd name="T0" fmla="*/ 0 w 24961"/>
                <a:gd name="T1" fmla="*/ 0 h 21600"/>
                <a:gd name="T2" fmla="*/ 0 w 24961"/>
                <a:gd name="T3" fmla="*/ 0 h 21600"/>
                <a:gd name="T4" fmla="*/ 0 w 24961"/>
                <a:gd name="T5" fmla="*/ 0 h 21600"/>
                <a:gd name="T6" fmla="*/ 0 60000 65536"/>
                <a:gd name="T7" fmla="*/ 0 60000 65536"/>
                <a:gd name="T8" fmla="*/ 0 60000 65536"/>
                <a:gd name="T9" fmla="*/ 0 w 24961"/>
                <a:gd name="T10" fmla="*/ 0 h 21600"/>
                <a:gd name="T11" fmla="*/ 24961 w 24961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961" h="21600" fill="none" extrusionOk="0">
                  <a:moveTo>
                    <a:pt x="-1" y="20825"/>
                  </a:moveTo>
                  <a:cubicBezTo>
                    <a:pt x="416" y="9205"/>
                    <a:pt x="9957" y="-1"/>
                    <a:pt x="21586" y="-1"/>
                  </a:cubicBezTo>
                  <a:cubicBezTo>
                    <a:pt x="22716" y="-1"/>
                    <a:pt x="23844" y="88"/>
                    <a:pt x="24960" y="265"/>
                  </a:cubicBezTo>
                </a:path>
                <a:path w="24961" h="21600" stroke="0" extrusionOk="0">
                  <a:moveTo>
                    <a:pt x="-1" y="20825"/>
                  </a:moveTo>
                  <a:cubicBezTo>
                    <a:pt x="416" y="9205"/>
                    <a:pt x="9957" y="-1"/>
                    <a:pt x="21586" y="-1"/>
                  </a:cubicBezTo>
                  <a:cubicBezTo>
                    <a:pt x="22716" y="-1"/>
                    <a:pt x="23844" y="88"/>
                    <a:pt x="24960" y="265"/>
                  </a:cubicBezTo>
                  <a:lnTo>
                    <a:pt x="21586" y="21600"/>
                  </a:lnTo>
                  <a:lnTo>
                    <a:pt x="-1" y="20825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5858" name="Arc 50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812" y="2387"/>
              <a:ext cx="479" cy="278"/>
            </a:xfrm>
            <a:custGeom>
              <a:avLst/>
              <a:gdLst>
                <a:gd name="T0" fmla="*/ 0 w 24969"/>
                <a:gd name="T1" fmla="*/ 0 h 21600"/>
                <a:gd name="T2" fmla="*/ 0 w 24969"/>
                <a:gd name="T3" fmla="*/ 0 h 21600"/>
                <a:gd name="T4" fmla="*/ 0 w 24969"/>
                <a:gd name="T5" fmla="*/ 0 h 21600"/>
                <a:gd name="T6" fmla="*/ 0 60000 65536"/>
                <a:gd name="T7" fmla="*/ 0 60000 65536"/>
                <a:gd name="T8" fmla="*/ 0 60000 65536"/>
                <a:gd name="T9" fmla="*/ 0 w 24969"/>
                <a:gd name="T10" fmla="*/ 0 h 21600"/>
                <a:gd name="T11" fmla="*/ 24969 w 24969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969" h="21600" fill="none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</a:path>
                <a:path w="24969" h="21600" stroke="0" extrusionOk="0">
                  <a:moveTo>
                    <a:pt x="-1" y="21094"/>
                  </a:moveTo>
                  <a:cubicBezTo>
                    <a:pt x="274" y="9365"/>
                    <a:pt x="9861" y="-1"/>
                    <a:pt x="21594" y="-1"/>
                  </a:cubicBezTo>
                  <a:cubicBezTo>
                    <a:pt x="22724" y="-1"/>
                    <a:pt x="23852" y="88"/>
                    <a:pt x="24968" y="265"/>
                  </a:cubicBezTo>
                  <a:lnTo>
                    <a:pt x="21594" y="21600"/>
                  </a:lnTo>
                  <a:lnTo>
                    <a:pt x="-1" y="21094"/>
                  </a:lnTo>
                  <a:close/>
                </a:path>
              </a:pathLst>
            </a:cu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5859" name="Freeform 51"/>
            <p:cNvSpPr>
              <a:spLocks/>
            </p:cNvSpPr>
            <p:nvPr>
              <p:custDataLst>
                <p:tags r:id="rId15"/>
              </p:custDataLst>
            </p:nvPr>
          </p:nvSpPr>
          <p:spPr bwMode="blackWhite">
            <a:xfrm>
              <a:off x="2354" y="2379"/>
              <a:ext cx="723" cy="982"/>
            </a:xfrm>
            <a:custGeom>
              <a:avLst/>
              <a:gdLst>
                <a:gd name="T0" fmla="*/ 185 w 933"/>
                <a:gd name="T1" fmla="*/ 0 h 1276"/>
                <a:gd name="T2" fmla="*/ 44 w 933"/>
                <a:gd name="T3" fmla="*/ 1 h 1276"/>
                <a:gd name="T4" fmla="*/ 88 w 933"/>
                <a:gd name="T5" fmla="*/ 25 h 1276"/>
                <a:gd name="T6" fmla="*/ 178 w 933"/>
                <a:gd name="T7" fmla="*/ 345 h 1276"/>
                <a:gd name="T8" fmla="*/ 190 w 933"/>
                <a:gd name="T9" fmla="*/ 264 h 1276"/>
                <a:gd name="T10" fmla="*/ 260 w 933"/>
                <a:gd name="T11" fmla="*/ 235 h 1276"/>
                <a:gd name="T12" fmla="*/ 234 w 933"/>
                <a:gd name="T13" fmla="*/ 211 h 1276"/>
                <a:gd name="T14" fmla="*/ 220 w 933"/>
                <a:gd name="T15" fmla="*/ 192 h 1276"/>
                <a:gd name="T16" fmla="*/ 210 w 933"/>
                <a:gd name="T17" fmla="*/ 162 h 1276"/>
                <a:gd name="T18" fmla="*/ 211 w 933"/>
                <a:gd name="T19" fmla="*/ 94 h 1276"/>
                <a:gd name="T20" fmla="*/ 257 w 933"/>
                <a:gd name="T21" fmla="*/ 119 h 1276"/>
                <a:gd name="T22" fmla="*/ 185 w 933"/>
                <a:gd name="T23" fmla="*/ 0 h 127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33"/>
                <a:gd name="T37" fmla="*/ 0 h 1276"/>
                <a:gd name="T38" fmla="*/ 933 w 933"/>
                <a:gd name="T39" fmla="*/ 1276 h 127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33" h="1276">
                  <a:moveTo>
                    <a:pt x="662" y="0"/>
                  </a:moveTo>
                  <a:lnTo>
                    <a:pt x="156" y="1"/>
                  </a:lnTo>
                  <a:lnTo>
                    <a:pt x="314" y="93"/>
                  </a:lnTo>
                  <a:cubicBezTo>
                    <a:pt x="314" y="93"/>
                    <a:pt x="0" y="771"/>
                    <a:pt x="637" y="1276"/>
                  </a:cubicBezTo>
                  <a:lnTo>
                    <a:pt x="679" y="978"/>
                  </a:lnTo>
                  <a:cubicBezTo>
                    <a:pt x="679" y="978"/>
                    <a:pt x="813" y="923"/>
                    <a:pt x="933" y="872"/>
                  </a:cubicBezTo>
                  <a:cubicBezTo>
                    <a:pt x="885" y="843"/>
                    <a:pt x="838" y="779"/>
                    <a:pt x="838" y="779"/>
                  </a:cubicBezTo>
                  <a:lnTo>
                    <a:pt x="788" y="711"/>
                  </a:lnTo>
                  <a:lnTo>
                    <a:pt x="752" y="600"/>
                  </a:lnTo>
                  <a:cubicBezTo>
                    <a:pt x="752" y="600"/>
                    <a:pt x="719" y="481"/>
                    <a:pt x="755" y="348"/>
                  </a:cubicBezTo>
                  <a:cubicBezTo>
                    <a:pt x="839" y="395"/>
                    <a:pt x="923" y="444"/>
                    <a:pt x="923" y="444"/>
                  </a:cubicBezTo>
                  <a:lnTo>
                    <a:pt x="662" y="0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860" name="Freeform 52"/>
            <p:cNvSpPr>
              <a:spLocks/>
            </p:cNvSpPr>
            <p:nvPr>
              <p:custDataLst>
                <p:tags r:id="rId16"/>
              </p:custDataLst>
            </p:nvPr>
          </p:nvSpPr>
          <p:spPr bwMode="blackWhite">
            <a:xfrm rot="4209998">
              <a:off x="86" y="2643"/>
              <a:ext cx="1139" cy="784"/>
            </a:xfrm>
            <a:custGeom>
              <a:avLst/>
              <a:gdLst>
                <a:gd name="T0" fmla="*/ 16 w 1485"/>
                <a:gd name="T1" fmla="*/ 66 h 1021"/>
                <a:gd name="T2" fmla="*/ 0 w 1485"/>
                <a:gd name="T3" fmla="*/ 203 h 1021"/>
                <a:gd name="T4" fmla="*/ 31 w 1485"/>
                <a:gd name="T5" fmla="*/ 161 h 1021"/>
                <a:gd name="T6" fmla="*/ 394 w 1485"/>
                <a:gd name="T7" fmla="*/ 39 h 1021"/>
                <a:gd name="T8" fmla="*/ 311 w 1485"/>
                <a:gd name="T9" fmla="*/ 56 h 1021"/>
                <a:gd name="T10" fmla="*/ 265 w 1485"/>
                <a:gd name="T11" fmla="*/ 0 h 1021"/>
                <a:gd name="T12" fmla="*/ 229 w 1485"/>
                <a:gd name="T13" fmla="*/ 37 h 1021"/>
                <a:gd name="T14" fmla="*/ 206 w 1485"/>
                <a:gd name="T15" fmla="*/ 51 h 1021"/>
                <a:gd name="T16" fmla="*/ 170 w 1485"/>
                <a:gd name="T17" fmla="*/ 61 h 1021"/>
                <a:gd name="T18" fmla="*/ 115 w 1485"/>
                <a:gd name="T19" fmla="*/ 51 h 1021"/>
                <a:gd name="T20" fmla="*/ 142 w 1485"/>
                <a:gd name="T21" fmla="*/ 15 h 1021"/>
                <a:gd name="T22" fmla="*/ 16 w 1485"/>
                <a:gd name="T23" fmla="*/ 66 h 10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85"/>
                <a:gd name="T37" fmla="*/ 0 h 1021"/>
                <a:gd name="T38" fmla="*/ 1485 w 1485"/>
                <a:gd name="T39" fmla="*/ 1021 h 102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85" h="1021">
                  <a:moveTo>
                    <a:pt x="61" y="248"/>
                  </a:moveTo>
                  <a:lnTo>
                    <a:pt x="0" y="762"/>
                  </a:lnTo>
                  <a:cubicBezTo>
                    <a:pt x="0" y="762"/>
                    <a:pt x="59" y="684"/>
                    <a:pt x="118" y="606"/>
                  </a:cubicBezTo>
                  <a:cubicBezTo>
                    <a:pt x="136" y="628"/>
                    <a:pt x="994" y="1021"/>
                    <a:pt x="1485" y="146"/>
                  </a:cubicBezTo>
                  <a:lnTo>
                    <a:pt x="1170" y="210"/>
                  </a:lnTo>
                  <a:cubicBezTo>
                    <a:pt x="1170" y="210"/>
                    <a:pt x="1084" y="105"/>
                    <a:pt x="999" y="0"/>
                  </a:cubicBezTo>
                  <a:cubicBezTo>
                    <a:pt x="946" y="83"/>
                    <a:pt x="860" y="137"/>
                    <a:pt x="860" y="137"/>
                  </a:cubicBezTo>
                  <a:lnTo>
                    <a:pt x="778" y="190"/>
                  </a:lnTo>
                  <a:lnTo>
                    <a:pt x="638" y="226"/>
                  </a:lnTo>
                  <a:cubicBezTo>
                    <a:pt x="581" y="226"/>
                    <a:pt x="452" y="219"/>
                    <a:pt x="435" y="191"/>
                  </a:cubicBezTo>
                  <a:cubicBezTo>
                    <a:pt x="485" y="124"/>
                    <a:pt x="535" y="57"/>
                    <a:pt x="535" y="57"/>
                  </a:cubicBezTo>
                  <a:lnTo>
                    <a:pt x="61" y="248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861" name="Freeform 53"/>
            <p:cNvSpPr>
              <a:spLocks/>
            </p:cNvSpPr>
            <p:nvPr>
              <p:custDataLst>
                <p:tags r:id="rId17"/>
              </p:custDataLst>
            </p:nvPr>
          </p:nvSpPr>
          <p:spPr bwMode="blackWhite">
            <a:xfrm>
              <a:off x="1074" y="2005"/>
              <a:ext cx="862" cy="1608"/>
            </a:xfrm>
            <a:custGeom>
              <a:avLst/>
              <a:gdLst>
                <a:gd name="T0" fmla="*/ 182 w 976"/>
                <a:gd name="T1" fmla="*/ 913 h 1811"/>
                <a:gd name="T2" fmla="*/ 242 w 976"/>
                <a:gd name="T3" fmla="*/ 890 h 1811"/>
                <a:gd name="T4" fmla="*/ 297 w 976"/>
                <a:gd name="T5" fmla="*/ 859 h 1811"/>
                <a:gd name="T6" fmla="*/ 351 w 976"/>
                <a:gd name="T7" fmla="*/ 820 h 1811"/>
                <a:gd name="T8" fmla="*/ 397 w 976"/>
                <a:gd name="T9" fmla="*/ 776 h 1811"/>
                <a:gd name="T10" fmla="*/ 439 w 976"/>
                <a:gd name="T11" fmla="*/ 725 h 1811"/>
                <a:gd name="T12" fmla="*/ 474 w 976"/>
                <a:gd name="T13" fmla="*/ 668 h 1811"/>
                <a:gd name="T14" fmla="*/ 498 w 976"/>
                <a:gd name="T15" fmla="*/ 607 h 1811"/>
                <a:gd name="T16" fmla="*/ 517 w 976"/>
                <a:gd name="T17" fmla="*/ 543 h 1811"/>
                <a:gd name="T18" fmla="*/ 524 w 976"/>
                <a:gd name="T19" fmla="*/ 478 h 1811"/>
                <a:gd name="T20" fmla="*/ 522 w 976"/>
                <a:gd name="T21" fmla="*/ 411 h 1811"/>
                <a:gd name="T22" fmla="*/ 510 w 976"/>
                <a:gd name="T23" fmla="*/ 345 h 1811"/>
                <a:gd name="T24" fmla="*/ 491 w 976"/>
                <a:gd name="T25" fmla="*/ 282 h 1811"/>
                <a:gd name="T26" fmla="*/ 462 w 976"/>
                <a:gd name="T27" fmla="*/ 222 h 1811"/>
                <a:gd name="T28" fmla="*/ 424 w 976"/>
                <a:gd name="T29" fmla="*/ 168 h 1811"/>
                <a:gd name="T30" fmla="*/ 381 w 976"/>
                <a:gd name="T31" fmla="*/ 119 h 1811"/>
                <a:gd name="T32" fmla="*/ 330 w 976"/>
                <a:gd name="T33" fmla="*/ 78 h 1811"/>
                <a:gd name="T34" fmla="*/ 274 w 976"/>
                <a:gd name="T35" fmla="*/ 45 h 1811"/>
                <a:gd name="T36" fmla="*/ 215 w 976"/>
                <a:gd name="T37" fmla="*/ 20 h 1811"/>
                <a:gd name="T38" fmla="*/ 150 w 976"/>
                <a:gd name="T39" fmla="*/ 4 h 1811"/>
                <a:gd name="T40" fmla="*/ 158 w 976"/>
                <a:gd name="T41" fmla="*/ 61 h 1811"/>
                <a:gd name="T42" fmla="*/ 122 w 976"/>
                <a:gd name="T43" fmla="*/ 240 h 1811"/>
                <a:gd name="T44" fmla="*/ 163 w 976"/>
                <a:gd name="T45" fmla="*/ 256 h 1811"/>
                <a:gd name="T46" fmla="*/ 204 w 976"/>
                <a:gd name="T47" fmla="*/ 280 h 1811"/>
                <a:gd name="T48" fmla="*/ 237 w 976"/>
                <a:gd name="T49" fmla="*/ 313 h 1811"/>
                <a:gd name="T50" fmla="*/ 263 w 976"/>
                <a:gd name="T51" fmla="*/ 352 h 1811"/>
                <a:gd name="T52" fmla="*/ 280 w 976"/>
                <a:gd name="T53" fmla="*/ 396 h 1811"/>
                <a:gd name="T54" fmla="*/ 290 w 976"/>
                <a:gd name="T55" fmla="*/ 441 h 1811"/>
                <a:gd name="T56" fmla="*/ 288 w 976"/>
                <a:gd name="T57" fmla="*/ 489 h 1811"/>
                <a:gd name="T58" fmla="*/ 278 w 976"/>
                <a:gd name="T59" fmla="*/ 535 h 1811"/>
                <a:gd name="T60" fmla="*/ 259 w 976"/>
                <a:gd name="T61" fmla="*/ 578 h 1811"/>
                <a:gd name="T62" fmla="*/ 231 w 976"/>
                <a:gd name="T63" fmla="*/ 615 h 1811"/>
                <a:gd name="T64" fmla="*/ 197 w 976"/>
                <a:gd name="T65" fmla="*/ 646 h 1811"/>
                <a:gd name="T66" fmla="*/ 157 w 976"/>
                <a:gd name="T67" fmla="*/ 671 h 1811"/>
                <a:gd name="T68" fmla="*/ 136 w 976"/>
                <a:gd name="T69" fmla="*/ 602 h 1811"/>
                <a:gd name="T70" fmla="*/ 150 w 976"/>
                <a:gd name="T71" fmla="*/ 999 h 181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76"/>
                <a:gd name="T109" fmla="*/ 0 h 1811"/>
                <a:gd name="T110" fmla="*/ 976 w 976"/>
                <a:gd name="T111" fmla="*/ 1811 h 181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76" h="1811">
                  <a:moveTo>
                    <a:pt x="279" y="1669"/>
                  </a:moveTo>
                  <a:lnTo>
                    <a:pt x="338" y="1654"/>
                  </a:lnTo>
                  <a:lnTo>
                    <a:pt x="394" y="1635"/>
                  </a:lnTo>
                  <a:lnTo>
                    <a:pt x="449" y="1612"/>
                  </a:lnTo>
                  <a:lnTo>
                    <a:pt x="502" y="1585"/>
                  </a:lnTo>
                  <a:lnTo>
                    <a:pt x="553" y="1555"/>
                  </a:lnTo>
                  <a:lnTo>
                    <a:pt x="601" y="1520"/>
                  </a:lnTo>
                  <a:lnTo>
                    <a:pt x="651" y="1485"/>
                  </a:lnTo>
                  <a:lnTo>
                    <a:pt x="697" y="1447"/>
                  </a:lnTo>
                  <a:lnTo>
                    <a:pt x="741" y="1405"/>
                  </a:lnTo>
                  <a:lnTo>
                    <a:pt x="782" y="1361"/>
                  </a:lnTo>
                  <a:lnTo>
                    <a:pt x="818" y="1313"/>
                  </a:lnTo>
                  <a:lnTo>
                    <a:pt x="851" y="1263"/>
                  </a:lnTo>
                  <a:lnTo>
                    <a:pt x="882" y="1210"/>
                  </a:lnTo>
                  <a:lnTo>
                    <a:pt x="908" y="1156"/>
                  </a:lnTo>
                  <a:lnTo>
                    <a:pt x="929" y="1100"/>
                  </a:lnTo>
                  <a:lnTo>
                    <a:pt x="947" y="1043"/>
                  </a:lnTo>
                  <a:lnTo>
                    <a:pt x="961" y="984"/>
                  </a:lnTo>
                  <a:lnTo>
                    <a:pt x="970" y="924"/>
                  </a:lnTo>
                  <a:lnTo>
                    <a:pt x="975" y="865"/>
                  </a:lnTo>
                  <a:lnTo>
                    <a:pt x="975" y="804"/>
                  </a:lnTo>
                  <a:lnTo>
                    <a:pt x="972" y="744"/>
                  </a:lnTo>
                  <a:lnTo>
                    <a:pt x="963" y="685"/>
                  </a:lnTo>
                  <a:lnTo>
                    <a:pt x="950" y="625"/>
                  </a:lnTo>
                  <a:lnTo>
                    <a:pt x="935" y="567"/>
                  </a:lnTo>
                  <a:lnTo>
                    <a:pt x="913" y="511"/>
                  </a:lnTo>
                  <a:lnTo>
                    <a:pt x="889" y="456"/>
                  </a:lnTo>
                  <a:lnTo>
                    <a:pt x="859" y="403"/>
                  </a:lnTo>
                  <a:lnTo>
                    <a:pt x="826" y="352"/>
                  </a:lnTo>
                  <a:lnTo>
                    <a:pt x="790" y="304"/>
                  </a:lnTo>
                  <a:lnTo>
                    <a:pt x="751" y="259"/>
                  </a:lnTo>
                  <a:lnTo>
                    <a:pt x="708" y="216"/>
                  </a:lnTo>
                  <a:lnTo>
                    <a:pt x="662" y="178"/>
                  </a:lnTo>
                  <a:lnTo>
                    <a:pt x="614" y="142"/>
                  </a:lnTo>
                  <a:lnTo>
                    <a:pt x="563" y="109"/>
                  </a:lnTo>
                  <a:lnTo>
                    <a:pt x="510" y="81"/>
                  </a:lnTo>
                  <a:lnTo>
                    <a:pt x="455" y="56"/>
                  </a:lnTo>
                  <a:lnTo>
                    <a:pt x="398" y="36"/>
                  </a:lnTo>
                  <a:lnTo>
                    <a:pt x="340" y="20"/>
                  </a:lnTo>
                  <a:lnTo>
                    <a:pt x="281" y="8"/>
                  </a:lnTo>
                  <a:lnTo>
                    <a:pt x="222" y="0"/>
                  </a:lnTo>
                  <a:lnTo>
                    <a:pt x="294" y="112"/>
                  </a:lnTo>
                  <a:lnTo>
                    <a:pt x="369" y="222"/>
                  </a:lnTo>
                  <a:lnTo>
                    <a:pt x="226" y="434"/>
                  </a:lnTo>
                  <a:lnTo>
                    <a:pt x="268" y="446"/>
                  </a:lnTo>
                  <a:lnTo>
                    <a:pt x="306" y="463"/>
                  </a:lnTo>
                  <a:lnTo>
                    <a:pt x="344" y="483"/>
                  </a:lnTo>
                  <a:lnTo>
                    <a:pt x="379" y="508"/>
                  </a:lnTo>
                  <a:lnTo>
                    <a:pt x="411" y="536"/>
                  </a:lnTo>
                  <a:lnTo>
                    <a:pt x="440" y="567"/>
                  </a:lnTo>
                  <a:lnTo>
                    <a:pt x="467" y="601"/>
                  </a:lnTo>
                  <a:lnTo>
                    <a:pt x="489" y="637"/>
                  </a:lnTo>
                  <a:lnTo>
                    <a:pt x="508" y="676"/>
                  </a:lnTo>
                  <a:lnTo>
                    <a:pt x="521" y="716"/>
                  </a:lnTo>
                  <a:lnTo>
                    <a:pt x="531" y="758"/>
                  </a:lnTo>
                  <a:lnTo>
                    <a:pt x="538" y="801"/>
                  </a:lnTo>
                  <a:lnTo>
                    <a:pt x="539" y="843"/>
                  </a:lnTo>
                  <a:lnTo>
                    <a:pt x="536" y="886"/>
                  </a:lnTo>
                  <a:lnTo>
                    <a:pt x="529" y="928"/>
                  </a:lnTo>
                  <a:lnTo>
                    <a:pt x="517" y="969"/>
                  </a:lnTo>
                  <a:lnTo>
                    <a:pt x="501" y="1009"/>
                  </a:lnTo>
                  <a:lnTo>
                    <a:pt x="482" y="1046"/>
                  </a:lnTo>
                  <a:lnTo>
                    <a:pt x="458" y="1082"/>
                  </a:lnTo>
                  <a:lnTo>
                    <a:pt x="431" y="1115"/>
                  </a:lnTo>
                  <a:lnTo>
                    <a:pt x="401" y="1145"/>
                  </a:lnTo>
                  <a:lnTo>
                    <a:pt x="367" y="1172"/>
                  </a:lnTo>
                  <a:lnTo>
                    <a:pt x="331" y="1196"/>
                  </a:lnTo>
                  <a:lnTo>
                    <a:pt x="293" y="1215"/>
                  </a:lnTo>
                  <a:lnTo>
                    <a:pt x="253" y="1230"/>
                  </a:lnTo>
                  <a:lnTo>
                    <a:pt x="253" y="1093"/>
                  </a:lnTo>
                  <a:lnTo>
                    <a:pt x="0" y="1420"/>
                  </a:lnTo>
                  <a:lnTo>
                    <a:pt x="279" y="1810"/>
                  </a:lnTo>
                  <a:lnTo>
                    <a:pt x="279" y="1669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862" name="Freeform 54"/>
            <p:cNvSpPr>
              <a:spLocks/>
            </p:cNvSpPr>
            <p:nvPr>
              <p:custDataLst>
                <p:tags r:id="rId18"/>
              </p:custDataLst>
            </p:nvPr>
          </p:nvSpPr>
          <p:spPr bwMode="blackWhite">
            <a:xfrm>
              <a:off x="1431" y="1866"/>
              <a:ext cx="1167" cy="678"/>
            </a:xfrm>
            <a:custGeom>
              <a:avLst/>
              <a:gdLst>
                <a:gd name="T0" fmla="*/ 214 w 1429"/>
                <a:gd name="T1" fmla="*/ 249 h 830"/>
                <a:gd name="T2" fmla="*/ 433 w 1429"/>
                <a:gd name="T3" fmla="*/ 249 h 830"/>
                <a:gd name="T4" fmla="*/ 433 w 1429"/>
                <a:gd name="T5" fmla="*/ 302 h 830"/>
                <a:gd name="T6" fmla="*/ 519 w 1429"/>
                <a:gd name="T7" fmla="*/ 148 h 830"/>
                <a:gd name="T8" fmla="*/ 433 w 1429"/>
                <a:gd name="T9" fmla="*/ 0 h 830"/>
                <a:gd name="T10" fmla="*/ 434 w 1429"/>
                <a:gd name="T11" fmla="*/ 56 h 830"/>
                <a:gd name="T12" fmla="*/ 0 w 1429"/>
                <a:gd name="T13" fmla="*/ 56 h 830"/>
                <a:gd name="T14" fmla="*/ 214 w 1429"/>
                <a:gd name="T15" fmla="*/ 249 h 8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29"/>
                <a:gd name="T25" fmla="*/ 0 h 830"/>
                <a:gd name="T26" fmla="*/ 1429 w 1429"/>
                <a:gd name="T27" fmla="*/ 830 h 83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29" h="830">
                  <a:moveTo>
                    <a:pt x="589" y="684"/>
                  </a:moveTo>
                  <a:cubicBezTo>
                    <a:pt x="886" y="685"/>
                    <a:pt x="1191" y="684"/>
                    <a:pt x="1191" y="684"/>
                  </a:cubicBezTo>
                  <a:lnTo>
                    <a:pt x="1191" y="830"/>
                  </a:lnTo>
                  <a:lnTo>
                    <a:pt x="1429" y="404"/>
                  </a:lnTo>
                  <a:lnTo>
                    <a:pt x="1193" y="0"/>
                  </a:lnTo>
                  <a:lnTo>
                    <a:pt x="1194" y="155"/>
                  </a:lnTo>
                  <a:lnTo>
                    <a:pt x="0" y="154"/>
                  </a:lnTo>
                  <a:cubicBezTo>
                    <a:pt x="0" y="154"/>
                    <a:pt x="411" y="237"/>
                    <a:pt x="589" y="684"/>
                  </a:cubicBez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863" name="Freeform 55"/>
            <p:cNvSpPr>
              <a:spLocks/>
            </p:cNvSpPr>
            <p:nvPr>
              <p:custDataLst>
                <p:tags r:id="rId19"/>
              </p:custDataLst>
            </p:nvPr>
          </p:nvSpPr>
          <p:spPr bwMode="blackWhite">
            <a:xfrm>
              <a:off x="2859" y="2970"/>
              <a:ext cx="1150" cy="782"/>
            </a:xfrm>
            <a:custGeom>
              <a:avLst/>
              <a:gdLst>
                <a:gd name="T0" fmla="*/ 17 w 1485"/>
                <a:gd name="T1" fmla="*/ 66 h 1021"/>
                <a:gd name="T2" fmla="*/ 0 w 1485"/>
                <a:gd name="T3" fmla="*/ 201 h 1021"/>
                <a:gd name="T4" fmla="*/ 33 w 1485"/>
                <a:gd name="T5" fmla="*/ 159 h 1021"/>
                <a:gd name="T6" fmla="*/ 414 w 1485"/>
                <a:gd name="T7" fmla="*/ 39 h 1021"/>
                <a:gd name="T8" fmla="*/ 326 w 1485"/>
                <a:gd name="T9" fmla="*/ 55 h 1021"/>
                <a:gd name="T10" fmla="*/ 278 w 1485"/>
                <a:gd name="T11" fmla="*/ 0 h 1021"/>
                <a:gd name="T12" fmla="*/ 240 w 1485"/>
                <a:gd name="T13" fmla="*/ 36 h 1021"/>
                <a:gd name="T14" fmla="*/ 217 w 1485"/>
                <a:gd name="T15" fmla="*/ 51 h 1021"/>
                <a:gd name="T16" fmla="*/ 178 w 1485"/>
                <a:gd name="T17" fmla="*/ 60 h 1021"/>
                <a:gd name="T18" fmla="*/ 121 w 1485"/>
                <a:gd name="T19" fmla="*/ 51 h 1021"/>
                <a:gd name="T20" fmla="*/ 149 w 1485"/>
                <a:gd name="T21" fmla="*/ 15 h 1021"/>
                <a:gd name="T22" fmla="*/ 17 w 1485"/>
                <a:gd name="T23" fmla="*/ 66 h 10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85"/>
                <a:gd name="T37" fmla="*/ 0 h 1021"/>
                <a:gd name="T38" fmla="*/ 1485 w 1485"/>
                <a:gd name="T39" fmla="*/ 1021 h 102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85" h="1021">
                  <a:moveTo>
                    <a:pt x="61" y="248"/>
                  </a:moveTo>
                  <a:lnTo>
                    <a:pt x="0" y="762"/>
                  </a:lnTo>
                  <a:cubicBezTo>
                    <a:pt x="0" y="762"/>
                    <a:pt x="59" y="684"/>
                    <a:pt x="118" y="606"/>
                  </a:cubicBezTo>
                  <a:cubicBezTo>
                    <a:pt x="136" y="628"/>
                    <a:pt x="994" y="1021"/>
                    <a:pt x="1485" y="146"/>
                  </a:cubicBezTo>
                  <a:lnTo>
                    <a:pt x="1170" y="210"/>
                  </a:lnTo>
                  <a:cubicBezTo>
                    <a:pt x="1170" y="210"/>
                    <a:pt x="1084" y="105"/>
                    <a:pt x="999" y="0"/>
                  </a:cubicBezTo>
                  <a:cubicBezTo>
                    <a:pt x="946" y="83"/>
                    <a:pt x="860" y="137"/>
                    <a:pt x="860" y="137"/>
                  </a:cubicBezTo>
                  <a:lnTo>
                    <a:pt x="778" y="190"/>
                  </a:lnTo>
                  <a:lnTo>
                    <a:pt x="638" y="226"/>
                  </a:lnTo>
                  <a:cubicBezTo>
                    <a:pt x="581" y="226"/>
                    <a:pt x="452" y="219"/>
                    <a:pt x="435" y="191"/>
                  </a:cubicBezTo>
                  <a:cubicBezTo>
                    <a:pt x="485" y="124"/>
                    <a:pt x="535" y="57"/>
                    <a:pt x="535" y="57"/>
                  </a:cubicBezTo>
                  <a:lnTo>
                    <a:pt x="61" y="248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864" name="Freeform 56"/>
            <p:cNvSpPr>
              <a:spLocks/>
            </p:cNvSpPr>
            <p:nvPr>
              <p:custDataLst>
                <p:tags r:id="rId20"/>
              </p:custDataLst>
            </p:nvPr>
          </p:nvSpPr>
          <p:spPr bwMode="blackWhite">
            <a:xfrm>
              <a:off x="3617" y="1866"/>
              <a:ext cx="1158" cy="678"/>
            </a:xfrm>
            <a:custGeom>
              <a:avLst/>
              <a:gdLst>
                <a:gd name="T0" fmla="*/ 206 w 1429"/>
                <a:gd name="T1" fmla="*/ 249 h 830"/>
                <a:gd name="T2" fmla="*/ 417 w 1429"/>
                <a:gd name="T3" fmla="*/ 249 h 830"/>
                <a:gd name="T4" fmla="*/ 417 w 1429"/>
                <a:gd name="T5" fmla="*/ 302 h 830"/>
                <a:gd name="T6" fmla="*/ 499 w 1429"/>
                <a:gd name="T7" fmla="*/ 148 h 830"/>
                <a:gd name="T8" fmla="*/ 417 w 1429"/>
                <a:gd name="T9" fmla="*/ 0 h 830"/>
                <a:gd name="T10" fmla="*/ 417 w 1429"/>
                <a:gd name="T11" fmla="*/ 56 h 830"/>
                <a:gd name="T12" fmla="*/ 0 w 1429"/>
                <a:gd name="T13" fmla="*/ 56 h 830"/>
                <a:gd name="T14" fmla="*/ 206 w 1429"/>
                <a:gd name="T15" fmla="*/ 249 h 8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29"/>
                <a:gd name="T25" fmla="*/ 0 h 830"/>
                <a:gd name="T26" fmla="*/ 1429 w 1429"/>
                <a:gd name="T27" fmla="*/ 830 h 83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29" h="830">
                  <a:moveTo>
                    <a:pt x="589" y="684"/>
                  </a:moveTo>
                  <a:cubicBezTo>
                    <a:pt x="886" y="685"/>
                    <a:pt x="1191" y="684"/>
                    <a:pt x="1191" y="684"/>
                  </a:cubicBezTo>
                  <a:lnTo>
                    <a:pt x="1191" y="830"/>
                  </a:lnTo>
                  <a:lnTo>
                    <a:pt x="1429" y="404"/>
                  </a:lnTo>
                  <a:lnTo>
                    <a:pt x="1193" y="0"/>
                  </a:lnTo>
                  <a:lnTo>
                    <a:pt x="1194" y="155"/>
                  </a:lnTo>
                  <a:lnTo>
                    <a:pt x="0" y="154"/>
                  </a:lnTo>
                  <a:cubicBezTo>
                    <a:pt x="0" y="154"/>
                    <a:pt x="411" y="237"/>
                    <a:pt x="589" y="684"/>
                  </a:cubicBez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865" name="Freeform 57"/>
            <p:cNvSpPr>
              <a:spLocks/>
            </p:cNvSpPr>
            <p:nvPr>
              <p:custDataLst>
                <p:tags r:id="rId21"/>
              </p:custDataLst>
            </p:nvPr>
          </p:nvSpPr>
          <p:spPr bwMode="blackWhite">
            <a:xfrm>
              <a:off x="3312" y="1979"/>
              <a:ext cx="862" cy="1112"/>
            </a:xfrm>
            <a:custGeom>
              <a:avLst/>
              <a:gdLst>
                <a:gd name="T0" fmla="*/ 168 w 1115"/>
                <a:gd name="T1" fmla="*/ 394 h 1441"/>
                <a:gd name="T2" fmla="*/ 308 w 1115"/>
                <a:gd name="T3" fmla="*/ 361 h 1441"/>
                <a:gd name="T4" fmla="*/ 264 w 1115"/>
                <a:gd name="T5" fmla="*/ 349 h 1441"/>
                <a:gd name="T6" fmla="*/ 0 w 1115"/>
                <a:gd name="T7" fmla="*/ 0 h 1441"/>
                <a:gd name="T8" fmla="*/ 49 w 1115"/>
                <a:gd name="T9" fmla="*/ 66 h 1441"/>
                <a:gd name="T10" fmla="*/ 19 w 1115"/>
                <a:gd name="T11" fmla="*/ 137 h 1441"/>
                <a:gd name="T12" fmla="*/ 99 w 1115"/>
                <a:gd name="T13" fmla="*/ 179 h 1441"/>
                <a:gd name="T14" fmla="*/ 119 w 1115"/>
                <a:gd name="T15" fmla="*/ 202 h 1441"/>
                <a:gd name="T16" fmla="*/ 130 w 1115"/>
                <a:gd name="T17" fmla="*/ 229 h 1441"/>
                <a:gd name="T18" fmla="*/ 132 w 1115"/>
                <a:gd name="T19" fmla="*/ 305 h 1441"/>
                <a:gd name="T20" fmla="*/ 80 w 1115"/>
                <a:gd name="T21" fmla="*/ 290 h 1441"/>
                <a:gd name="T22" fmla="*/ 168 w 1115"/>
                <a:gd name="T23" fmla="*/ 394 h 144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115"/>
                <a:gd name="T37" fmla="*/ 0 h 1441"/>
                <a:gd name="T38" fmla="*/ 1115 w 1115"/>
                <a:gd name="T39" fmla="*/ 1441 h 144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115" h="1441">
                  <a:moveTo>
                    <a:pt x="609" y="1441"/>
                  </a:moveTo>
                  <a:lnTo>
                    <a:pt x="1115" y="1321"/>
                  </a:lnTo>
                  <a:lnTo>
                    <a:pt x="956" y="1274"/>
                  </a:lnTo>
                  <a:cubicBezTo>
                    <a:pt x="1096" y="922"/>
                    <a:pt x="928" y="37"/>
                    <a:pt x="0" y="0"/>
                  </a:cubicBezTo>
                  <a:cubicBezTo>
                    <a:pt x="90" y="114"/>
                    <a:pt x="178" y="244"/>
                    <a:pt x="178" y="244"/>
                  </a:cubicBezTo>
                  <a:cubicBezTo>
                    <a:pt x="178" y="244"/>
                    <a:pt x="120" y="371"/>
                    <a:pt x="67" y="503"/>
                  </a:cubicBezTo>
                  <a:cubicBezTo>
                    <a:pt x="249" y="531"/>
                    <a:pt x="357" y="655"/>
                    <a:pt x="357" y="655"/>
                  </a:cubicBezTo>
                  <a:lnTo>
                    <a:pt x="431" y="740"/>
                  </a:lnTo>
                  <a:lnTo>
                    <a:pt x="469" y="839"/>
                  </a:lnTo>
                  <a:cubicBezTo>
                    <a:pt x="523" y="963"/>
                    <a:pt x="478" y="1116"/>
                    <a:pt x="478" y="1116"/>
                  </a:cubicBezTo>
                  <a:lnTo>
                    <a:pt x="287" y="1060"/>
                  </a:lnTo>
                  <a:lnTo>
                    <a:pt x="609" y="1441"/>
                  </a:lnTo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866" name="Freeform 58"/>
            <p:cNvSpPr>
              <a:spLocks/>
            </p:cNvSpPr>
            <p:nvPr>
              <p:custDataLst>
                <p:tags r:id="rId22"/>
              </p:custDataLst>
            </p:nvPr>
          </p:nvSpPr>
          <p:spPr bwMode="blackWhite">
            <a:xfrm>
              <a:off x="4714" y="1866"/>
              <a:ext cx="854" cy="678"/>
            </a:xfrm>
            <a:custGeom>
              <a:avLst/>
              <a:gdLst>
                <a:gd name="T0" fmla="*/ 0 w 854"/>
                <a:gd name="T1" fmla="*/ 570 h 675"/>
                <a:gd name="T2" fmla="*/ 660 w 854"/>
                <a:gd name="T3" fmla="*/ 567 h 675"/>
                <a:gd name="T4" fmla="*/ 660 w 854"/>
                <a:gd name="T5" fmla="*/ 690 h 675"/>
                <a:gd name="T6" fmla="*/ 854 w 854"/>
                <a:gd name="T7" fmla="*/ 334 h 675"/>
                <a:gd name="T8" fmla="*/ 662 w 854"/>
                <a:gd name="T9" fmla="*/ 0 h 675"/>
                <a:gd name="T10" fmla="*/ 663 w 854"/>
                <a:gd name="T11" fmla="*/ 131 h 675"/>
                <a:gd name="T12" fmla="*/ 12 w 854"/>
                <a:gd name="T13" fmla="*/ 131 h 675"/>
                <a:gd name="T14" fmla="*/ 124 w 854"/>
                <a:gd name="T15" fmla="*/ 331 h 675"/>
                <a:gd name="T16" fmla="*/ 0 w 854"/>
                <a:gd name="T17" fmla="*/ 570 h 6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54"/>
                <a:gd name="T28" fmla="*/ 0 h 675"/>
                <a:gd name="T29" fmla="*/ 854 w 854"/>
                <a:gd name="T30" fmla="*/ 675 h 6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54" h="675">
                  <a:moveTo>
                    <a:pt x="0" y="558"/>
                  </a:moveTo>
                  <a:lnTo>
                    <a:pt x="660" y="556"/>
                  </a:lnTo>
                  <a:lnTo>
                    <a:pt x="660" y="675"/>
                  </a:lnTo>
                  <a:lnTo>
                    <a:pt x="854" y="329"/>
                  </a:lnTo>
                  <a:lnTo>
                    <a:pt x="662" y="0"/>
                  </a:lnTo>
                  <a:lnTo>
                    <a:pt x="663" y="126"/>
                  </a:lnTo>
                  <a:lnTo>
                    <a:pt x="12" y="126"/>
                  </a:lnTo>
                  <a:lnTo>
                    <a:pt x="124" y="3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chemeClr val="accent2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867" name="Freeform 59"/>
            <p:cNvSpPr>
              <a:spLocks/>
            </p:cNvSpPr>
            <p:nvPr>
              <p:custDataLst>
                <p:tags r:id="rId23"/>
              </p:custDataLst>
            </p:nvPr>
          </p:nvSpPr>
          <p:spPr bwMode="blackWhite">
            <a:xfrm>
              <a:off x="220" y="1866"/>
              <a:ext cx="1097" cy="678"/>
            </a:xfrm>
            <a:custGeom>
              <a:avLst/>
              <a:gdLst>
                <a:gd name="T0" fmla="*/ 0 w 1094"/>
                <a:gd name="T1" fmla="*/ 570 h 675"/>
                <a:gd name="T2" fmla="*/ 855 w 1094"/>
                <a:gd name="T3" fmla="*/ 567 h 675"/>
                <a:gd name="T4" fmla="*/ 855 w 1094"/>
                <a:gd name="T5" fmla="*/ 690 h 675"/>
                <a:gd name="T6" fmla="*/ 1109 w 1094"/>
                <a:gd name="T7" fmla="*/ 334 h 675"/>
                <a:gd name="T8" fmla="*/ 858 w 1094"/>
                <a:gd name="T9" fmla="*/ 0 h 675"/>
                <a:gd name="T10" fmla="*/ 859 w 1094"/>
                <a:gd name="T11" fmla="*/ 131 h 675"/>
                <a:gd name="T12" fmla="*/ 4 w 1094"/>
                <a:gd name="T13" fmla="*/ 131 h 675"/>
                <a:gd name="T14" fmla="*/ 0 w 1094"/>
                <a:gd name="T15" fmla="*/ 570 h 67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94"/>
                <a:gd name="T25" fmla="*/ 0 h 675"/>
                <a:gd name="T26" fmla="*/ 1094 w 1094"/>
                <a:gd name="T27" fmla="*/ 675 h 67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94" h="675">
                  <a:moveTo>
                    <a:pt x="0" y="558"/>
                  </a:moveTo>
                  <a:lnTo>
                    <a:pt x="845" y="556"/>
                  </a:lnTo>
                  <a:lnTo>
                    <a:pt x="845" y="675"/>
                  </a:lnTo>
                  <a:lnTo>
                    <a:pt x="1094" y="329"/>
                  </a:lnTo>
                  <a:lnTo>
                    <a:pt x="848" y="0"/>
                  </a:lnTo>
                  <a:lnTo>
                    <a:pt x="849" y="126"/>
                  </a:lnTo>
                  <a:lnTo>
                    <a:pt x="4" y="126"/>
                  </a:lnTo>
                  <a:lnTo>
                    <a:pt x="0" y="558"/>
                  </a:lnTo>
                  <a:close/>
                </a:path>
              </a:pathLst>
            </a:custGeom>
            <a:solidFill>
              <a:srgbClr val="CCCCCC"/>
            </a:solidFill>
            <a:ln w="3175" cap="rnd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86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7" name="think-cell Slide" r:id="rId20" imgW="0" imgH="0" progId="TCLayout.ActiveDocument.1">
                  <p:embed/>
                </p:oleObj>
              </mc:Choice>
              <mc:Fallback>
                <p:oleObj name="think-cell Slide" r:id="rId20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867" name="AutoShape 3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999288" y="2247900"/>
            <a:ext cx="1792287" cy="2681288"/>
          </a:xfrm>
          <a:prstGeom prst="roundRect">
            <a:avLst>
              <a:gd name="adj" fmla="val 14542"/>
            </a:avLst>
          </a:prstGeom>
          <a:solidFill>
            <a:srgbClr val="EAEAEA">
              <a:alpha val="50195"/>
            </a:srgbClr>
          </a:soli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defTabSz="933450"/>
            <a:endParaRPr lang="en-US" sz="1400" b="1">
              <a:latin typeface="Calibri" pitchFamily="34" charset="0"/>
            </a:endParaRPr>
          </a:p>
        </p:txBody>
      </p:sp>
      <p:sp>
        <p:nvSpPr>
          <p:cNvPr id="36868" name="AutoShape 2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949825" y="2247900"/>
            <a:ext cx="1792288" cy="2681288"/>
          </a:xfrm>
          <a:prstGeom prst="roundRect">
            <a:avLst>
              <a:gd name="adj" fmla="val 14542"/>
            </a:avLst>
          </a:prstGeom>
          <a:solidFill>
            <a:srgbClr val="EAEAEA">
              <a:alpha val="50195"/>
            </a:srgbClr>
          </a:soli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defTabSz="933450"/>
            <a:endParaRPr lang="en-US" sz="1400" b="1">
              <a:latin typeface="Calibri" pitchFamily="34" charset="0"/>
            </a:endParaRPr>
          </a:p>
        </p:txBody>
      </p:sp>
      <p:sp>
        <p:nvSpPr>
          <p:cNvPr id="36869" name="AutoShape 2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14650" y="2247900"/>
            <a:ext cx="1792288" cy="2681288"/>
          </a:xfrm>
          <a:prstGeom prst="roundRect">
            <a:avLst>
              <a:gd name="adj" fmla="val 14542"/>
            </a:avLst>
          </a:prstGeom>
          <a:solidFill>
            <a:srgbClr val="EAEAEA">
              <a:alpha val="50195"/>
            </a:srgbClr>
          </a:soli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defTabSz="933450"/>
            <a:endParaRPr lang="en-US" sz="1400" b="1">
              <a:latin typeface="Calibri" pitchFamily="34" charset="0"/>
            </a:endParaRPr>
          </a:p>
        </p:txBody>
      </p:sp>
      <p:sp>
        <p:nvSpPr>
          <p:cNvPr id="36870" name="AutoShape 2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52475" y="2247900"/>
            <a:ext cx="1792288" cy="2681288"/>
          </a:xfrm>
          <a:prstGeom prst="roundRect">
            <a:avLst>
              <a:gd name="adj" fmla="val 14542"/>
            </a:avLst>
          </a:prstGeom>
          <a:solidFill>
            <a:srgbClr val="EAEAEA">
              <a:alpha val="50195"/>
            </a:srgbClr>
          </a:soli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defTabSz="933450"/>
            <a:endParaRPr lang="en-US" sz="1400" b="1">
              <a:latin typeface="Calibri" pitchFamily="34" charset="0"/>
            </a:endParaRPr>
          </a:p>
        </p:txBody>
      </p:sp>
      <p:sp>
        <p:nvSpPr>
          <p:cNvPr id="201735" name="AutoShape 2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52475" y="5199063"/>
            <a:ext cx="8056563" cy="531812"/>
          </a:xfrm>
          <a:prstGeom prst="roundRect">
            <a:avLst>
              <a:gd name="adj" fmla="val 33722"/>
            </a:avLst>
          </a:prstGeom>
          <a:solidFill>
            <a:srgbClr val="808080">
              <a:alpha val="50195"/>
            </a:srgbClr>
          </a:solidFill>
          <a:ln w="9525">
            <a:solidFill>
              <a:schemeClr val="accent2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defTabSz="933450"/>
            <a:endParaRPr lang="en-US" sz="1400" b="1">
              <a:latin typeface="Calibri" pitchFamily="34" charset="0"/>
            </a:endParaRPr>
          </a:p>
        </p:txBody>
      </p:sp>
      <p:sp>
        <p:nvSpPr>
          <p:cNvPr id="36872" name="4 Marcador de número de diapositiva"/>
          <p:cNvSpPr txBox="1"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153400" y="6648450"/>
            <a:ext cx="885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E73F42A5-7E19-4DAC-B449-6C3AC77FA0BE}" type="slidenum">
              <a:rPr lang="en-US" sz="900">
                <a:solidFill>
                  <a:srgbClr val="7F329A"/>
                </a:solidFill>
                <a:cs typeface="Arial" pitchFamily="34" charset="0"/>
              </a:rPr>
              <a:pPr algn="r" eaLnBrk="1" hangingPunct="1"/>
              <a:t>32</a:t>
            </a:fld>
            <a:endParaRPr lang="en-US" sz="900">
              <a:solidFill>
                <a:srgbClr val="7F329A"/>
              </a:solidFill>
              <a:cs typeface="Arial" pitchFamily="34" charset="0"/>
            </a:endParaRPr>
          </a:p>
        </p:txBody>
      </p:sp>
      <p:sp>
        <p:nvSpPr>
          <p:cNvPr id="36873" name="Rectangle 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38200" y="2687638"/>
            <a:ext cx="15954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sz="1400" b="1">
                <a:solidFill>
                  <a:schemeClr val="tx2"/>
                </a:solidFill>
                <a:cs typeface="Arial" pitchFamily="34" charset="0"/>
              </a:rPr>
              <a:t>Who</a:t>
            </a:r>
            <a:r>
              <a:rPr lang="en-US" altLang="ja-JP" sz="1400" b="1">
                <a:solidFill>
                  <a:schemeClr val="tx2"/>
                </a:solidFill>
                <a:cs typeface="Arial" pitchFamily="34" charset="0"/>
              </a:rPr>
              <a:t> we are</a:t>
            </a:r>
            <a:endParaRPr lang="en-US" sz="1400" b="1">
              <a:solidFill>
                <a:schemeClr val="tx2"/>
              </a:solidFill>
              <a:cs typeface="Arial" pitchFamily="34" charset="0"/>
            </a:endParaRPr>
          </a:p>
        </p:txBody>
      </p:sp>
      <p:sp>
        <p:nvSpPr>
          <p:cNvPr id="36874" name="Rectangle 2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079750" y="2687638"/>
            <a:ext cx="1446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sz="1400" b="1">
                <a:solidFill>
                  <a:schemeClr val="tx2"/>
                </a:solidFill>
                <a:cs typeface="Arial" pitchFamily="34" charset="0"/>
              </a:rPr>
              <a:t>Background</a:t>
            </a:r>
          </a:p>
        </p:txBody>
      </p:sp>
      <p:sp>
        <p:nvSpPr>
          <p:cNvPr id="36875" name="Rectangle 2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044825" y="3275013"/>
            <a:ext cx="1514475" cy="793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33350" indent="-133350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cs typeface="Arial" pitchFamily="34" charset="0"/>
              </a:rPr>
              <a:t>The role of entrepreneurship in poverty reduction</a:t>
            </a:r>
          </a:p>
        </p:txBody>
      </p:sp>
      <p:sp>
        <p:nvSpPr>
          <p:cNvPr id="36876" name="Rectangle 2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113338" y="2368550"/>
            <a:ext cx="1446212" cy="850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sz="1400" b="1">
                <a:solidFill>
                  <a:schemeClr val="tx2"/>
                </a:solidFill>
                <a:cs typeface="Arial" pitchFamily="34" charset="0"/>
              </a:rPr>
              <a:t>The problem at hand and Evaluation of Methodology</a:t>
            </a:r>
          </a:p>
        </p:txBody>
      </p:sp>
      <p:sp>
        <p:nvSpPr>
          <p:cNvPr id="36877" name="Rectangle 2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5113338" y="3275013"/>
            <a:ext cx="1446212" cy="146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33350" indent="-133350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cs typeface="Arial" pitchFamily="34" charset="0"/>
              </a:rPr>
              <a:t>Strategic planning</a:t>
            </a:r>
          </a:p>
          <a:p>
            <a:pPr marL="133350" indent="-133350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cs typeface="Arial" pitchFamily="34" charset="0"/>
              </a:rPr>
              <a:t>Access to capital</a:t>
            </a:r>
          </a:p>
          <a:p>
            <a:pPr marL="133350" indent="-133350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cs typeface="Arial" pitchFamily="34" charset="0"/>
              </a:rPr>
              <a:t>Other problems</a:t>
            </a:r>
          </a:p>
          <a:p>
            <a:pPr marL="133350" indent="-133350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cs typeface="Arial" pitchFamily="34" charset="0"/>
              </a:rPr>
              <a:t>Overview of BPC impact study and results</a:t>
            </a:r>
          </a:p>
        </p:txBody>
      </p:sp>
      <p:sp>
        <p:nvSpPr>
          <p:cNvPr id="36878" name="Rectangle 2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7143750" y="2687638"/>
            <a:ext cx="14478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sz="1400" b="1">
                <a:solidFill>
                  <a:schemeClr val="tx2"/>
                </a:solidFill>
                <a:cs typeface="Arial" pitchFamily="34" charset="0"/>
              </a:rPr>
              <a:t>Next Steps</a:t>
            </a:r>
          </a:p>
        </p:txBody>
      </p:sp>
      <p:sp>
        <p:nvSpPr>
          <p:cNvPr id="36879" name="Rectangle 2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164388" y="3275013"/>
            <a:ext cx="1444625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33350" indent="-133350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cs typeface="Arial" pitchFamily="34" charset="0"/>
              </a:rPr>
              <a:t>Results</a:t>
            </a:r>
          </a:p>
          <a:p>
            <a:pPr marL="133350" indent="-133350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cs typeface="Arial" pitchFamily="34" charset="0"/>
              </a:rPr>
              <a:t>Lessons learned</a:t>
            </a:r>
          </a:p>
          <a:p>
            <a:pPr marL="133350" indent="-133350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cs typeface="Arial" pitchFamily="34" charset="0"/>
              </a:rPr>
              <a:t>Beyond BPC</a:t>
            </a:r>
            <a:r>
              <a:rPr lang="ja-JP" altLang="en-US" sz="1300"/>
              <a:t>’</a:t>
            </a:r>
            <a:r>
              <a:rPr lang="en-US" altLang="ja-JP" sz="1300">
                <a:cs typeface="Arial" pitchFamily="34" charset="0"/>
              </a:rPr>
              <a:t>s</a:t>
            </a:r>
            <a:endParaRPr lang="en-US" sz="1300">
              <a:cs typeface="Arial" pitchFamily="34" charset="0"/>
            </a:endParaRPr>
          </a:p>
        </p:txBody>
      </p:sp>
      <p:sp>
        <p:nvSpPr>
          <p:cNvPr id="36880" name="AutoShape 39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52475" y="5195888"/>
            <a:ext cx="8058150" cy="534987"/>
          </a:xfrm>
          <a:prstGeom prst="roundRect">
            <a:avLst>
              <a:gd name="adj" fmla="val 32120"/>
            </a:avLst>
          </a:prstGeom>
          <a:solidFill>
            <a:srgbClr val="EAEAEA">
              <a:alpha val="50195"/>
            </a:srgbClr>
          </a:soli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algn="ctr" defTabSz="933450"/>
            <a:r>
              <a:rPr lang="en-US" sz="1600" b="1">
                <a:cs typeface="Arial" pitchFamily="34" charset="0"/>
              </a:rPr>
              <a:t>Q and A</a:t>
            </a:r>
          </a:p>
        </p:txBody>
      </p:sp>
      <p:pic>
        <p:nvPicPr>
          <p:cNvPr id="36881" name="Picture 21" descr="TNS_Eng_vertical_logo_RGB_large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67" t="12163" r="6067" b="12163"/>
          <a:stretch>
            <a:fillRect/>
          </a:stretch>
        </p:blipFill>
        <p:spPr bwMode="auto">
          <a:xfrm>
            <a:off x="927100" y="3429000"/>
            <a:ext cx="1417638" cy="757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882" name="Rectangle 2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>
                <a:ea typeface="ＭＳ Ｐゴシック" pitchFamily="34" charset="-128"/>
                <a:cs typeface="Arial" pitchFamily="34" charset="0"/>
              </a:rPr>
              <a:t>Agenda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7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017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17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017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1735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12"/>
          <p:cNvSpPr>
            <a:spLocks noChangeArrowheads="1"/>
          </p:cNvSpPr>
          <p:nvPr/>
        </p:nvSpPr>
        <p:spPr bwMode="auto">
          <a:xfrm>
            <a:off x="3462338" y="3952875"/>
            <a:ext cx="5681662" cy="1878013"/>
          </a:xfrm>
          <a:prstGeom prst="rect">
            <a:avLst/>
          </a:prstGeom>
          <a:gradFill rotWithShape="1">
            <a:gsLst>
              <a:gs pos="0">
                <a:schemeClr val="accent2"/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/>
          <a:p>
            <a:pPr defTabSz="933450"/>
            <a:r>
              <a:rPr lang="en-US" sz="6100" b="1">
                <a:solidFill>
                  <a:schemeClr val="bg1"/>
                </a:solidFill>
                <a:cs typeface="Arial" pitchFamily="34" charset="0"/>
              </a:rPr>
              <a:t>  Appendix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91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6" name="think-cell Slide" r:id="rId12" imgW="0" imgH="0" progId="TCLayout.ActiveDocument.1">
                  <p:embed/>
                </p:oleObj>
              </mc:Choice>
              <mc:Fallback>
                <p:oleObj name="think-cell Slide" r:id="rId12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915" name="Oval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82663" y="3649663"/>
            <a:ext cx="1449387" cy="361950"/>
          </a:xfrm>
          <a:prstGeom prst="ellipse">
            <a:avLst/>
          </a:prstGeom>
          <a:solidFill>
            <a:schemeClr val="accent1">
              <a:alpha val="0"/>
            </a:schemeClr>
          </a:solidFill>
          <a:ln w="19050">
            <a:solidFill>
              <a:schemeClr val="accent2"/>
            </a:solidFill>
            <a:round/>
            <a:headEnd/>
            <a:tailEnd/>
          </a:ln>
        </p:spPr>
        <p:txBody>
          <a:bodyPr wrap="none" lIns="91430" tIns="45716" rIns="91430" bIns="45716" anchor="ctr"/>
          <a:lstStyle/>
          <a:p>
            <a:pPr defTabSz="912813"/>
            <a:endParaRPr lang="en-US" sz="1800"/>
          </a:p>
        </p:txBody>
      </p:sp>
      <p:cxnSp>
        <p:nvCxnSpPr>
          <p:cNvPr id="38916" name="AutoShape 13"/>
          <p:cNvCxnSpPr>
            <a:cxnSpLocks noChangeShapeType="1"/>
            <a:stCxn id="38915" idx="2"/>
            <a:endCxn id="38918" idx="1"/>
          </p:cNvCxnSpPr>
          <p:nvPr>
            <p:custDataLst>
              <p:tags r:id="rId4"/>
            </p:custDataLst>
          </p:nvPr>
        </p:nvCxnSpPr>
        <p:spPr bwMode="auto">
          <a:xfrm rot="10800000" flipH="1" flipV="1">
            <a:off x="973138" y="3830638"/>
            <a:ext cx="22225" cy="2070100"/>
          </a:xfrm>
          <a:prstGeom prst="bentConnector3">
            <a:avLst>
              <a:gd name="adj1" fmla="val -985713"/>
            </a:avLst>
          </a:prstGeom>
          <a:noFill/>
          <a:ln w="19050">
            <a:solidFill>
              <a:srgbClr val="80808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8917" name="Rectangle 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66763" y="2133600"/>
            <a:ext cx="8120062" cy="3271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/>
          <a:lstStyle/>
          <a:p>
            <a:pPr marL="220663" indent="-220663" defTabSz="912813">
              <a:spcAft>
                <a:spcPts val="8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600">
                <a:cs typeface="Arial" pitchFamily="34" charset="0"/>
              </a:rPr>
              <a:t>Initial Success – the percent of businesses that responded </a:t>
            </a:r>
            <a:r>
              <a:rPr lang="ja-JP" altLang="en-US" sz="1600"/>
              <a:t>“</a:t>
            </a:r>
            <a:r>
              <a:rPr lang="en-US" altLang="ja-JP" sz="1600">
                <a:cs typeface="Arial" pitchFamily="34" charset="0"/>
              </a:rPr>
              <a:t>yes</a:t>
            </a:r>
            <a:r>
              <a:rPr lang="ja-JP" altLang="en-US" sz="1600"/>
              <a:t>”</a:t>
            </a:r>
            <a:r>
              <a:rPr lang="en-US" altLang="ja-JP" sz="1600">
                <a:cs typeface="Arial" pitchFamily="34" charset="0"/>
              </a:rPr>
              <a:t> to the question </a:t>
            </a:r>
            <a:r>
              <a:rPr lang="ja-JP" altLang="en-US" sz="1600"/>
              <a:t>“</a:t>
            </a:r>
            <a:r>
              <a:rPr lang="en-US" altLang="ja-JP" sz="1600">
                <a:cs typeface="Arial" pitchFamily="34" charset="0"/>
              </a:rPr>
              <a:t>did you succeed in founding or expanding your business?</a:t>
            </a:r>
            <a:r>
              <a:rPr lang="ja-JP" altLang="en-US" sz="1600"/>
              <a:t>”</a:t>
            </a:r>
            <a:endParaRPr lang="en-US" altLang="ja-JP" sz="1600">
              <a:cs typeface="Arial" pitchFamily="34" charset="0"/>
            </a:endParaRPr>
          </a:p>
          <a:p>
            <a:pPr marL="220663" indent="-220663" defTabSz="912813">
              <a:spcAft>
                <a:spcPts val="8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600">
                <a:cs typeface="Arial" pitchFamily="34" charset="0"/>
              </a:rPr>
              <a:t>Formalization – the percent of businesses that were formally constituted before government authorities or that paid taxes</a:t>
            </a:r>
          </a:p>
          <a:p>
            <a:pPr marL="220663" indent="-220663" defTabSz="912813">
              <a:spcAft>
                <a:spcPts val="8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600">
                <a:cs typeface="Arial" pitchFamily="34" charset="0"/>
              </a:rPr>
              <a:t>Survival Rate – the percent of businesses that survived one or two years</a:t>
            </a:r>
          </a:p>
          <a:p>
            <a:pPr marL="220663" indent="-220663" defTabSz="912813">
              <a:spcAft>
                <a:spcPts val="8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600">
                <a:cs typeface="Arial" pitchFamily="34" charset="0"/>
              </a:rPr>
              <a:t>Sales Growth – the dollar value of the growth in annual sales from before the competition to either one or two years afterwards</a:t>
            </a:r>
          </a:p>
          <a:p>
            <a:pPr marL="220663" indent="-220663" defTabSz="912813">
              <a:spcAft>
                <a:spcPts val="8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600">
                <a:cs typeface="Arial" pitchFamily="34" charset="0"/>
              </a:rPr>
              <a:t>Capital Raised – total capital raised from founders, partners, banks, microfinance organizations, and other sources</a:t>
            </a:r>
          </a:p>
          <a:p>
            <a:pPr marL="220663" indent="-220663" defTabSz="912813">
              <a:spcAft>
                <a:spcPts val="8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600">
                <a:cs typeface="Arial" pitchFamily="34" charset="0"/>
              </a:rPr>
              <a:t>Employee Growth – the change in the number of either full-time or total employees in the one or two years following the competition</a:t>
            </a:r>
          </a:p>
          <a:p>
            <a:pPr marL="220663" indent="-220663" defTabSz="912813">
              <a:spcAft>
                <a:spcPts val="800"/>
              </a:spcAft>
              <a:buClr>
                <a:schemeClr val="accent2"/>
              </a:buClr>
              <a:buFont typeface="Wingdings" pitchFamily="2" charset="2"/>
              <a:buNone/>
            </a:pPr>
            <a:endParaRPr lang="en-US" sz="1600">
              <a:cs typeface="Arial" pitchFamily="34" charset="0"/>
            </a:endParaRPr>
          </a:p>
          <a:p>
            <a:pPr marL="220663" indent="-220663" defTabSz="912813">
              <a:spcAft>
                <a:spcPts val="800"/>
              </a:spcAft>
              <a:buClr>
                <a:schemeClr val="accent2"/>
              </a:buClr>
              <a:buFont typeface="Wingdings" pitchFamily="2" charset="2"/>
              <a:buChar char="§"/>
            </a:pPr>
            <a:endParaRPr lang="en-US" sz="1600">
              <a:cs typeface="Arial" pitchFamily="34" charset="0"/>
            </a:endParaRPr>
          </a:p>
        </p:txBody>
      </p:sp>
      <p:sp>
        <p:nvSpPr>
          <p:cNvPr id="38918" name="Text Box 8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95363" y="5605463"/>
            <a:ext cx="7599362" cy="590550"/>
          </a:xfrm>
          <a:prstGeom prst="rect">
            <a:avLst/>
          </a:prstGeom>
          <a:noFill/>
          <a:ln w="9525">
            <a:solidFill>
              <a:srgbClr val="80808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30" tIns="45716" rIns="91430" bIns="45716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600">
                <a:cs typeface="Arial" pitchFamily="34" charset="0"/>
              </a:rPr>
              <a:t>Throughout the presentation, we will focus most heavily on two-year dollar sales growth, as a holistic measure of business growth and TechnoServe impact</a:t>
            </a:r>
          </a:p>
        </p:txBody>
      </p:sp>
      <p:pic>
        <p:nvPicPr>
          <p:cNvPr id="38919" name="Picture 29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1675" y="577850"/>
            <a:ext cx="682625" cy="233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920" name="4 Marcador de número de diapositiva"/>
          <p:cNvSpPr txBox="1"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153400" y="6648450"/>
            <a:ext cx="885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1C0F4AB2-1EA2-4CC0-B7FF-4AA500D86450}" type="slidenum">
              <a:rPr lang="en-US" sz="900">
                <a:solidFill>
                  <a:srgbClr val="7F329A"/>
                </a:solidFill>
                <a:cs typeface="Arial" pitchFamily="34" charset="0"/>
              </a:rPr>
              <a:pPr algn="r" eaLnBrk="1" hangingPunct="1"/>
              <a:t>34</a:t>
            </a:fld>
            <a:endParaRPr lang="en-US" sz="900">
              <a:solidFill>
                <a:srgbClr val="7F329A"/>
              </a:solidFill>
              <a:cs typeface="Arial" pitchFamily="34" charset="0"/>
            </a:endParaRPr>
          </a:p>
        </p:txBody>
      </p:sp>
      <p:sp>
        <p:nvSpPr>
          <p:cNvPr id="38921" name="Rectangle 9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 smtClean="0">
                <a:ea typeface="ＭＳ Ｐゴシック" pitchFamily="34" charset="-128"/>
                <a:cs typeface="Arial" pitchFamily="34" charset="0"/>
              </a:rPr>
              <a:t>Key Performance Indicator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Text Box 8"/>
          <p:cNvSpPr txBox="1">
            <a:spLocks noChangeArrowheads="1"/>
          </p:cNvSpPr>
          <p:nvPr/>
        </p:nvSpPr>
        <p:spPr bwMode="auto">
          <a:xfrm>
            <a:off x="-1920875" y="4456113"/>
            <a:ext cx="1841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0" tIns="45716" rIns="91430" bIns="45716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n-US" sz="1800"/>
          </a:p>
        </p:txBody>
      </p:sp>
      <p:sp>
        <p:nvSpPr>
          <p:cNvPr id="39939" name="Text Box 12"/>
          <p:cNvSpPr txBox="1">
            <a:spLocks noChangeArrowheads="1"/>
          </p:cNvSpPr>
          <p:nvPr/>
        </p:nvSpPr>
        <p:spPr bwMode="auto">
          <a:xfrm>
            <a:off x="150813" y="6613525"/>
            <a:ext cx="64023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000">
                <a:cs typeface="Arial" pitchFamily="34" charset="0"/>
              </a:rPr>
              <a:t>(a)  Based on multiple regression analysis, controlling for age, gender, year, country and selection bias.  </a:t>
            </a:r>
          </a:p>
        </p:txBody>
      </p:sp>
      <p:grpSp>
        <p:nvGrpSpPr>
          <p:cNvPr id="39940" name="Group 17"/>
          <p:cNvGrpSpPr>
            <a:grpSpLocks/>
          </p:cNvGrpSpPr>
          <p:nvPr/>
        </p:nvGrpSpPr>
        <p:grpSpPr bwMode="auto">
          <a:xfrm>
            <a:off x="708025" y="2025650"/>
            <a:ext cx="7689850" cy="4375150"/>
            <a:chOff x="446" y="811"/>
            <a:chExt cx="5228" cy="2975"/>
          </a:xfrm>
        </p:grpSpPr>
        <p:sp>
          <p:nvSpPr>
            <p:cNvPr id="39943" name="Text Box 5"/>
            <p:cNvSpPr txBox="1">
              <a:spLocks noChangeArrowheads="1"/>
            </p:cNvSpPr>
            <p:nvPr/>
          </p:nvSpPr>
          <p:spPr bwMode="auto">
            <a:xfrm>
              <a:off x="500" y="811"/>
              <a:ext cx="2284" cy="207"/>
            </a:xfrm>
            <a:prstGeom prst="rect">
              <a:avLst/>
            </a:pr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0" tIns="45716" rIns="91430" bIns="45716">
              <a:spAutoFit/>
            </a:bodyPr>
            <a:lstStyle>
              <a:lvl1pPr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sz="1400" b="1">
                  <a:solidFill>
                    <a:schemeClr val="bg1"/>
                  </a:solidFill>
                  <a:cs typeface="Arial" pitchFamily="34" charset="0"/>
                </a:rPr>
                <a:t>New Business: Training Impact </a:t>
              </a:r>
              <a:r>
                <a:rPr lang="en-US" sz="1400" b="1" baseline="30000">
                  <a:solidFill>
                    <a:schemeClr val="bg1"/>
                  </a:solidFill>
                  <a:cs typeface="Arial" pitchFamily="34" charset="0"/>
                </a:rPr>
                <a:t>(a)</a:t>
              </a:r>
            </a:p>
          </p:txBody>
        </p:sp>
        <p:sp>
          <p:nvSpPr>
            <p:cNvPr id="39944" name="Text Box 6"/>
            <p:cNvSpPr txBox="1">
              <a:spLocks noChangeArrowheads="1"/>
            </p:cNvSpPr>
            <p:nvPr/>
          </p:nvSpPr>
          <p:spPr bwMode="auto">
            <a:xfrm>
              <a:off x="3333" y="811"/>
              <a:ext cx="2283" cy="207"/>
            </a:xfrm>
            <a:prstGeom prst="rect">
              <a:avLst/>
            </a:pr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0" tIns="45716" rIns="91430" bIns="45716">
              <a:spAutoFit/>
            </a:bodyPr>
            <a:lstStyle>
              <a:lvl1pPr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sz="1400" b="1">
                  <a:solidFill>
                    <a:schemeClr val="bg1"/>
                  </a:solidFill>
                  <a:cs typeface="Arial" pitchFamily="34" charset="0"/>
                </a:rPr>
                <a:t>Existing Business: Training Impact </a:t>
              </a:r>
              <a:r>
                <a:rPr lang="en-US" sz="1400" b="1" baseline="30000">
                  <a:solidFill>
                    <a:schemeClr val="bg1"/>
                  </a:solidFill>
                  <a:cs typeface="Arial" pitchFamily="34" charset="0"/>
                </a:rPr>
                <a:t>(a)</a:t>
              </a:r>
            </a:p>
          </p:txBody>
        </p:sp>
        <p:pic>
          <p:nvPicPr>
            <p:cNvPr id="39945" name="Picture 14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8799" r="53224"/>
            <a:stretch>
              <a:fillRect/>
            </a:stretch>
          </p:blipFill>
          <p:spPr bwMode="auto">
            <a:xfrm>
              <a:off x="3374" y="1051"/>
              <a:ext cx="2300" cy="2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946" name="Picture 15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8799" r="52248"/>
            <a:stretch>
              <a:fillRect/>
            </a:stretch>
          </p:blipFill>
          <p:spPr bwMode="auto">
            <a:xfrm>
              <a:off x="446" y="1057"/>
              <a:ext cx="2348" cy="2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9947" name="Oval 17"/>
            <p:cNvSpPr>
              <a:spLocks noChangeArrowheads="1"/>
            </p:cNvSpPr>
            <p:nvPr/>
          </p:nvSpPr>
          <p:spPr bwMode="auto">
            <a:xfrm>
              <a:off x="1162" y="1435"/>
              <a:ext cx="480" cy="432"/>
            </a:xfrm>
            <a:prstGeom prst="ellipse">
              <a:avLst/>
            </a:prstGeom>
            <a:solidFill>
              <a:schemeClr val="accent1">
                <a:alpha val="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91430" tIns="45716" rIns="91430" bIns="45716" anchor="ctr"/>
            <a:lstStyle/>
            <a:p>
              <a:pPr defTabSz="912813"/>
              <a:endParaRPr lang="en-US" sz="1800">
                <a:latin typeface="Trebuchet MS" pitchFamily="34" charset="0"/>
              </a:endParaRPr>
            </a:p>
          </p:txBody>
        </p:sp>
        <p:sp>
          <p:nvSpPr>
            <p:cNvPr id="39948" name="Oval 18"/>
            <p:cNvSpPr>
              <a:spLocks noChangeArrowheads="1"/>
            </p:cNvSpPr>
            <p:nvPr/>
          </p:nvSpPr>
          <p:spPr bwMode="auto">
            <a:xfrm>
              <a:off x="4090" y="1339"/>
              <a:ext cx="480" cy="432"/>
            </a:xfrm>
            <a:prstGeom prst="ellipse">
              <a:avLst/>
            </a:prstGeom>
            <a:solidFill>
              <a:schemeClr val="accent1">
                <a:alpha val="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91430" tIns="45716" rIns="91430" bIns="45716" anchor="ctr"/>
            <a:lstStyle/>
            <a:p>
              <a:pPr defTabSz="912813"/>
              <a:endParaRPr lang="en-US" sz="1800">
                <a:latin typeface="Trebuchet MS" pitchFamily="34" charset="0"/>
              </a:endParaRPr>
            </a:p>
          </p:txBody>
        </p:sp>
        <p:sp>
          <p:nvSpPr>
            <p:cNvPr id="39949" name="Line 19"/>
            <p:cNvSpPr>
              <a:spLocks noChangeShapeType="1"/>
            </p:cNvSpPr>
            <p:nvPr/>
          </p:nvSpPr>
          <p:spPr bwMode="auto">
            <a:xfrm flipH="1" flipV="1">
              <a:off x="1642" y="1722"/>
              <a:ext cx="1345" cy="105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950" name="Line 20"/>
            <p:cNvSpPr>
              <a:spLocks noChangeShapeType="1"/>
            </p:cNvSpPr>
            <p:nvPr/>
          </p:nvSpPr>
          <p:spPr bwMode="auto">
            <a:xfrm flipV="1">
              <a:off x="2987" y="1722"/>
              <a:ext cx="1152" cy="105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951" name="Text Box 21"/>
            <p:cNvSpPr txBox="1">
              <a:spLocks noChangeArrowheads="1"/>
            </p:cNvSpPr>
            <p:nvPr/>
          </p:nvSpPr>
          <p:spPr bwMode="auto">
            <a:xfrm>
              <a:off x="2266" y="2778"/>
              <a:ext cx="1104" cy="69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91430" tIns="45716" rIns="91430" bIns="45716">
              <a:spAutoFit/>
            </a:bodyPr>
            <a:lstStyle>
              <a:lvl1pPr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912813" eaLnBrk="0" hangingPunct="0"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sz="1200" b="1" i="1">
                  <a:cs typeface="Arial" pitchFamily="34" charset="0"/>
                </a:rPr>
                <a:t>Training has a substantial impact on both new and existing businesses</a:t>
              </a:r>
            </a:p>
          </p:txBody>
        </p:sp>
      </p:grpSp>
      <p:pic>
        <p:nvPicPr>
          <p:cNvPr id="39941" name="Picture 2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1675" y="577850"/>
            <a:ext cx="682625" cy="233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942" name="Rectangle 1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>
                <a:ea typeface="ＭＳ Ｐゴシック" pitchFamily="34" charset="-128"/>
                <a:cs typeface="Arial" pitchFamily="34" charset="0"/>
              </a:rPr>
              <a:t>Impact: New and Existing Business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>
            <a:spLocks noChangeArrowheads="1"/>
          </p:cNvSpPr>
          <p:nvPr/>
        </p:nvSpPr>
        <p:spPr bwMode="auto">
          <a:xfrm>
            <a:off x="1209675" y="5003800"/>
            <a:ext cx="3486150" cy="144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/>
          <a:lstStyle/>
          <a:p>
            <a:pPr marL="134938" indent="-134938" defTabSz="912813">
              <a:spcBef>
                <a:spcPct val="2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500">
                <a:cs typeface="Arial" pitchFamily="34" charset="0"/>
              </a:rPr>
              <a:t>The difference in sales growth is statistically significant</a:t>
            </a:r>
          </a:p>
          <a:p>
            <a:pPr marL="134938" indent="-134938" defTabSz="912813">
              <a:spcBef>
                <a:spcPct val="2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500">
                <a:cs typeface="Arial" pitchFamily="34" charset="0"/>
              </a:rPr>
              <a:t>The pattern holds across other KPI</a:t>
            </a:r>
            <a:r>
              <a:rPr lang="ja-JP" altLang="en-US" sz="1500"/>
              <a:t>’</a:t>
            </a:r>
            <a:r>
              <a:rPr lang="en-US" altLang="ja-JP" sz="1500">
                <a:cs typeface="Arial" pitchFamily="34" charset="0"/>
              </a:rPr>
              <a:t>s, although not always statistically significant</a:t>
            </a:r>
          </a:p>
          <a:p>
            <a:pPr marL="134938" indent="-134938" defTabSz="912813">
              <a:spcBef>
                <a:spcPct val="20000"/>
              </a:spcBef>
              <a:spcAft>
                <a:spcPct val="60000"/>
              </a:spcAft>
              <a:buClr>
                <a:schemeClr val="accent2"/>
              </a:buClr>
              <a:buFont typeface="Wingdings" pitchFamily="2" charset="2"/>
              <a:buChar char="§"/>
            </a:pPr>
            <a:endParaRPr lang="en-US" sz="1500">
              <a:cs typeface="Arial" pitchFamily="34" charset="0"/>
            </a:endParaRPr>
          </a:p>
        </p:txBody>
      </p:sp>
      <p:sp>
        <p:nvSpPr>
          <p:cNvPr id="40963" name="Text Box 6"/>
          <p:cNvSpPr txBox="1">
            <a:spLocks noChangeArrowheads="1"/>
          </p:cNvSpPr>
          <p:nvPr/>
        </p:nvSpPr>
        <p:spPr bwMode="auto">
          <a:xfrm>
            <a:off x="1219200" y="2044700"/>
            <a:ext cx="7181850" cy="304800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sz="1400" b="1">
                <a:solidFill>
                  <a:schemeClr val="bg1"/>
                </a:solidFill>
                <a:cs typeface="Arial" pitchFamily="34" charset="0"/>
              </a:rPr>
              <a:t>Comparison of Impact Amongst Existing Businesses of Different Ages </a:t>
            </a:r>
            <a:r>
              <a:rPr lang="en-US" sz="1400" b="1" baseline="30000">
                <a:solidFill>
                  <a:schemeClr val="bg1"/>
                </a:solidFill>
                <a:cs typeface="Arial" pitchFamily="34" charset="0"/>
              </a:rPr>
              <a:t>(a)</a:t>
            </a:r>
          </a:p>
        </p:txBody>
      </p:sp>
      <p:sp>
        <p:nvSpPr>
          <p:cNvPr id="40964" name="Text Box 8"/>
          <p:cNvSpPr txBox="1">
            <a:spLocks noChangeArrowheads="1"/>
          </p:cNvSpPr>
          <p:nvPr/>
        </p:nvSpPr>
        <p:spPr bwMode="auto">
          <a:xfrm>
            <a:off x="4984750" y="4635500"/>
            <a:ext cx="3494088" cy="304800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sz="1400" b="1">
                <a:solidFill>
                  <a:schemeClr val="bg1"/>
                </a:solidFill>
                <a:cs typeface="Arial" pitchFamily="34" charset="0"/>
              </a:rPr>
              <a:t>Key Takeaways</a:t>
            </a:r>
            <a:endParaRPr lang="en-US" sz="1400" b="1" baseline="3000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40965" name="Text Box 9"/>
          <p:cNvSpPr txBox="1">
            <a:spLocks noChangeArrowheads="1"/>
          </p:cNvSpPr>
          <p:nvPr/>
        </p:nvSpPr>
        <p:spPr bwMode="auto">
          <a:xfrm>
            <a:off x="1219200" y="4635500"/>
            <a:ext cx="3494088" cy="304800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sz="1400" b="1">
                <a:solidFill>
                  <a:schemeClr val="bg1"/>
                </a:solidFill>
                <a:cs typeface="Arial" pitchFamily="34" charset="0"/>
              </a:rPr>
              <a:t>Analytical Notes</a:t>
            </a:r>
            <a:endParaRPr lang="en-US" sz="1400" b="1" baseline="3000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40966" name="Rectangle 7"/>
          <p:cNvSpPr>
            <a:spLocks noChangeArrowheads="1"/>
          </p:cNvSpPr>
          <p:nvPr/>
        </p:nvSpPr>
        <p:spPr bwMode="auto">
          <a:xfrm>
            <a:off x="4951413" y="5003800"/>
            <a:ext cx="3486150" cy="144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/>
          <a:lstStyle/>
          <a:p>
            <a:pPr marL="134938" indent="-134938" defTabSz="912813">
              <a:spcBef>
                <a:spcPct val="20000"/>
              </a:spcBef>
              <a:spcAft>
                <a:spcPct val="600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500">
                <a:cs typeface="Arial" pitchFamily="34" charset="0"/>
              </a:rPr>
              <a:t>It appears that among existing businesses, the youngest ones have the greatest potential for impact</a:t>
            </a:r>
          </a:p>
        </p:txBody>
      </p:sp>
      <p:sp>
        <p:nvSpPr>
          <p:cNvPr id="40967" name="Rectangle 7"/>
          <p:cNvSpPr>
            <a:spLocks noChangeArrowheads="1"/>
          </p:cNvSpPr>
          <p:nvPr/>
        </p:nvSpPr>
        <p:spPr bwMode="auto">
          <a:xfrm>
            <a:off x="152400" y="6475413"/>
            <a:ext cx="8267700" cy="382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/>
          <a:lstStyle/>
          <a:p>
            <a:pPr marL="228600" indent="-228600" defTabSz="912813">
              <a:spcBef>
                <a:spcPct val="20000"/>
              </a:spcBef>
              <a:spcAft>
                <a:spcPct val="20000"/>
              </a:spcAft>
              <a:buSzPct val="75000"/>
            </a:pPr>
            <a:r>
              <a:rPr lang="en-US" sz="1000">
                <a:cs typeface="Arial" pitchFamily="34" charset="0"/>
              </a:rPr>
              <a:t>(a)  The younger participants are heavily influenced by one entrepreneur with two-year sales growth of $760,000.  </a:t>
            </a:r>
            <a:br>
              <a:rPr lang="en-US" sz="1000">
                <a:cs typeface="Arial" pitchFamily="34" charset="0"/>
              </a:rPr>
            </a:br>
            <a:r>
              <a:rPr lang="en-US" sz="1000">
                <a:cs typeface="Arial" pitchFamily="34" charset="0"/>
              </a:rPr>
              <a:t>The difference holds, but is smaller, when he is excluded.</a:t>
            </a:r>
          </a:p>
        </p:txBody>
      </p:sp>
      <p:pic>
        <p:nvPicPr>
          <p:cNvPr id="40968" name="Picture 1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816" r="11420" b="6210"/>
          <a:stretch>
            <a:fillRect/>
          </a:stretch>
        </p:blipFill>
        <p:spPr bwMode="auto">
          <a:xfrm>
            <a:off x="1127125" y="2578100"/>
            <a:ext cx="7683500" cy="213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69" name="Picture 29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1675" y="577850"/>
            <a:ext cx="682625" cy="233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70" name="Rectangle 1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>
                <a:ea typeface="ＭＳ Ｐゴシック" pitchFamily="34" charset="-128"/>
                <a:cs typeface="Arial" pitchFamily="34" charset="0"/>
              </a:rPr>
              <a:t>Impact by Age of Existing Business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ea typeface="ＭＳ Ｐゴシック" pitchFamily="34" charset="-128"/>
                <a:cs typeface="Arial" pitchFamily="34" charset="0"/>
              </a:rPr>
              <a:t>Overview on Various KPI</a:t>
            </a:r>
            <a:r>
              <a:rPr lang="en-US" altLang="ja-JP" dirty="0" smtClean="0">
                <a:ea typeface="ＭＳ Ｐゴシック" pitchFamily="34" charset="-128"/>
                <a:cs typeface="Arial" pitchFamily="34" charset="0"/>
              </a:rPr>
              <a:t>s</a:t>
            </a:r>
            <a:endParaRPr lang="en-US" dirty="0" smtClean="0"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1987" name="Text Box 14"/>
          <p:cNvSpPr txBox="1">
            <a:spLocks noChangeArrowheads="1"/>
          </p:cNvSpPr>
          <p:nvPr/>
        </p:nvSpPr>
        <p:spPr bwMode="auto">
          <a:xfrm>
            <a:off x="609600" y="3146425"/>
            <a:ext cx="8197850" cy="300038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>
            <a:lvl1pPr defTabSz="8953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8953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8953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8953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8953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sz="1400" b="1">
                <a:solidFill>
                  <a:schemeClr val="bg1"/>
                </a:solidFill>
                <a:cs typeface="Arial" pitchFamily="34" charset="0"/>
              </a:rPr>
              <a:t>Various KPI</a:t>
            </a:r>
            <a:r>
              <a:rPr lang="en-US" altLang="en-US" sz="1400" b="1">
                <a:solidFill>
                  <a:schemeClr val="bg1"/>
                </a:solidFill>
                <a:cs typeface="Arial" pitchFamily="34" charset="0"/>
              </a:rPr>
              <a:t>’</a:t>
            </a:r>
            <a:r>
              <a:rPr lang="en-US" sz="1400" b="1">
                <a:solidFill>
                  <a:schemeClr val="bg1"/>
                </a:solidFill>
                <a:cs typeface="Arial" pitchFamily="34" charset="0"/>
              </a:rPr>
              <a:t>s: Participant and Non-Participant Averages and Predicted Impact </a:t>
            </a:r>
            <a:r>
              <a:rPr lang="en-US" sz="1400" b="1" baseline="30000">
                <a:solidFill>
                  <a:schemeClr val="bg1"/>
                </a:solidFill>
                <a:cs typeface="Arial" pitchFamily="34" charset="0"/>
              </a:rPr>
              <a:t>(a)</a:t>
            </a:r>
          </a:p>
        </p:txBody>
      </p:sp>
      <p:sp>
        <p:nvSpPr>
          <p:cNvPr id="41988" name="Text Box 28"/>
          <p:cNvSpPr txBox="1">
            <a:spLocks noChangeArrowheads="1"/>
          </p:cNvSpPr>
          <p:nvPr/>
        </p:nvSpPr>
        <p:spPr bwMode="auto">
          <a:xfrm>
            <a:off x="96838" y="6219825"/>
            <a:ext cx="8140700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>
            <a:lvl1pPr marL="228600" indent="-228600" defTabSz="8953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8953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8953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8953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8953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FontTx/>
              <a:buAutoNum type="alphaLcParenBoth"/>
            </a:pPr>
            <a:r>
              <a:rPr lang="en-US" sz="900">
                <a:cs typeface="Arial" pitchFamily="34" charset="0"/>
              </a:rPr>
              <a:t>Based on multiple regression analysis that controls for age, gender, country, year, and selection bias.  </a:t>
            </a:r>
          </a:p>
          <a:p>
            <a:pPr eaLnBrk="1" hangingPunct="1">
              <a:buFontTx/>
              <a:buAutoNum type="alphaLcParenBoth"/>
            </a:pPr>
            <a:r>
              <a:rPr lang="en-US" sz="900">
                <a:cs typeface="Arial" pitchFamily="34" charset="0"/>
              </a:rPr>
              <a:t>*** 99% confidence; **95% confidence; *90% confidence.  Phase II includes impact of prize.  </a:t>
            </a:r>
          </a:p>
          <a:p>
            <a:pPr eaLnBrk="1" hangingPunct="1">
              <a:buFontTx/>
              <a:buAutoNum type="alphaLcParenBoth"/>
            </a:pPr>
            <a:r>
              <a:rPr lang="en-US" sz="900">
                <a:cs typeface="Arial" pitchFamily="34" charset="0"/>
              </a:rPr>
              <a:t>Refers to the question: </a:t>
            </a:r>
            <a:r>
              <a:rPr lang="ja-JP" altLang="en-US" sz="900"/>
              <a:t>“</a:t>
            </a:r>
            <a:r>
              <a:rPr lang="en-US" altLang="ja-JP" sz="900">
                <a:cs typeface="Arial" pitchFamily="34" charset="0"/>
              </a:rPr>
              <a:t>Did you succeed in establishing or expanding a new business?</a:t>
            </a:r>
            <a:r>
              <a:rPr lang="ja-JP" altLang="en-US" sz="900"/>
              <a:t>”</a:t>
            </a:r>
            <a:endParaRPr lang="en-US" altLang="ja-JP" sz="900">
              <a:cs typeface="Arial" pitchFamily="34" charset="0"/>
            </a:endParaRPr>
          </a:p>
          <a:p>
            <a:pPr eaLnBrk="1" hangingPunct="1">
              <a:buFontTx/>
              <a:buAutoNum type="alphaLcParenBoth"/>
            </a:pPr>
            <a:r>
              <a:rPr lang="en-US" sz="900">
                <a:cs typeface="Arial" pitchFamily="34" charset="0"/>
              </a:rPr>
              <a:t>Percent of new businesses founded that were formally constituted before the authorities.  </a:t>
            </a:r>
          </a:p>
        </p:txBody>
      </p:sp>
      <p:sp>
        <p:nvSpPr>
          <p:cNvPr id="41989" name="Rectangle 7"/>
          <p:cNvSpPr>
            <a:spLocks noChangeArrowheads="1"/>
          </p:cNvSpPr>
          <p:nvPr/>
        </p:nvSpPr>
        <p:spPr bwMode="auto">
          <a:xfrm>
            <a:off x="560388" y="2033588"/>
            <a:ext cx="8521700" cy="671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/>
          <a:lstStyle/>
          <a:p>
            <a:pPr marL="157163" indent="-157163" defTabSz="895350">
              <a:spcBef>
                <a:spcPct val="20000"/>
              </a:spcBef>
              <a:spcAft>
                <a:spcPct val="250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cs typeface="Arial" pitchFamily="34" charset="0"/>
              </a:rPr>
              <a:t>Participation and Phase II completion have an enormous impact on sales, capital mobilized, and initial success</a:t>
            </a:r>
          </a:p>
          <a:p>
            <a:pPr marL="157163" indent="-157163" defTabSz="895350">
              <a:spcBef>
                <a:spcPct val="20000"/>
              </a:spcBef>
              <a:spcAft>
                <a:spcPct val="250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cs typeface="Arial" pitchFamily="34" charset="0"/>
              </a:rPr>
              <a:t>The impact of Phase I is ambiguous across variables.  The program impact on employment growth is ambiguous as well. </a:t>
            </a:r>
          </a:p>
        </p:txBody>
      </p:sp>
      <p:pic>
        <p:nvPicPr>
          <p:cNvPr id="41990" name="Picture 3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3446463"/>
            <a:ext cx="8205787" cy="2398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010" name="Object 3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4532313" y="2605088"/>
          <a:ext cx="2754312" cy="38687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3" name="Chart" r:id="rId13" imgW="3225800" imgH="3797300" progId="MSGraph.Chart.8">
                  <p:embed followColorScheme="full"/>
                </p:oleObj>
              </mc:Choice>
              <mc:Fallback>
                <p:oleObj name="Chart" r:id="rId13" imgW="3225800" imgH="3797300" progId="MSGraph.Chart.8">
                  <p:embed followColorScheme="full"/>
                  <p:pic>
                    <p:nvPicPr>
                      <p:cNvPr id="0" name="Object 3"/>
                      <p:cNvPicPr>
                        <a:picLocks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r="16101"/>
                      <a:stretch>
                        <a:fillRect/>
                      </a:stretch>
                    </p:blipFill>
                    <p:spPr bwMode="blackWhite">
                      <a:xfrm>
                        <a:off x="4532313" y="2605088"/>
                        <a:ext cx="2754312" cy="38687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011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816100" y="2925991"/>
            <a:ext cx="264160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r" defTabSz="912813">
              <a:buSzPct val="120000"/>
            </a:pPr>
            <a:r>
              <a:rPr lang="en-US" sz="1400" dirty="0" smtClean="0">
                <a:cs typeface="Arial" pitchFamily="34" charset="0"/>
              </a:rPr>
              <a:t>SME</a:t>
            </a:r>
            <a:r>
              <a:rPr lang="en-US" altLang="ja-JP" sz="1400" dirty="0" smtClean="0">
                <a:cs typeface="Arial" pitchFamily="34" charset="0"/>
              </a:rPr>
              <a:t>s </a:t>
            </a:r>
            <a:r>
              <a:rPr lang="en-US" altLang="ja-JP" sz="1400" dirty="0">
                <a:cs typeface="Arial" pitchFamily="34" charset="0"/>
              </a:rPr>
              <a:t>trained</a:t>
            </a:r>
            <a:endParaRPr lang="en-US" sz="1400" dirty="0">
              <a:cs typeface="Arial" pitchFamily="34" charset="0"/>
            </a:endParaRPr>
          </a:p>
        </p:txBody>
      </p:sp>
      <p:sp>
        <p:nvSpPr>
          <p:cNvPr id="43012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13263" y="1927225"/>
            <a:ext cx="289560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defTabSz="931863">
              <a:spcAft>
                <a:spcPts val="200"/>
              </a:spcAft>
              <a:buSzPct val="75000"/>
            </a:pPr>
            <a:r>
              <a:rPr lang="en-US" sz="1400" b="1">
                <a:solidFill>
                  <a:schemeClr val="accent2"/>
                </a:solidFill>
                <a:cs typeface="Arial" pitchFamily="34" charset="0"/>
              </a:rPr>
              <a:t>South America SME Promotion Main Figures</a:t>
            </a:r>
            <a:endParaRPr lang="en-US" sz="1400" b="1" i="1">
              <a:solidFill>
                <a:schemeClr val="accent2"/>
              </a:solidFill>
              <a:cs typeface="Arial" pitchFamily="34" charset="0"/>
            </a:endParaRPr>
          </a:p>
        </p:txBody>
      </p:sp>
      <p:sp>
        <p:nvSpPr>
          <p:cNvPr id="43013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816100" y="3670529"/>
            <a:ext cx="264160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r" defTabSz="912813">
              <a:buSzPct val="120000"/>
            </a:pPr>
            <a:r>
              <a:rPr lang="en-US" sz="1400" dirty="0" smtClean="0">
                <a:cs typeface="Arial" pitchFamily="34" charset="0"/>
              </a:rPr>
              <a:t>SMEs </a:t>
            </a:r>
            <a:r>
              <a:rPr lang="en-US" sz="1400" dirty="0">
                <a:cs typeface="Arial" pitchFamily="34" charset="0"/>
              </a:rPr>
              <a:t>that operate with BPC</a:t>
            </a:r>
          </a:p>
        </p:txBody>
      </p:sp>
      <p:sp>
        <p:nvSpPr>
          <p:cNvPr id="43014" name="Rectangle 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816100" y="4310520"/>
            <a:ext cx="26416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r" defTabSz="912813">
              <a:buSzPct val="120000"/>
            </a:pPr>
            <a:r>
              <a:rPr lang="en-US" sz="1400" dirty="0" smtClean="0">
                <a:cs typeface="Arial" pitchFamily="34" charset="0"/>
              </a:rPr>
              <a:t>SME</a:t>
            </a:r>
            <a:r>
              <a:rPr lang="en-US" altLang="ja-JP" sz="1400" dirty="0" smtClean="0">
                <a:cs typeface="Arial" pitchFamily="34" charset="0"/>
              </a:rPr>
              <a:t>s </a:t>
            </a:r>
            <a:r>
              <a:rPr lang="en-US" altLang="ja-JP" sz="1400" dirty="0">
                <a:cs typeface="Arial" pitchFamily="34" charset="0"/>
              </a:rPr>
              <a:t>that obtain financing through BPC</a:t>
            </a:r>
            <a:endParaRPr lang="en-US" sz="1400" dirty="0">
              <a:cs typeface="Arial" pitchFamily="34" charset="0"/>
            </a:endParaRPr>
          </a:p>
        </p:txBody>
      </p:sp>
      <p:sp>
        <p:nvSpPr>
          <p:cNvPr id="43015" name="Rectangle 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816100" y="5910263"/>
            <a:ext cx="26416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r" defTabSz="912813">
              <a:buSzPct val="120000"/>
            </a:pPr>
            <a:r>
              <a:rPr lang="en-US" sz="1400">
                <a:cs typeface="Arial" pitchFamily="34" charset="0"/>
              </a:rPr>
              <a:t>Jobs created</a:t>
            </a:r>
          </a:p>
        </p:txBody>
      </p:sp>
      <p:sp>
        <p:nvSpPr>
          <p:cNvPr id="43016" name="McK Footnote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0" y="6645275"/>
            <a:ext cx="53244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530225" indent="-530225" defTabSz="912813" eaLnBrk="0" hangingPunct="0">
              <a:tabLst>
                <a:tab pos="469900" algn="r"/>
              </a:tabLs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tabLst>
                <a:tab pos="469900" algn="r"/>
              </a:tabLs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tabLst>
                <a:tab pos="469900" algn="r"/>
              </a:tabLs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tabLst>
                <a:tab pos="469900" algn="r"/>
              </a:tabLs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tabLst>
                <a:tab pos="469900" algn="r"/>
              </a:tabLs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469900" algn="r"/>
              </a:tabLs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469900" algn="r"/>
              </a:tabLs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469900" algn="r"/>
              </a:tabLs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469900" algn="r"/>
              </a:tabLs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1100">
                <a:cs typeface="Arial" pitchFamily="34" charset="0"/>
              </a:rPr>
              <a:t>	*	Until Dec 2010</a:t>
            </a:r>
          </a:p>
        </p:txBody>
      </p:sp>
      <p:sp>
        <p:nvSpPr>
          <p:cNvPr id="43017" name="Rectangle 4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816100" y="5162779"/>
            <a:ext cx="264160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r" defTabSz="912813">
              <a:buSzPct val="120000"/>
            </a:pPr>
            <a:r>
              <a:rPr lang="en-US" sz="1400" dirty="0">
                <a:cs typeface="Arial" pitchFamily="34" charset="0"/>
              </a:rPr>
              <a:t>Increase in revenue from </a:t>
            </a:r>
            <a:r>
              <a:rPr lang="en-US" sz="1400" dirty="0" smtClean="0">
                <a:cs typeface="Arial" pitchFamily="34" charset="0"/>
              </a:rPr>
              <a:t>SME</a:t>
            </a:r>
            <a:r>
              <a:rPr lang="en-US" altLang="ja-JP" sz="1400" dirty="0" smtClean="0">
                <a:cs typeface="Arial" pitchFamily="34" charset="0"/>
              </a:rPr>
              <a:t>s</a:t>
            </a:r>
            <a:endParaRPr lang="en-US" sz="1400" dirty="0">
              <a:cs typeface="Arial" pitchFamily="34" charset="0"/>
            </a:endParaRPr>
          </a:p>
        </p:txBody>
      </p:sp>
      <p:sp>
        <p:nvSpPr>
          <p:cNvPr id="43018" name="Rectangle 4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138738" y="5175250"/>
            <a:ext cx="8540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defTabSz="912813">
              <a:buSzPct val="120000"/>
            </a:pPr>
            <a:r>
              <a:rPr lang="en-US" sz="1400">
                <a:cs typeface="Arial" pitchFamily="34" charset="0"/>
              </a:rPr>
              <a:t>MM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5" name="think-cell Slide" r:id="rId10" imgW="0" imgH="0" progId="TCLayout.ActiveDocument.1">
                  <p:embed/>
                </p:oleObj>
              </mc:Choice>
              <mc:Fallback>
                <p:oleObj name="think-cell Slide" r:id="rId10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1" name="4 Marcador de número de diapositiva"/>
          <p:cNvSpPr txBox="1"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8153400" y="6648450"/>
            <a:ext cx="885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A39FB853-2A62-4233-B94C-29A5EB8E5033}" type="slidenum">
              <a:rPr lang="en-US" sz="900">
                <a:solidFill>
                  <a:srgbClr val="7F329A"/>
                </a:solidFill>
                <a:cs typeface="Arial" pitchFamily="34" charset="0"/>
              </a:rPr>
              <a:pPr algn="r" eaLnBrk="1" hangingPunct="1"/>
              <a:t>3</a:t>
            </a:fld>
            <a:endParaRPr lang="en-US" sz="900">
              <a:solidFill>
                <a:srgbClr val="7F329A"/>
              </a:solidFill>
              <a:cs typeface="Arial" pitchFamily="34" charset="0"/>
            </a:endParaRPr>
          </a:p>
        </p:txBody>
      </p:sp>
      <p:sp>
        <p:nvSpPr>
          <p:cNvPr id="7172" name="Rectangle 275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smtClean="0">
                <a:ea typeface="ＭＳ Ｐゴシック" pitchFamily="34" charset="-128"/>
                <a:cs typeface="Arial" pitchFamily="34" charset="0"/>
              </a:rPr>
              <a:t>From BPC we evolved to SME Promotion, and then to Business Accelerator</a:t>
            </a:r>
          </a:p>
        </p:txBody>
      </p:sp>
      <p:grpSp>
        <p:nvGrpSpPr>
          <p:cNvPr id="7173" name="Group 3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749300" y="2217738"/>
            <a:ext cx="7737475" cy="4384675"/>
            <a:chOff x="670" y="799"/>
            <a:chExt cx="4097" cy="2243"/>
          </a:xfrm>
        </p:grpSpPr>
        <p:sp>
          <p:nvSpPr>
            <p:cNvPr id="7176" name="Freeform 4"/>
            <p:cNvSpPr>
              <a:spLocks/>
            </p:cNvSpPr>
            <p:nvPr/>
          </p:nvSpPr>
          <p:spPr bwMode="auto">
            <a:xfrm>
              <a:off x="4210" y="2068"/>
              <a:ext cx="5" cy="1"/>
            </a:xfrm>
            <a:custGeom>
              <a:avLst/>
              <a:gdLst>
                <a:gd name="T0" fmla="*/ 1 w 9"/>
                <a:gd name="T1" fmla="*/ 0 h 3"/>
                <a:gd name="T2" fmla="*/ 0 w 9"/>
                <a:gd name="T3" fmla="*/ 0 h 3"/>
                <a:gd name="T4" fmla="*/ 1 w 9"/>
                <a:gd name="T5" fmla="*/ 0 h 3"/>
                <a:gd name="T6" fmla="*/ 1 w 9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"/>
                <a:gd name="T13" fmla="*/ 0 h 3"/>
                <a:gd name="T14" fmla="*/ 9 w 9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" h="3">
                  <a:moveTo>
                    <a:pt x="9" y="1"/>
                  </a:moveTo>
                  <a:lnTo>
                    <a:pt x="0" y="3"/>
                  </a:lnTo>
                  <a:lnTo>
                    <a:pt x="1" y="0"/>
                  </a:lnTo>
                  <a:lnTo>
                    <a:pt x="9" y="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77" name="Freeform 5"/>
            <p:cNvSpPr>
              <a:spLocks/>
            </p:cNvSpPr>
            <p:nvPr/>
          </p:nvSpPr>
          <p:spPr bwMode="auto">
            <a:xfrm>
              <a:off x="4078" y="1996"/>
              <a:ext cx="168" cy="198"/>
            </a:xfrm>
            <a:custGeom>
              <a:avLst/>
              <a:gdLst>
                <a:gd name="T0" fmla="*/ 2 w 240"/>
                <a:gd name="T1" fmla="*/ 1 h 282"/>
                <a:gd name="T2" fmla="*/ 2 w 240"/>
                <a:gd name="T3" fmla="*/ 1 h 282"/>
                <a:gd name="T4" fmla="*/ 2 w 240"/>
                <a:gd name="T5" fmla="*/ 2 h 282"/>
                <a:gd name="T6" fmla="*/ 1 w 240"/>
                <a:gd name="T7" fmla="*/ 2 h 282"/>
                <a:gd name="T8" fmla="*/ 1 w 240"/>
                <a:gd name="T9" fmla="*/ 2 h 282"/>
                <a:gd name="T10" fmla="*/ 1 w 240"/>
                <a:gd name="T11" fmla="*/ 2 h 282"/>
                <a:gd name="T12" fmla="*/ 1 w 240"/>
                <a:gd name="T13" fmla="*/ 2 h 282"/>
                <a:gd name="T14" fmla="*/ 1 w 240"/>
                <a:gd name="T15" fmla="*/ 2 h 282"/>
                <a:gd name="T16" fmla="*/ 1 w 240"/>
                <a:gd name="T17" fmla="*/ 2 h 282"/>
                <a:gd name="T18" fmla="*/ 1 w 240"/>
                <a:gd name="T19" fmla="*/ 2 h 282"/>
                <a:gd name="T20" fmla="*/ 1 w 240"/>
                <a:gd name="T21" fmla="*/ 2 h 282"/>
                <a:gd name="T22" fmla="*/ 1 w 240"/>
                <a:gd name="T23" fmla="*/ 1 h 282"/>
                <a:gd name="T24" fmla="*/ 1 w 240"/>
                <a:gd name="T25" fmla="*/ 1 h 282"/>
                <a:gd name="T26" fmla="*/ 1 w 240"/>
                <a:gd name="T27" fmla="*/ 1 h 282"/>
                <a:gd name="T28" fmla="*/ 1 w 240"/>
                <a:gd name="T29" fmla="*/ 1 h 282"/>
                <a:gd name="T30" fmla="*/ 1 w 240"/>
                <a:gd name="T31" fmla="*/ 1 h 282"/>
                <a:gd name="T32" fmla="*/ 1 w 240"/>
                <a:gd name="T33" fmla="*/ 1 h 282"/>
                <a:gd name="T34" fmla="*/ 1 w 240"/>
                <a:gd name="T35" fmla="*/ 1 h 282"/>
                <a:gd name="T36" fmla="*/ 1 w 240"/>
                <a:gd name="T37" fmla="*/ 1 h 282"/>
                <a:gd name="T38" fmla="*/ 1 w 240"/>
                <a:gd name="T39" fmla="*/ 1 h 282"/>
                <a:gd name="T40" fmla="*/ 1 w 240"/>
                <a:gd name="T41" fmla="*/ 1 h 282"/>
                <a:gd name="T42" fmla="*/ 1 w 240"/>
                <a:gd name="T43" fmla="*/ 1 h 282"/>
                <a:gd name="T44" fmla="*/ 1 w 240"/>
                <a:gd name="T45" fmla="*/ 1 h 282"/>
                <a:gd name="T46" fmla="*/ 1 w 240"/>
                <a:gd name="T47" fmla="*/ 1 h 282"/>
                <a:gd name="T48" fmla="*/ 0 w 240"/>
                <a:gd name="T49" fmla="*/ 0 h 282"/>
                <a:gd name="T50" fmla="*/ 1 w 240"/>
                <a:gd name="T51" fmla="*/ 1 h 282"/>
                <a:gd name="T52" fmla="*/ 1 w 240"/>
                <a:gd name="T53" fmla="*/ 1 h 282"/>
                <a:gd name="T54" fmla="*/ 1 w 240"/>
                <a:gd name="T55" fmla="*/ 1 h 282"/>
                <a:gd name="T56" fmla="*/ 1 w 240"/>
                <a:gd name="T57" fmla="*/ 1 h 282"/>
                <a:gd name="T58" fmla="*/ 1 w 240"/>
                <a:gd name="T59" fmla="*/ 1 h 282"/>
                <a:gd name="T60" fmla="*/ 1 w 240"/>
                <a:gd name="T61" fmla="*/ 1 h 282"/>
                <a:gd name="T62" fmla="*/ 1 w 240"/>
                <a:gd name="T63" fmla="*/ 1 h 282"/>
                <a:gd name="T64" fmla="*/ 1 w 240"/>
                <a:gd name="T65" fmla="*/ 1 h 282"/>
                <a:gd name="T66" fmla="*/ 1 w 240"/>
                <a:gd name="T67" fmla="*/ 1 h 282"/>
                <a:gd name="T68" fmla="*/ 1 w 240"/>
                <a:gd name="T69" fmla="*/ 1 h 282"/>
                <a:gd name="T70" fmla="*/ 1 w 240"/>
                <a:gd name="T71" fmla="*/ 1 h 282"/>
                <a:gd name="T72" fmla="*/ 1 w 240"/>
                <a:gd name="T73" fmla="*/ 1 h 282"/>
                <a:gd name="T74" fmla="*/ 1 w 240"/>
                <a:gd name="T75" fmla="*/ 1 h 282"/>
                <a:gd name="T76" fmla="*/ 1 w 240"/>
                <a:gd name="T77" fmla="*/ 1 h 282"/>
                <a:gd name="T78" fmla="*/ 1 w 240"/>
                <a:gd name="T79" fmla="*/ 1 h 282"/>
                <a:gd name="T80" fmla="*/ 1 w 240"/>
                <a:gd name="T81" fmla="*/ 1 h 282"/>
                <a:gd name="T82" fmla="*/ 1 w 240"/>
                <a:gd name="T83" fmla="*/ 1 h 282"/>
                <a:gd name="T84" fmla="*/ 1 w 240"/>
                <a:gd name="T85" fmla="*/ 1 h 282"/>
                <a:gd name="T86" fmla="*/ 1 w 240"/>
                <a:gd name="T87" fmla="*/ 1 h 282"/>
                <a:gd name="T88" fmla="*/ 1 w 240"/>
                <a:gd name="T89" fmla="*/ 1 h 282"/>
                <a:gd name="T90" fmla="*/ 1 w 240"/>
                <a:gd name="T91" fmla="*/ 1 h 282"/>
                <a:gd name="T92" fmla="*/ 1 w 240"/>
                <a:gd name="T93" fmla="*/ 1 h 282"/>
                <a:gd name="T94" fmla="*/ 1 w 240"/>
                <a:gd name="T95" fmla="*/ 1 h 282"/>
                <a:gd name="T96" fmla="*/ 2 w 240"/>
                <a:gd name="T97" fmla="*/ 1 h 28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40"/>
                <a:gd name="T148" fmla="*/ 0 h 282"/>
                <a:gd name="T149" fmla="*/ 240 w 240"/>
                <a:gd name="T150" fmla="*/ 282 h 28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40" h="282">
                  <a:moveTo>
                    <a:pt x="240" y="217"/>
                  </a:moveTo>
                  <a:lnTo>
                    <a:pt x="238" y="220"/>
                  </a:lnTo>
                  <a:lnTo>
                    <a:pt x="234" y="251"/>
                  </a:lnTo>
                  <a:lnTo>
                    <a:pt x="230" y="282"/>
                  </a:lnTo>
                  <a:lnTo>
                    <a:pt x="221" y="273"/>
                  </a:lnTo>
                  <a:lnTo>
                    <a:pt x="218" y="279"/>
                  </a:lnTo>
                  <a:lnTo>
                    <a:pt x="208" y="274"/>
                  </a:lnTo>
                  <a:lnTo>
                    <a:pt x="208" y="282"/>
                  </a:lnTo>
                  <a:lnTo>
                    <a:pt x="186" y="261"/>
                  </a:lnTo>
                  <a:lnTo>
                    <a:pt x="174" y="249"/>
                  </a:lnTo>
                  <a:lnTo>
                    <a:pt x="162" y="237"/>
                  </a:lnTo>
                  <a:lnTo>
                    <a:pt x="150" y="225"/>
                  </a:lnTo>
                  <a:lnTo>
                    <a:pt x="139" y="213"/>
                  </a:lnTo>
                  <a:lnTo>
                    <a:pt x="130" y="192"/>
                  </a:lnTo>
                  <a:lnTo>
                    <a:pt x="120" y="172"/>
                  </a:lnTo>
                  <a:lnTo>
                    <a:pt x="116" y="168"/>
                  </a:lnTo>
                  <a:lnTo>
                    <a:pt x="106" y="150"/>
                  </a:lnTo>
                  <a:lnTo>
                    <a:pt x="94" y="131"/>
                  </a:lnTo>
                  <a:lnTo>
                    <a:pt x="86" y="114"/>
                  </a:lnTo>
                  <a:lnTo>
                    <a:pt x="80" y="99"/>
                  </a:lnTo>
                  <a:lnTo>
                    <a:pt x="62" y="81"/>
                  </a:lnTo>
                  <a:lnTo>
                    <a:pt x="48" y="61"/>
                  </a:lnTo>
                  <a:lnTo>
                    <a:pt x="31" y="45"/>
                  </a:lnTo>
                  <a:lnTo>
                    <a:pt x="14" y="28"/>
                  </a:lnTo>
                  <a:lnTo>
                    <a:pt x="0" y="0"/>
                  </a:lnTo>
                  <a:lnTo>
                    <a:pt x="16" y="1"/>
                  </a:lnTo>
                  <a:lnTo>
                    <a:pt x="31" y="5"/>
                  </a:lnTo>
                  <a:lnTo>
                    <a:pt x="48" y="7"/>
                  </a:lnTo>
                  <a:lnTo>
                    <a:pt x="68" y="30"/>
                  </a:lnTo>
                  <a:lnTo>
                    <a:pt x="71" y="36"/>
                  </a:lnTo>
                  <a:lnTo>
                    <a:pt x="90" y="53"/>
                  </a:lnTo>
                  <a:lnTo>
                    <a:pt x="109" y="71"/>
                  </a:lnTo>
                  <a:lnTo>
                    <a:pt x="126" y="89"/>
                  </a:lnTo>
                  <a:lnTo>
                    <a:pt x="125" y="81"/>
                  </a:lnTo>
                  <a:lnTo>
                    <a:pt x="144" y="96"/>
                  </a:lnTo>
                  <a:lnTo>
                    <a:pt x="156" y="109"/>
                  </a:lnTo>
                  <a:lnTo>
                    <a:pt x="176" y="124"/>
                  </a:lnTo>
                  <a:lnTo>
                    <a:pt x="179" y="125"/>
                  </a:lnTo>
                  <a:lnTo>
                    <a:pt x="192" y="137"/>
                  </a:lnTo>
                  <a:lnTo>
                    <a:pt x="184" y="142"/>
                  </a:lnTo>
                  <a:lnTo>
                    <a:pt x="185" y="147"/>
                  </a:lnTo>
                  <a:lnTo>
                    <a:pt x="184" y="150"/>
                  </a:lnTo>
                  <a:lnTo>
                    <a:pt x="186" y="159"/>
                  </a:lnTo>
                  <a:lnTo>
                    <a:pt x="203" y="162"/>
                  </a:lnTo>
                  <a:lnTo>
                    <a:pt x="206" y="181"/>
                  </a:lnTo>
                  <a:lnTo>
                    <a:pt x="211" y="186"/>
                  </a:lnTo>
                  <a:lnTo>
                    <a:pt x="211" y="197"/>
                  </a:lnTo>
                  <a:lnTo>
                    <a:pt x="229" y="197"/>
                  </a:lnTo>
                  <a:lnTo>
                    <a:pt x="240" y="21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78" name="Freeform 6"/>
            <p:cNvSpPr>
              <a:spLocks/>
            </p:cNvSpPr>
            <p:nvPr/>
          </p:nvSpPr>
          <p:spPr bwMode="auto">
            <a:xfrm>
              <a:off x="4232" y="2196"/>
              <a:ext cx="141" cy="49"/>
            </a:xfrm>
            <a:custGeom>
              <a:avLst/>
              <a:gdLst>
                <a:gd name="T0" fmla="*/ 1 w 200"/>
                <a:gd name="T1" fmla="*/ 1 h 68"/>
                <a:gd name="T2" fmla="*/ 1 w 200"/>
                <a:gd name="T3" fmla="*/ 1 h 68"/>
                <a:gd name="T4" fmla="*/ 1 w 200"/>
                <a:gd name="T5" fmla="*/ 1 h 68"/>
                <a:gd name="T6" fmla="*/ 1 w 200"/>
                <a:gd name="T7" fmla="*/ 1 h 68"/>
                <a:gd name="T8" fmla="*/ 1 w 200"/>
                <a:gd name="T9" fmla="*/ 1 h 68"/>
                <a:gd name="T10" fmla="*/ 1 w 200"/>
                <a:gd name="T11" fmla="*/ 1 h 68"/>
                <a:gd name="T12" fmla="*/ 1 w 200"/>
                <a:gd name="T13" fmla="*/ 1 h 68"/>
                <a:gd name="T14" fmla="*/ 1 w 200"/>
                <a:gd name="T15" fmla="*/ 1 h 68"/>
                <a:gd name="T16" fmla="*/ 1 w 200"/>
                <a:gd name="T17" fmla="*/ 1 h 68"/>
                <a:gd name="T18" fmla="*/ 1 w 200"/>
                <a:gd name="T19" fmla="*/ 1 h 68"/>
                <a:gd name="T20" fmla="*/ 1 w 200"/>
                <a:gd name="T21" fmla="*/ 1 h 68"/>
                <a:gd name="T22" fmla="*/ 1 w 200"/>
                <a:gd name="T23" fmla="*/ 1 h 68"/>
                <a:gd name="T24" fmla="*/ 1 w 200"/>
                <a:gd name="T25" fmla="*/ 0 h 68"/>
                <a:gd name="T26" fmla="*/ 1 w 200"/>
                <a:gd name="T27" fmla="*/ 0 h 68"/>
                <a:gd name="T28" fmla="*/ 1 w 200"/>
                <a:gd name="T29" fmla="*/ 1 h 68"/>
                <a:gd name="T30" fmla="*/ 0 w 200"/>
                <a:gd name="T31" fmla="*/ 1 h 68"/>
                <a:gd name="T32" fmla="*/ 1 w 200"/>
                <a:gd name="T33" fmla="*/ 1 h 68"/>
                <a:gd name="T34" fmla="*/ 1 w 200"/>
                <a:gd name="T35" fmla="*/ 1 h 68"/>
                <a:gd name="T36" fmla="*/ 1 w 200"/>
                <a:gd name="T37" fmla="*/ 1 h 68"/>
                <a:gd name="T38" fmla="*/ 1 w 200"/>
                <a:gd name="T39" fmla="*/ 1 h 68"/>
                <a:gd name="T40" fmla="*/ 1 w 200"/>
                <a:gd name="T41" fmla="*/ 1 h 68"/>
                <a:gd name="T42" fmla="*/ 1 w 200"/>
                <a:gd name="T43" fmla="*/ 1 h 68"/>
                <a:gd name="T44" fmla="*/ 1 w 200"/>
                <a:gd name="T45" fmla="*/ 1 h 68"/>
                <a:gd name="T46" fmla="*/ 1 w 200"/>
                <a:gd name="T47" fmla="*/ 1 h 68"/>
                <a:gd name="T48" fmla="*/ 1 w 200"/>
                <a:gd name="T49" fmla="*/ 1 h 68"/>
                <a:gd name="T50" fmla="*/ 1 w 200"/>
                <a:gd name="T51" fmla="*/ 1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00"/>
                <a:gd name="T79" fmla="*/ 0 h 68"/>
                <a:gd name="T80" fmla="*/ 200 w 200"/>
                <a:gd name="T81" fmla="*/ 68 h 6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00" h="68">
                  <a:moveTo>
                    <a:pt x="200" y="68"/>
                  </a:moveTo>
                  <a:lnTo>
                    <a:pt x="198" y="65"/>
                  </a:lnTo>
                  <a:lnTo>
                    <a:pt x="198" y="45"/>
                  </a:lnTo>
                  <a:lnTo>
                    <a:pt x="182" y="43"/>
                  </a:lnTo>
                  <a:lnTo>
                    <a:pt x="165" y="41"/>
                  </a:lnTo>
                  <a:lnTo>
                    <a:pt x="159" y="26"/>
                  </a:lnTo>
                  <a:lnTo>
                    <a:pt x="133" y="18"/>
                  </a:lnTo>
                  <a:lnTo>
                    <a:pt x="123" y="11"/>
                  </a:lnTo>
                  <a:lnTo>
                    <a:pt x="114" y="21"/>
                  </a:lnTo>
                  <a:lnTo>
                    <a:pt x="97" y="21"/>
                  </a:lnTo>
                  <a:lnTo>
                    <a:pt x="79" y="21"/>
                  </a:lnTo>
                  <a:lnTo>
                    <a:pt x="70" y="12"/>
                  </a:lnTo>
                  <a:lnTo>
                    <a:pt x="45" y="0"/>
                  </a:lnTo>
                  <a:lnTo>
                    <a:pt x="18" y="0"/>
                  </a:lnTo>
                  <a:lnTo>
                    <a:pt x="7" y="15"/>
                  </a:lnTo>
                  <a:lnTo>
                    <a:pt x="0" y="18"/>
                  </a:lnTo>
                  <a:lnTo>
                    <a:pt x="22" y="25"/>
                  </a:lnTo>
                  <a:lnTo>
                    <a:pt x="22" y="31"/>
                  </a:lnTo>
                  <a:lnTo>
                    <a:pt x="45" y="37"/>
                  </a:lnTo>
                  <a:lnTo>
                    <a:pt x="68" y="43"/>
                  </a:lnTo>
                  <a:lnTo>
                    <a:pt x="87" y="47"/>
                  </a:lnTo>
                  <a:lnTo>
                    <a:pt x="108" y="51"/>
                  </a:lnTo>
                  <a:lnTo>
                    <a:pt x="136" y="55"/>
                  </a:lnTo>
                  <a:lnTo>
                    <a:pt x="164" y="57"/>
                  </a:lnTo>
                  <a:lnTo>
                    <a:pt x="182" y="63"/>
                  </a:lnTo>
                  <a:lnTo>
                    <a:pt x="200" y="6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79" name="Freeform 7"/>
            <p:cNvSpPr>
              <a:spLocks/>
            </p:cNvSpPr>
            <p:nvPr/>
          </p:nvSpPr>
          <p:spPr bwMode="auto">
            <a:xfrm>
              <a:off x="4232" y="2118"/>
              <a:ext cx="26" cy="27"/>
            </a:xfrm>
            <a:custGeom>
              <a:avLst/>
              <a:gdLst>
                <a:gd name="T0" fmla="*/ 1 w 36"/>
                <a:gd name="T1" fmla="*/ 1 h 38"/>
                <a:gd name="T2" fmla="*/ 1 w 36"/>
                <a:gd name="T3" fmla="*/ 1 h 38"/>
                <a:gd name="T4" fmla="*/ 1 w 36"/>
                <a:gd name="T5" fmla="*/ 1 h 38"/>
                <a:gd name="T6" fmla="*/ 1 w 36"/>
                <a:gd name="T7" fmla="*/ 1 h 38"/>
                <a:gd name="T8" fmla="*/ 0 w 36"/>
                <a:gd name="T9" fmla="*/ 1 h 38"/>
                <a:gd name="T10" fmla="*/ 1 w 36"/>
                <a:gd name="T11" fmla="*/ 1 h 38"/>
                <a:gd name="T12" fmla="*/ 1 w 36"/>
                <a:gd name="T13" fmla="*/ 0 h 38"/>
                <a:gd name="T14" fmla="*/ 1 w 36"/>
                <a:gd name="T15" fmla="*/ 1 h 38"/>
                <a:gd name="T16" fmla="*/ 1 w 36"/>
                <a:gd name="T17" fmla="*/ 1 h 3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6"/>
                <a:gd name="T28" fmla="*/ 0 h 38"/>
                <a:gd name="T29" fmla="*/ 36 w 36"/>
                <a:gd name="T30" fmla="*/ 38 h 3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6" h="38">
                  <a:moveTo>
                    <a:pt x="36" y="26"/>
                  </a:moveTo>
                  <a:lnTo>
                    <a:pt x="33" y="38"/>
                  </a:lnTo>
                  <a:lnTo>
                    <a:pt x="15" y="27"/>
                  </a:lnTo>
                  <a:lnTo>
                    <a:pt x="8" y="14"/>
                  </a:lnTo>
                  <a:lnTo>
                    <a:pt x="0" y="10"/>
                  </a:lnTo>
                  <a:lnTo>
                    <a:pt x="11" y="3"/>
                  </a:lnTo>
                  <a:lnTo>
                    <a:pt x="14" y="0"/>
                  </a:lnTo>
                  <a:lnTo>
                    <a:pt x="23" y="21"/>
                  </a:lnTo>
                  <a:lnTo>
                    <a:pt x="36" y="26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80" name="Freeform 8"/>
            <p:cNvSpPr>
              <a:spLocks/>
            </p:cNvSpPr>
            <p:nvPr/>
          </p:nvSpPr>
          <p:spPr bwMode="auto">
            <a:xfrm>
              <a:off x="4152" y="1976"/>
              <a:ext cx="68" cy="92"/>
            </a:xfrm>
            <a:custGeom>
              <a:avLst/>
              <a:gdLst>
                <a:gd name="T0" fmla="*/ 1 w 95"/>
                <a:gd name="T1" fmla="*/ 1 h 128"/>
                <a:gd name="T2" fmla="*/ 1 w 95"/>
                <a:gd name="T3" fmla="*/ 1 h 128"/>
                <a:gd name="T4" fmla="*/ 1 w 95"/>
                <a:gd name="T5" fmla="*/ 1 h 128"/>
                <a:gd name="T6" fmla="*/ 1 w 95"/>
                <a:gd name="T7" fmla="*/ 1 h 128"/>
                <a:gd name="T8" fmla="*/ 1 w 95"/>
                <a:gd name="T9" fmla="*/ 1 h 128"/>
                <a:gd name="T10" fmla="*/ 0 w 95"/>
                <a:gd name="T11" fmla="*/ 1 h 128"/>
                <a:gd name="T12" fmla="*/ 1 w 95"/>
                <a:gd name="T13" fmla="*/ 0 h 128"/>
                <a:gd name="T14" fmla="*/ 1 w 95"/>
                <a:gd name="T15" fmla="*/ 1 h 128"/>
                <a:gd name="T16" fmla="*/ 1 w 95"/>
                <a:gd name="T17" fmla="*/ 1 h 128"/>
                <a:gd name="T18" fmla="*/ 1 w 95"/>
                <a:gd name="T19" fmla="*/ 1 h 128"/>
                <a:gd name="T20" fmla="*/ 1 w 95"/>
                <a:gd name="T21" fmla="*/ 1 h 128"/>
                <a:gd name="T22" fmla="*/ 1 w 95"/>
                <a:gd name="T23" fmla="*/ 1 h 128"/>
                <a:gd name="T24" fmla="*/ 1 w 95"/>
                <a:gd name="T25" fmla="*/ 1 h 128"/>
                <a:gd name="T26" fmla="*/ 1 w 95"/>
                <a:gd name="T27" fmla="*/ 1 h 128"/>
                <a:gd name="T28" fmla="*/ 1 w 95"/>
                <a:gd name="T29" fmla="*/ 1 h 128"/>
                <a:gd name="T30" fmla="*/ 1 w 95"/>
                <a:gd name="T31" fmla="*/ 1 h 128"/>
                <a:gd name="T32" fmla="*/ 1 w 95"/>
                <a:gd name="T33" fmla="*/ 1 h 128"/>
                <a:gd name="T34" fmla="*/ 1 w 95"/>
                <a:gd name="T35" fmla="*/ 1 h 128"/>
                <a:gd name="T36" fmla="*/ 1 w 95"/>
                <a:gd name="T37" fmla="*/ 1 h 12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95"/>
                <a:gd name="T58" fmla="*/ 0 h 128"/>
                <a:gd name="T59" fmla="*/ 95 w 95"/>
                <a:gd name="T60" fmla="*/ 128 h 12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95" h="128">
                  <a:moveTo>
                    <a:pt x="80" y="128"/>
                  </a:moveTo>
                  <a:lnTo>
                    <a:pt x="54" y="110"/>
                  </a:lnTo>
                  <a:lnTo>
                    <a:pt x="29" y="91"/>
                  </a:lnTo>
                  <a:lnTo>
                    <a:pt x="17" y="63"/>
                  </a:lnTo>
                  <a:lnTo>
                    <a:pt x="8" y="33"/>
                  </a:lnTo>
                  <a:lnTo>
                    <a:pt x="0" y="3"/>
                  </a:lnTo>
                  <a:lnTo>
                    <a:pt x="1" y="0"/>
                  </a:lnTo>
                  <a:lnTo>
                    <a:pt x="18" y="8"/>
                  </a:lnTo>
                  <a:lnTo>
                    <a:pt x="19" y="19"/>
                  </a:lnTo>
                  <a:lnTo>
                    <a:pt x="33" y="19"/>
                  </a:lnTo>
                  <a:lnTo>
                    <a:pt x="43" y="8"/>
                  </a:lnTo>
                  <a:lnTo>
                    <a:pt x="56" y="23"/>
                  </a:lnTo>
                  <a:lnTo>
                    <a:pt x="71" y="37"/>
                  </a:lnTo>
                  <a:lnTo>
                    <a:pt x="73" y="61"/>
                  </a:lnTo>
                  <a:lnTo>
                    <a:pt x="75" y="84"/>
                  </a:lnTo>
                  <a:lnTo>
                    <a:pt x="85" y="105"/>
                  </a:lnTo>
                  <a:lnTo>
                    <a:pt x="95" y="127"/>
                  </a:lnTo>
                  <a:lnTo>
                    <a:pt x="87" y="123"/>
                  </a:lnTo>
                  <a:lnTo>
                    <a:pt x="80" y="12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81" name="Freeform 9"/>
            <p:cNvSpPr>
              <a:spLocks/>
            </p:cNvSpPr>
            <p:nvPr/>
          </p:nvSpPr>
          <p:spPr bwMode="auto">
            <a:xfrm>
              <a:off x="3933" y="1629"/>
              <a:ext cx="77" cy="98"/>
            </a:xfrm>
            <a:custGeom>
              <a:avLst/>
              <a:gdLst>
                <a:gd name="T0" fmla="*/ 1 w 109"/>
                <a:gd name="T1" fmla="*/ 1 h 141"/>
                <a:gd name="T2" fmla="*/ 1 w 109"/>
                <a:gd name="T3" fmla="*/ 1 h 141"/>
                <a:gd name="T4" fmla="*/ 1 w 109"/>
                <a:gd name="T5" fmla="*/ 1 h 141"/>
                <a:gd name="T6" fmla="*/ 1 w 109"/>
                <a:gd name="T7" fmla="*/ 1 h 141"/>
                <a:gd name="T8" fmla="*/ 1 w 109"/>
                <a:gd name="T9" fmla="*/ 1 h 141"/>
                <a:gd name="T10" fmla="*/ 1 w 109"/>
                <a:gd name="T11" fmla="*/ 1 h 141"/>
                <a:gd name="T12" fmla="*/ 1 w 109"/>
                <a:gd name="T13" fmla="*/ 1 h 141"/>
                <a:gd name="T14" fmla="*/ 1 w 109"/>
                <a:gd name="T15" fmla="*/ 1 h 141"/>
                <a:gd name="T16" fmla="*/ 1 w 109"/>
                <a:gd name="T17" fmla="*/ 1 h 141"/>
                <a:gd name="T18" fmla="*/ 1 w 109"/>
                <a:gd name="T19" fmla="*/ 1 h 141"/>
                <a:gd name="T20" fmla="*/ 0 w 109"/>
                <a:gd name="T21" fmla="*/ 1 h 141"/>
                <a:gd name="T22" fmla="*/ 0 w 109"/>
                <a:gd name="T23" fmla="*/ 0 h 141"/>
                <a:gd name="T24" fmla="*/ 1 w 109"/>
                <a:gd name="T25" fmla="*/ 1 h 141"/>
                <a:gd name="T26" fmla="*/ 1 w 109"/>
                <a:gd name="T27" fmla="*/ 1 h 141"/>
                <a:gd name="T28" fmla="*/ 1 w 109"/>
                <a:gd name="T29" fmla="*/ 1 h 141"/>
                <a:gd name="T30" fmla="*/ 1 w 109"/>
                <a:gd name="T31" fmla="*/ 1 h 141"/>
                <a:gd name="T32" fmla="*/ 1 w 109"/>
                <a:gd name="T33" fmla="*/ 1 h 141"/>
                <a:gd name="T34" fmla="*/ 1 w 109"/>
                <a:gd name="T35" fmla="*/ 1 h 141"/>
                <a:gd name="T36" fmla="*/ 1 w 109"/>
                <a:gd name="T37" fmla="*/ 1 h 141"/>
                <a:gd name="T38" fmla="*/ 1 w 109"/>
                <a:gd name="T39" fmla="*/ 1 h 141"/>
                <a:gd name="T40" fmla="*/ 1 w 109"/>
                <a:gd name="T41" fmla="*/ 1 h 141"/>
                <a:gd name="T42" fmla="*/ 1 w 109"/>
                <a:gd name="T43" fmla="*/ 1 h 141"/>
                <a:gd name="T44" fmla="*/ 1 w 109"/>
                <a:gd name="T45" fmla="*/ 1 h 141"/>
                <a:gd name="T46" fmla="*/ 1 w 109"/>
                <a:gd name="T47" fmla="*/ 1 h 141"/>
                <a:gd name="T48" fmla="*/ 1 w 109"/>
                <a:gd name="T49" fmla="*/ 1 h 141"/>
                <a:gd name="T50" fmla="*/ 1 w 109"/>
                <a:gd name="T51" fmla="*/ 1 h 141"/>
                <a:gd name="T52" fmla="*/ 1 w 109"/>
                <a:gd name="T53" fmla="*/ 1 h 141"/>
                <a:gd name="T54" fmla="*/ 1 w 109"/>
                <a:gd name="T55" fmla="*/ 1 h 141"/>
                <a:gd name="T56" fmla="*/ 1 w 109"/>
                <a:gd name="T57" fmla="*/ 1 h 141"/>
                <a:gd name="T58" fmla="*/ 1 w 109"/>
                <a:gd name="T59" fmla="*/ 1 h 141"/>
                <a:gd name="T60" fmla="*/ 1 w 109"/>
                <a:gd name="T61" fmla="*/ 1 h 141"/>
                <a:gd name="T62" fmla="*/ 1 w 109"/>
                <a:gd name="T63" fmla="*/ 1 h 141"/>
                <a:gd name="T64" fmla="*/ 1 w 109"/>
                <a:gd name="T65" fmla="*/ 1 h 141"/>
                <a:gd name="T66" fmla="*/ 1 w 109"/>
                <a:gd name="T67" fmla="*/ 1 h 141"/>
                <a:gd name="T68" fmla="*/ 1 w 109"/>
                <a:gd name="T69" fmla="*/ 1 h 141"/>
                <a:gd name="T70" fmla="*/ 1 w 109"/>
                <a:gd name="T71" fmla="*/ 1 h 141"/>
                <a:gd name="T72" fmla="*/ 1 w 109"/>
                <a:gd name="T73" fmla="*/ 1 h 141"/>
                <a:gd name="T74" fmla="*/ 1 w 109"/>
                <a:gd name="T75" fmla="*/ 1 h 141"/>
                <a:gd name="T76" fmla="*/ 1 w 109"/>
                <a:gd name="T77" fmla="*/ 1 h 141"/>
                <a:gd name="T78" fmla="*/ 1 w 109"/>
                <a:gd name="T79" fmla="*/ 1 h 141"/>
                <a:gd name="T80" fmla="*/ 1 w 109"/>
                <a:gd name="T81" fmla="*/ 1 h 141"/>
                <a:gd name="T82" fmla="*/ 1 w 109"/>
                <a:gd name="T83" fmla="*/ 1 h 141"/>
                <a:gd name="T84" fmla="*/ 1 w 109"/>
                <a:gd name="T85" fmla="*/ 1 h 14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09"/>
                <a:gd name="T130" fmla="*/ 0 h 141"/>
                <a:gd name="T131" fmla="*/ 109 w 109"/>
                <a:gd name="T132" fmla="*/ 141 h 14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09" h="141">
                  <a:moveTo>
                    <a:pt x="39" y="117"/>
                  </a:moveTo>
                  <a:lnTo>
                    <a:pt x="38" y="119"/>
                  </a:lnTo>
                  <a:lnTo>
                    <a:pt x="32" y="113"/>
                  </a:lnTo>
                  <a:lnTo>
                    <a:pt x="32" y="114"/>
                  </a:lnTo>
                  <a:lnTo>
                    <a:pt x="26" y="95"/>
                  </a:lnTo>
                  <a:lnTo>
                    <a:pt x="20" y="77"/>
                  </a:lnTo>
                  <a:lnTo>
                    <a:pt x="18" y="63"/>
                  </a:lnTo>
                  <a:lnTo>
                    <a:pt x="2" y="48"/>
                  </a:lnTo>
                  <a:lnTo>
                    <a:pt x="7" y="39"/>
                  </a:lnTo>
                  <a:lnTo>
                    <a:pt x="16" y="34"/>
                  </a:lnTo>
                  <a:lnTo>
                    <a:pt x="0" y="18"/>
                  </a:lnTo>
                  <a:lnTo>
                    <a:pt x="0" y="0"/>
                  </a:lnTo>
                  <a:lnTo>
                    <a:pt x="14" y="6"/>
                  </a:lnTo>
                  <a:lnTo>
                    <a:pt x="21" y="13"/>
                  </a:lnTo>
                  <a:lnTo>
                    <a:pt x="26" y="9"/>
                  </a:lnTo>
                  <a:lnTo>
                    <a:pt x="34" y="29"/>
                  </a:lnTo>
                  <a:lnTo>
                    <a:pt x="58" y="31"/>
                  </a:lnTo>
                  <a:lnTo>
                    <a:pt x="81" y="34"/>
                  </a:lnTo>
                  <a:lnTo>
                    <a:pt x="92" y="42"/>
                  </a:lnTo>
                  <a:lnTo>
                    <a:pt x="88" y="53"/>
                  </a:lnTo>
                  <a:lnTo>
                    <a:pt x="73" y="64"/>
                  </a:lnTo>
                  <a:lnTo>
                    <a:pt x="76" y="83"/>
                  </a:lnTo>
                  <a:lnTo>
                    <a:pt x="81" y="88"/>
                  </a:lnTo>
                  <a:lnTo>
                    <a:pt x="91" y="70"/>
                  </a:lnTo>
                  <a:lnTo>
                    <a:pt x="99" y="91"/>
                  </a:lnTo>
                  <a:lnTo>
                    <a:pt x="108" y="113"/>
                  </a:lnTo>
                  <a:lnTo>
                    <a:pt x="109" y="129"/>
                  </a:lnTo>
                  <a:lnTo>
                    <a:pt x="102" y="133"/>
                  </a:lnTo>
                  <a:lnTo>
                    <a:pt x="105" y="141"/>
                  </a:lnTo>
                  <a:lnTo>
                    <a:pt x="92" y="117"/>
                  </a:lnTo>
                  <a:lnTo>
                    <a:pt x="80" y="94"/>
                  </a:lnTo>
                  <a:lnTo>
                    <a:pt x="67" y="91"/>
                  </a:lnTo>
                  <a:lnTo>
                    <a:pt x="58" y="77"/>
                  </a:lnTo>
                  <a:lnTo>
                    <a:pt x="38" y="64"/>
                  </a:lnTo>
                  <a:lnTo>
                    <a:pt x="31" y="65"/>
                  </a:lnTo>
                  <a:lnTo>
                    <a:pt x="54" y="78"/>
                  </a:lnTo>
                  <a:lnTo>
                    <a:pt x="61" y="93"/>
                  </a:lnTo>
                  <a:lnTo>
                    <a:pt x="62" y="100"/>
                  </a:lnTo>
                  <a:lnTo>
                    <a:pt x="57" y="118"/>
                  </a:lnTo>
                  <a:lnTo>
                    <a:pt x="54" y="112"/>
                  </a:lnTo>
                  <a:lnTo>
                    <a:pt x="49" y="112"/>
                  </a:lnTo>
                  <a:lnTo>
                    <a:pt x="44" y="117"/>
                  </a:lnTo>
                  <a:lnTo>
                    <a:pt x="39" y="11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82" name="Freeform 10"/>
            <p:cNvSpPr>
              <a:spLocks/>
            </p:cNvSpPr>
            <p:nvPr/>
          </p:nvSpPr>
          <p:spPr bwMode="auto">
            <a:xfrm>
              <a:off x="3937" y="1599"/>
              <a:ext cx="49" cy="24"/>
            </a:xfrm>
            <a:custGeom>
              <a:avLst/>
              <a:gdLst>
                <a:gd name="T0" fmla="*/ 1 w 69"/>
                <a:gd name="T1" fmla="*/ 1 h 34"/>
                <a:gd name="T2" fmla="*/ 1 w 69"/>
                <a:gd name="T3" fmla="*/ 0 h 34"/>
                <a:gd name="T4" fmla="*/ 0 w 69"/>
                <a:gd name="T5" fmla="*/ 1 h 34"/>
                <a:gd name="T6" fmla="*/ 1 w 69"/>
                <a:gd name="T7" fmla="*/ 1 h 34"/>
                <a:gd name="T8" fmla="*/ 1 w 69"/>
                <a:gd name="T9" fmla="*/ 1 h 34"/>
                <a:gd name="T10" fmla="*/ 1 w 69"/>
                <a:gd name="T11" fmla="*/ 1 h 34"/>
                <a:gd name="T12" fmla="*/ 1 w 69"/>
                <a:gd name="T13" fmla="*/ 1 h 34"/>
                <a:gd name="T14" fmla="*/ 1 w 69"/>
                <a:gd name="T15" fmla="*/ 1 h 34"/>
                <a:gd name="T16" fmla="*/ 1 w 69"/>
                <a:gd name="T17" fmla="*/ 1 h 34"/>
                <a:gd name="T18" fmla="*/ 1 w 69"/>
                <a:gd name="T19" fmla="*/ 1 h 3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9"/>
                <a:gd name="T31" fmla="*/ 0 h 34"/>
                <a:gd name="T32" fmla="*/ 69 w 69"/>
                <a:gd name="T33" fmla="*/ 34 h 3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9" h="34">
                  <a:moveTo>
                    <a:pt x="45" y="3"/>
                  </a:moveTo>
                  <a:lnTo>
                    <a:pt x="14" y="0"/>
                  </a:lnTo>
                  <a:lnTo>
                    <a:pt x="0" y="22"/>
                  </a:lnTo>
                  <a:lnTo>
                    <a:pt x="3" y="32"/>
                  </a:lnTo>
                  <a:lnTo>
                    <a:pt x="30" y="34"/>
                  </a:lnTo>
                  <a:lnTo>
                    <a:pt x="50" y="33"/>
                  </a:lnTo>
                  <a:lnTo>
                    <a:pt x="69" y="32"/>
                  </a:lnTo>
                  <a:lnTo>
                    <a:pt x="62" y="18"/>
                  </a:lnTo>
                  <a:lnTo>
                    <a:pt x="56" y="11"/>
                  </a:lnTo>
                  <a:lnTo>
                    <a:pt x="45" y="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83" name="Freeform 11"/>
            <p:cNvSpPr>
              <a:spLocks/>
            </p:cNvSpPr>
            <p:nvPr/>
          </p:nvSpPr>
          <p:spPr bwMode="auto">
            <a:xfrm>
              <a:off x="4177" y="1836"/>
              <a:ext cx="79" cy="74"/>
            </a:xfrm>
            <a:custGeom>
              <a:avLst/>
              <a:gdLst>
                <a:gd name="T0" fmla="*/ 1 w 112"/>
                <a:gd name="T1" fmla="*/ 1 h 107"/>
                <a:gd name="T2" fmla="*/ 1 w 112"/>
                <a:gd name="T3" fmla="*/ 1 h 107"/>
                <a:gd name="T4" fmla="*/ 1 w 112"/>
                <a:gd name="T5" fmla="*/ 1 h 107"/>
                <a:gd name="T6" fmla="*/ 1 w 112"/>
                <a:gd name="T7" fmla="*/ 1 h 107"/>
                <a:gd name="T8" fmla="*/ 1 w 112"/>
                <a:gd name="T9" fmla="*/ 1 h 107"/>
                <a:gd name="T10" fmla="*/ 1 w 112"/>
                <a:gd name="T11" fmla="*/ 1 h 107"/>
                <a:gd name="T12" fmla="*/ 1 w 112"/>
                <a:gd name="T13" fmla="*/ 1 h 107"/>
                <a:gd name="T14" fmla="*/ 1 w 112"/>
                <a:gd name="T15" fmla="*/ 1 h 107"/>
                <a:gd name="T16" fmla="*/ 1 w 112"/>
                <a:gd name="T17" fmla="*/ 1 h 107"/>
                <a:gd name="T18" fmla="*/ 1 w 112"/>
                <a:gd name="T19" fmla="*/ 1 h 107"/>
                <a:gd name="T20" fmla="*/ 1 w 112"/>
                <a:gd name="T21" fmla="*/ 1 h 107"/>
                <a:gd name="T22" fmla="*/ 1 w 112"/>
                <a:gd name="T23" fmla="*/ 1 h 107"/>
                <a:gd name="T24" fmla="*/ 0 w 112"/>
                <a:gd name="T25" fmla="*/ 1 h 107"/>
                <a:gd name="T26" fmla="*/ 1 w 112"/>
                <a:gd name="T27" fmla="*/ 1 h 107"/>
                <a:gd name="T28" fmla="*/ 1 w 112"/>
                <a:gd name="T29" fmla="*/ 1 h 107"/>
                <a:gd name="T30" fmla="*/ 1 w 112"/>
                <a:gd name="T31" fmla="*/ 1 h 107"/>
                <a:gd name="T32" fmla="*/ 1 w 112"/>
                <a:gd name="T33" fmla="*/ 1 h 107"/>
                <a:gd name="T34" fmla="*/ 1 w 112"/>
                <a:gd name="T35" fmla="*/ 1 h 107"/>
                <a:gd name="T36" fmla="*/ 1 w 112"/>
                <a:gd name="T37" fmla="*/ 1 h 107"/>
                <a:gd name="T38" fmla="*/ 1 w 112"/>
                <a:gd name="T39" fmla="*/ 1 h 107"/>
                <a:gd name="T40" fmla="*/ 1 w 112"/>
                <a:gd name="T41" fmla="*/ 0 h 107"/>
                <a:gd name="T42" fmla="*/ 1 w 112"/>
                <a:gd name="T43" fmla="*/ 1 h 107"/>
                <a:gd name="T44" fmla="*/ 1 w 112"/>
                <a:gd name="T45" fmla="*/ 1 h 107"/>
                <a:gd name="T46" fmla="*/ 1 w 112"/>
                <a:gd name="T47" fmla="*/ 1 h 107"/>
                <a:gd name="T48" fmla="*/ 1 w 112"/>
                <a:gd name="T49" fmla="*/ 1 h 107"/>
                <a:gd name="T50" fmla="*/ 1 w 112"/>
                <a:gd name="T51" fmla="*/ 1 h 10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12"/>
                <a:gd name="T79" fmla="*/ 0 h 107"/>
                <a:gd name="T80" fmla="*/ 112 w 112"/>
                <a:gd name="T81" fmla="*/ 107 h 107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12" h="107">
                  <a:moveTo>
                    <a:pt x="81" y="78"/>
                  </a:moveTo>
                  <a:lnTo>
                    <a:pt x="87" y="97"/>
                  </a:lnTo>
                  <a:lnTo>
                    <a:pt x="72" y="95"/>
                  </a:lnTo>
                  <a:lnTo>
                    <a:pt x="66" y="97"/>
                  </a:lnTo>
                  <a:lnTo>
                    <a:pt x="52" y="107"/>
                  </a:lnTo>
                  <a:lnTo>
                    <a:pt x="39" y="103"/>
                  </a:lnTo>
                  <a:lnTo>
                    <a:pt x="32" y="99"/>
                  </a:lnTo>
                  <a:lnTo>
                    <a:pt x="30" y="89"/>
                  </a:lnTo>
                  <a:lnTo>
                    <a:pt x="22" y="95"/>
                  </a:lnTo>
                  <a:lnTo>
                    <a:pt x="18" y="78"/>
                  </a:lnTo>
                  <a:lnTo>
                    <a:pt x="16" y="76"/>
                  </a:lnTo>
                  <a:lnTo>
                    <a:pt x="8" y="55"/>
                  </a:lnTo>
                  <a:lnTo>
                    <a:pt x="0" y="35"/>
                  </a:lnTo>
                  <a:lnTo>
                    <a:pt x="14" y="10"/>
                  </a:lnTo>
                  <a:lnTo>
                    <a:pt x="37" y="10"/>
                  </a:lnTo>
                  <a:lnTo>
                    <a:pt x="60" y="9"/>
                  </a:lnTo>
                  <a:lnTo>
                    <a:pt x="78" y="19"/>
                  </a:lnTo>
                  <a:lnTo>
                    <a:pt x="78" y="12"/>
                  </a:lnTo>
                  <a:lnTo>
                    <a:pt x="86" y="5"/>
                  </a:lnTo>
                  <a:lnTo>
                    <a:pt x="94" y="9"/>
                  </a:lnTo>
                  <a:lnTo>
                    <a:pt x="109" y="0"/>
                  </a:lnTo>
                  <a:lnTo>
                    <a:pt x="110" y="23"/>
                  </a:lnTo>
                  <a:lnTo>
                    <a:pt x="111" y="42"/>
                  </a:lnTo>
                  <a:lnTo>
                    <a:pt x="112" y="61"/>
                  </a:lnTo>
                  <a:lnTo>
                    <a:pt x="93" y="72"/>
                  </a:lnTo>
                  <a:lnTo>
                    <a:pt x="81" y="7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84" name="Freeform 12"/>
            <p:cNvSpPr>
              <a:spLocks/>
            </p:cNvSpPr>
            <p:nvPr/>
          </p:nvSpPr>
          <p:spPr bwMode="auto">
            <a:xfrm>
              <a:off x="4127" y="1701"/>
              <a:ext cx="126" cy="147"/>
            </a:xfrm>
            <a:custGeom>
              <a:avLst/>
              <a:gdLst>
                <a:gd name="T0" fmla="*/ 1 w 181"/>
                <a:gd name="T1" fmla="*/ 1 h 210"/>
                <a:gd name="T2" fmla="*/ 1 w 181"/>
                <a:gd name="T3" fmla="*/ 1 h 210"/>
                <a:gd name="T4" fmla="*/ 1 w 181"/>
                <a:gd name="T5" fmla="*/ 1 h 210"/>
                <a:gd name="T6" fmla="*/ 1 w 181"/>
                <a:gd name="T7" fmla="*/ 1 h 210"/>
                <a:gd name="T8" fmla="*/ 1 w 181"/>
                <a:gd name="T9" fmla="*/ 1 h 210"/>
                <a:gd name="T10" fmla="*/ 1 w 181"/>
                <a:gd name="T11" fmla="*/ 1 h 210"/>
                <a:gd name="T12" fmla="*/ 1 w 181"/>
                <a:gd name="T13" fmla="*/ 0 h 210"/>
                <a:gd name="T14" fmla="*/ 1 w 181"/>
                <a:gd name="T15" fmla="*/ 0 h 210"/>
                <a:gd name="T16" fmla="*/ 1 w 181"/>
                <a:gd name="T17" fmla="*/ 1 h 210"/>
                <a:gd name="T18" fmla="*/ 1 w 181"/>
                <a:gd name="T19" fmla="*/ 1 h 210"/>
                <a:gd name="T20" fmla="*/ 1 w 181"/>
                <a:gd name="T21" fmla="*/ 1 h 210"/>
                <a:gd name="T22" fmla="*/ 1 w 181"/>
                <a:gd name="T23" fmla="*/ 1 h 210"/>
                <a:gd name="T24" fmla="*/ 0 w 181"/>
                <a:gd name="T25" fmla="*/ 1 h 210"/>
                <a:gd name="T26" fmla="*/ 1 w 181"/>
                <a:gd name="T27" fmla="*/ 1 h 210"/>
                <a:gd name="T28" fmla="*/ 1 w 181"/>
                <a:gd name="T29" fmla="*/ 1 h 210"/>
                <a:gd name="T30" fmla="*/ 1 w 181"/>
                <a:gd name="T31" fmla="*/ 1 h 210"/>
                <a:gd name="T32" fmla="*/ 1 w 181"/>
                <a:gd name="T33" fmla="*/ 1 h 210"/>
                <a:gd name="T34" fmla="*/ 1 w 181"/>
                <a:gd name="T35" fmla="*/ 1 h 210"/>
                <a:gd name="T36" fmla="*/ 1 w 181"/>
                <a:gd name="T37" fmla="*/ 1 h 210"/>
                <a:gd name="T38" fmla="*/ 1 w 181"/>
                <a:gd name="T39" fmla="*/ 1 h 210"/>
                <a:gd name="T40" fmla="*/ 1 w 181"/>
                <a:gd name="T41" fmla="*/ 1 h 210"/>
                <a:gd name="T42" fmla="*/ 1 w 181"/>
                <a:gd name="T43" fmla="*/ 1 h 210"/>
                <a:gd name="T44" fmla="*/ 1 w 181"/>
                <a:gd name="T45" fmla="*/ 1 h 210"/>
                <a:gd name="T46" fmla="*/ 1 w 181"/>
                <a:gd name="T47" fmla="*/ 1 h 210"/>
                <a:gd name="T48" fmla="*/ 1 w 181"/>
                <a:gd name="T49" fmla="*/ 1 h 210"/>
                <a:gd name="T50" fmla="*/ 1 w 181"/>
                <a:gd name="T51" fmla="*/ 1 h 210"/>
                <a:gd name="T52" fmla="*/ 1 w 181"/>
                <a:gd name="T53" fmla="*/ 1 h 210"/>
                <a:gd name="T54" fmla="*/ 1 w 181"/>
                <a:gd name="T55" fmla="*/ 1 h 210"/>
                <a:gd name="T56" fmla="*/ 1 w 181"/>
                <a:gd name="T57" fmla="*/ 1 h 210"/>
                <a:gd name="T58" fmla="*/ 1 w 181"/>
                <a:gd name="T59" fmla="*/ 1 h 210"/>
                <a:gd name="T60" fmla="*/ 1 w 181"/>
                <a:gd name="T61" fmla="*/ 1 h 210"/>
                <a:gd name="T62" fmla="*/ 1 w 181"/>
                <a:gd name="T63" fmla="*/ 1 h 210"/>
                <a:gd name="T64" fmla="*/ 1 w 181"/>
                <a:gd name="T65" fmla="*/ 1 h 210"/>
                <a:gd name="T66" fmla="*/ 1 w 181"/>
                <a:gd name="T67" fmla="*/ 1 h 210"/>
                <a:gd name="T68" fmla="*/ 1 w 181"/>
                <a:gd name="T69" fmla="*/ 1 h 210"/>
                <a:gd name="T70" fmla="*/ 1 w 181"/>
                <a:gd name="T71" fmla="*/ 1 h 210"/>
                <a:gd name="T72" fmla="*/ 1 w 181"/>
                <a:gd name="T73" fmla="*/ 1 h 210"/>
                <a:gd name="T74" fmla="*/ 1 w 181"/>
                <a:gd name="T75" fmla="*/ 1 h 210"/>
                <a:gd name="T76" fmla="*/ 1 w 181"/>
                <a:gd name="T77" fmla="*/ 1 h 210"/>
                <a:gd name="T78" fmla="*/ 1 w 181"/>
                <a:gd name="T79" fmla="*/ 1 h 210"/>
                <a:gd name="T80" fmla="*/ 1 w 181"/>
                <a:gd name="T81" fmla="*/ 1 h 210"/>
                <a:gd name="T82" fmla="*/ 1 w 181"/>
                <a:gd name="T83" fmla="*/ 1 h 210"/>
                <a:gd name="T84" fmla="*/ 1 w 181"/>
                <a:gd name="T85" fmla="*/ 1 h 21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81"/>
                <a:gd name="T130" fmla="*/ 0 h 210"/>
                <a:gd name="T131" fmla="*/ 181 w 181"/>
                <a:gd name="T132" fmla="*/ 210 h 21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81" h="210">
                  <a:moveTo>
                    <a:pt x="102" y="54"/>
                  </a:moveTo>
                  <a:lnTo>
                    <a:pt x="96" y="47"/>
                  </a:lnTo>
                  <a:lnTo>
                    <a:pt x="84" y="36"/>
                  </a:lnTo>
                  <a:lnTo>
                    <a:pt x="72" y="41"/>
                  </a:lnTo>
                  <a:lnTo>
                    <a:pt x="56" y="27"/>
                  </a:lnTo>
                  <a:lnTo>
                    <a:pt x="52" y="16"/>
                  </a:lnTo>
                  <a:lnTo>
                    <a:pt x="36" y="0"/>
                  </a:lnTo>
                  <a:lnTo>
                    <a:pt x="25" y="0"/>
                  </a:lnTo>
                  <a:lnTo>
                    <a:pt x="31" y="30"/>
                  </a:lnTo>
                  <a:lnTo>
                    <a:pt x="21" y="26"/>
                  </a:lnTo>
                  <a:lnTo>
                    <a:pt x="18" y="21"/>
                  </a:lnTo>
                  <a:lnTo>
                    <a:pt x="8" y="38"/>
                  </a:lnTo>
                  <a:lnTo>
                    <a:pt x="0" y="51"/>
                  </a:lnTo>
                  <a:lnTo>
                    <a:pt x="8" y="54"/>
                  </a:lnTo>
                  <a:lnTo>
                    <a:pt x="10" y="69"/>
                  </a:lnTo>
                  <a:lnTo>
                    <a:pt x="27" y="70"/>
                  </a:lnTo>
                  <a:lnTo>
                    <a:pt x="28" y="95"/>
                  </a:lnTo>
                  <a:lnTo>
                    <a:pt x="31" y="120"/>
                  </a:lnTo>
                  <a:lnTo>
                    <a:pt x="49" y="106"/>
                  </a:lnTo>
                  <a:lnTo>
                    <a:pt x="63" y="111"/>
                  </a:lnTo>
                  <a:lnTo>
                    <a:pt x="73" y="106"/>
                  </a:lnTo>
                  <a:lnTo>
                    <a:pt x="82" y="99"/>
                  </a:lnTo>
                  <a:lnTo>
                    <a:pt x="109" y="120"/>
                  </a:lnTo>
                  <a:lnTo>
                    <a:pt x="114" y="140"/>
                  </a:lnTo>
                  <a:lnTo>
                    <a:pt x="133" y="165"/>
                  </a:lnTo>
                  <a:lnTo>
                    <a:pt x="138" y="186"/>
                  </a:lnTo>
                  <a:lnTo>
                    <a:pt x="132" y="200"/>
                  </a:lnTo>
                  <a:lnTo>
                    <a:pt x="150" y="210"/>
                  </a:lnTo>
                  <a:lnTo>
                    <a:pt x="150" y="203"/>
                  </a:lnTo>
                  <a:lnTo>
                    <a:pt x="158" y="196"/>
                  </a:lnTo>
                  <a:lnTo>
                    <a:pt x="166" y="200"/>
                  </a:lnTo>
                  <a:lnTo>
                    <a:pt x="181" y="191"/>
                  </a:lnTo>
                  <a:lnTo>
                    <a:pt x="178" y="171"/>
                  </a:lnTo>
                  <a:lnTo>
                    <a:pt x="171" y="162"/>
                  </a:lnTo>
                  <a:lnTo>
                    <a:pt x="172" y="158"/>
                  </a:lnTo>
                  <a:lnTo>
                    <a:pt x="153" y="142"/>
                  </a:lnTo>
                  <a:lnTo>
                    <a:pt x="144" y="128"/>
                  </a:lnTo>
                  <a:lnTo>
                    <a:pt x="129" y="111"/>
                  </a:lnTo>
                  <a:lnTo>
                    <a:pt x="116" y="94"/>
                  </a:lnTo>
                  <a:lnTo>
                    <a:pt x="88" y="74"/>
                  </a:lnTo>
                  <a:lnTo>
                    <a:pt x="92" y="68"/>
                  </a:lnTo>
                  <a:lnTo>
                    <a:pt x="104" y="63"/>
                  </a:lnTo>
                  <a:lnTo>
                    <a:pt x="102" y="5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85" name="Freeform 13"/>
            <p:cNvSpPr>
              <a:spLocks/>
            </p:cNvSpPr>
            <p:nvPr/>
          </p:nvSpPr>
          <p:spPr bwMode="auto">
            <a:xfrm>
              <a:off x="4004" y="1592"/>
              <a:ext cx="135" cy="322"/>
            </a:xfrm>
            <a:custGeom>
              <a:avLst/>
              <a:gdLst>
                <a:gd name="T0" fmla="*/ 1 w 191"/>
                <a:gd name="T1" fmla="*/ 1 h 457"/>
                <a:gd name="T2" fmla="*/ 1 w 191"/>
                <a:gd name="T3" fmla="*/ 1 h 457"/>
                <a:gd name="T4" fmla="*/ 1 w 191"/>
                <a:gd name="T5" fmla="*/ 1 h 457"/>
                <a:gd name="T6" fmla="*/ 1 w 191"/>
                <a:gd name="T7" fmla="*/ 1 h 457"/>
                <a:gd name="T8" fmla="*/ 1 w 191"/>
                <a:gd name="T9" fmla="*/ 0 h 457"/>
                <a:gd name="T10" fmla="*/ 1 w 191"/>
                <a:gd name="T11" fmla="*/ 1 h 457"/>
                <a:gd name="T12" fmla="*/ 1 w 191"/>
                <a:gd name="T13" fmla="*/ 1 h 457"/>
                <a:gd name="T14" fmla="*/ 1 w 191"/>
                <a:gd name="T15" fmla="*/ 1 h 457"/>
                <a:gd name="T16" fmla="*/ 1 w 191"/>
                <a:gd name="T17" fmla="*/ 1 h 457"/>
                <a:gd name="T18" fmla="*/ 1 w 191"/>
                <a:gd name="T19" fmla="*/ 1 h 457"/>
                <a:gd name="T20" fmla="*/ 1 w 191"/>
                <a:gd name="T21" fmla="*/ 1 h 457"/>
                <a:gd name="T22" fmla="*/ 1 w 191"/>
                <a:gd name="T23" fmla="*/ 1 h 457"/>
                <a:gd name="T24" fmla="*/ 0 w 191"/>
                <a:gd name="T25" fmla="*/ 1 h 457"/>
                <a:gd name="T26" fmla="*/ 1 w 191"/>
                <a:gd name="T27" fmla="*/ 1 h 457"/>
                <a:gd name="T28" fmla="*/ 1 w 191"/>
                <a:gd name="T29" fmla="*/ 1 h 457"/>
                <a:gd name="T30" fmla="*/ 1 w 191"/>
                <a:gd name="T31" fmla="*/ 1 h 457"/>
                <a:gd name="T32" fmla="*/ 1 w 191"/>
                <a:gd name="T33" fmla="*/ 1 h 457"/>
                <a:gd name="T34" fmla="*/ 1 w 191"/>
                <a:gd name="T35" fmla="*/ 1 h 457"/>
                <a:gd name="T36" fmla="*/ 1 w 191"/>
                <a:gd name="T37" fmla="*/ 2 h 457"/>
                <a:gd name="T38" fmla="*/ 1 w 191"/>
                <a:gd name="T39" fmla="*/ 2 h 457"/>
                <a:gd name="T40" fmla="*/ 1 w 191"/>
                <a:gd name="T41" fmla="*/ 2 h 457"/>
                <a:gd name="T42" fmla="*/ 1 w 191"/>
                <a:gd name="T43" fmla="*/ 2 h 457"/>
                <a:gd name="T44" fmla="*/ 1 w 191"/>
                <a:gd name="T45" fmla="*/ 2 h 457"/>
                <a:gd name="T46" fmla="*/ 1 w 191"/>
                <a:gd name="T47" fmla="*/ 2 h 457"/>
                <a:gd name="T48" fmla="*/ 1 w 191"/>
                <a:gd name="T49" fmla="*/ 2 h 457"/>
                <a:gd name="T50" fmla="*/ 1 w 191"/>
                <a:gd name="T51" fmla="*/ 2 h 457"/>
                <a:gd name="T52" fmla="*/ 1 w 191"/>
                <a:gd name="T53" fmla="*/ 3 h 457"/>
                <a:gd name="T54" fmla="*/ 1 w 191"/>
                <a:gd name="T55" fmla="*/ 3 h 457"/>
                <a:gd name="T56" fmla="*/ 1 w 191"/>
                <a:gd name="T57" fmla="*/ 3 h 457"/>
                <a:gd name="T58" fmla="*/ 1 w 191"/>
                <a:gd name="T59" fmla="*/ 3 h 457"/>
                <a:gd name="T60" fmla="*/ 1 w 191"/>
                <a:gd name="T61" fmla="*/ 3 h 457"/>
                <a:gd name="T62" fmla="*/ 1 w 191"/>
                <a:gd name="T63" fmla="*/ 3 h 457"/>
                <a:gd name="T64" fmla="*/ 1 w 191"/>
                <a:gd name="T65" fmla="*/ 3 h 457"/>
                <a:gd name="T66" fmla="*/ 1 w 191"/>
                <a:gd name="T67" fmla="*/ 3 h 457"/>
                <a:gd name="T68" fmla="*/ 1 w 191"/>
                <a:gd name="T69" fmla="*/ 2 h 457"/>
                <a:gd name="T70" fmla="*/ 1 w 191"/>
                <a:gd name="T71" fmla="*/ 2 h 457"/>
                <a:gd name="T72" fmla="*/ 1 w 191"/>
                <a:gd name="T73" fmla="*/ 2 h 457"/>
                <a:gd name="T74" fmla="*/ 1 w 191"/>
                <a:gd name="T75" fmla="*/ 1 h 457"/>
                <a:gd name="T76" fmla="*/ 1 w 191"/>
                <a:gd name="T77" fmla="*/ 1 h 457"/>
                <a:gd name="T78" fmla="*/ 1 w 191"/>
                <a:gd name="T79" fmla="*/ 1 h 457"/>
                <a:gd name="T80" fmla="*/ 1 w 191"/>
                <a:gd name="T81" fmla="*/ 1 h 457"/>
                <a:gd name="T82" fmla="*/ 1 w 191"/>
                <a:gd name="T83" fmla="*/ 1 h 457"/>
                <a:gd name="T84" fmla="*/ 1 w 191"/>
                <a:gd name="T85" fmla="*/ 1 h 457"/>
                <a:gd name="T86" fmla="*/ 1 w 191"/>
                <a:gd name="T87" fmla="*/ 1 h 45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91"/>
                <a:gd name="T133" fmla="*/ 0 h 457"/>
                <a:gd name="T134" fmla="*/ 191 w 191"/>
                <a:gd name="T135" fmla="*/ 457 h 457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91" h="457">
                  <a:moveTo>
                    <a:pt x="128" y="110"/>
                  </a:moveTo>
                  <a:lnTo>
                    <a:pt x="105" y="114"/>
                  </a:lnTo>
                  <a:lnTo>
                    <a:pt x="104" y="103"/>
                  </a:lnTo>
                  <a:lnTo>
                    <a:pt x="103" y="92"/>
                  </a:lnTo>
                  <a:lnTo>
                    <a:pt x="114" y="75"/>
                  </a:lnTo>
                  <a:lnTo>
                    <a:pt x="117" y="63"/>
                  </a:lnTo>
                  <a:lnTo>
                    <a:pt x="113" y="44"/>
                  </a:lnTo>
                  <a:lnTo>
                    <a:pt x="108" y="24"/>
                  </a:lnTo>
                  <a:lnTo>
                    <a:pt x="98" y="19"/>
                  </a:lnTo>
                  <a:lnTo>
                    <a:pt x="80" y="0"/>
                  </a:lnTo>
                  <a:lnTo>
                    <a:pt x="78" y="8"/>
                  </a:lnTo>
                  <a:lnTo>
                    <a:pt x="75" y="20"/>
                  </a:lnTo>
                  <a:lnTo>
                    <a:pt x="73" y="27"/>
                  </a:lnTo>
                  <a:lnTo>
                    <a:pt x="76" y="36"/>
                  </a:lnTo>
                  <a:lnTo>
                    <a:pt x="61" y="32"/>
                  </a:lnTo>
                  <a:lnTo>
                    <a:pt x="40" y="54"/>
                  </a:lnTo>
                  <a:lnTo>
                    <a:pt x="39" y="74"/>
                  </a:lnTo>
                  <a:lnTo>
                    <a:pt x="39" y="85"/>
                  </a:lnTo>
                  <a:lnTo>
                    <a:pt x="28" y="115"/>
                  </a:lnTo>
                  <a:lnTo>
                    <a:pt x="15" y="115"/>
                  </a:lnTo>
                  <a:lnTo>
                    <a:pt x="14" y="137"/>
                  </a:lnTo>
                  <a:lnTo>
                    <a:pt x="14" y="163"/>
                  </a:lnTo>
                  <a:lnTo>
                    <a:pt x="7" y="163"/>
                  </a:lnTo>
                  <a:lnTo>
                    <a:pt x="6" y="163"/>
                  </a:lnTo>
                  <a:lnTo>
                    <a:pt x="7" y="179"/>
                  </a:lnTo>
                  <a:lnTo>
                    <a:pt x="0" y="183"/>
                  </a:lnTo>
                  <a:lnTo>
                    <a:pt x="14" y="205"/>
                  </a:lnTo>
                  <a:lnTo>
                    <a:pt x="15" y="207"/>
                  </a:lnTo>
                  <a:lnTo>
                    <a:pt x="20" y="201"/>
                  </a:lnTo>
                  <a:lnTo>
                    <a:pt x="25" y="216"/>
                  </a:lnTo>
                  <a:lnTo>
                    <a:pt x="27" y="217"/>
                  </a:lnTo>
                  <a:lnTo>
                    <a:pt x="36" y="216"/>
                  </a:lnTo>
                  <a:lnTo>
                    <a:pt x="43" y="225"/>
                  </a:lnTo>
                  <a:lnTo>
                    <a:pt x="37" y="229"/>
                  </a:lnTo>
                  <a:lnTo>
                    <a:pt x="43" y="239"/>
                  </a:lnTo>
                  <a:lnTo>
                    <a:pt x="46" y="230"/>
                  </a:lnTo>
                  <a:lnTo>
                    <a:pt x="55" y="249"/>
                  </a:lnTo>
                  <a:lnTo>
                    <a:pt x="62" y="269"/>
                  </a:lnTo>
                  <a:lnTo>
                    <a:pt x="61" y="290"/>
                  </a:lnTo>
                  <a:lnTo>
                    <a:pt x="60" y="311"/>
                  </a:lnTo>
                  <a:lnTo>
                    <a:pt x="69" y="299"/>
                  </a:lnTo>
                  <a:lnTo>
                    <a:pt x="72" y="312"/>
                  </a:lnTo>
                  <a:lnTo>
                    <a:pt x="75" y="315"/>
                  </a:lnTo>
                  <a:lnTo>
                    <a:pt x="80" y="314"/>
                  </a:lnTo>
                  <a:lnTo>
                    <a:pt x="85" y="312"/>
                  </a:lnTo>
                  <a:lnTo>
                    <a:pt x="85" y="315"/>
                  </a:lnTo>
                  <a:lnTo>
                    <a:pt x="100" y="303"/>
                  </a:lnTo>
                  <a:lnTo>
                    <a:pt x="103" y="296"/>
                  </a:lnTo>
                  <a:lnTo>
                    <a:pt x="109" y="300"/>
                  </a:lnTo>
                  <a:lnTo>
                    <a:pt x="115" y="279"/>
                  </a:lnTo>
                  <a:lnTo>
                    <a:pt x="123" y="291"/>
                  </a:lnTo>
                  <a:lnTo>
                    <a:pt x="133" y="300"/>
                  </a:lnTo>
                  <a:lnTo>
                    <a:pt x="143" y="335"/>
                  </a:lnTo>
                  <a:lnTo>
                    <a:pt x="152" y="369"/>
                  </a:lnTo>
                  <a:lnTo>
                    <a:pt x="152" y="363"/>
                  </a:lnTo>
                  <a:lnTo>
                    <a:pt x="159" y="381"/>
                  </a:lnTo>
                  <a:lnTo>
                    <a:pt x="165" y="399"/>
                  </a:lnTo>
                  <a:lnTo>
                    <a:pt x="169" y="417"/>
                  </a:lnTo>
                  <a:lnTo>
                    <a:pt x="169" y="438"/>
                  </a:lnTo>
                  <a:lnTo>
                    <a:pt x="169" y="457"/>
                  </a:lnTo>
                  <a:lnTo>
                    <a:pt x="174" y="452"/>
                  </a:lnTo>
                  <a:lnTo>
                    <a:pt x="181" y="437"/>
                  </a:lnTo>
                  <a:lnTo>
                    <a:pt x="188" y="420"/>
                  </a:lnTo>
                  <a:lnTo>
                    <a:pt x="182" y="396"/>
                  </a:lnTo>
                  <a:lnTo>
                    <a:pt x="176" y="374"/>
                  </a:lnTo>
                  <a:lnTo>
                    <a:pt x="165" y="360"/>
                  </a:lnTo>
                  <a:lnTo>
                    <a:pt x="153" y="344"/>
                  </a:lnTo>
                  <a:lnTo>
                    <a:pt x="153" y="330"/>
                  </a:lnTo>
                  <a:lnTo>
                    <a:pt x="156" y="319"/>
                  </a:lnTo>
                  <a:lnTo>
                    <a:pt x="162" y="305"/>
                  </a:lnTo>
                  <a:lnTo>
                    <a:pt x="156" y="302"/>
                  </a:lnTo>
                  <a:lnTo>
                    <a:pt x="138" y="276"/>
                  </a:lnTo>
                  <a:lnTo>
                    <a:pt x="120" y="248"/>
                  </a:lnTo>
                  <a:lnTo>
                    <a:pt x="126" y="249"/>
                  </a:lnTo>
                  <a:lnTo>
                    <a:pt x="131" y="222"/>
                  </a:lnTo>
                  <a:lnTo>
                    <a:pt x="152" y="217"/>
                  </a:lnTo>
                  <a:lnTo>
                    <a:pt x="161" y="206"/>
                  </a:lnTo>
                  <a:lnTo>
                    <a:pt x="173" y="204"/>
                  </a:lnTo>
                  <a:lnTo>
                    <a:pt x="181" y="191"/>
                  </a:lnTo>
                  <a:lnTo>
                    <a:pt x="191" y="174"/>
                  </a:lnTo>
                  <a:lnTo>
                    <a:pt x="185" y="171"/>
                  </a:lnTo>
                  <a:lnTo>
                    <a:pt x="169" y="175"/>
                  </a:lnTo>
                  <a:lnTo>
                    <a:pt x="159" y="162"/>
                  </a:lnTo>
                  <a:lnTo>
                    <a:pt x="147" y="156"/>
                  </a:lnTo>
                  <a:lnTo>
                    <a:pt x="150" y="137"/>
                  </a:lnTo>
                  <a:lnTo>
                    <a:pt x="135" y="129"/>
                  </a:lnTo>
                  <a:lnTo>
                    <a:pt x="129" y="114"/>
                  </a:lnTo>
                  <a:lnTo>
                    <a:pt x="128" y="11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86" name="Freeform 14"/>
            <p:cNvSpPr>
              <a:spLocks/>
            </p:cNvSpPr>
            <p:nvPr/>
          </p:nvSpPr>
          <p:spPr bwMode="auto">
            <a:xfrm>
              <a:off x="4089" y="1736"/>
              <a:ext cx="135" cy="254"/>
            </a:xfrm>
            <a:custGeom>
              <a:avLst/>
              <a:gdLst>
                <a:gd name="T0" fmla="*/ 1 w 191"/>
                <a:gd name="T1" fmla="*/ 2 h 361"/>
                <a:gd name="T2" fmla="*/ 1 w 191"/>
                <a:gd name="T3" fmla="*/ 1 h 361"/>
                <a:gd name="T4" fmla="*/ 1 w 191"/>
                <a:gd name="T5" fmla="*/ 1 h 361"/>
                <a:gd name="T6" fmla="*/ 1 w 191"/>
                <a:gd name="T7" fmla="*/ 1 h 361"/>
                <a:gd name="T8" fmla="*/ 1 w 191"/>
                <a:gd name="T9" fmla="*/ 1 h 361"/>
                <a:gd name="T10" fmla="*/ 1 w 191"/>
                <a:gd name="T11" fmla="*/ 1 h 361"/>
                <a:gd name="T12" fmla="*/ 1 w 191"/>
                <a:gd name="T13" fmla="*/ 1 h 361"/>
                <a:gd name="T14" fmla="*/ 1 w 191"/>
                <a:gd name="T15" fmla="*/ 1 h 361"/>
                <a:gd name="T16" fmla="*/ 1 w 191"/>
                <a:gd name="T17" fmla="*/ 1 h 361"/>
                <a:gd name="T18" fmla="*/ 1 w 191"/>
                <a:gd name="T19" fmla="*/ 1 h 361"/>
                <a:gd name="T20" fmla="*/ 1 w 191"/>
                <a:gd name="T21" fmla="*/ 1 h 361"/>
                <a:gd name="T22" fmla="*/ 1 w 191"/>
                <a:gd name="T23" fmla="*/ 1 h 361"/>
                <a:gd name="T24" fmla="*/ 1 w 191"/>
                <a:gd name="T25" fmla="*/ 1 h 361"/>
                <a:gd name="T26" fmla="*/ 1 w 191"/>
                <a:gd name="T27" fmla="*/ 1 h 361"/>
                <a:gd name="T28" fmla="*/ 1 w 191"/>
                <a:gd name="T29" fmla="*/ 0 h 361"/>
                <a:gd name="T30" fmla="*/ 1 w 191"/>
                <a:gd name="T31" fmla="*/ 1 h 361"/>
                <a:gd name="T32" fmla="*/ 1 w 191"/>
                <a:gd name="T33" fmla="*/ 1 h 361"/>
                <a:gd name="T34" fmla="*/ 1 w 191"/>
                <a:gd name="T35" fmla="*/ 1 h 361"/>
                <a:gd name="T36" fmla="*/ 1 w 191"/>
                <a:gd name="T37" fmla="*/ 1 h 361"/>
                <a:gd name="T38" fmla="*/ 1 w 191"/>
                <a:gd name="T39" fmla="*/ 1 h 361"/>
                <a:gd name="T40" fmla="*/ 1 w 191"/>
                <a:gd name="T41" fmla="*/ 1 h 361"/>
                <a:gd name="T42" fmla="*/ 1 w 191"/>
                <a:gd name="T43" fmla="*/ 1 h 361"/>
                <a:gd name="T44" fmla="*/ 1 w 191"/>
                <a:gd name="T45" fmla="*/ 2 h 361"/>
                <a:gd name="T46" fmla="*/ 1 w 191"/>
                <a:gd name="T47" fmla="*/ 2 h 361"/>
                <a:gd name="T48" fmla="*/ 1 w 191"/>
                <a:gd name="T49" fmla="*/ 2 h 361"/>
                <a:gd name="T50" fmla="*/ 1 w 191"/>
                <a:gd name="T51" fmla="*/ 2 h 361"/>
                <a:gd name="T52" fmla="*/ 1 w 191"/>
                <a:gd name="T53" fmla="*/ 3 h 361"/>
                <a:gd name="T54" fmla="*/ 1 w 191"/>
                <a:gd name="T55" fmla="*/ 3 h 361"/>
                <a:gd name="T56" fmla="*/ 1 w 191"/>
                <a:gd name="T57" fmla="*/ 3 h 361"/>
                <a:gd name="T58" fmla="*/ 1 w 191"/>
                <a:gd name="T59" fmla="*/ 3 h 361"/>
                <a:gd name="T60" fmla="*/ 1 w 191"/>
                <a:gd name="T61" fmla="*/ 3 h 361"/>
                <a:gd name="T62" fmla="*/ 1 w 191"/>
                <a:gd name="T63" fmla="*/ 2 h 361"/>
                <a:gd name="T64" fmla="*/ 1 w 191"/>
                <a:gd name="T65" fmla="*/ 2 h 36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91"/>
                <a:gd name="T100" fmla="*/ 0 h 361"/>
                <a:gd name="T101" fmla="*/ 191 w 191"/>
                <a:gd name="T102" fmla="*/ 361 h 36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91" h="361">
                  <a:moveTo>
                    <a:pt x="68" y="277"/>
                  </a:moveTo>
                  <a:lnTo>
                    <a:pt x="63" y="258"/>
                  </a:lnTo>
                  <a:lnTo>
                    <a:pt x="68" y="235"/>
                  </a:lnTo>
                  <a:lnTo>
                    <a:pt x="73" y="213"/>
                  </a:lnTo>
                  <a:lnTo>
                    <a:pt x="73" y="194"/>
                  </a:lnTo>
                  <a:lnTo>
                    <a:pt x="74" y="174"/>
                  </a:lnTo>
                  <a:lnTo>
                    <a:pt x="93" y="170"/>
                  </a:lnTo>
                  <a:lnTo>
                    <a:pt x="95" y="188"/>
                  </a:lnTo>
                  <a:lnTo>
                    <a:pt x="111" y="191"/>
                  </a:lnTo>
                  <a:lnTo>
                    <a:pt x="133" y="206"/>
                  </a:lnTo>
                  <a:lnTo>
                    <a:pt x="141" y="216"/>
                  </a:lnTo>
                  <a:lnTo>
                    <a:pt x="133" y="195"/>
                  </a:lnTo>
                  <a:lnTo>
                    <a:pt x="125" y="175"/>
                  </a:lnTo>
                  <a:lnTo>
                    <a:pt x="139" y="150"/>
                  </a:lnTo>
                  <a:lnTo>
                    <a:pt x="162" y="150"/>
                  </a:lnTo>
                  <a:lnTo>
                    <a:pt x="185" y="149"/>
                  </a:lnTo>
                  <a:lnTo>
                    <a:pt x="191" y="135"/>
                  </a:lnTo>
                  <a:lnTo>
                    <a:pt x="186" y="114"/>
                  </a:lnTo>
                  <a:lnTo>
                    <a:pt x="167" y="89"/>
                  </a:lnTo>
                  <a:lnTo>
                    <a:pt x="162" y="69"/>
                  </a:lnTo>
                  <a:lnTo>
                    <a:pt x="135" y="48"/>
                  </a:lnTo>
                  <a:lnTo>
                    <a:pt x="126" y="55"/>
                  </a:lnTo>
                  <a:lnTo>
                    <a:pt x="116" y="60"/>
                  </a:lnTo>
                  <a:lnTo>
                    <a:pt x="102" y="55"/>
                  </a:lnTo>
                  <a:lnTo>
                    <a:pt x="84" y="69"/>
                  </a:lnTo>
                  <a:lnTo>
                    <a:pt x="81" y="44"/>
                  </a:lnTo>
                  <a:lnTo>
                    <a:pt x="80" y="19"/>
                  </a:lnTo>
                  <a:lnTo>
                    <a:pt x="63" y="18"/>
                  </a:lnTo>
                  <a:lnTo>
                    <a:pt x="61" y="3"/>
                  </a:lnTo>
                  <a:lnTo>
                    <a:pt x="53" y="0"/>
                  </a:lnTo>
                  <a:lnTo>
                    <a:pt x="41" y="2"/>
                  </a:lnTo>
                  <a:lnTo>
                    <a:pt x="32" y="13"/>
                  </a:lnTo>
                  <a:lnTo>
                    <a:pt x="11" y="18"/>
                  </a:lnTo>
                  <a:lnTo>
                    <a:pt x="6" y="45"/>
                  </a:lnTo>
                  <a:lnTo>
                    <a:pt x="0" y="44"/>
                  </a:lnTo>
                  <a:lnTo>
                    <a:pt x="18" y="72"/>
                  </a:lnTo>
                  <a:lnTo>
                    <a:pt x="36" y="98"/>
                  </a:lnTo>
                  <a:lnTo>
                    <a:pt x="42" y="101"/>
                  </a:lnTo>
                  <a:lnTo>
                    <a:pt x="36" y="115"/>
                  </a:lnTo>
                  <a:lnTo>
                    <a:pt x="33" y="126"/>
                  </a:lnTo>
                  <a:lnTo>
                    <a:pt x="33" y="140"/>
                  </a:lnTo>
                  <a:lnTo>
                    <a:pt x="45" y="156"/>
                  </a:lnTo>
                  <a:lnTo>
                    <a:pt x="56" y="170"/>
                  </a:lnTo>
                  <a:lnTo>
                    <a:pt x="62" y="192"/>
                  </a:lnTo>
                  <a:lnTo>
                    <a:pt x="68" y="216"/>
                  </a:lnTo>
                  <a:lnTo>
                    <a:pt x="61" y="233"/>
                  </a:lnTo>
                  <a:lnTo>
                    <a:pt x="54" y="248"/>
                  </a:lnTo>
                  <a:lnTo>
                    <a:pt x="53" y="253"/>
                  </a:lnTo>
                  <a:lnTo>
                    <a:pt x="50" y="277"/>
                  </a:lnTo>
                  <a:lnTo>
                    <a:pt x="47" y="301"/>
                  </a:lnTo>
                  <a:lnTo>
                    <a:pt x="50" y="299"/>
                  </a:lnTo>
                  <a:lnTo>
                    <a:pt x="62" y="312"/>
                  </a:lnTo>
                  <a:lnTo>
                    <a:pt x="74" y="325"/>
                  </a:lnTo>
                  <a:lnTo>
                    <a:pt x="79" y="331"/>
                  </a:lnTo>
                  <a:lnTo>
                    <a:pt x="90" y="345"/>
                  </a:lnTo>
                  <a:lnTo>
                    <a:pt x="91" y="342"/>
                  </a:lnTo>
                  <a:lnTo>
                    <a:pt x="108" y="350"/>
                  </a:lnTo>
                  <a:lnTo>
                    <a:pt x="109" y="361"/>
                  </a:lnTo>
                  <a:lnTo>
                    <a:pt x="123" y="361"/>
                  </a:lnTo>
                  <a:lnTo>
                    <a:pt x="133" y="350"/>
                  </a:lnTo>
                  <a:lnTo>
                    <a:pt x="120" y="336"/>
                  </a:lnTo>
                  <a:lnTo>
                    <a:pt x="104" y="332"/>
                  </a:lnTo>
                  <a:lnTo>
                    <a:pt x="92" y="319"/>
                  </a:lnTo>
                  <a:lnTo>
                    <a:pt x="87" y="301"/>
                  </a:lnTo>
                  <a:lnTo>
                    <a:pt x="80" y="278"/>
                  </a:lnTo>
                  <a:lnTo>
                    <a:pt x="68" y="27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87" name="Freeform 15"/>
            <p:cNvSpPr>
              <a:spLocks/>
            </p:cNvSpPr>
            <p:nvPr/>
          </p:nvSpPr>
          <p:spPr bwMode="auto">
            <a:xfrm>
              <a:off x="4152" y="1685"/>
              <a:ext cx="134" cy="255"/>
            </a:xfrm>
            <a:custGeom>
              <a:avLst/>
              <a:gdLst>
                <a:gd name="T0" fmla="*/ 1 w 190"/>
                <a:gd name="T1" fmla="*/ 1 h 361"/>
                <a:gd name="T2" fmla="*/ 1 w 190"/>
                <a:gd name="T3" fmla="*/ 1 h 361"/>
                <a:gd name="T4" fmla="*/ 1 w 190"/>
                <a:gd name="T5" fmla="*/ 1 h 361"/>
                <a:gd name="T6" fmla="*/ 1 w 190"/>
                <a:gd name="T7" fmla="*/ 1 h 361"/>
                <a:gd name="T8" fmla="*/ 1 w 190"/>
                <a:gd name="T9" fmla="*/ 1 h 361"/>
                <a:gd name="T10" fmla="*/ 1 w 190"/>
                <a:gd name="T11" fmla="*/ 1 h 361"/>
                <a:gd name="T12" fmla="*/ 1 w 190"/>
                <a:gd name="T13" fmla="*/ 1 h 361"/>
                <a:gd name="T14" fmla="*/ 1 w 190"/>
                <a:gd name="T15" fmla="*/ 1 h 361"/>
                <a:gd name="T16" fmla="*/ 1 w 190"/>
                <a:gd name="T17" fmla="*/ 1 h 361"/>
                <a:gd name="T18" fmla="*/ 1 w 190"/>
                <a:gd name="T19" fmla="*/ 1 h 361"/>
                <a:gd name="T20" fmla="*/ 1 w 190"/>
                <a:gd name="T21" fmla="*/ 1 h 361"/>
                <a:gd name="T22" fmla="*/ 1 w 190"/>
                <a:gd name="T23" fmla="*/ 1 h 361"/>
                <a:gd name="T24" fmla="*/ 1 w 190"/>
                <a:gd name="T25" fmla="*/ 1 h 361"/>
                <a:gd name="T26" fmla="*/ 1 w 190"/>
                <a:gd name="T27" fmla="*/ 1 h 361"/>
                <a:gd name="T28" fmla="*/ 1 w 190"/>
                <a:gd name="T29" fmla="*/ 1 h 361"/>
                <a:gd name="T30" fmla="*/ 1 w 190"/>
                <a:gd name="T31" fmla="*/ 2 h 361"/>
                <a:gd name="T32" fmla="*/ 1 w 190"/>
                <a:gd name="T33" fmla="*/ 2 h 361"/>
                <a:gd name="T34" fmla="*/ 1 w 190"/>
                <a:gd name="T35" fmla="*/ 2 h 361"/>
                <a:gd name="T36" fmla="*/ 1 w 190"/>
                <a:gd name="T37" fmla="*/ 3 h 361"/>
                <a:gd name="T38" fmla="*/ 1 w 190"/>
                <a:gd name="T39" fmla="*/ 3 h 361"/>
                <a:gd name="T40" fmla="*/ 1 w 190"/>
                <a:gd name="T41" fmla="*/ 3 h 361"/>
                <a:gd name="T42" fmla="*/ 1 w 190"/>
                <a:gd name="T43" fmla="*/ 3 h 361"/>
                <a:gd name="T44" fmla="*/ 1 w 190"/>
                <a:gd name="T45" fmla="*/ 3 h 361"/>
                <a:gd name="T46" fmla="*/ 1 w 190"/>
                <a:gd name="T47" fmla="*/ 3 h 361"/>
                <a:gd name="T48" fmla="*/ 1 w 190"/>
                <a:gd name="T49" fmla="*/ 2 h 361"/>
                <a:gd name="T50" fmla="*/ 1 w 190"/>
                <a:gd name="T51" fmla="*/ 2 h 361"/>
                <a:gd name="T52" fmla="*/ 1 w 190"/>
                <a:gd name="T53" fmla="*/ 2 h 361"/>
                <a:gd name="T54" fmla="*/ 1 w 190"/>
                <a:gd name="T55" fmla="*/ 2 h 361"/>
                <a:gd name="T56" fmla="*/ 1 w 190"/>
                <a:gd name="T57" fmla="*/ 1 h 361"/>
                <a:gd name="T58" fmla="*/ 1 w 190"/>
                <a:gd name="T59" fmla="*/ 1 h 361"/>
                <a:gd name="T60" fmla="*/ 1 w 190"/>
                <a:gd name="T61" fmla="*/ 1 h 361"/>
                <a:gd name="T62" fmla="*/ 1 w 190"/>
                <a:gd name="T63" fmla="*/ 1 h 361"/>
                <a:gd name="T64" fmla="*/ 1 w 190"/>
                <a:gd name="T65" fmla="*/ 1 h 361"/>
                <a:gd name="T66" fmla="*/ 1 w 190"/>
                <a:gd name="T67" fmla="*/ 1 h 36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90"/>
                <a:gd name="T103" fmla="*/ 0 h 361"/>
                <a:gd name="T104" fmla="*/ 190 w 190"/>
                <a:gd name="T105" fmla="*/ 361 h 361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90" h="361">
                  <a:moveTo>
                    <a:pt x="66" y="75"/>
                  </a:moveTo>
                  <a:lnTo>
                    <a:pt x="60" y="68"/>
                  </a:lnTo>
                  <a:lnTo>
                    <a:pt x="48" y="57"/>
                  </a:lnTo>
                  <a:lnTo>
                    <a:pt x="36" y="62"/>
                  </a:lnTo>
                  <a:lnTo>
                    <a:pt x="20" y="48"/>
                  </a:lnTo>
                  <a:lnTo>
                    <a:pt x="16" y="37"/>
                  </a:lnTo>
                  <a:lnTo>
                    <a:pt x="0" y="21"/>
                  </a:lnTo>
                  <a:lnTo>
                    <a:pt x="4" y="15"/>
                  </a:lnTo>
                  <a:lnTo>
                    <a:pt x="16" y="19"/>
                  </a:lnTo>
                  <a:lnTo>
                    <a:pt x="21" y="15"/>
                  </a:lnTo>
                  <a:lnTo>
                    <a:pt x="30" y="15"/>
                  </a:lnTo>
                  <a:lnTo>
                    <a:pt x="36" y="17"/>
                  </a:lnTo>
                  <a:lnTo>
                    <a:pt x="39" y="14"/>
                  </a:lnTo>
                  <a:lnTo>
                    <a:pt x="46" y="14"/>
                  </a:lnTo>
                  <a:lnTo>
                    <a:pt x="60" y="0"/>
                  </a:lnTo>
                  <a:lnTo>
                    <a:pt x="68" y="1"/>
                  </a:lnTo>
                  <a:lnTo>
                    <a:pt x="94" y="9"/>
                  </a:lnTo>
                  <a:lnTo>
                    <a:pt x="98" y="26"/>
                  </a:lnTo>
                  <a:lnTo>
                    <a:pt x="108" y="33"/>
                  </a:lnTo>
                  <a:lnTo>
                    <a:pt x="129" y="42"/>
                  </a:lnTo>
                  <a:lnTo>
                    <a:pt x="117" y="51"/>
                  </a:lnTo>
                  <a:lnTo>
                    <a:pt x="105" y="57"/>
                  </a:lnTo>
                  <a:lnTo>
                    <a:pt x="105" y="60"/>
                  </a:lnTo>
                  <a:lnTo>
                    <a:pt x="97" y="80"/>
                  </a:lnTo>
                  <a:lnTo>
                    <a:pt x="88" y="103"/>
                  </a:lnTo>
                  <a:lnTo>
                    <a:pt x="104" y="125"/>
                  </a:lnTo>
                  <a:lnTo>
                    <a:pt x="110" y="137"/>
                  </a:lnTo>
                  <a:lnTo>
                    <a:pt x="123" y="151"/>
                  </a:lnTo>
                  <a:lnTo>
                    <a:pt x="138" y="164"/>
                  </a:lnTo>
                  <a:lnTo>
                    <a:pt x="156" y="179"/>
                  </a:lnTo>
                  <a:lnTo>
                    <a:pt x="170" y="194"/>
                  </a:lnTo>
                  <a:lnTo>
                    <a:pt x="181" y="229"/>
                  </a:lnTo>
                  <a:lnTo>
                    <a:pt x="190" y="263"/>
                  </a:lnTo>
                  <a:lnTo>
                    <a:pt x="189" y="271"/>
                  </a:lnTo>
                  <a:lnTo>
                    <a:pt x="189" y="279"/>
                  </a:lnTo>
                  <a:lnTo>
                    <a:pt x="186" y="289"/>
                  </a:lnTo>
                  <a:lnTo>
                    <a:pt x="171" y="303"/>
                  </a:lnTo>
                  <a:lnTo>
                    <a:pt x="156" y="317"/>
                  </a:lnTo>
                  <a:lnTo>
                    <a:pt x="140" y="313"/>
                  </a:lnTo>
                  <a:lnTo>
                    <a:pt x="140" y="319"/>
                  </a:lnTo>
                  <a:lnTo>
                    <a:pt x="140" y="326"/>
                  </a:lnTo>
                  <a:lnTo>
                    <a:pt x="136" y="330"/>
                  </a:lnTo>
                  <a:lnTo>
                    <a:pt x="136" y="339"/>
                  </a:lnTo>
                  <a:lnTo>
                    <a:pt x="128" y="339"/>
                  </a:lnTo>
                  <a:lnTo>
                    <a:pt x="111" y="357"/>
                  </a:lnTo>
                  <a:lnTo>
                    <a:pt x="100" y="361"/>
                  </a:lnTo>
                  <a:lnTo>
                    <a:pt x="103" y="331"/>
                  </a:lnTo>
                  <a:lnTo>
                    <a:pt x="88" y="319"/>
                  </a:lnTo>
                  <a:lnTo>
                    <a:pt x="102" y="309"/>
                  </a:lnTo>
                  <a:lnTo>
                    <a:pt x="108" y="307"/>
                  </a:lnTo>
                  <a:lnTo>
                    <a:pt x="123" y="309"/>
                  </a:lnTo>
                  <a:lnTo>
                    <a:pt x="117" y="290"/>
                  </a:lnTo>
                  <a:lnTo>
                    <a:pt x="129" y="284"/>
                  </a:lnTo>
                  <a:lnTo>
                    <a:pt x="148" y="273"/>
                  </a:lnTo>
                  <a:lnTo>
                    <a:pt x="147" y="254"/>
                  </a:lnTo>
                  <a:lnTo>
                    <a:pt x="146" y="235"/>
                  </a:lnTo>
                  <a:lnTo>
                    <a:pt x="145" y="212"/>
                  </a:lnTo>
                  <a:lnTo>
                    <a:pt x="142" y="192"/>
                  </a:lnTo>
                  <a:lnTo>
                    <a:pt x="135" y="183"/>
                  </a:lnTo>
                  <a:lnTo>
                    <a:pt x="136" y="179"/>
                  </a:lnTo>
                  <a:lnTo>
                    <a:pt x="117" y="163"/>
                  </a:lnTo>
                  <a:lnTo>
                    <a:pt x="108" y="149"/>
                  </a:lnTo>
                  <a:lnTo>
                    <a:pt x="93" y="132"/>
                  </a:lnTo>
                  <a:lnTo>
                    <a:pt x="80" y="115"/>
                  </a:lnTo>
                  <a:lnTo>
                    <a:pt x="52" y="95"/>
                  </a:lnTo>
                  <a:lnTo>
                    <a:pt x="56" y="89"/>
                  </a:lnTo>
                  <a:lnTo>
                    <a:pt x="68" y="84"/>
                  </a:lnTo>
                  <a:lnTo>
                    <a:pt x="66" y="75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88" name="Freeform 16"/>
            <p:cNvSpPr>
              <a:spLocks/>
            </p:cNvSpPr>
            <p:nvPr/>
          </p:nvSpPr>
          <p:spPr bwMode="auto">
            <a:xfrm>
              <a:off x="3374" y="1636"/>
              <a:ext cx="12" cy="27"/>
            </a:xfrm>
            <a:custGeom>
              <a:avLst/>
              <a:gdLst>
                <a:gd name="T0" fmla="*/ 2 w 16"/>
                <a:gd name="T1" fmla="*/ 1 h 38"/>
                <a:gd name="T2" fmla="*/ 2 w 16"/>
                <a:gd name="T3" fmla="*/ 1 h 38"/>
                <a:gd name="T4" fmla="*/ 0 w 16"/>
                <a:gd name="T5" fmla="*/ 1 h 38"/>
                <a:gd name="T6" fmla="*/ 0 w 16"/>
                <a:gd name="T7" fmla="*/ 1 h 38"/>
                <a:gd name="T8" fmla="*/ 2 w 16"/>
                <a:gd name="T9" fmla="*/ 0 h 38"/>
                <a:gd name="T10" fmla="*/ 2 w 16"/>
                <a:gd name="T11" fmla="*/ 1 h 38"/>
                <a:gd name="T12" fmla="*/ 2 w 16"/>
                <a:gd name="T13" fmla="*/ 1 h 3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"/>
                <a:gd name="T22" fmla="*/ 0 h 38"/>
                <a:gd name="T23" fmla="*/ 16 w 16"/>
                <a:gd name="T24" fmla="*/ 38 h 3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" h="38">
                  <a:moveTo>
                    <a:pt x="8" y="37"/>
                  </a:moveTo>
                  <a:lnTo>
                    <a:pt x="7" y="38"/>
                  </a:lnTo>
                  <a:lnTo>
                    <a:pt x="0" y="34"/>
                  </a:lnTo>
                  <a:lnTo>
                    <a:pt x="0" y="12"/>
                  </a:lnTo>
                  <a:lnTo>
                    <a:pt x="7" y="0"/>
                  </a:lnTo>
                  <a:lnTo>
                    <a:pt x="16" y="20"/>
                  </a:lnTo>
                  <a:lnTo>
                    <a:pt x="8" y="3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89" name="Freeform 17"/>
            <p:cNvSpPr>
              <a:spLocks/>
            </p:cNvSpPr>
            <p:nvPr/>
          </p:nvSpPr>
          <p:spPr bwMode="auto">
            <a:xfrm>
              <a:off x="3242" y="1398"/>
              <a:ext cx="314" cy="253"/>
            </a:xfrm>
            <a:custGeom>
              <a:avLst/>
              <a:gdLst>
                <a:gd name="T0" fmla="*/ 1 w 446"/>
                <a:gd name="T1" fmla="*/ 1 h 360"/>
                <a:gd name="T2" fmla="*/ 1 w 446"/>
                <a:gd name="T3" fmla="*/ 1 h 360"/>
                <a:gd name="T4" fmla="*/ 1 w 446"/>
                <a:gd name="T5" fmla="*/ 1 h 360"/>
                <a:gd name="T6" fmla="*/ 1 w 446"/>
                <a:gd name="T7" fmla="*/ 1 h 360"/>
                <a:gd name="T8" fmla="*/ 0 w 446"/>
                <a:gd name="T9" fmla="*/ 1 h 360"/>
                <a:gd name="T10" fmla="*/ 1 w 446"/>
                <a:gd name="T11" fmla="*/ 1 h 360"/>
                <a:gd name="T12" fmla="*/ 1 w 446"/>
                <a:gd name="T13" fmla="*/ 1 h 360"/>
                <a:gd name="T14" fmla="*/ 1 w 446"/>
                <a:gd name="T15" fmla="*/ 1 h 360"/>
                <a:gd name="T16" fmla="*/ 1 w 446"/>
                <a:gd name="T17" fmla="*/ 1 h 360"/>
                <a:gd name="T18" fmla="*/ 1 w 446"/>
                <a:gd name="T19" fmla="*/ 1 h 360"/>
                <a:gd name="T20" fmla="*/ 1 w 446"/>
                <a:gd name="T21" fmla="*/ 1 h 360"/>
                <a:gd name="T22" fmla="*/ 1 w 446"/>
                <a:gd name="T23" fmla="*/ 1 h 360"/>
                <a:gd name="T24" fmla="*/ 1 w 446"/>
                <a:gd name="T25" fmla="*/ 1 h 360"/>
                <a:gd name="T26" fmla="*/ 1 w 446"/>
                <a:gd name="T27" fmla="*/ 1 h 360"/>
                <a:gd name="T28" fmla="*/ 2 w 446"/>
                <a:gd name="T29" fmla="*/ 1 h 360"/>
                <a:gd name="T30" fmla="*/ 2 w 446"/>
                <a:gd name="T31" fmla="*/ 1 h 360"/>
                <a:gd name="T32" fmla="*/ 3 w 446"/>
                <a:gd name="T33" fmla="*/ 1 h 360"/>
                <a:gd name="T34" fmla="*/ 3 w 446"/>
                <a:gd name="T35" fmla="*/ 1 h 360"/>
                <a:gd name="T36" fmla="*/ 3 w 446"/>
                <a:gd name="T37" fmla="*/ 1 h 360"/>
                <a:gd name="T38" fmla="*/ 3 w 446"/>
                <a:gd name="T39" fmla="*/ 1 h 360"/>
                <a:gd name="T40" fmla="*/ 3 w 446"/>
                <a:gd name="T41" fmla="*/ 1 h 360"/>
                <a:gd name="T42" fmla="*/ 3 w 446"/>
                <a:gd name="T43" fmla="*/ 1 h 360"/>
                <a:gd name="T44" fmla="*/ 3 w 446"/>
                <a:gd name="T45" fmla="*/ 2 h 360"/>
                <a:gd name="T46" fmla="*/ 3 w 446"/>
                <a:gd name="T47" fmla="*/ 2 h 360"/>
                <a:gd name="T48" fmla="*/ 3 w 446"/>
                <a:gd name="T49" fmla="*/ 2 h 360"/>
                <a:gd name="T50" fmla="*/ 3 w 446"/>
                <a:gd name="T51" fmla="*/ 2 h 360"/>
                <a:gd name="T52" fmla="*/ 3 w 446"/>
                <a:gd name="T53" fmla="*/ 3 h 360"/>
                <a:gd name="T54" fmla="*/ 3 w 446"/>
                <a:gd name="T55" fmla="*/ 3 h 360"/>
                <a:gd name="T56" fmla="*/ 3 w 446"/>
                <a:gd name="T57" fmla="*/ 3 h 360"/>
                <a:gd name="T58" fmla="*/ 2 w 446"/>
                <a:gd name="T59" fmla="*/ 2 h 360"/>
                <a:gd name="T60" fmla="*/ 2 w 446"/>
                <a:gd name="T61" fmla="*/ 2 h 360"/>
                <a:gd name="T62" fmla="*/ 2 w 446"/>
                <a:gd name="T63" fmla="*/ 2 h 360"/>
                <a:gd name="T64" fmla="*/ 1 w 446"/>
                <a:gd name="T65" fmla="*/ 2 h 360"/>
                <a:gd name="T66" fmla="*/ 1 w 446"/>
                <a:gd name="T67" fmla="*/ 2 h 360"/>
                <a:gd name="T68" fmla="*/ 1 w 446"/>
                <a:gd name="T69" fmla="*/ 2 h 360"/>
                <a:gd name="T70" fmla="*/ 1 w 446"/>
                <a:gd name="T71" fmla="*/ 1 h 360"/>
                <a:gd name="T72" fmla="*/ 1 w 446"/>
                <a:gd name="T73" fmla="*/ 2 h 360"/>
                <a:gd name="T74" fmla="*/ 1 w 446"/>
                <a:gd name="T75" fmla="*/ 1 h 360"/>
                <a:gd name="T76" fmla="*/ 1 w 446"/>
                <a:gd name="T77" fmla="*/ 1 h 360"/>
                <a:gd name="T78" fmla="*/ 1 w 446"/>
                <a:gd name="T79" fmla="*/ 1 h 3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446"/>
                <a:gd name="T121" fmla="*/ 0 h 360"/>
                <a:gd name="T122" fmla="*/ 446 w 446"/>
                <a:gd name="T123" fmla="*/ 360 h 36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446" h="360">
                  <a:moveTo>
                    <a:pt x="62" y="163"/>
                  </a:moveTo>
                  <a:lnTo>
                    <a:pt x="50" y="146"/>
                  </a:lnTo>
                  <a:lnTo>
                    <a:pt x="48" y="133"/>
                  </a:lnTo>
                  <a:lnTo>
                    <a:pt x="56" y="110"/>
                  </a:lnTo>
                  <a:lnTo>
                    <a:pt x="55" y="98"/>
                  </a:lnTo>
                  <a:lnTo>
                    <a:pt x="40" y="91"/>
                  </a:lnTo>
                  <a:lnTo>
                    <a:pt x="20" y="62"/>
                  </a:lnTo>
                  <a:lnTo>
                    <a:pt x="7" y="45"/>
                  </a:lnTo>
                  <a:lnTo>
                    <a:pt x="2" y="20"/>
                  </a:lnTo>
                  <a:lnTo>
                    <a:pt x="0" y="7"/>
                  </a:lnTo>
                  <a:lnTo>
                    <a:pt x="8" y="0"/>
                  </a:lnTo>
                  <a:lnTo>
                    <a:pt x="10" y="2"/>
                  </a:lnTo>
                  <a:lnTo>
                    <a:pt x="14" y="6"/>
                  </a:lnTo>
                  <a:lnTo>
                    <a:pt x="39" y="20"/>
                  </a:lnTo>
                  <a:lnTo>
                    <a:pt x="55" y="13"/>
                  </a:lnTo>
                  <a:lnTo>
                    <a:pt x="75" y="1"/>
                  </a:lnTo>
                  <a:lnTo>
                    <a:pt x="81" y="14"/>
                  </a:lnTo>
                  <a:lnTo>
                    <a:pt x="79" y="19"/>
                  </a:lnTo>
                  <a:lnTo>
                    <a:pt x="98" y="31"/>
                  </a:lnTo>
                  <a:lnTo>
                    <a:pt x="110" y="54"/>
                  </a:lnTo>
                  <a:lnTo>
                    <a:pt x="133" y="63"/>
                  </a:lnTo>
                  <a:lnTo>
                    <a:pt x="153" y="69"/>
                  </a:lnTo>
                  <a:lnTo>
                    <a:pt x="172" y="77"/>
                  </a:lnTo>
                  <a:lnTo>
                    <a:pt x="192" y="73"/>
                  </a:lnTo>
                  <a:lnTo>
                    <a:pt x="205" y="71"/>
                  </a:lnTo>
                  <a:lnTo>
                    <a:pt x="210" y="67"/>
                  </a:lnTo>
                  <a:lnTo>
                    <a:pt x="206" y="59"/>
                  </a:lnTo>
                  <a:lnTo>
                    <a:pt x="213" y="59"/>
                  </a:lnTo>
                  <a:lnTo>
                    <a:pt x="228" y="43"/>
                  </a:lnTo>
                  <a:lnTo>
                    <a:pt x="252" y="41"/>
                  </a:lnTo>
                  <a:lnTo>
                    <a:pt x="271" y="38"/>
                  </a:lnTo>
                  <a:lnTo>
                    <a:pt x="304" y="50"/>
                  </a:lnTo>
                  <a:lnTo>
                    <a:pt x="322" y="62"/>
                  </a:lnTo>
                  <a:lnTo>
                    <a:pt x="339" y="73"/>
                  </a:lnTo>
                  <a:lnTo>
                    <a:pt x="358" y="75"/>
                  </a:lnTo>
                  <a:lnTo>
                    <a:pt x="367" y="102"/>
                  </a:lnTo>
                  <a:lnTo>
                    <a:pt x="362" y="129"/>
                  </a:lnTo>
                  <a:lnTo>
                    <a:pt x="361" y="133"/>
                  </a:lnTo>
                  <a:lnTo>
                    <a:pt x="361" y="146"/>
                  </a:lnTo>
                  <a:lnTo>
                    <a:pt x="369" y="152"/>
                  </a:lnTo>
                  <a:lnTo>
                    <a:pt x="367" y="157"/>
                  </a:lnTo>
                  <a:lnTo>
                    <a:pt x="372" y="177"/>
                  </a:lnTo>
                  <a:lnTo>
                    <a:pt x="377" y="199"/>
                  </a:lnTo>
                  <a:lnTo>
                    <a:pt x="396" y="206"/>
                  </a:lnTo>
                  <a:lnTo>
                    <a:pt x="401" y="215"/>
                  </a:lnTo>
                  <a:lnTo>
                    <a:pt x="385" y="243"/>
                  </a:lnTo>
                  <a:lnTo>
                    <a:pt x="401" y="260"/>
                  </a:lnTo>
                  <a:lnTo>
                    <a:pt x="415" y="277"/>
                  </a:lnTo>
                  <a:lnTo>
                    <a:pt x="432" y="284"/>
                  </a:lnTo>
                  <a:lnTo>
                    <a:pt x="439" y="309"/>
                  </a:lnTo>
                  <a:lnTo>
                    <a:pt x="445" y="313"/>
                  </a:lnTo>
                  <a:lnTo>
                    <a:pt x="446" y="324"/>
                  </a:lnTo>
                  <a:lnTo>
                    <a:pt x="427" y="331"/>
                  </a:lnTo>
                  <a:lnTo>
                    <a:pt x="419" y="341"/>
                  </a:lnTo>
                  <a:lnTo>
                    <a:pt x="417" y="360"/>
                  </a:lnTo>
                  <a:lnTo>
                    <a:pt x="395" y="356"/>
                  </a:lnTo>
                  <a:lnTo>
                    <a:pt x="371" y="353"/>
                  </a:lnTo>
                  <a:lnTo>
                    <a:pt x="346" y="349"/>
                  </a:lnTo>
                  <a:lnTo>
                    <a:pt x="324" y="345"/>
                  </a:lnTo>
                  <a:lnTo>
                    <a:pt x="315" y="329"/>
                  </a:lnTo>
                  <a:lnTo>
                    <a:pt x="306" y="311"/>
                  </a:lnTo>
                  <a:lnTo>
                    <a:pt x="289" y="318"/>
                  </a:lnTo>
                  <a:lnTo>
                    <a:pt x="271" y="325"/>
                  </a:lnTo>
                  <a:lnTo>
                    <a:pt x="238" y="318"/>
                  </a:lnTo>
                  <a:lnTo>
                    <a:pt x="219" y="306"/>
                  </a:lnTo>
                  <a:lnTo>
                    <a:pt x="200" y="294"/>
                  </a:lnTo>
                  <a:lnTo>
                    <a:pt x="183" y="278"/>
                  </a:lnTo>
                  <a:lnTo>
                    <a:pt x="172" y="263"/>
                  </a:lnTo>
                  <a:lnTo>
                    <a:pt x="153" y="235"/>
                  </a:lnTo>
                  <a:lnTo>
                    <a:pt x="145" y="236"/>
                  </a:lnTo>
                  <a:lnTo>
                    <a:pt x="135" y="230"/>
                  </a:lnTo>
                  <a:lnTo>
                    <a:pt x="134" y="228"/>
                  </a:lnTo>
                  <a:lnTo>
                    <a:pt x="128" y="240"/>
                  </a:lnTo>
                  <a:lnTo>
                    <a:pt x="126" y="241"/>
                  </a:lnTo>
                  <a:lnTo>
                    <a:pt x="118" y="233"/>
                  </a:lnTo>
                  <a:lnTo>
                    <a:pt x="111" y="216"/>
                  </a:lnTo>
                  <a:lnTo>
                    <a:pt x="104" y="216"/>
                  </a:lnTo>
                  <a:lnTo>
                    <a:pt x="104" y="195"/>
                  </a:lnTo>
                  <a:lnTo>
                    <a:pt x="96" y="185"/>
                  </a:lnTo>
                  <a:lnTo>
                    <a:pt x="79" y="174"/>
                  </a:lnTo>
                  <a:lnTo>
                    <a:pt x="62" y="16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90" name="Freeform 18"/>
            <p:cNvSpPr>
              <a:spLocks/>
            </p:cNvSpPr>
            <p:nvPr/>
          </p:nvSpPr>
          <p:spPr bwMode="auto">
            <a:xfrm>
              <a:off x="3179" y="1440"/>
              <a:ext cx="152" cy="144"/>
            </a:xfrm>
            <a:custGeom>
              <a:avLst/>
              <a:gdLst>
                <a:gd name="T0" fmla="*/ 1 w 216"/>
                <a:gd name="T1" fmla="*/ 1 h 203"/>
                <a:gd name="T2" fmla="*/ 1 w 216"/>
                <a:gd name="T3" fmla="*/ 1 h 203"/>
                <a:gd name="T4" fmla="*/ 1 w 216"/>
                <a:gd name="T5" fmla="*/ 1 h 203"/>
                <a:gd name="T6" fmla="*/ 1 w 216"/>
                <a:gd name="T7" fmla="*/ 1 h 203"/>
                <a:gd name="T8" fmla="*/ 1 w 216"/>
                <a:gd name="T9" fmla="*/ 1 h 203"/>
                <a:gd name="T10" fmla="*/ 1 w 216"/>
                <a:gd name="T11" fmla="*/ 1 h 203"/>
                <a:gd name="T12" fmla="*/ 1 w 216"/>
                <a:gd name="T13" fmla="*/ 1 h 203"/>
                <a:gd name="T14" fmla="*/ 1 w 216"/>
                <a:gd name="T15" fmla="*/ 0 h 203"/>
                <a:gd name="T16" fmla="*/ 1 w 216"/>
                <a:gd name="T17" fmla="*/ 0 h 203"/>
                <a:gd name="T18" fmla="*/ 1 w 216"/>
                <a:gd name="T19" fmla="*/ 1 h 203"/>
                <a:gd name="T20" fmla="*/ 1 w 216"/>
                <a:gd name="T21" fmla="*/ 1 h 203"/>
                <a:gd name="T22" fmla="*/ 1 w 216"/>
                <a:gd name="T23" fmla="*/ 1 h 203"/>
                <a:gd name="T24" fmla="*/ 1 w 216"/>
                <a:gd name="T25" fmla="*/ 1 h 203"/>
                <a:gd name="T26" fmla="*/ 1 w 216"/>
                <a:gd name="T27" fmla="*/ 1 h 203"/>
                <a:gd name="T28" fmla="*/ 0 w 216"/>
                <a:gd name="T29" fmla="*/ 1 h 203"/>
                <a:gd name="T30" fmla="*/ 1 w 216"/>
                <a:gd name="T31" fmla="*/ 1 h 203"/>
                <a:gd name="T32" fmla="*/ 1 w 216"/>
                <a:gd name="T33" fmla="*/ 1 h 203"/>
                <a:gd name="T34" fmla="*/ 1 w 216"/>
                <a:gd name="T35" fmla="*/ 1 h 203"/>
                <a:gd name="T36" fmla="*/ 1 w 216"/>
                <a:gd name="T37" fmla="*/ 1 h 203"/>
                <a:gd name="T38" fmla="*/ 1 w 216"/>
                <a:gd name="T39" fmla="*/ 1 h 203"/>
                <a:gd name="T40" fmla="*/ 1 w 216"/>
                <a:gd name="T41" fmla="*/ 1 h 203"/>
                <a:gd name="T42" fmla="*/ 1 w 216"/>
                <a:gd name="T43" fmla="*/ 1 h 203"/>
                <a:gd name="T44" fmla="*/ 1 w 216"/>
                <a:gd name="T45" fmla="*/ 1 h 203"/>
                <a:gd name="T46" fmla="*/ 1 w 216"/>
                <a:gd name="T47" fmla="*/ 1 h 203"/>
                <a:gd name="T48" fmla="*/ 1 w 216"/>
                <a:gd name="T49" fmla="*/ 1 h 203"/>
                <a:gd name="T50" fmla="*/ 1 w 216"/>
                <a:gd name="T51" fmla="*/ 1 h 203"/>
                <a:gd name="T52" fmla="*/ 1 w 216"/>
                <a:gd name="T53" fmla="*/ 1 h 203"/>
                <a:gd name="T54" fmla="*/ 1 w 216"/>
                <a:gd name="T55" fmla="*/ 1 h 203"/>
                <a:gd name="T56" fmla="*/ 1 w 216"/>
                <a:gd name="T57" fmla="*/ 1 h 203"/>
                <a:gd name="T58" fmla="*/ 1 w 216"/>
                <a:gd name="T59" fmla="*/ 1 h 203"/>
                <a:gd name="T60" fmla="*/ 1 w 216"/>
                <a:gd name="T61" fmla="*/ 1 h 203"/>
                <a:gd name="T62" fmla="*/ 1 w 216"/>
                <a:gd name="T63" fmla="*/ 1 h 203"/>
                <a:gd name="T64" fmla="*/ 1 w 216"/>
                <a:gd name="T65" fmla="*/ 1 h 203"/>
                <a:gd name="T66" fmla="*/ 1 w 216"/>
                <a:gd name="T67" fmla="*/ 1 h 20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03"/>
                <a:gd name="T104" fmla="*/ 216 w 216"/>
                <a:gd name="T105" fmla="*/ 203 h 20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03">
                  <a:moveTo>
                    <a:pt x="140" y="86"/>
                  </a:moveTo>
                  <a:lnTo>
                    <a:pt x="138" y="73"/>
                  </a:lnTo>
                  <a:lnTo>
                    <a:pt x="146" y="50"/>
                  </a:lnTo>
                  <a:lnTo>
                    <a:pt x="145" y="38"/>
                  </a:lnTo>
                  <a:lnTo>
                    <a:pt x="130" y="31"/>
                  </a:lnTo>
                  <a:lnTo>
                    <a:pt x="110" y="2"/>
                  </a:lnTo>
                  <a:lnTo>
                    <a:pt x="98" y="5"/>
                  </a:lnTo>
                  <a:lnTo>
                    <a:pt x="93" y="0"/>
                  </a:lnTo>
                  <a:lnTo>
                    <a:pt x="66" y="0"/>
                  </a:lnTo>
                  <a:lnTo>
                    <a:pt x="61" y="5"/>
                  </a:lnTo>
                  <a:lnTo>
                    <a:pt x="42" y="23"/>
                  </a:lnTo>
                  <a:lnTo>
                    <a:pt x="43" y="47"/>
                  </a:lnTo>
                  <a:lnTo>
                    <a:pt x="43" y="71"/>
                  </a:lnTo>
                  <a:lnTo>
                    <a:pt x="21" y="84"/>
                  </a:lnTo>
                  <a:lnTo>
                    <a:pt x="0" y="97"/>
                  </a:lnTo>
                  <a:lnTo>
                    <a:pt x="14" y="125"/>
                  </a:lnTo>
                  <a:lnTo>
                    <a:pt x="34" y="134"/>
                  </a:lnTo>
                  <a:lnTo>
                    <a:pt x="55" y="144"/>
                  </a:lnTo>
                  <a:lnTo>
                    <a:pt x="75" y="153"/>
                  </a:lnTo>
                  <a:lnTo>
                    <a:pt x="96" y="162"/>
                  </a:lnTo>
                  <a:lnTo>
                    <a:pt x="115" y="181"/>
                  </a:lnTo>
                  <a:lnTo>
                    <a:pt x="136" y="200"/>
                  </a:lnTo>
                  <a:lnTo>
                    <a:pt x="176" y="203"/>
                  </a:lnTo>
                  <a:lnTo>
                    <a:pt x="186" y="182"/>
                  </a:lnTo>
                  <a:lnTo>
                    <a:pt x="202" y="180"/>
                  </a:lnTo>
                  <a:lnTo>
                    <a:pt x="216" y="181"/>
                  </a:lnTo>
                  <a:lnTo>
                    <a:pt x="208" y="173"/>
                  </a:lnTo>
                  <a:lnTo>
                    <a:pt x="201" y="156"/>
                  </a:lnTo>
                  <a:lnTo>
                    <a:pt x="194" y="156"/>
                  </a:lnTo>
                  <a:lnTo>
                    <a:pt x="194" y="135"/>
                  </a:lnTo>
                  <a:lnTo>
                    <a:pt x="186" y="125"/>
                  </a:lnTo>
                  <a:lnTo>
                    <a:pt x="169" y="114"/>
                  </a:lnTo>
                  <a:lnTo>
                    <a:pt x="152" y="103"/>
                  </a:lnTo>
                  <a:lnTo>
                    <a:pt x="140" y="86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91" name="Freeform 19"/>
            <p:cNvSpPr>
              <a:spLocks/>
            </p:cNvSpPr>
            <p:nvPr/>
          </p:nvSpPr>
          <p:spPr bwMode="auto">
            <a:xfrm>
              <a:off x="3303" y="1567"/>
              <a:ext cx="28" cy="25"/>
            </a:xfrm>
            <a:custGeom>
              <a:avLst/>
              <a:gdLst>
                <a:gd name="T0" fmla="*/ 1 w 41"/>
                <a:gd name="T1" fmla="*/ 1 h 36"/>
                <a:gd name="T2" fmla="*/ 1 w 41"/>
                <a:gd name="T3" fmla="*/ 1 h 36"/>
                <a:gd name="T4" fmla="*/ 1 w 41"/>
                <a:gd name="T5" fmla="*/ 1 h 36"/>
                <a:gd name="T6" fmla="*/ 1 w 41"/>
                <a:gd name="T7" fmla="*/ 1 h 36"/>
                <a:gd name="T8" fmla="*/ 1 w 41"/>
                <a:gd name="T9" fmla="*/ 1 h 36"/>
                <a:gd name="T10" fmla="*/ 1 w 41"/>
                <a:gd name="T11" fmla="*/ 1 h 36"/>
                <a:gd name="T12" fmla="*/ 0 w 41"/>
                <a:gd name="T13" fmla="*/ 1 h 36"/>
                <a:gd name="T14" fmla="*/ 1 w 41"/>
                <a:gd name="T15" fmla="*/ 1 h 36"/>
                <a:gd name="T16" fmla="*/ 1 w 41"/>
                <a:gd name="T17" fmla="*/ 0 h 36"/>
                <a:gd name="T18" fmla="*/ 1 w 41"/>
                <a:gd name="T19" fmla="*/ 1 h 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1"/>
                <a:gd name="T31" fmla="*/ 0 h 36"/>
                <a:gd name="T32" fmla="*/ 41 w 41"/>
                <a:gd name="T33" fmla="*/ 36 h 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1" h="36">
                  <a:moveTo>
                    <a:pt x="32" y="11"/>
                  </a:moveTo>
                  <a:lnTo>
                    <a:pt x="26" y="12"/>
                  </a:lnTo>
                  <a:lnTo>
                    <a:pt x="28" y="17"/>
                  </a:lnTo>
                  <a:lnTo>
                    <a:pt x="41" y="36"/>
                  </a:lnTo>
                  <a:lnTo>
                    <a:pt x="23" y="32"/>
                  </a:lnTo>
                  <a:lnTo>
                    <a:pt x="19" y="25"/>
                  </a:lnTo>
                  <a:lnTo>
                    <a:pt x="0" y="23"/>
                  </a:lnTo>
                  <a:lnTo>
                    <a:pt x="10" y="2"/>
                  </a:lnTo>
                  <a:lnTo>
                    <a:pt x="26" y="0"/>
                  </a:lnTo>
                  <a:lnTo>
                    <a:pt x="32" y="1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92" name="Freeform 20"/>
            <p:cNvSpPr>
              <a:spLocks/>
            </p:cNvSpPr>
            <p:nvPr/>
          </p:nvSpPr>
          <p:spPr bwMode="auto">
            <a:xfrm>
              <a:off x="3802" y="1560"/>
              <a:ext cx="126" cy="69"/>
            </a:xfrm>
            <a:custGeom>
              <a:avLst/>
              <a:gdLst>
                <a:gd name="T0" fmla="*/ 1 w 180"/>
                <a:gd name="T1" fmla="*/ 1 h 98"/>
                <a:gd name="T2" fmla="*/ 1 w 180"/>
                <a:gd name="T3" fmla="*/ 1 h 98"/>
                <a:gd name="T4" fmla="*/ 1 w 180"/>
                <a:gd name="T5" fmla="*/ 1 h 98"/>
                <a:gd name="T6" fmla="*/ 1 w 180"/>
                <a:gd name="T7" fmla="*/ 1 h 98"/>
                <a:gd name="T8" fmla="*/ 0 w 180"/>
                <a:gd name="T9" fmla="*/ 1 h 98"/>
                <a:gd name="T10" fmla="*/ 0 w 180"/>
                <a:gd name="T11" fmla="*/ 1 h 98"/>
                <a:gd name="T12" fmla="*/ 1 w 180"/>
                <a:gd name="T13" fmla="*/ 1 h 98"/>
                <a:gd name="T14" fmla="*/ 1 w 180"/>
                <a:gd name="T15" fmla="*/ 1 h 98"/>
                <a:gd name="T16" fmla="*/ 1 w 180"/>
                <a:gd name="T17" fmla="*/ 0 h 98"/>
                <a:gd name="T18" fmla="*/ 1 w 180"/>
                <a:gd name="T19" fmla="*/ 1 h 98"/>
                <a:gd name="T20" fmla="*/ 1 w 180"/>
                <a:gd name="T21" fmla="*/ 1 h 98"/>
                <a:gd name="T22" fmla="*/ 1 w 180"/>
                <a:gd name="T23" fmla="*/ 1 h 98"/>
                <a:gd name="T24" fmla="*/ 1 w 180"/>
                <a:gd name="T25" fmla="*/ 1 h 98"/>
                <a:gd name="T26" fmla="*/ 1 w 180"/>
                <a:gd name="T27" fmla="*/ 1 h 98"/>
                <a:gd name="T28" fmla="*/ 1 w 180"/>
                <a:gd name="T29" fmla="*/ 1 h 98"/>
                <a:gd name="T30" fmla="*/ 1 w 180"/>
                <a:gd name="T31" fmla="*/ 1 h 98"/>
                <a:gd name="T32" fmla="*/ 1 w 180"/>
                <a:gd name="T33" fmla="*/ 1 h 98"/>
                <a:gd name="T34" fmla="*/ 1 w 180"/>
                <a:gd name="T35" fmla="*/ 1 h 98"/>
                <a:gd name="T36" fmla="*/ 1 w 180"/>
                <a:gd name="T37" fmla="*/ 1 h 98"/>
                <a:gd name="T38" fmla="*/ 1 w 180"/>
                <a:gd name="T39" fmla="*/ 1 h 98"/>
                <a:gd name="T40" fmla="*/ 1 w 180"/>
                <a:gd name="T41" fmla="*/ 1 h 98"/>
                <a:gd name="T42" fmla="*/ 1 w 180"/>
                <a:gd name="T43" fmla="*/ 1 h 98"/>
                <a:gd name="T44" fmla="*/ 1 w 180"/>
                <a:gd name="T45" fmla="*/ 1 h 9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80"/>
                <a:gd name="T70" fmla="*/ 0 h 98"/>
                <a:gd name="T71" fmla="*/ 180 w 180"/>
                <a:gd name="T72" fmla="*/ 98 h 9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80" h="98">
                  <a:moveTo>
                    <a:pt x="102" y="78"/>
                  </a:moveTo>
                  <a:lnTo>
                    <a:pt x="74" y="74"/>
                  </a:lnTo>
                  <a:lnTo>
                    <a:pt x="54" y="70"/>
                  </a:lnTo>
                  <a:lnTo>
                    <a:pt x="26" y="55"/>
                  </a:lnTo>
                  <a:lnTo>
                    <a:pt x="0" y="42"/>
                  </a:lnTo>
                  <a:lnTo>
                    <a:pt x="0" y="26"/>
                  </a:lnTo>
                  <a:lnTo>
                    <a:pt x="12" y="6"/>
                  </a:lnTo>
                  <a:lnTo>
                    <a:pt x="13" y="8"/>
                  </a:lnTo>
                  <a:lnTo>
                    <a:pt x="22" y="0"/>
                  </a:lnTo>
                  <a:lnTo>
                    <a:pt x="39" y="11"/>
                  </a:lnTo>
                  <a:lnTo>
                    <a:pt x="67" y="32"/>
                  </a:lnTo>
                  <a:lnTo>
                    <a:pt x="75" y="29"/>
                  </a:lnTo>
                  <a:lnTo>
                    <a:pt x="82" y="37"/>
                  </a:lnTo>
                  <a:lnTo>
                    <a:pt x="103" y="46"/>
                  </a:lnTo>
                  <a:lnTo>
                    <a:pt x="105" y="50"/>
                  </a:lnTo>
                  <a:lnTo>
                    <a:pt x="128" y="59"/>
                  </a:lnTo>
                  <a:lnTo>
                    <a:pt x="146" y="62"/>
                  </a:lnTo>
                  <a:lnTo>
                    <a:pt x="172" y="65"/>
                  </a:lnTo>
                  <a:lnTo>
                    <a:pt x="180" y="98"/>
                  </a:lnTo>
                  <a:lnTo>
                    <a:pt x="156" y="97"/>
                  </a:lnTo>
                  <a:lnTo>
                    <a:pt x="128" y="94"/>
                  </a:lnTo>
                  <a:lnTo>
                    <a:pt x="111" y="90"/>
                  </a:lnTo>
                  <a:lnTo>
                    <a:pt x="102" y="7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93" name="Freeform 21"/>
            <p:cNvSpPr>
              <a:spLocks/>
            </p:cNvSpPr>
            <p:nvPr/>
          </p:nvSpPr>
          <p:spPr bwMode="auto">
            <a:xfrm>
              <a:off x="3512" y="1445"/>
              <a:ext cx="228" cy="232"/>
            </a:xfrm>
            <a:custGeom>
              <a:avLst/>
              <a:gdLst>
                <a:gd name="T0" fmla="*/ 1 w 324"/>
                <a:gd name="T1" fmla="*/ 2 h 329"/>
                <a:gd name="T2" fmla="*/ 1 w 324"/>
                <a:gd name="T3" fmla="*/ 3 h 329"/>
                <a:gd name="T4" fmla="*/ 1 w 324"/>
                <a:gd name="T5" fmla="*/ 3 h 329"/>
                <a:gd name="T6" fmla="*/ 1 w 324"/>
                <a:gd name="T7" fmla="*/ 3 h 329"/>
                <a:gd name="T8" fmla="*/ 2 w 324"/>
                <a:gd name="T9" fmla="*/ 3 h 329"/>
                <a:gd name="T10" fmla="*/ 1 w 324"/>
                <a:gd name="T11" fmla="*/ 2 h 329"/>
                <a:gd name="T12" fmla="*/ 1 w 324"/>
                <a:gd name="T13" fmla="*/ 2 h 329"/>
                <a:gd name="T14" fmla="*/ 1 w 324"/>
                <a:gd name="T15" fmla="*/ 2 h 329"/>
                <a:gd name="T16" fmla="*/ 2 w 324"/>
                <a:gd name="T17" fmla="*/ 1 h 329"/>
                <a:gd name="T18" fmla="*/ 2 w 324"/>
                <a:gd name="T19" fmla="*/ 1 h 329"/>
                <a:gd name="T20" fmla="*/ 2 w 324"/>
                <a:gd name="T21" fmla="*/ 1 h 329"/>
                <a:gd name="T22" fmla="*/ 2 w 324"/>
                <a:gd name="T23" fmla="*/ 1 h 329"/>
                <a:gd name="T24" fmla="*/ 2 w 324"/>
                <a:gd name="T25" fmla="*/ 1 h 329"/>
                <a:gd name="T26" fmla="*/ 2 w 324"/>
                <a:gd name="T27" fmla="*/ 1 h 329"/>
                <a:gd name="T28" fmla="*/ 2 w 324"/>
                <a:gd name="T29" fmla="*/ 1 h 329"/>
                <a:gd name="T30" fmla="*/ 2 w 324"/>
                <a:gd name="T31" fmla="*/ 1 h 329"/>
                <a:gd name="T32" fmla="*/ 2 w 324"/>
                <a:gd name="T33" fmla="*/ 1 h 329"/>
                <a:gd name="T34" fmla="*/ 2 w 324"/>
                <a:gd name="T35" fmla="*/ 1 h 329"/>
                <a:gd name="T36" fmla="*/ 1 w 324"/>
                <a:gd name="T37" fmla="*/ 1 h 329"/>
                <a:gd name="T38" fmla="*/ 1 w 324"/>
                <a:gd name="T39" fmla="*/ 1 h 329"/>
                <a:gd name="T40" fmla="*/ 1 w 324"/>
                <a:gd name="T41" fmla="*/ 1 h 329"/>
                <a:gd name="T42" fmla="*/ 1 w 324"/>
                <a:gd name="T43" fmla="*/ 1 h 329"/>
                <a:gd name="T44" fmla="*/ 1 w 324"/>
                <a:gd name="T45" fmla="*/ 1 h 329"/>
                <a:gd name="T46" fmla="*/ 1 w 324"/>
                <a:gd name="T47" fmla="*/ 1 h 329"/>
                <a:gd name="T48" fmla="*/ 1 w 324"/>
                <a:gd name="T49" fmla="*/ 1 h 329"/>
                <a:gd name="T50" fmla="*/ 1 w 324"/>
                <a:gd name="T51" fmla="*/ 1 h 329"/>
                <a:gd name="T52" fmla="*/ 1 w 324"/>
                <a:gd name="T53" fmla="*/ 1 h 329"/>
                <a:gd name="T54" fmla="*/ 1 w 324"/>
                <a:gd name="T55" fmla="*/ 1 h 329"/>
                <a:gd name="T56" fmla="*/ 1 w 324"/>
                <a:gd name="T57" fmla="*/ 1 h 329"/>
                <a:gd name="T58" fmla="*/ 1 w 324"/>
                <a:gd name="T59" fmla="*/ 1 h 329"/>
                <a:gd name="T60" fmla="*/ 1 w 324"/>
                <a:gd name="T61" fmla="*/ 2 h 329"/>
                <a:gd name="T62" fmla="*/ 1 w 324"/>
                <a:gd name="T63" fmla="*/ 2 h 329"/>
                <a:gd name="T64" fmla="*/ 1 w 324"/>
                <a:gd name="T65" fmla="*/ 2 h 329"/>
                <a:gd name="T66" fmla="*/ 1 w 324"/>
                <a:gd name="T67" fmla="*/ 2 h 329"/>
                <a:gd name="T68" fmla="*/ 1 w 324"/>
                <a:gd name="T69" fmla="*/ 2 h 32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24"/>
                <a:gd name="T106" fmla="*/ 0 h 329"/>
                <a:gd name="T107" fmla="*/ 324 w 324"/>
                <a:gd name="T108" fmla="*/ 329 h 32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24" h="329">
                  <a:moveTo>
                    <a:pt x="133" y="288"/>
                  </a:moveTo>
                  <a:lnTo>
                    <a:pt x="142" y="300"/>
                  </a:lnTo>
                  <a:lnTo>
                    <a:pt x="149" y="303"/>
                  </a:lnTo>
                  <a:lnTo>
                    <a:pt x="161" y="323"/>
                  </a:lnTo>
                  <a:lnTo>
                    <a:pt x="176" y="329"/>
                  </a:lnTo>
                  <a:lnTo>
                    <a:pt x="188" y="324"/>
                  </a:lnTo>
                  <a:lnTo>
                    <a:pt x="187" y="315"/>
                  </a:lnTo>
                  <a:lnTo>
                    <a:pt x="205" y="317"/>
                  </a:lnTo>
                  <a:lnTo>
                    <a:pt x="227" y="313"/>
                  </a:lnTo>
                  <a:lnTo>
                    <a:pt x="234" y="314"/>
                  </a:lnTo>
                  <a:lnTo>
                    <a:pt x="223" y="282"/>
                  </a:lnTo>
                  <a:lnTo>
                    <a:pt x="215" y="281"/>
                  </a:lnTo>
                  <a:lnTo>
                    <a:pt x="210" y="264"/>
                  </a:lnTo>
                  <a:lnTo>
                    <a:pt x="194" y="255"/>
                  </a:lnTo>
                  <a:lnTo>
                    <a:pt x="206" y="225"/>
                  </a:lnTo>
                  <a:lnTo>
                    <a:pt x="215" y="228"/>
                  </a:lnTo>
                  <a:lnTo>
                    <a:pt x="235" y="227"/>
                  </a:lnTo>
                  <a:lnTo>
                    <a:pt x="248" y="206"/>
                  </a:lnTo>
                  <a:lnTo>
                    <a:pt x="263" y="185"/>
                  </a:lnTo>
                  <a:lnTo>
                    <a:pt x="274" y="167"/>
                  </a:lnTo>
                  <a:lnTo>
                    <a:pt x="282" y="150"/>
                  </a:lnTo>
                  <a:lnTo>
                    <a:pt x="277" y="132"/>
                  </a:lnTo>
                  <a:lnTo>
                    <a:pt x="292" y="121"/>
                  </a:lnTo>
                  <a:lnTo>
                    <a:pt x="282" y="114"/>
                  </a:lnTo>
                  <a:lnTo>
                    <a:pt x="274" y="104"/>
                  </a:lnTo>
                  <a:lnTo>
                    <a:pt x="264" y="98"/>
                  </a:lnTo>
                  <a:lnTo>
                    <a:pt x="259" y="85"/>
                  </a:lnTo>
                  <a:lnTo>
                    <a:pt x="259" y="78"/>
                  </a:lnTo>
                  <a:lnTo>
                    <a:pt x="250" y="67"/>
                  </a:lnTo>
                  <a:lnTo>
                    <a:pt x="250" y="59"/>
                  </a:lnTo>
                  <a:lnTo>
                    <a:pt x="280" y="62"/>
                  </a:lnTo>
                  <a:lnTo>
                    <a:pt x="304" y="56"/>
                  </a:lnTo>
                  <a:lnTo>
                    <a:pt x="324" y="38"/>
                  </a:lnTo>
                  <a:lnTo>
                    <a:pt x="295" y="30"/>
                  </a:lnTo>
                  <a:lnTo>
                    <a:pt x="280" y="23"/>
                  </a:lnTo>
                  <a:lnTo>
                    <a:pt x="270" y="7"/>
                  </a:lnTo>
                  <a:lnTo>
                    <a:pt x="246" y="0"/>
                  </a:lnTo>
                  <a:lnTo>
                    <a:pt x="221" y="6"/>
                  </a:lnTo>
                  <a:lnTo>
                    <a:pt x="197" y="11"/>
                  </a:lnTo>
                  <a:lnTo>
                    <a:pt x="186" y="26"/>
                  </a:lnTo>
                  <a:lnTo>
                    <a:pt x="197" y="48"/>
                  </a:lnTo>
                  <a:lnTo>
                    <a:pt x="191" y="66"/>
                  </a:lnTo>
                  <a:lnTo>
                    <a:pt x="187" y="77"/>
                  </a:lnTo>
                  <a:lnTo>
                    <a:pt x="169" y="78"/>
                  </a:lnTo>
                  <a:lnTo>
                    <a:pt x="181" y="92"/>
                  </a:lnTo>
                  <a:lnTo>
                    <a:pt x="164" y="105"/>
                  </a:lnTo>
                  <a:lnTo>
                    <a:pt x="163" y="133"/>
                  </a:lnTo>
                  <a:lnTo>
                    <a:pt x="143" y="132"/>
                  </a:lnTo>
                  <a:lnTo>
                    <a:pt x="137" y="139"/>
                  </a:lnTo>
                  <a:lnTo>
                    <a:pt x="116" y="147"/>
                  </a:lnTo>
                  <a:lnTo>
                    <a:pt x="113" y="167"/>
                  </a:lnTo>
                  <a:lnTo>
                    <a:pt x="114" y="179"/>
                  </a:lnTo>
                  <a:lnTo>
                    <a:pt x="91" y="183"/>
                  </a:lnTo>
                  <a:lnTo>
                    <a:pt x="68" y="188"/>
                  </a:lnTo>
                  <a:lnTo>
                    <a:pt x="36" y="189"/>
                  </a:lnTo>
                  <a:lnTo>
                    <a:pt x="18" y="183"/>
                  </a:lnTo>
                  <a:lnTo>
                    <a:pt x="0" y="177"/>
                  </a:lnTo>
                  <a:lnTo>
                    <a:pt x="16" y="194"/>
                  </a:lnTo>
                  <a:lnTo>
                    <a:pt x="30" y="211"/>
                  </a:lnTo>
                  <a:lnTo>
                    <a:pt x="47" y="218"/>
                  </a:lnTo>
                  <a:lnTo>
                    <a:pt x="54" y="243"/>
                  </a:lnTo>
                  <a:lnTo>
                    <a:pt x="60" y="247"/>
                  </a:lnTo>
                  <a:lnTo>
                    <a:pt x="61" y="258"/>
                  </a:lnTo>
                  <a:lnTo>
                    <a:pt x="42" y="265"/>
                  </a:lnTo>
                  <a:lnTo>
                    <a:pt x="34" y="275"/>
                  </a:lnTo>
                  <a:lnTo>
                    <a:pt x="32" y="294"/>
                  </a:lnTo>
                  <a:lnTo>
                    <a:pt x="53" y="293"/>
                  </a:lnTo>
                  <a:lnTo>
                    <a:pt x="72" y="293"/>
                  </a:lnTo>
                  <a:lnTo>
                    <a:pt x="89" y="291"/>
                  </a:lnTo>
                  <a:lnTo>
                    <a:pt x="110" y="289"/>
                  </a:lnTo>
                  <a:lnTo>
                    <a:pt x="133" y="28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94" name="Freeform 22"/>
            <p:cNvSpPr>
              <a:spLocks/>
            </p:cNvSpPr>
            <p:nvPr/>
          </p:nvSpPr>
          <p:spPr bwMode="auto">
            <a:xfrm>
              <a:off x="2979" y="1539"/>
              <a:ext cx="170" cy="173"/>
            </a:xfrm>
            <a:custGeom>
              <a:avLst/>
              <a:gdLst>
                <a:gd name="T0" fmla="*/ 1 w 242"/>
                <a:gd name="T1" fmla="*/ 1 h 246"/>
                <a:gd name="T2" fmla="*/ 1 w 242"/>
                <a:gd name="T3" fmla="*/ 1 h 246"/>
                <a:gd name="T4" fmla="*/ 1 w 242"/>
                <a:gd name="T5" fmla="*/ 1 h 246"/>
                <a:gd name="T6" fmla="*/ 1 w 242"/>
                <a:gd name="T7" fmla="*/ 1 h 246"/>
                <a:gd name="T8" fmla="*/ 1 w 242"/>
                <a:gd name="T9" fmla="*/ 1 h 246"/>
                <a:gd name="T10" fmla="*/ 1 w 242"/>
                <a:gd name="T11" fmla="*/ 1 h 246"/>
                <a:gd name="T12" fmla="*/ 1 w 242"/>
                <a:gd name="T13" fmla="*/ 1 h 246"/>
                <a:gd name="T14" fmla="*/ 1 w 242"/>
                <a:gd name="T15" fmla="*/ 1 h 246"/>
                <a:gd name="T16" fmla="*/ 1 w 242"/>
                <a:gd name="T17" fmla="*/ 1 h 246"/>
                <a:gd name="T18" fmla="*/ 1 w 242"/>
                <a:gd name="T19" fmla="*/ 1 h 246"/>
                <a:gd name="T20" fmla="*/ 1 w 242"/>
                <a:gd name="T21" fmla="*/ 1 h 246"/>
                <a:gd name="T22" fmla="*/ 2 w 242"/>
                <a:gd name="T23" fmla="*/ 1 h 246"/>
                <a:gd name="T24" fmla="*/ 2 w 242"/>
                <a:gd name="T25" fmla="*/ 1 h 246"/>
                <a:gd name="T26" fmla="*/ 2 w 242"/>
                <a:gd name="T27" fmla="*/ 1 h 246"/>
                <a:gd name="T28" fmla="*/ 2 w 242"/>
                <a:gd name="T29" fmla="*/ 1 h 246"/>
                <a:gd name="T30" fmla="*/ 1 w 242"/>
                <a:gd name="T31" fmla="*/ 1 h 246"/>
                <a:gd name="T32" fmla="*/ 1 w 242"/>
                <a:gd name="T33" fmla="*/ 2 h 246"/>
                <a:gd name="T34" fmla="*/ 1 w 242"/>
                <a:gd name="T35" fmla="*/ 2 h 246"/>
                <a:gd name="T36" fmla="*/ 1 w 242"/>
                <a:gd name="T37" fmla="*/ 2 h 246"/>
                <a:gd name="T38" fmla="*/ 1 w 242"/>
                <a:gd name="T39" fmla="*/ 2 h 246"/>
                <a:gd name="T40" fmla="*/ 1 w 242"/>
                <a:gd name="T41" fmla="*/ 2 h 246"/>
                <a:gd name="T42" fmla="*/ 1 w 242"/>
                <a:gd name="T43" fmla="*/ 2 h 246"/>
                <a:gd name="T44" fmla="*/ 1 w 242"/>
                <a:gd name="T45" fmla="*/ 2 h 246"/>
                <a:gd name="T46" fmla="*/ 1 w 242"/>
                <a:gd name="T47" fmla="*/ 2 h 246"/>
                <a:gd name="T48" fmla="*/ 1 w 242"/>
                <a:gd name="T49" fmla="*/ 2 h 246"/>
                <a:gd name="T50" fmla="*/ 1 w 242"/>
                <a:gd name="T51" fmla="*/ 2 h 246"/>
                <a:gd name="T52" fmla="*/ 1 w 242"/>
                <a:gd name="T53" fmla="*/ 2 h 246"/>
                <a:gd name="T54" fmla="*/ 1 w 242"/>
                <a:gd name="T55" fmla="*/ 2 h 246"/>
                <a:gd name="T56" fmla="*/ 1 w 242"/>
                <a:gd name="T57" fmla="*/ 2 h 246"/>
                <a:gd name="T58" fmla="*/ 1 w 242"/>
                <a:gd name="T59" fmla="*/ 2 h 246"/>
                <a:gd name="T60" fmla="*/ 1 w 242"/>
                <a:gd name="T61" fmla="*/ 2 h 246"/>
                <a:gd name="T62" fmla="*/ 1 w 242"/>
                <a:gd name="T63" fmla="*/ 1 h 246"/>
                <a:gd name="T64" fmla="*/ 1 w 242"/>
                <a:gd name="T65" fmla="*/ 1 h 246"/>
                <a:gd name="T66" fmla="*/ 1 w 242"/>
                <a:gd name="T67" fmla="*/ 1 h 246"/>
                <a:gd name="T68" fmla="*/ 1 w 242"/>
                <a:gd name="T69" fmla="*/ 1 h 246"/>
                <a:gd name="T70" fmla="*/ 1 w 242"/>
                <a:gd name="T71" fmla="*/ 1 h 246"/>
                <a:gd name="T72" fmla="*/ 1 w 242"/>
                <a:gd name="T73" fmla="*/ 1 h 246"/>
                <a:gd name="T74" fmla="*/ 1 w 242"/>
                <a:gd name="T75" fmla="*/ 1 h 246"/>
                <a:gd name="T76" fmla="*/ 1 w 242"/>
                <a:gd name="T77" fmla="*/ 1 h 246"/>
                <a:gd name="T78" fmla="*/ 0 w 242"/>
                <a:gd name="T79" fmla="*/ 1 h 246"/>
                <a:gd name="T80" fmla="*/ 0 w 242"/>
                <a:gd name="T81" fmla="*/ 1 h 246"/>
                <a:gd name="T82" fmla="*/ 1 w 242"/>
                <a:gd name="T83" fmla="*/ 0 h 246"/>
                <a:gd name="T84" fmla="*/ 1 w 242"/>
                <a:gd name="T85" fmla="*/ 1 h 246"/>
                <a:gd name="T86" fmla="*/ 1 w 242"/>
                <a:gd name="T87" fmla="*/ 1 h 246"/>
                <a:gd name="T88" fmla="*/ 1 w 242"/>
                <a:gd name="T89" fmla="*/ 1 h 246"/>
                <a:gd name="T90" fmla="*/ 1 w 242"/>
                <a:gd name="T91" fmla="*/ 1 h 246"/>
                <a:gd name="T92" fmla="*/ 1 w 242"/>
                <a:gd name="T93" fmla="*/ 1 h 246"/>
                <a:gd name="T94" fmla="*/ 1 w 242"/>
                <a:gd name="T95" fmla="*/ 1 h 246"/>
                <a:gd name="T96" fmla="*/ 1 w 242"/>
                <a:gd name="T97" fmla="*/ 1 h 246"/>
                <a:gd name="T98" fmla="*/ 1 w 242"/>
                <a:gd name="T99" fmla="*/ 1 h 246"/>
                <a:gd name="T100" fmla="*/ 1 w 242"/>
                <a:gd name="T101" fmla="*/ 1 h 246"/>
                <a:gd name="T102" fmla="*/ 1 w 242"/>
                <a:gd name="T103" fmla="*/ 1 h 246"/>
                <a:gd name="T104" fmla="*/ 1 w 242"/>
                <a:gd name="T105" fmla="*/ 1 h 246"/>
                <a:gd name="T106" fmla="*/ 1 w 242"/>
                <a:gd name="T107" fmla="*/ 1 h 246"/>
                <a:gd name="T108" fmla="*/ 1 w 242"/>
                <a:gd name="T109" fmla="*/ 1 h 246"/>
                <a:gd name="T110" fmla="*/ 1 w 242"/>
                <a:gd name="T111" fmla="*/ 1 h 246"/>
                <a:gd name="T112" fmla="*/ 1 w 242"/>
                <a:gd name="T113" fmla="*/ 1 h 246"/>
                <a:gd name="T114" fmla="*/ 1 w 242"/>
                <a:gd name="T115" fmla="*/ 1 h 24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42"/>
                <a:gd name="T175" fmla="*/ 0 h 246"/>
                <a:gd name="T176" fmla="*/ 242 w 242"/>
                <a:gd name="T177" fmla="*/ 246 h 24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42" h="246">
                  <a:moveTo>
                    <a:pt x="192" y="91"/>
                  </a:moveTo>
                  <a:lnTo>
                    <a:pt x="178" y="67"/>
                  </a:lnTo>
                  <a:lnTo>
                    <a:pt x="165" y="44"/>
                  </a:lnTo>
                  <a:lnTo>
                    <a:pt x="160" y="47"/>
                  </a:lnTo>
                  <a:lnTo>
                    <a:pt x="170" y="66"/>
                  </a:lnTo>
                  <a:lnTo>
                    <a:pt x="178" y="84"/>
                  </a:lnTo>
                  <a:lnTo>
                    <a:pt x="188" y="102"/>
                  </a:lnTo>
                  <a:lnTo>
                    <a:pt x="197" y="120"/>
                  </a:lnTo>
                  <a:lnTo>
                    <a:pt x="207" y="138"/>
                  </a:lnTo>
                  <a:lnTo>
                    <a:pt x="216" y="156"/>
                  </a:lnTo>
                  <a:lnTo>
                    <a:pt x="230" y="173"/>
                  </a:lnTo>
                  <a:lnTo>
                    <a:pt x="242" y="191"/>
                  </a:lnTo>
                  <a:lnTo>
                    <a:pt x="239" y="192"/>
                  </a:lnTo>
                  <a:lnTo>
                    <a:pt x="240" y="212"/>
                  </a:lnTo>
                  <a:lnTo>
                    <a:pt x="232" y="221"/>
                  </a:lnTo>
                  <a:lnTo>
                    <a:pt x="226" y="218"/>
                  </a:lnTo>
                  <a:lnTo>
                    <a:pt x="221" y="233"/>
                  </a:lnTo>
                  <a:lnTo>
                    <a:pt x="210" y="235"/>
                  </a:lnTo>
                  <a:lnTo>
                    <a:pt x="206" y="246"/>
                  </a:lnTo>
                  <a:lnTo>
                    <a:pt x="179" y="244"/>
                  </a:lnTo>
                  <a:lnTo>
                    <a:pt x="152" y="240"/>
                  </a:lnTo>
                  <a:lnTo>
                    <a:pt x="150" y="234"/>
                  </a:lnTo>
                  <a:lnTo>
                    <a:pt x="148" y="240"/>
                  </a:lnTo>
                  <a:lnTo>
                    <a:pt x="131" y="240"/>
                  </a:lnTo>
                  <a:lnTo>
                    <a:pt x="114" y="240"/>
                  </a:lnTo>
                  <a:lnTo>
                    <a:pt x="98" y="240"/>
                  </a:lnTo>
                  <a:lnTo>
                    <a:pt x="81" y="240"/>
                  </a:lnTo>
                  <a:lnTo>
                    <a:pt x="64" y="240"/>
                  </a:lnTo>
                  <a:lnTo>
                    <a:pt x="47" y="240"/>
                  </a:lnTo>
                  <a:lnTo>
                    <a:pt x="30" y="240"/>
                  </a:lnTo>
                  <a:lnTo>
                    <a:pt x="14" y="240"/>
                  </a:lnTo>
                  <a:lnTo>
                    <a:pt x="12" y="217"/>
                  </a:lnTo>
                  <a:lnTo>
                    <a:pt x="11" y="193"/>
                  </a:lnTo>
                  <a:lnTo>
                    <a:pt x="10" y="170"/>
                  </a:lnTo>
                  <a:lnTo>
                    <a:pt x="9" y="146"/>
                  </a:lnTo>
                  <a:lnTo>
                    <a:pt x="6" y="124"/>
                  </a:lnTo>
                  <a:lnTo>
                    <a:pt x="5" y="101"/>
                  </a:lnTo>
                  <a:lnTo>
                    <a:pt x="4" y="77"/>
                  </a:lnTo>
                  <a:lnTo>
                    <a:pt x="2" y="54"/>
                  </a:lnTo>
                  <a:lnTo>
                    <a:pt x="0" y="35"/>
                  </a:lnTo>
                  <a:lnTo>
                    <a:pt x="0" y="16"/>
                  </a:lnTo>
                  <a:lnTo>
                    <a:pt x="4" y="0"/>
                  </a:lnTo>
                  <a:lnTo>
                    <a:pt x="17" y="1"/>
                  </a:lnTo>
                  <a:lnTo>
                    <a:pt x="50" y="10"/>
                  </a:lnTo>
                  <a:lnTo>
                    <a:pt x="82" y="19"/>
                  </a:lnTo>
                  <a:lnTo>
                    <a:pt x="112" y="10"/>
                  </a:lnTo>
                  <a:lnTo>
                    <a:pt x="125" y="2"/>
                  </a:lnTo>
                  <a:lnTo>
                    <a:pt x="119" y="6"/>
                  </a:lnTo>
                  <a:lnTo>
                    <a:pt x="129" y="2"/>
                  </a:lnTo>
                  <a:lnTo>
                    <a:pt x="148" y="8"/>
                  </a:lnTo>
                  <a:lnTo>
                    <a:pt x="154" y="13"/>
                  </a:lnTo>
                  <a:lnTo>
                    <a:pt x="165" y="14"/>
                  </a:lnTo>
                  <a:lnTo>
                    <a:pt x="194" y="8"/>
                  </a:lnTo>
                  <a:lnTo>
                    <a:pt x="203" y="31"/>
                  </a:lnTo>
                  <a:lnTo>
                    <a:pt x="213" y="54"/>
                  </a:lnTo>
                  <a:lnTo>
                    <a:pt x="208" y="74"/>
                  </a:lnTo>
                  <a:lnTo>
                    <a:pt x="204" y="95"/>
                  </a:lnTo>
                  <a:lnTo>
                    <a:pt x="192" y="9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95" name="Freeform 23"/>
            <p:cNvSpPr>
              <a:spLocks/>
            </p:cNvSpPr>
            <p:nvPr/>
          </p:nvSpPr>
          <p:spPr bwMode="auto">
            <a:xfrm>
              <a:off x="3637" y="1473"/>
              <a:ext cx="422" cy="477"/>
            </a:xfrm>
            <a:custGeom>
              <a:avLst/>
              <a:gdLst>
                <a:gd name="T0" fmla="*/ 1 w 602"/>
                <a:gd name="T1" fmla="*/ 1 h 679"/>
                <a:gd name="T2" fmla="*/ 1 w 602"/>
                <a:gd name="T3" fmla="*/ 1 h 679"/>
                <a:gd name="T4" fmla="*/ 1 w 602"/>
                <a:gd name="T5" fmla="*/ 1 h 679"/>
                <a:gd name="T6" fmla="*/ 1 w 602"/>
                <a:gd name="T7" fmla="*/ 1 h 679"/>
                <a:gd name="T8" fmla="*/ 1 w 602"/>
                <a:gd name="T9" fmla="*/ 1 h 679"/>
                <a:gd name="T10" fmla="*/ 1 w 602"/>
                <a:gd name="T11" fmla="*/ 1 h 679"/>
                <a:gd name="T12" fmla="*/ 1 w 602"/>
                <a:gd name="T13" fmla="*/ 1 h 679"/>
                <a:gd name="T14" fmla="*/ 1 w 602"/>
                <a:gd name="T15" fmla="*/ 2 h 679"/>
                <a:gd name="T16" fmla="*/ 1 w 602"/>
                <a:gd name="T17" fmla="*/ 2 h 679"/>
                <a:gd name="T18" fmla="*/ 1 w 602"/>
                <a:gd name="T19" fmla="*/ 2 h 679"/>
                <a:gd name="T20" fmla="*/ 1 w 602"/>
                <a:gd name="T21" fmla="*/ 2 h 679"/>
                <a:gd name="T22" fmla="*/ 1 w 602"/>
                <a:gd name="T23" fmla="*/ 2 h 679"/>
                <a:gd name="T24" fmla="*/ 1 w 602"/>
                <a:gd name="T25" fmla="*/ 3 h 679"/>
                <a:gd name="T26" fmla="*/ 1 w 602"/>
                <a:gd name="T27" fmla="*/ 2 h 679"/>
                <a:gd name="T28" fmla="*/ 1 w 602"/>
                <a:gd name="T29" fmla="*/ 3 h 679"/>
                <a:gd name="T30" fmla="*/ 1 w 602"/>
                <a:gd name="T31" fmla="*/ 3 h 679"/>
                <a:gd name="T32" fmla="*/ 1 w 602"/>
                <a:gd name="T33" fmla="*/ 3 h 679"/>
                <a:gd name="T34" fmla="*/ 1 w 602"/>
                <a:gd name="T35" fmla="*/ 3 h 679"/>
                <a:gd name="T36" fmla="*/ 1 w 602"/>
                <a:gd name="T37" fmla="*/ 4 h 679"/>
                <a:gd name="T38" fmla="*/ 1 w 602"/>
                <a:gd name="T39" fmla="*/ 4 h 679"/>
                <a:gd name="T40" fmla="*/ 1 w 602"/>
                <a:gd name="T41" fmla="*/ 4 h 679"/>
                <a:gd name="T42" fmla="*/ 2 w 602"/>
                <a:gd name="T43" fmla="*/ 4 h 679"/>
                <a:gd name="T44" fmla="*/ 2 w 602"/>
                <a:gd name="T45" fmla="*/ 4 h 679"/>
                <a:gd name="T46" fmla="*/ 2 w 602"/>
                <a:gd name="T47" fmla="*/ 4 h 679"/>
                <a:gd name="T48" fmla="*/ 2 w 602"/>
                <a:gd name="T49" fmla="*/ 4 h 679"/>
                <a:gd name="T50" fmla="*/ 2 w 602"/>
                <a:gd name="T51" fmla="*/ 4 h 679"/>
                <a:gd name="T52" fmla="*/ 2 w 602"/>
                <a:gd name="T53" fmla="*/ 4 h 679"/>
                <a:gd name="T54" fmla="*/ 3 w 602"/>
                <a:gd name="T55" fmla="*/ 3 h 679"/>
                <a:gd name="T56" fmla="*/ 3 w 602"/>
                <a:gd name="T57" fmla="*/ 3 h 679"/>
                <a:gd name="T58" fmla="*/ 3 w 602"/>
                <a:gd name="T59" fmla="*/ 3 h 679"/>
                <a:gd name="T60" fmla="*/ 3 w 602"/>
                <a:gd name="T61" fmla="*/ 3 h 679"/>
                <a:gd name="T62" fmla="*/ 3 w 602"/>
                <a:gd name="T63" fmla="*/ 2 h 679"/>
                <a:gd name="T64" fmla="*/ 3 w 602"/>
                <a:gd name="T65" fmla="*/ 2 h 679"/>
                <a:gd name="T66" fmla="*/ 3 w 602"/>
                <a:gd name="T67" fmla="*/ 2 h 679"/>
                <a:gd name="T68" fmla="*/ 3 w 602"/>
                <a:gd name="T69" fmla="*/ 2 h 679"/>
                <a:gd name="T70" fmla="*/ 4 w 602"/>
                <a:gd name="T71" fmla="*/ 2 h 679"/>
                <a:gd name="T72" fmla="*/ 4 w 602"/>
                <a:gd name="T73" fmla="*/ 2 h 679"/>
                <a:gd name="T74" fmla="*/ 4 w 602"/>
                <a:gd name="T75" fmla="*/ 2 h 679"/>
                <a:gd name="T76" fmla="*/ 4 w 602"/>
                <a:gd name="T77" fmla="*/ 3 h 679"/>
                <a:gd name="T78" fmla="*/ 4 w 602"/>
                <a:gd name="T79" fmla="*/ 2 h 679"/>
                <a:gd name="T80" fmla="*/ 4 w 602"/>
                <a:gd name="T81" fmla="*/ 2 h 679"/>
                <a:gd name="T82" fmla="*/ 4 w 602"/>
                <a:gd name="T83" fmla="*/ 1 h 679"/>
                <a:gd name="T84" fmla="*/ 4 w 602"/>
                <a:gd name="T85" fmla="*/ 1 h 679"/>
                <a:gd name="T86" fmla="*/ 4 w 602"/>
                <a:gd name="T87" fmla="*/ 1 h 679"/>
                <a:gd name="T88" fmla="*/ 4 w 602"/>
                <a:gd name="T89" fmla="*/ 1 h 679"/>
                <a:gd name="T90" fmla="*/ 4 w 602"/>
                <a:gd name="T91" fmla="*/ 1 h 679"/>
                <a:gd name="T92" fmla="*/ 4 w 602"/>
                <a:gd name="T93" fmla="*/ 1 h 679"/>
                <a:gd name="T94" fmla="*/ 3 w 602"/>
                <a:gd name="T95" fmla="*/ 1 h 679"/>
                <a:gd name="T96" fmla="*/ 3 w 602"/>
                <a:gd name="T97" fmla="*/ 1 h 679"/>
                <a:gd name="T98" fmla="*/ 3 w 602"/>
                <a:gd name="T99" fmla="*/ 1 h 679"/>
                <a:gd name="T100" fmla="*/ 3 w 602"/>
                <a:gd name="T101" fmla="*/ 1 h 679"/>
                <a:gd name="T102" fmla="*/ 2 w 602"/>
                <a:gd name="T103" fmla="*/ 1 h 679"/>
                <a:gd name="T104" fmla="*/ 2 w 602"/>
                <a:gd name="T105" fmla="*/ 1 h 679"/>
                <a:gd name="T106" fmla="*/ 1 w 602"/>
                <a:gd name="T107" fmla="*/ 1 h 679"/>
                <a:gd name="T108" fmla="*/ 1 w 602"/>
                <a:gd name="T109" fmla="*/ 1 h 679"/>
                <a:gd name="T110" fmla="*/ 1 w 602"/>
                <a:gd name="T111" fmla="*/ 1 h 679"/>
                <a:gd name="T112" fmla="*/ 1 w 602"/>
                <a:gd name="T113" fmla="*/ 1 h 679"/>
                <a:gd name="T114" fmla="*/ 1 w 602"/>
                <a:gd name="T115" fmla="*/ 1 h 67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2"/>
                <a:gd name="T175" fmla="*/ 0 h 679"/>
                <a:gd name="T176" fmla="*/ 602 w 602"/>
                <a:gd name="T177" fmla="*/ 679 h 67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2" h="679">
                  <a:moveTo>
                    <a:pt x="148" y="0"/>
                  </a:moveTo>
                  <a:lnTo>
                    <a:pt x="128" y="18"/>
                  </a:lnTo>
                  <a:lnTo>
                    <a:pt x="104" y="24"/>
                  </a:lnTo>
                  <a:lnTo>
                    <a:pt x="74" y="21"/>
                  </a:lnTo>
                  <a:lnTo>
                    <a:pt x="74" y="29"/>
                  </a:lnTo>
                  <a:lnTo>
                    <a:pt x="83" y="40"/>
                  </a:lnTo>
                  <a:lnTo>
                    <a:pt x="83" y="47"/>
                  </a:lnTo>
                  <a:lnTo>
                    <a:pt x="88" y="60"/>
                  </a:lnTo>
                  <a:lnTo>
                    <a:pt x="98" y="66"/>
                  </a:lnTo>
                  <a:lnTo>
                    <a:pt x="106" y="76"/>
                  </a:lnTo>
                  <a:lnTo>
                    <a:pt x="116" y="83"/>
                  </a:lnTo>
                  <a:lnTo>
                    <a:pt x="101" y="94"/>
                  </a:lnTo>
                  <a:lnTo>
                    <a:pt x="106" y="112"/>
                  </a:lnTo>
                  <a:lnTo>
                    <a:pt x="98" y="129"/>
                  </a:lnTo>
                  <a:lnTo>
                    <a:pt x="87" y="147"/>
                  </a:lnTo>
                  <a:lnTo>
                    <a:pt x="72" y="168"/>
                  </a:lnTo>
                  <a:lnTo>
                    <a:pt x="59" y="189"/>
                  </a:lnTo>
                  <a:lnTo>
                    <a:pt x="39" y="190"/>
                  </a:lnTo>
                  <a:lnTo>
                    <a:pt x="30" y="187"/>
                  </a:lnTo>
                  <a:lnTo>
                    <a:pt x="18" y="217"/>
                  </a:lnTo>
                  <a:lnTo>
                    <a:pt x="34" y="226"/>
                  </a:lnTo>
                  <a:lnTo>
                    <a:pt x="39" y="243"/>
                  </a:lnTo>
                  <a:lnTo>
                    <a:pt x="47" y="244"/>
                  </a:lnTo>
                  <a:lnTo>
                    <a:pt x="58" y="276"/>
                  </a:lnTo>
                  <a:lnTo>
                    <a:pt x="51" y="275"/>
                  </a:lnTo>
                  <a:lnTo>
                    <a:pt x="29" y="279"/>
                  </a:lnTo>
                  <a:lnTo>
                    <a:pt x="11" y="277"/>
                  </a:lnTo>
                  <a:lnTo>
                    <a:pt x="12" y="286"/>
                  </a:lnTo>
                  <a:lnTo>
                    <a:pt x="0" y="291"/>
                  </a:lnTo>
                  <a:lnTo>
                    <a:pt x="2" y="292"/>
                  </a:lnTo>
                  <a:lnTo>
                    <a:pt x="10" y="289"/>
                  </a:lnTo>
                  <a:lnTo>
                    <a:pt x="6" y="295"/>
                  </a:lnTo>
                  <a:lnTo>
                    <a:pt x="26" y="315"/>
                  </a:lnTo>
                  <a:lnTo>
                    <a:pt x="51" y="310"/>
                  </a:lnTo>
                  <a:lnTo>
                    <a:pt x="48" y="315"/>
                  </a:lnTo>
                  <a:lnTo>
                    <a:pt x="33" y="325"/>
                  </a:lnTo>
                  <a:lnTo>
                    <a:pt x="22" y="324"/>
                  </a:lnTo>
                  <a:lnTo>
                    <a:pt x="41" y="345"/>
                  </a:lnTo>
                  <a:lnTo>
                    <a:pt x="60" y="365"/>
                  </a:lnTo>
                  <a:lnTo>
                    <a:pt x="90" y="357"/>
                  </a:lnTo>
                  <a:lnTo>
                    <a:pt x="92" y="340"/>
                  </a:lnTo>
                  <a:lnTo>
                    <a:pt x="93" y="329"/>
                  </a:lnTo>
                  <a:lnTo>
                    <a:pt x="105" y="329"/>
                  </a:lnTo>
                  <a:lnTo>
                    <a:pt x="101" y="336"/>
                  </a:lnTo>
                  <a:lnTo>
                    <a:pt x="100" y="341"/>
                  </a:lnTo>
                  <a:lnTo>
                    <a:pt x="112" y="341"/>
                  </a:lnTo>
                  <a:lnTo>
                    <a:pt x="104" y="348"/>
                  </a:lnTo>
                  <a:lnTo>
                    <a:pt x="107" y="360"/>
                  </a:lnTo>
                  <a:lnTo>
                    <a:pt x="108" y="377"/>
                  </a:lnTo>
                  <a:lnTo>
                    <a:pt x="114" y="402"/>
                  </a:lnTo>
                  <a:lnTo>
                    <a:pt x="116" y="409"/>
                  </a:lnTo>
                  <a:lnTo>
                    <a:pt x="118" y="414"/>
                  </a:lnTo>
                  <a:lnTo>
                    <a:pt x="124" y="445"/>
                  </a:lnTo>
                  <a:lnTo>
                    <a:pt x="132" y="469"/>
                  </a:lnTo>
                  <a:lnTo>
                    <a:pt x="141" y="493"/>
                  </a:lnTo>
                  <a:lnTo>
                    <a:pt x="146" y="498"/>
                  </a:lnTo>
                  <a:lnTo>
                    <a:pt x="158" y="527"/>
                  </a:lnTo>
                  <a:lnTo>
                    <a:pt x="170" y="556"/>
                  </a:lnTo>
                  <a:lnTo>
                    <a:pt x="179" y="576"/>
                  </a:lnTo>
                  <a:lnTo>
                    <a:pt x="190" y="597"/>
                  </a:lnTo>
                  <a:lnTo>
                    <a:pt x="200" y="617"/>
                  </a:lnTo>
                  <a:lnTo>
                    <a:pt x="207" y="634"/>
                  </a:lnTo>
                  <a:lnTo>
                    <a:pt x="215" y="653"/>
                  </a:lnTo>
                  <a:lnTo>
                    <a:pt x="225" y="672"/>
                  </a:lnTo>
                  <a:lnTo>
                    <a:pt x="238" y="679"/>
                  </a:lnTo>
                  <a:lnTo>
                    <a:pt x="249" y="666"/>
                  </a:lnTo>
                  <a:lnTo>
                    <a:pt x="262" y="653"/>
                  </a:lnTo>
                  <a:lnTo>
                    <a:pt x="275" y="652"/>
                  </a:lnTo>
                  <a:lnTo>
                    <a:pt x="267" y="642"/>
                  </a:lnTo>
                  <a:lnTo>
                    <a:pt x="279" y="624"/>
                  </a:lnTo>
                  <a:lnTo>
                    <a:pt x="285" y="623"/>
                  </a:lnTo>
                  <a:lnTo>
                    <a:pt x="282" y="605"/>
                  </a:lnTo>
                  <a:lnTo>
                    <a:pt x="281" y="587"/>
                  </a:lnTo>
                  <a:lnTo>
                    <a:pt x="285" y="568"/>
                  </a:lnTo>
                  <a:lnTo>
                    <a:pt x="290" y="547"/>
                  </a:lnTo>
                  <a:lnTo>
                    <a:pt x="285" y="525"/>
                  </a:lnTo>
                  <a:lnTo>
                    <a:pt x="282" y="496"/>
                  </a:lnTo>
                  <a:lnTo>
                    <a:pt x="294" y="489"/>
                  </a:lnTo>
                  <a:lnTo>
                    <a:pt x="297" y="485"/>
                  </a:lnTo>
                  <a:lnTo>
                    <a:pt x="302" y="485"/>
                  </a:lnTo>
                  <a:lnTo>
                    <a:pt x="308" y="475"/>
                  </a:lnTo>
                  <a:lnTo>
                    <a:pt x="324" y="468"/>
                  </a:lnTo>
                  <a:lnTo>
                    <a:pt x="328" y="453"/>
                  </a:lnTo>
                  <a:lnTo>
                    <a:pt x="348" y="431"/>
                  </a:lnTo>
                  <a:lnTo>
                    <a:pt x="370" y="409"/>
                  </a:lnTo>
                  <a:lnTo>
                    <a:pt x="387" y="393"/>
                  </a:lnTo>
                  <a:lnTo>
                    <a:pt x="400" y="384"/>
                  </a:lnTo>
                  <a:lnTo>
                    <a:pt x="412" y="366"/>
                  </a:lnTo>
                  <a:lnTo>
                    <a:pt x="412" y="348"/>
                  </a:lnTo>
                  <a:lnTo>
                    <a:pt x="432" y="334"/>
                  </a:lnTo>
                  <a:lnTo>
                    <a:pt x="438" y="343"/>
                  </a:lnTo>
                  <a:lnTo>
                    <a:pt x="444" y="345"/>
                  </a:lnTo>
                  <a:lnTo>
                    <a:pt x="449" y="343"/>
                  </a:lnTo>
                  <a:lnTo>
                    <a:pt x="455" y="343"/>
                  </a:lnTo>
                  <a:lnTo>
                    <a:pt x="454" y="336"/>
                  </a:lnTo>
                  <a:lnTo>
                    <a:pt x="448" y="317"/>
                  </a:lnTo>
                  <a:lnTo>
                    <a:pt x="442" y="299"/>
                  </a:lnTo>
                  <a:lnTo>
                    <a:pt x="440" y="285"/>
                  </a:lnTo>
                  <a:lnTo>
                    <a:pt x="424" y="270"/>
                  </a:lnTo>
                  <a:lnTo>
                    <a:pt x="429" y="261"/>
                  </a:lnTo>
                  <a:lnTo>
                    <a:pt x="438" y="256"/>
                  </a:lnTo>
                  <a:lnTo>
                    <a:pt x="422" y="240"/>
                  </a:lnTo>
                  <a:lnTo>
                    <a:pt x="422" y="222"/>
                  </a:lnTo>
                  <a:lnTo>
                    <a:pt x="436" y="228"/>
                  </a:lnTo>
                  <a:lnTo>
                    <a:pt x="443" y="235"/>
                  </a:lnTo>
                  <a:lnTo>
                    <a:pt x="448" y="231"/>
                  </a:lnTo>
                  <a:lnTo>
                    <a:pt x="456" y="251"/>
                  </a:lnTo>
                  <a:lnTo>
                    <a:pt x="480" y="253"/>
                  </a:lnTo>
                  <a:lnTo>
                    <a:pt x="503" y="256"/>
                  </a:lnTo>
                  <a:lnTo>
                    <a:pt x="514" y="264"/>
                  </a:lnTo>
                  <a:lnTo>
                    <a:pt x="510" y="275"/>
                  </a:lnTo>
                  <a:lnTo>
                    <a:pt x="495" y="286"/>
                  </a:lnTo>
                  <a:lnTo>
                    <a:pt x="498" y="305"/>
                  </a:lnTo>
                  <a:lnTo>
                    <a:pt x="503" y="310"/>
                  </a:lnTo>
                  <a:lnTo>
                    <a:pt x="513" y="292"/>
                  </a:lnTo>
                  <a:lnTo>
                    <a:pt x="521" y="313"/>
                  </a:lnTo>
                  <a:lnTo>
                    <a:pt x="530" y="335"/>
                  </a:lnTo>
                  <a:lnTo>
                    <a:pt x="531" y="335"/>
                  </a:lnTo>
                  <a:lnTo>
                    <a:pt x="538" y="335"/>
                  </a:lnTo>
                  <a:lnTo>
                    <a:pt x="538" y="309"/>
                  </a:lnTo>
                  <a:lnTo>
                    <a:pt x="539" y="287"/>
                  </a:lnTo>
                  <a:lnTo>
                    <a:pt x="552" y="287"/>
                  </a:lnTo>
                  <a:lnTo>
                    <a:pt x="563" y="257"/>
                  </a:lnTo>
                  <a:lnTo>
                    <a:pt x="563" y="246"/>
                  </a:lnTo>
                  <a:lnTo>
                    <a:pt x="564" y="226"/>
                  </a:lnTo>
                  <a:lnTo>
                    <a:pt x="585" y="204"/>
                  </a:lnTo>
                  <a:lnTo>
                    <a:pt x="600" y="208"/>
                  </a:lnTo>
                  <a:lnTo>
                    <a:pt x="597" y="199"/>
                  </a:lnTo>
                  <a:lnTo>
                    <a:pt x="599" y="192"/>
                  </a:lnTo>
                  <a:lnTo>
                    <a:pt x="602" y="180"/>
                  </a:lnTo>
                  <a:lnTo>
                    <a:pt x="579" y="172"/>
                  </a:lnTo>
                  <a:lnTo>
                    <a:pt x="579" y="162"/>
                  </a:lnTo>
                  <a:lnTo>
                    <a:pt x="570" y="159"/>
                  </a:lnTo>
                  <a:lnTo>
                    <a:pt x="573" y="155"/>
                  </a:lnTo>
                  <a:lnTo>
                    <a:pt x="563" y="153"/>
                  </a:lnTo>
                  <a:lnTo>
                    <a:pt x="551" y="159"/>
                  </a:lnTo>
                  <a:lnTo>
                    <a:pt x="534" y="156"/>
                  </a:lnTo>
                  <a:lnTo>
                    <a:pt x="519" y="171"/>
                  </a:lnTo>
                  <a:lnTo>
                    <a:pt x="503" y="184"/>
                  </a:lnTo>
                  <a:lnTo>
                    <a:pt x="484" y="192"/>
                  </a:lnTo>
                  <a:lnTo>
                    <a:pt x="490" y="199"/>
                  </a:lnTo>
                  <a:lnTo>
                    <a:pt x="497" y="213"/>
                  </a:lnTo>
                  <a:lnTo>
                    <a:pt x="478" y="214"/>
                  </a:lnTo>
                  <a:lnTo>
                    <a:pt x="458" y="215"/>
                  </a:lnTo>
                  <a:lnTo>
                    <a:pt x="431" y="213"/>
                  </a:lnTo>
                  <a:lnTo>
                    <a:pt x="428" y="203"/>
                  </a:lnTo>
                  <a:lnTo>
                    <a:pt x="418" y="183"/>
                  </a:lnTo>
                  <a:lnTo>
                    <a:pt x="408" y="190"/>
                  </a:lnTo>
                  <a:lnTo>
                    <a:pt x="416" y="223"/>
                  </a:lnTo>
                  <a:lnTo>
                    <a:pt x="392" y="222"/>
                  </a:lnTo>
                  <a:lnTo>
                    <a:pt x="364" y="219"/>
                  </a:lnTo>
                  <a:lnTo>
                    <a:pt x="347" y="215"/>
                  </a:lnTo>
                  <a:lnTo>
                    <a:pt x="338" y="203"/>
                  </a:lnTo>
                  <a:lnTo>
                    <a:pt x="310" y="199"/>
                  </a:lnTo>
                  <a:lnTo>
                    <a:pt x="290" y="195"/>
                  </a:lnTo>
                  <a:lnTo>
                    <a:pt x="262" y="180"/>
                  </a:lnTo>
                  <a:lnTo>
                    <a:pt x="236" y="167"/>
                  </a:lnTo>
                  <a:lnTo>
                    <a:pt x="236" y="151"/>
                  </a:lnTo>
                  <a:lnTo>
                    <a:pt x="248" y="131"/>
                  </a:lnTo>
                  <a:lnTo>
                    <a:pt x="226" y="118"/>
                  </a:lnTo>
                  <a:lnTo>
                    <a:pt x="201" y="103"/>
                  </a:lnTo>
                  <a:lnTo>
                    <a:pt x="191" y="100"/>
                  </a:lnTo>
                  <a:lnTo>
                    <a:pt x="182" y="72"/>
                  </a:lnTo>
                  <a:lnTo>
                    <a:pt x="194" y="75"/>
                  </a:lnTo>
                  <a:lnTo>
                    <a:pt x="197" y="65"/>
                  </a:lnTo>
                  <a:lnTo>
                    <a:pt x="184" y="47"/>
                  </a:lnTo>
                  <a:lnTo>
                    <a:pt x="184" y="37"/>
                  </a:lnTo>
                  <a:lnTo>
                    <a:pt x="183" y="35"/>
                  </a:lnTo>
                  <a:lnTo>
                    <a:pt x="182" y="31"/>
                  </a:lnTo>
                  <a:lnTo>
                    <a:pt x="178" y="27"/>
                  </a:lnTo>
                  <a:lnTo>
                    <a:pt x="174" y="21"/>
                  </a:lnTo>
                  <a:lnTo>
                    <a:pt x="173" y="16"/>
                  </a:lnTo>
                  <a:lnTo>
                    <a:pt x="171" y="9"/>
                  </a:lnTo>
                  <a:lnTo>
                    <a:pt x="164" y="6"/>
                  </a:lnTo>
                  <a:lnTo>
                    <a:pt x="154" y="3"/>
                  </a:lnTo>
                  <a:lnTo>
                    <a:pt x="148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96" name="Freeform 24"/>
            <p:cNvSpPr>
              <a:spLocks/>
            </p:cNvSpPr>
            <p:nvPr/>
          </p:nvSpPr>
          <p:spPr bwMode="auto">
            <a:xfrm>
              <a:off x="3116" y="1511"/>
              <a:ext cx="18" cy="66"/>
            </a:xfrm>
            <a:custGeom>
              <a:avLst/>
              <a:gdLst>
                <a:gd name="T0" fmla="*/ 1 w 26"/>
                <a:gd name="T1" fmla="*/ 1 h 94"/>
                <a:gd name="T2" fmla="*/ 1 w 26"/>
                <a:gd name="T3" fmla="*/ 1 h 94"/>
                <a:gd name="T4" fmla="*/ 0 w 26"/>
                <a:gd name="T5" fmla="*/ 1 h 94"/>
                <a:gd name="T6" fmla="*/ 1 w 26"/>
                <a:gd name="T7" fmla="*/ 1 h 94"/>
                <a:gd name="T8" fmla="*/ 1 w 26"/>
                <a:gd name="T9" fmla="*/ 1 h 94"/>
                <a:gd name="T10" fmla="*/ 1 w 26"/>
                <a:gd name="T11" fmla="*/ 0 h 94"/>
                <a:gd name="T12" fmla="*/ 1 w 26"/>
                <a:gd name="T13" fmla="*/ 1 h 94"/>
                <a:gd name="T14" fmla="*/ 1 w 26"/>
                <a:gd name="T15" fmla="*/ 1 h 94"/>
                <a:gd name="T16" fmla="*/ 1 w 26"/>
                <a:gd name="T17" fmla="*/ 1 h 94"/>
                <a:gd name="T18" fmla="*/ 1 w 26"/>
                <a:gd name="T19" fmla="*/ 1 h 94"/>
                <a:gd name="T20" fmla="*/ 1 w 26"/>
                <a:gd name="T21" fmla="*/ 1 h 94"/>
                <a:gd name="T22" fmla="*/ 1 w 26"/>
                <a:gd name="T23" fmla="*/ 1 h 9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6"/>
                <a:gd name="T37" fmla="*/ 0 h 94"/>
                <a:gd name="T38" fmla="*/ 26 w 26"/>
                <a:gd name="T39" fmla="*/ 94 h 9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6" h="94">
                  <a:moveTo>
                    <a:pt x="19" y="94"/>
                  </a:moveTo>
                  <a:lnTo>
                    <a:pt x="9" y="71"/>
                  </a:lnTo>
                  <a:lnTo>
                    <a:pt x="0" y="48"/>
                  </a:lnTo>
                  <a:lnTo>
                    <a:pt x="7" y="27"/>
                  </a:lnTo>
                  <a:lnTo>
                    <a:pt x="14" y="4"/>
                  </a:lnTo>
                  <a:lnTo>
                    <a:pt x="25" y="0"/>
                  </a:lnTo>
                  <a:lnTo>
                    <a:pt x="26" y="14"/>
                  </a:lnTo>
                  <a:lnTo>
                    <a:pt x="25" y="33"/>
                  </a:lnTo>
                  <a:lnTo>
                    <a:pt x="24" y="53"/>
                  </a:lnTo>
                  <a:lnTo>
                    <a:pt x="22" y="72"/>
                  </a:lnTo>
                  <a:lnTo>
                    <a:pt x="20" y="93"/>
                  </a:lnTo>
                  <a:lnTo>
                    <a:pt x="19" y="9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97" name="Freeform 25"/>
            <p:cNvSpPr>
              <a:spLocks/>
            </p:cNvSpPr>
            <p:nvPr/>
          </p:nvSpPr>
          <p:spPr bwMode="auto">
            <a:xfrm>
              <a:off x="3130" y="1509"/>
              <a:ext cx="59" cy="74"/>
            </a:xfrm>
            <a:custGeom>
              <a:avLst/>
              <a:gdLst>
                <a:gd name="T0" fmla="*/ 1 w 84"/>
                <a:gd name="T1" fmla="*/ 1 h 103"/>
                <a:gd name="T2" fmla="*/ 1 w 84"/>
                <a:gd name="T3" fmla="*/ 1 h 103"/>
                <a:gd name="T4" fmla="*/ 1 w 84"/>
                <a:gd name="T5" fmla="*/ 1 h 103"/>
                <a:gd name="T6" fmla="*/ 1 w 84"/>
                <a:gd name="T7" fmla="*/ 1 h 103"/>
                <a:gd name="T8" fmla="*/ 1 w 84"/>
                <a:gd name="T9" fmla="*/ 1 h 103"/>
                <a:gd name="T10" fmla="*/ 0 w 84"/>
                <a:gd name="T11" fmla="*/ 1 h 103"/>
                <a:gd name="T12" fmla="*/ 0 w 84"/>
                <a:gd name="T13" fmla="*/ 1 h 103"/>
                <a:gd name="T14" fmla="*/ 1 w 84"/>
                <a:gd name="T15" fmla="*/ 1 h 103"/>
                <a:gd name="T16" fmla="*/ 1 w 84"/>
                <a:gd name="T17" fmla="*/ 1 h 103"/>
                <a:gd name="T18" fmla="*/ 1 w 84"/>
                <a:gd name="T19" fmla="*/ 1 h 103"/>
                <a:gd name="T20" fmla="*/ 1 w 84"/>
                <a:gd name="T21" fmla="*/ 1 h 103"/>
                <a:gd name="T22" fmla="*/ 1 w 84"/>
                <a:gd name="T23" fmla="*/ 1 h 103"/>
                <a:gd name="T24" fmla="*/ 1 w 84"/>
                <a:gd name="T25" fmla="*/ 1 h 103"/>
                <a:gd name="T26" fmla="*/ 1 w 84"/>
                <a:gd name="T27" fmla="*/ 1 h 103"/>
                <a:gd name="T28" fmla="*/ 1 w 84"/>
                <a:gd name="T29" fmla="*/ 0 h 103"/>
                <a:gd name="T30" fmla="*/ 1 w 84"/>
                <a:gd name="T31" fmla="*/ 1 h 103"/>
                <a:gd name="T32" fmla="*/ 1 w 84"/>
                <a:gd name="T33" fmla="*/ 1 h 10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84"/>
                <a:gd name="T52" fmla="*/ 0 h 103"/>
                <a:gd name="T53" fmla="*/ 84 w 84"/>
                <a:gd name="T54" fmla="*/ 103 h 10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84" h="103">
                  <a:moveTo>
                    <a:pt x="32" y="26"/>
                  </a:moveTo>
                  <a:lnTo>
                    <a:pt x="6" y="16"/>
                  </a:lnTo>
                  <a:lnTo>
                    <a:pt x="5" y="35"/>
                  </a:lnTo>
                  <a:lnTo>
                    <a:pt x="4" y="55"/>
                  </a:lnTo>
                  <a:lnTo>
                    <a:pt x="2" y="74"/>
                  </a:lnTo>
                  <a:lnTo>
                    <a:pt x="0" y="95"/>
                  </a:lnTo>
                  <a:lnTo>
                    <a:pt x="0" y="100"/>
                  </a:lnTo>
                  <a:lnTo>
                    <a:pt x="24" y="103"/>
                  </a:lnTo>
                  <a:lnTo>
                    <a:pt x="37" y="86"/>
                  </a:lnTo>
                  <a:lnTo>
                    <a:pt x="53" y="84"/>
                  </a:lnTo>
                  <a:lnTo>
                    <a:pt x="61" y="71"/>
                  </a:lnTo>
                  <a:lnTo>
                    <a:pt x="38" y="46"/>
                  </a:lnTo>
                  <a:lnTo>
                    <a:pt x="61" y="37"/>
                  </a:lnTo>
                  <a:lnTo>
                    <a:pt x="84" y="28"/>
                  </a:lnTo>
                  <a:lnTo>
                    <a:pt x="70" y="0"/>
                  </a:lnTo>
                  <a:lnTo>
                    <a:pt x="52" y="13"/>
                  </a:lnTo>
                  <a:lnTo>
                    <a:pt x="32" y="26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98" name="Freeform 26"/>
            <p:cNvSpPr>
              <a:spLocks/>
            </p:cNvSpPr>
            <p:nvPr/>
          </p:nvSpPr>
          <p:spPr bwMode="auto">
            <a:xfrm>
              <a:off x="3398" y="1656"/>
              <a:ext cx="116" cy="146"/>
            </a:xfrm>
            <a:custGeom>
              <a:avLst/>
              <a:gdLst>
                <a:gd name="T0" fmla="*/ 1 w 163"/>
                <a:gd name="T1" fmla="*/ 1 h 207"/>
                <a:gd name="T2" fmla="*/ 1 w 163"/>
                <a:gd name="T3" fmla="*/ 1 h 207"/>
                <a:gd name="T4" fmla="*/ 1 w 163"/>
                <a:gd name="T5" fmla="*/ 1 h 207"/>
                <a:gd name="T6" fmla="*/ 1 w 163"/>
                <a:gd name="T7" fmla="*/ 1 h 207"/>
                <a:gd name="T8" fmla="*/ 1 w 163"/>
                <a:gd name="T9" fmla="*/ 1 h 207"/>
                <a:gd name="T10" fmla="*/ 1 w 163"/>
                <a:gd name="T11" fmla="*/ 1 h 207"/>
                <a:gd name="T12" fmla="*/ 1 w 163"/>
                <a:gd name="T13" fmla="*/ 1 h 207"/>
                <a:gd name="T14" fmla="*/ 1 w 163"/>
                <a:gd name="T15" fmla="*/ 0 h 207"/>
                <a:gd name="T16" fmla="*/ 1 w 163"/>
                <a:gd name="T17" fmla="*/ 1 h 207"/>
                <a:gd name="T18" fmla="*/ 1 w 163"/>
                <a:gd name="T19" fmla="*/ 1 h 207"/>
                <a:gd name="T20" fmla="*/ 1 w 163"/>
                <a:gd name="T21" fmla="*/ 1 h 207"/>
                <a:gd name="T22" fmla="*/ 1 w 163"/>
                <a:gd name="T23" fmla="*/ 1 h 207"/>
                <a:gd name="T24" fmla="*/ 1 w 163"/>
                <a:gd name="T25" fmla="*/ 1 h 207"/>
                <a:gd name="T26" fmla="*/ 1 w 163"/>
                <a:gd name="T27" fmla="*/ 1 h 207"/>
                <a:gd name="T28" fmla="*/ 1 w 163"/>
                <a:gd name="T29" fmla="*/ 1 h 207"/>
                <a:gd name="T30" fmla="*/ 1 w 163"/>
                <a:gd name="T31" fmla="*/ 1 h 207"/>
                <a:gd name="T32" fmla="*/ 1 w 163"/>
                <a:gd name="T33" fmla="*/ 1 h 207"/>
                <a:gd name="T34" fmla="*/ 1 w 163"/>
                <a:gd name="T35" fmla="*/ 1 h 207"/>
                <a:gd name="T36" fmla="*/ 0 w 163"/>
                <a:gd name="T37" fmla="*/ 1 h 207"/>
                <a:gd name="T38" fmla="*/ 1 w 163"/>
                <a:gd name="T39" fmla="*/ 1 h 207"/>
                <a:gd name="T40" fmla="*/ 1 w 163"/>
                <a:gd name="T41" fmla="*/ 1 h 207"/>
                <a:gd name="T42" fmla="*/ 1 w 163"/>
                <a:gd name="T43" fmla="*/ 1 h 207"/>
                <a:gd name="T44" fmla="*/ 1 w 163"/>
                <a:gd name="T45" fmla="*/ 1 h 207"/>
                <a:gd name="T46" fmla="*/ 1 w 163"/>
                <a:gd name="T47" fmla="*/ 1 h 207"/>
                <a:gd name="T48" fmla="*/ 1 w 163"/>
                <a:gd name="T49" fmla="*/ 1 h 207"/>
                <a:gd name="T50" fmla="*/ 1 w 163"/>
                <a:gd name="T51" fmla="*/ 1 h 207"/>
                <a:gd name="T52" fmla="*/ 1 w 163"/>
                <a:gd name="T53" fmla="*/ 1 h 207"/>
                <a:gd name="T54" fmla="*/ 1 w 163"/>
                <a:gd name="T55" fmla="*/ 1 h 207"/>
                <a:gd name="T56" fmla="*/ 1 w 163"/>
                <a:gd name="T57" fmla="*/ 1 h 207"/>
                <a:gd name="T58" fmla="*/ 1 w 163"/>
                <a:gd name="T59" fmla="*/ 1 h 207"/>
                <a:gd name="T60" fmla="*/ 1 w 163"/>
                <a:gd name="T61" fmla="*/ 1 h 207"/>
                <a:gd name="T62" fmla="*/ 1 w 163"/>
                <a:gd name="T63" fmla="*/ 1 h 207"/>
                <a:gd name="T64" fmla="*/ 1 w 163"/>
                <a:gd name="T65" fmla="*/ 1 h 20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3"/>
                <a:gd name="T100" fmla="*/ 0 h 207"/>
                <a:gd name="T101" fmla="*/ 163 w 163"/>
                <a:gd name="T102" fmla="*/ 207 h 20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3" h="207">
                  <a:moveTo>
                    <a:pt x="163" y="63"/>
                  </a:moveTo>
                  <a:lnTo>
                    <a:pt x="148" y="49"/>
                  </a:lnTo>
                  <a:lnTo>
                    <a:pt x="131" y="34"/>
                  </a:lnTo>
                  <a:lnTo>
                    <a:pt x="113" y="26"/>
                  </a:lnTo>
                  <a:lnTo>
                    <a:pt x="95" y="19"/>
                  </a:lnTo>
                  <a:lnTo>
                    <a:pt x="84" y="1"/>
                  </a:lnTo>
                  <a:lnTo>
                    <a:pt x="77" y="6"/>
                  </a:lnTo>
                  <a:lnTo>
                    <a:pt x="74" y="0"/>
                  </a:lnTo>
                  <a:lnTo>
                    <a:pt x="78" y="22"/>
                  </a:lnTo>
                  <a:lnTo>
                    <a:pt x="67" y="26"/>
                  </a:lnTo>
                  <a:lnTo>
                    <a:pt x="63" y="56"/>
                  </a:lnTo>
                  <a:lnTo>
                    <a:pt x="74" y="74"/>
                  </a:lnTo>
                  <a:lnTo>
                    <a:pt x="69" y="99"/>
                  </a:lnTo>
                  <a:lnTo>
                    <a:pt x="65" y="123"/>
                  </a:lnTo>
                  <a:lnTo>
                    <a:pt x="49" y="130"/>
                  </a:lnTo>
                  <a:lnTo>
                    <a:pt x="33" y="136"/>
                  </a:lnTo>
                  <a:lnTo>
                    <a:pt x="18" y="142"/>
                  </a:lnTo>
                  <a:lnTo>
                    <a:pt x="2" y="148"/>
                  </a:lnTo>
                  <a:lnTo>
                    <a:pt x="0" y="159"/>
                  </a:lnTo>
                  <a:lnTo>
                    <a:pt x="15" y="183"/>
                  </a:lnTo>
                  <a:lnTo>
                    <a:pt x="30" y="207"/>
                  </a:lnTo>
                  <a:lnTo>
                    <a:pt x="47" y="204"/>
                  </a:lnTo>
                  <a:lnTo>
                    <a:pt x="65" y="199"/>
                  </a:lnTo>
                  <a:lnTo>
                    <a:pt x="77" y="188"/>
                  </a:lnTo>
                  <a:lnTo>
                    <a:pt x="83" y="176"/>
                  </a:lnTo>
                  <a:lnTo>
                    <a:pt x="102" y="170"/>
                  </a:lnTo>
                  <a:lnTo>
                    <a:pt x="111" y="152"/>
                  </a:lnTo>
                  <a:lnTo>
                    <a:pt x="127" y="145"/>
                  </a:lnTo>
                  <a:lnTo>
                    <a:pt x="126" y="117"/>
                  </a:lnTo>
                  <a:lnTo>
                    <a:pt x="133" y="111"/>
                  </a:lnTo>
                  <a:lnTo>
                    <a:pt x="140" y="111"/>
                  </a:lnTo>
                  <a:lnTo>
                    <a:pt x="151" y="87"/>
                  </a:lnTo>
                  <a:lnTo>
                    <a:pt x="163" y="6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99" name="Freeform 27"/>
            <p:cNvSpPr>
              <a:spLocks/>
            </p:cNvSpPr>
            <p:nvPr/>
          </p:nvSpPr>
          <p:spPr bwMode="auto">
            <a:xfrm>
              <a:off x="3450" y="1633"/>
              <a:ext cx="6" cy="9"/>
            </a:xfrm>
            <a:custGeom>
              <a:avLst/>
              <a:gdLst>
                <a:gd name="T0" fmla="*/ 3 w 7"/>
                <a:gd name="T1" fmla="*/ 0 h 12"/>
                <a:gd name="T2" fmla="*/ 0 w 7"/>
                <a:gd name="T3" fmla="*/ 2 h 12"/>
                <a:gd name="T4" fmla="*/ 3 w 7"/>
                <a:gd name="T5" fmla="*/ 2 h 12"/>
                <a:gd name="T6" fmla="*/ 3 w 7"/>
                <a:gd name="T7" fmla="*/ 0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12"/>
                <a:gd name="T14" fmla="*/ 7 w 7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12">
                  <a:moveTo>
                    <a:pt x="7" y="0"/>
                  </a:moveTo>
                  <a:lnTo>
                    <a:pt x="0" y="10"/>
                  </a:lnTo>
                  <a:lnTo>
                    <a:pt x="6" y="12"/>
                  </a:lnTo>
                  <a:lnTo>
                    <a:pt x="7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00" name="Freeform 28"/>
            <p:cNvSpPr>
              <a:spLocks/>
            </p:cNvSpPr>
            <p:nvPr/>
          </p:nvSpPr>
          <p:spPr bwMode="auto">
            <a:xfrm>
              <a:off x="3127" y="1529"/>
              <a:ext cx="325" cy="290"/>
            </a:xfrm>
            <a:custGeom>
              <a:avLst/>
              <a:gdLst>
                <a:gd name="T0" fmla="*/ 1 w 461"/>
                <a:gd name="T1" fmla="*/ 2 h 412"/>
                <a:gd name="T2" fmla="*/ 1 w 461"/>
                <a:gd name="T3" fmla="*/ 1 h 412"/>
                <a:gd name="T4" fmla="*/ 1 w 461"/>
                <a:gd name="T5" fmla="*/ 1 h 412"/>
                <a:gd name="T6" fmla="*/ 1 w 461"/>
                <a:gd name="T7" fmla="*/ 1 h 412"/>
                <a:gd name="T8" fmla="*/ 0 w 461"/>
                <a:gd name="T9" fmla="*/ 1 h 412"/>
                <a:gd name="T10" fmla="*/ 1 w 461"/>
                <a:gd name="T11" fmla="*/ 1 h 412"/>
                <a:gd name="T12" fmla="*/ 1 w 461"/>
                <a:gd name="T13" fmla="*/ 1 h 412"/>
                <a:gd name="T14" fmla="*/ 1 w 461"/>
                <a:gd name="T15" fmla="*/ 1 h 412"/>
                <a:gd name="T16" fmla="*/ 1 w 461"/>
                <a:gd name="T17" fmla="*/ 0 h 412"/>
                <a:gd name="T18" fmla="*/ 1 w 461"/>
                <a:gd name="T19" fmla="*/ 1 h 412"/>
                <a:gd name="T20" fmla="*/ 1 w 461"/>
                <a:gd name="T21" fmla="*/ 1 h 412"/>
                <a:gd name="T22" fmla="*/ 1 w 461"/>
                <a:gd name="T23" fmla="*/ 1 h 412"/>
                <a:gd name="T24" fmla="*/ 2 w 461"/>
                <a:gd name="T25" fmla="*/ 1 h 412"/>
                <a:gd name="T26" fmla="*/ 2 w 461"/>
                <a:gd name="T27" fmla="*/ 1 h 412"/>
                <a:gd name="T28" fmla="*/ 2 w 461"/>
                <a:gd name="T29" fmla="*/ 1 h 412"/>
                <a:gd name="T30" fmla="*/ 3 w 461"/>
                <a:gd name="T31" fmla="*/ 1 h 412"/>
                <a:gd name="T32" fmla="*/ 3 w 461"/>
                <a:gd name="T33" fmla="*/ 1 h 412"/>
                <a:gd name="T34" fmla="*/ 3 w 461"/>
                <a:gd name="T35" fmla="*/ 1 h 412"/>
                <a:gd name="T36" fmla="*/ 3 w 461"/>
                <a:gd name="T37" fmla="*/ 1 h 412"/>
                <a:gd name="T38" fmla="*/ 3 w 461"/>
                <a:gd name="T39" fmla="*/ 1 h 412"/>
                <a:gd name="T40" fmla="*/ 3 w 461"/>
                <a:gd name="T41" fmla="*/ 1 h 412"/>
                <a:gd name="T42" fmla="*/ 3 w 461"/>
                <a:gd name="T43" fmla="*/ 2 h 412"/>
                <a:gd name="T44" fmla="*/ 3 w 461"/>
                <a:gd name="T45" fmla="*/ 2 h 412"/>
                <a:gd name="T46" fmla="*/ 3 w 461"/>
                <a:gd name="T47" fmla="*/ 2 h 412"/>
                <a:gd name="T48" fmla="*/ 3 w 461"/>
                <a:gd name="T49" fmla="*/ 2 h 412"/>
                <a:gd name="T50" fmla="*/ 3 w 461"/>
                <a:gd name="T51" fmla="*/ 3 h 412"/>
                <a:gd name="T52" fmla="*/ 3 w 461"/>
                <a:gd name="T53" fmla="*/ 3 h 412"/>
                <a:gd name="T54" fmla="*/ 2 w 461"/>
                <a:gd name="T55" fmla="*/ 3 h 412"/>
                <a:gd name="T56" fmla="*/ 2 w 461"/>
                <a:gd name="T57" fmla="*/ 3 h 412"/>
                <a:gd name="T58" fmla="*/ 2 w 461"/>
                <a:gd name="T59" fmla="*/ 3 h 412"/>
                <a:gd name="T60" fmla="*/ 2 w 461"/>
                <a:gd name="T61" fmla="*/ 3 h 412"/>
                <a:gd name="T62" fmla="*/ 1 w 461"/>
                <a:gd name="T63" fmla="*/ 3 h 412"/>
                <a:gd name="T64" fmla="*/ 1 w 461"/>
                <a:gd name="T65" fmla="*/ 3 h 412"/>
                <a:gd name="T66" fmla="*/ 1 w 461"/>
                <a:gd name="T67" fmla="*/ 3 h 412"/>
                <a:gd name="T68" fmla="*/ 1 w 461"/>
                <a:gd name="T69" fmla="*/ 2 h 41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61"/>
                <a:gd name="T106" fmla="*/ 0 h 412"/>
                <a:gd name="T107" fmla="*/ 461 w 461"/>
                <a:gd name="T108" fmla="*/ 412 h 41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61" h="412">
                  <a:moveTo>
                    <a:pt x="113" y="282"/>
                  </a:moveTo>
                  <a:lnTo>
                    <a:pt x="105" y="248"/>
                  </a:lnTo>
                  <a:lnTo>
                    <a:pt x="96" y="229"/>
                  </a:lnTo>
                  <a:lnTo>
                    <a:pt x="89" y="210"/>
                  </a:lnTo>
                  <a:lnTo>
                    <a:pt x="75" y="198"/>
                  </a:lnTo>
                  <a:lnTo>
                    <a:pt x="60" y="186"/>
                  </a:lnTo>
                  <a:lnTo>
                    <a:pt x="50" y="160"/>
                  </a:lnTo>
                  <a:lnTo>
                    <a:pt x="28" y="132"/>
                  </a:lnTo>
                  <a:lnTo>
                    <a:pt x="6" y="103"/>
                  </a:lnTo>
                  <a:lnTo>
                    <a:pt x="0" y="100"/>
                  </a:lnTo>
                  <a:lnTo>
                    <a:pt x="4" y="72"/>
                  </a:lnTo>
                  <a:lnTo>
                    <a:pt x="28" y="75"/>
                  </a:lnTo>
                  <a:lnTo>
                    <a:pt x="41" y="58"/>
                  </a:lnTo>
                  <a:lnTo>
                    <a:pt x="57" y="56"/>
                  </a:lnTo>
                  <a:lnTo>
                    <a:pt x="65" y="43"/>
                  </a:lnTo>
                  <a:lnTo>
                    <a:pt x="42" y="18"/>
                  </a:lnTo>
                  <a:lnTo>
                    <a:pt x="65" y="9"/>
                  </a:lnTo>
                  <a:lnTo>
                    <a:pt x="88" y="0"/>
                  </a:lnTo>
                  <a:lnTo>
                    <a:pt x="108" y="9"/>
                  </a:lnTo>
                  <a:lnTo>
                    <a:pt x="129" y="19"/>
                  </a:lnTo>
                  <a:lnTo>
                    <a:pt x="149" y="28"/>
                  </a:lnTo>
                  <a:lnTo>
                    <a:pt x="170" y="37"/>
                  </a:lnTo>
                  <a:lnTo>
                    <a:pt x="189" y="56"/>
                  </a:lnTo>
                  <a:lnTo>
                    <a:pt x="210" y="75"/>
                  </a:lnTo>
                  <a:lnTo>
                    <a:pt x="250" y="78"/>
                  </a:lnTo>
                  <a:lnTo>
                    <a:pt x="269" y="80"/>
                  </a:lnTo>
                  <a:lnTo>
                    <a:pt x="273" y="87"/>
                  </a:lnTo>
                  <a:lnTo>
                    <a:pt x="291" y="91"/>
                  </a:lnTo>
                  <a:lnTo>
                    <a:pt x="303" y="111"/>
                  </a:lnTo>
                  <a:lnTo>
                    <a:pt x="312" y="118"/>
                  </a:lnTo>
                  <a:lnTo>
                    <a:pt x="332" y="138"/>
                  </a:lnTo>
                  <a:lnTo>
                    <a:pt x="333" y="152"/>
                  </a:lnTo>
                  <a:lnTo>
                    <a:pt x="342" y="169"/>
                  </a:lnTo>
                  <a:lnTo>
                    <a:pt x="352" y="186"/>
                  </a:lnTo>
                  <a:lnTo>
                    <a:pt x="359" y="190"/>
                  </a:lnTo>
                  <a:lnTo>
                    <a:pt x="360" y="189"/>
                  </a:lnTo>
                  <a:lnTo>
                    <a:pt x="364" y="190"/>
                  </a:lnTo>
                  <a:lnTo>
                    <a:pt x="365" y="196"/>
                  </a:lnTo>
                  <a:lnTo>
                    <a:pt x="368" y="198"/>
                  </a:lnTo>
                  <a:lnTo>
                    <a:pt x="366" y="202"/>
                  </a:lnTo>
                  <a:lnTo>
                    <a:pt x="374" y="207"/>
                  </a:lnTo>
                  <a:lnTo>
                    <a:pt x="381" y="229"/>
                  </a:lnTo>
                  <a:lnTo>
                    <a:pt x="413" y="235"/>
                  </a:lnTo>
                  <a:lnTo>
                    <a:pt x="447" y="242"/>
                  </a:lnTo>
                  <a:lnTo>
                    <a:pt x="450" y="236"/>
                  </a:lnTo>
                  <a:lnTo>
                    <a:pt x="461" y="254"/>
                  </a:lnTo>
                  <a:lnTo>
                    <a:pt x="456" y="279"/>
                  </a:lnTo>
                  <a:lnTo>
                    <a:pt x="452" y="303"/>
                  </a:lnTo>
                  <a:lnTo>
                    <a:pt x="436" y="310"/>
                  </a:lnTo>
                  <a:lnTo>
                    <a:pt x="420" y="316"/>
                  </a:lnTo>
                  <a:lnTo>
                    <a:pt x="405" y="322"/>
                  </a:lnTo>
                  <a:lnTo>
                    <a:pt x="389" y="328"/>
                  </a:lnTo>
                  <a:lnTo>
                    <a:pt x="372" y="333"/>
                  </a:lnTo>
                  <a:lnTo>
                    <a:pt x="354" y="338"/>
                  </a:lnTo>
                  <a:lnTo>
                    <a:pt x="338" y="342"/>
                  </a:lnTo>
                  <a:lnTo>
                    <a:pt x="321" y="346"/>
                  </a:lnTo>
                  <a:lnTo>
                    <a:pt x="309" y="363"/>
                  </a:lnTo>
                  <a:lnTo>
                    <a:pt x="297" y="380"/>
                  </a:lnTo>
                  <a:lnTo>
                    <a:pt x="285" y="396"/>
                  </a:lnTo>
                  <a:lnTo>
                    <a:pt x="272" y="412"/>
                  </a:lnTo>
                  <a:lnTo>
                    <a:pt x="270" y="386"/>
                  </a:lnTo>
                  <a:lnTo>
                    <a:pt x="250" y="378"/>
                  </a:lnTo>
                  <a:lnTo>
                    <a:pt x="230" y="368"/>
                  </a:lnTo>
                  <a:lnTo>
                    <a:pt x="206" y="366"/>
                  </a:lnTo>
                  <a:lnTo>
                    <a:pt x="202" y="386"/>
                  </a:lnTo>
                  <a:lnTo>
                    <a:pt x="194" y="393"/>
                  </a:lnTo>
                  <a:lnTo>
                    <a:pt x="183" y="375"/>
                  </a:lnTo>
                  <a:lnTo>
                    <a:pt x="172" y="357"/>
                  </a:lnTo>
                  <a:lnTo>
                    <a:pt x="155" y="330"/>
                  </a:lnTo>
                  <a:lnTo>
                    <a:pt x="137" y="302"/>
                  </a:lnTo>
                  <a:lnTo>
                    <a:pt x="113" y="28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01" name="Freeform 29"/>
            <p:cNvSpPr>
              <a:spLocks/>
            </p:cNvSpPr>
            <p:nvPr/>
          </p:nvSpPr>
          <p:spPr bwMode="auto">
            <a:xfrm>
              <a:off x="3384" y="1640"/>
              <a:ext cx="73" cy="59"/>
            </a:xfrm>
            <a:custGeom>
              <a:avLst/>
              <a:gdLst>
                <a:gd name="T0" fmla="*/ 0 w 105"/>
                <a:gd name="T1" fmla="*/ 1 h 84"/>
                <a:gd name="T2" fmla="*/ 1 w 105"/>
                <a:gd name="T3" fmla="*/ 1 h 84"/>
                <a:gd name="T4" fmla="*/ 1 w 105"/>
                <a:gd name="T5" fmla="*/ 1 h 84"/>
                <a:gd name="T6" fmla="*/ 1 w 105"/>
                <a:gd name="T7" fmla="*/ 1 h 84"/>
                <a:gd name="T8" fmla="*/ 1 w 105"/>
                <a:gd name="T9" fmla="*/ 1 h 84"/>
                <a:gd name="T10" fmla="*/ 1 w 105"/>
                <a:gd name="T11" fmla="*/ 1 h 84"/>
                <a:gd name="T12" fmla="*/ 1 w 105"/>
                <a:gd name="T13" fmla="*/ 1 h 84"/>
                <a:gd name="T14" fmla="*/ 1 w 105"/>
                <a:gd name="T15" fmla="*/ 1 h 84"/>
                <a:gd name="T16" fmla="*/ 1 w 105"/>
                <a:gd name="T17" fmla="*/ 1 h 84"/>
                <a:gd name="T18" fmla="*/ 1 w 105"/>
                <a:gd name="T19" fmla="*/ 1 h 84"/>
                <a:gd name="T20" fmla="*/ 1 w 105"/>
                <a:gd name="T21" fmla="*/ 1 h 84"/>
                <a:gd name="T22" fmla="*/ 1 w 105"/>
                <a:gd name="T23" fmla="*/ 1 h 84"/>
                <a:gd name="T24" fmla="*/ 1 w 105"/>
                <a:gd name="T25" fmla="*/ 0 h 84"/>
                <a:gd name="T26" fmla="*/ 1 w 105"/>
                <a:gd name="T27" fmla="*/ 1 h 84"/>
                <a:gd name="T28" fmla="*/ 1 w 105"/>
                <a:gd name="T29" fmla="*/ 1 h 84"/>
                <a:gd name="T30" fmla="*/ 1 w 105"/>
                <a:gd name="T31" fmla="*/ 1 h 84"/>
                <a:gd name="T32" fmla="*/ 1 w 105"/>
                <a:gd name="T33" fmla="*/ 1 h 84"/>
                <a:gd name="T34" fmla="*/ 0 w 105"/>
                <a:gd name="T35" fmla="*/ 1 h 84"/>
                <a:gd name="T36" fmla="*/ 0 w 105"/>
                <a:gd name="T37" fmla="*/ 1 h 8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05"/>
                <a:gd name="T58" fmla="*/ 0 h 84"/>
                <a:gd name="T59" fmla="*/ 105 w 105"/>
                <a:gd name="T60" fmla="*/ 84 h 8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05" h="84">
                  <a:moveTo>
                    <a:pt x="0" y="44"/>
                  </a:moveTo>
                  <a:lnTo>
                    <a:pt x="8" y="49"/>
                  </a:lnTo>
                  <a:lnTo>
                    <a:pt x="15" y="71"/>
                  </a:lnTo>
                  <a:lnTo>
                    <a:pt x="47" y="77"/>
                  </a:lnTo>
                  <a:lnTo>
                    <a:pt x="81" y="84"/>
                  </a:lnTo>
                  <a:lnTo>
                    <a:pt x="84" y="78"/>
                  </a:lnTo>
                  <a:lnTo>
                    <a:pt x="88" y="48"/>
                  </a:lnTo>
                  <a:lnTo>
                    <a:pt x="99" y="44"/>
                  </a:lnTo>
                  <a:lnTo>
                    <a:pt x="95" y="22"/>
                  </a:lnTo>
                  <a:lnTo>
                    <a:pt x="98" y="28"/>
                  </a:lnTo>
                  <a:lnTo>
                    <a:pt x="105" y="23"/>
                  </a:lnTo>
                  <a:lnTo>
                    <a:pt x="100" y="2"/>
                  </a:lnTo>
                  <a:lnTo>
                    <a:pt x="94" y="0"/>
                  </a:lnTo>
                  <a:lnTo>
                    <a:pt x="75" y="22"/>
                  </a:lnTo>
                  <a:lnTo>
                    <a:pt x="54" y="44"/>
                  </a:lnTo>
                  <a:lnTo>
                    <a:pt x="21" y="46"/>
                  </a:lnTo>
                  <a:lnTo>
                    <a:pt x="8" y="43"/>
                  </a:lnTo>
                  <a:lnTo>
                    <a:pt x="0" y="40"/>
                  </a:lnTo>
                  <a:lnTo>
                    <a:pt x="0" y="4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02" name="Freeform 30"/>
            <p:cNvSpPr>
              <a:spLocks/>
            </p:cNvSpPr>
            <p:nvPr/>
          </p:nvSpPr>
          <p:spPr bwMode="auto">
            <a:xfrm>
              <a:off x="3263" y="1760"/>
              <a:ext cx="156" cy="111"/>
            </a:xfrm>
            <a:custGeom>
              <a:avLst/>
              <a:gdLst>
                <a:gd name="T0" fmla="*/ 1 w 223"/>
                <a:gd name="T1" fmla="*/ 1 h 158"/>
                <a:gd name="T2" fmla="*/ 0 w 223"/>
                <a:gd name="T3" fmla="*/ 1 h 158"/>
                <a:gd name="T4" fmla="*/ 0 w 223"/>
                <a:gd name="T5" fmla="*/ 1 h 158"/>
                <a:gd name="T6" fmla="*/ 1 w 223"/>
                <a:gd name="T7" fmla="*/ 1 h 158"/>
                <a:gd name="T8" fmla="*/ 1 w 223"/>
                <a:gd name="T9" fmla="*/ 1 h 158"/>
                <a:gd name="T10" fmla="*/ 1 w 223"/>
                <a:gd name="T11" fmla="*/ 1 h 158"/>
                <a:gd name="T12" fmla="*/ 1 w 223"/>
                <a:gd name="T13" fmla="*/ 1 h 158"/>
                <a:gd name="T14" fmla="*/ 1 w 223"/>
                <a:gd name="T15" fmla="*/ 1 h 158"/>
                <a:gd name="T16" fmla="*/ 1 w 223"/>
                <a:gd name="T17" fmla="*/ 1 h 158"/>
                <a:gd name="T18" fmla="*/ 1 w 223"/>
                <a:gd name="T19" fmla="*/ 1 h 158"/>
                <a:gd name="T20" fmla="*/ 1 w 223"/>
                <a:gd name="T21" fmla="*/ 1 h 158"/>
                <a:gd name="T22" fmla="*/ 1 w 223"/>
                <a:gd name="T23" fmla="*/ 1 h 158"/>
                <a:gd name="T24" fmla="*/ 1 w 223"/>
                <a:gd name="T25" fmla="*/ 1 h 158"/>
                <a:gd name="T26" fmla="*/ 1 w 223"/>
                <a:gd name="T27" fmla="*/ 1 h 158"/>
                <a:gd name="T28" fmla="*/ 1 w 223"/>
                <a:gd name="T29" fmla="*/ 1 h 158"/>
                <a:gd name="T30" fmla="*/ 1 w 223"/>
                <a:gd name="T31" fmla="*/ 1 h 158"/>
                <a:gd name="T32" fmla="*/ 1 w 223"/>
                <a:gd name="T33" fmla="*/ 1 h 158"/>
                <a:gd name="T34" fmla="*/ 1 w 223"/>
                <a:gd name="T35" fmla="*/ 1 h 158"/>
                <a:gd name="T36" fmla="*/ 1 w 223"/>
                <a:gd name="T37" fmla="*/ 0 h 158"/>
                <a:gd name="T38" fmla="*/ 1 w 223"/>
                <a:gd name="T39" fmla="*/ 1 h 158"/>
                <a:gd name="T40" fmla="*/ 1 w 223"/>
                <a:gd name="T41" fmla="*/ 1 h 158"/>
                <a:gd name="T42" fmla="*/ 1 w 223"/>
                <a:gd name="T43" fmla="*/ 1 h 158"/>
                <a:gd name="T44" fmla="*/ 1 w 223"/>
                <a:gd name="T45" fmla="*/ 1 h 158"/>
                <a:gd name="T46" fmla="*/ 1 w 223"/>
                <a:gd name="T47" fmla="*/ 1 h 158"/>
                <a:gd name="T48" fmla="*/ 1 w 223"/>
                <a:gd name="T49" fmla="*/ 1 h 158"/>
                <a:gd name="T50" fmla="*/ 1 w 223"/>
                <a:gd name="T51" fmla="*/ 1 h 158"/>
                <a:gd name="T52" fmla="*/ 1 w 223"/>
                <a:gd name="T53" fmla="*/ 1 h 158"/>
                <a:gd name="T54" fmla="*/ 1 w 223"/>
                <a:gd name="T55" fmla="*/ 1 h 158"/>
                <a:gd name="T56" fmla="*/ 1 w 223"/>
                <a:gd name="T57" fmla="*/ 1 h 158"/>
                <a:gd name="T58" fmla="*/ 1 w 223"/>
                <a:gd name="T59" fmla="*/ 1 h 158"/>
                <a:gd name="T60" fmla="*/ 1 w 223"/>
                <a:gd name="T61" fmla="*/ 1 h 158"/>
                <a:gd name="T62" fmla="*/ 1 w 223"/>
                <a:gd name="T63" fmla="*/ 1 h 15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23"/>
                <a:gd name="T97" fmla="*/ 0 h 158"/>
                <a:gd name="T98" fmla="*/ 223 w 223"/>
                <a:gd name="T99" fmla="*/ 158 h 15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23" h="158">
                  <a:moveTo>
                    <a:pt x="8" y="58"/>
                  </a:moveTo>
                  <a:lnTo>
                    <a:pt x="0" y="65"/>
                  </a:lnTo>
                  <a:lnTo>
                    <a:pt x="0" y="95"/>
                  </a:lnTo>
                  <a:lnTo>
                    <a:pt x="9" y="126"/>
                  </a:lnTo>
                  <a:lnTo>
                    <a:pt x="19" y="158"/>
                  </a:lnTo>
                  <a:lnTo>
                    <a:pt x="46" y="155"/>
                  </a:lnTo>
                  <a:lnTo>
                    <a:pt x="75" y="140"/>
                  </a:lnTo>
                  <a:lnTo>
                    <a:pt x="97" y="131"/>
                  </a:lnTo>
                  <a:lnTo>
                    <a:pt x="120" y="124"/>
                  </a:lnTo>
                  <a:lnTo>
                    <a:pt x="136" y="117"/>
                  </a:lnTo>
                  <a:lnTo>
                    <a:pt x="153" y="110"/>
                  </a:lnTo>
                  <a:lnTo>
                    <a:pt x="170" y="101"/>
                  </a:lnTo>
                  <a:lnTo>
                    <a:pt x="187" y="93"/>
                  </a:lnTo>
                  <a:lnTo>
                    <a:pt x="202" y="86"/>
                  </a:lnTo>
                  <a:lnTo>
                    <a:pt x="204" y="75"/>
                  </a:lnTo>
                  <a:lnTo>
                    <a:pt x="223" y="59"/>
                  </a:lnTo>
                  <a:lnTo>
                    <a:pt x="208" y="35"/>
                  </a:lnTo>
                  <a:lnTo>
                    <a:pt x="193" y="11"/>
                  </a:lnTo>
                  <a:lnTo>
                    <a:pt x="195" y="0"/>
                  </a:lnTo>
                  <a:lnTo>
                    <a:pt x="178" y="5"/>
                  </a:lnTo>
                  <a:lnTo>
                    <a:pt x="160" y="10"/>
                  </a:lnTo>
                  <a:lnTo>
                    <a:pt x="144" y="14"/>
                  </a:lnTo>
                  <a:lnTo>
                    <a:pt x="127" y="18"/>
                  </a:lnTo>
                  <a:lnTo>
                    <a:pt x="115" y="35"/>
                  </a:lnTo>
                  <a:lnTo>
                    <a:pt x="103" y="52"/>
                  </a:lnTo>
                  <a:lnTo>
                    <a:pt x="91" y="68"/>
                  </a:lnTo>
                  <a:lnTo>
                    <a:pt x="78" y="84"/>
                  </a:lnTo>
                  <a:lnTo>
                    <a:pt x="76" y="58"/>
                  </a:lnTo>
                  <a:lnTo>
                    <a:pt x="56" y="50"/>
                  </a:lnTo>
                  <a:lnTo>
                    <a:pt x="36" y="40"/>
                  </a:lnTo>
                  <a:lnTo>
                    <a:pt x="12" y="38"/>
                  </a:lnTo>
                  <a:lnTo>
                    <a:pt x="8" y="5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03" name="Freeform 31"/>
            <p:cNvSpPr>
              <a:spLocks/>
            </p:cNvSpPr>
            <p:nvPr/>
          </p:nvSpPr>
          <p:spPr bwMode="auto">
            <a:xfrm>
              <a:off x="3057" y="2110"/>
              <a:ext cx="29" cy="30"/>
            </a:xfrm>
            <a:custGeom>
              <a:avLst/>
              <a:gdLst>
                <a:gd name="T0" fmla="*/ 1 w 42"/>
                <a:gd name="T1" fmla="*/ 1 h 41"/>
                <a:gd name="T2" fmla="*/ 1 w 42"/>
                <a:gd name="T3" fmla="*/ 1 h 41"/>
                <a:gd name="T4" fmla="*/ 0 w 42"/>
                <a:gd name="T5" fmla="*/ 1 h 41"/>
                <a:gd name="T6" fmla="*/ 1 w 42"/>
                <a:gd name="T7" fmla="*/ 1 h 41"/>
                <a:gd name="T8" fmla="*/ 1 w 42"/>
                <a:gd name="T9" fmla="*/ 1 h 41"/>
                <a:gd name="T10" fmla="*/ 1 w 42"/>
                <a:gd name="T11" fmla="*/ 1 h 41"/>
                <a:gd name="T12" fmla="*/ 1 w 42"/>
                <a:gd name="T13" fmla="*/ 1 h 41"/>
                <a:gd name="T14" fmla="*/ 1 w 42"/>
                <a:gd name="T15" fmla="*/ 1 h 41"/>
                <a:gd name="T16" fmla="*/ 1 w 42"/>
                <a:gd name="T17" fmla="*/ 1 h 41"/>
                <a:gd name="T18" fmla="*/ 1 w 42"/>
                <a:gd name="T19" fmla="*/ 0 h 41"/>
                <a:gd name="T20" fmla="*/ 1 w 42"/>
                <a:gd name="T21" fmla="*/ 1 h 41"/>
                <a:gd name="T22" fmla="*/ 1 w 42"/>
                <a:gd name="T23" fmla="*/ 1 h 4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41"/>
                <a:gd name="T38" fmla="*/ 42 w 42"/>
                <a:gd name="T39" fmla="*/ 41 h 4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41">
                  <a:moveTo>
                    <a:pt x="15" y="9"/>
                  </a:moveTo>
                  <a:lnTo>
                    <a:pt x="6" y="26"/>
                  </a:lnTo>
                  <a:lnTo>
                    <a:pt x="0" y="41"/>
                  </a:lnTo>
                  <a:lnTo>
                    <a:pt x="1" y="41"/>
                  </a:lnTo>
                  <a:lnTo>
                    <a:pt x="2" y="41"/>
                  </a:lnTo>
                  <a:lnTo>
                    <a:pt x="21" y="40"/>
                  </a:lnTo>
                  <a:lnTo>
                    <a:pt x="24" y="32"/>
                  </a:lnTo>
                  <a:lnTo>
                    <a:pt x="36" y="34"/>
                  </a:lnTo>
                  <a:lnTo>
                    <a:pt x="42" y="32"/>
                  </a:lnTo>
                  <a:lnTo>
                    <a:pt x="35" y="0"/>
                  </a:lnTo>
                  <a:lnTo>
                    <a:pt x="21" y="9"/>
                  </a:lnTo>
                  <a:lnTo>
                    <a:pt x="15" y="9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04" name="Freeform 32"/>
            <p:cNvSpPr>
              <a:spLocks/>
            </p:cNvSpPr>
            <p:nvPr/>
          </p:nvSpPr>
          <p:spPr bwMode="auto">
            <a:xfrm>
              <a:off x="3367" y="1635"/>
              <a:ext cx="2" cy="4"/>
            </a:xfrm>
            <a:custGeom>
              <a:avLst/>
              <a:gdLst>
                <a:gd name="T0" fmla="*/ 1 w 3"/>
                <a:gd name="T1" fmla="*/ 0 h 6"/>
                <a:gd name="T2" fmla="*/ 0 w 3"/>
                <a:gd name="T3" fmla="*/ 1 h 6"/>
                <a:gd name="T4" fmla="*/ 1 w 3"/>
                <a:gd name="T5" fmla="*/ 1 h 6"/>
                <a:gd name="T6" fmla="*/ 1 w 3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6"/>
                <a:gd name="T14" fmla="*/ 3 w 3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6">
                  <a:moveTo>
                    <a:pt x="2" y="0"/>
                  </a:moveTo>
                  <a:lnTo>
                    <a:pt x="0" y="6"/>
                  </a:lnTo>
                  <a:lnTo>
                    <a:pt x="3" y="3"/>
                  </a:lnTo>
                  <a:lnTo>
                    <a:pt x="2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05" name="Freeform 33"/>
            <p:cNvSpPr>
              <a:spLocks/>
            </p:cNvSpPr>
            <p:nvPr/>
          </p:nvSpPr>
          <p:spPr bwMode="auto">
            <a:xfrm>
              <a:off x="2819" y="1681"/>
              <a:ext cx="159" cy="278"/>
            </a:xfrm>
            <a:custGeom>
              <a:avLst/>
              <a:gdLst>
                <a:gd name="T0" fmla="*/ 1 w 226"/>
                <a:gd name="T1" fmla="*/ 1 h 396"/>
                <a:gd name="T2" fmla="*/ 1 w 226"/>
                <a:gd name="T3" fmla="*/ 1 h 396"/>
                <a:gd name="T4" fmla="*/ 1 w 226"/>
                <a:gd name="T5" fmla="*/ 1 h 396"/>
                <a:gd name="T6" fmla="*/ 1 w 226"/>
                <a:gd name="T7" fmla="*/ 1 h 396"/>
                <a:gd name="T8" fmla="*/ 1 w 226"/>
                <a:gd name="T9" fmla="*/ 1 h 396"/>
                <a:gd name="T10" fmla="*/ 1 w 226"/>
                <a:gd name="T11" fmla="*/ 1 h 396"/>
                <a:gd name="T12" fmla="*/ 1 w 226"/>
                <a:gd name="T13" fmla="*/ 1 h 396"/>
                <a:gd name="T14" fmla="*/ 1 w 226"/>
                <a:gd name="T15" fmla="*/ 1 h 396"/>
                <a:gd name="T16" fmla="*/ 1 w 226"/>
                <a:gd name="T17" fmla="*/ 0 h 396"/>
                <a:gd name="T18" fmla="*/ 1 w 226"/>
                <a:gd name="T19" fmla="*/ 1 h 396"/>
                <a:gd name="T20" fmla="*/ 1 w 226"/>
                <a:gd name="T21" fmla="*/ 1 h 396"/>
                <a:gd name="T22" fmla="*/ 1 w 226"/>
                <a:gd name="T23" fmla="*/ 1 h 396"/>
                <a:gd name="T24" fmla="*/ 1 w 226"/>
                <a:gd name="T25" fmla="*/ 1 h 396"/>
                <a:gd name="T26" fmla="*/ 1 w 226"/>
                <a:gd name="T27" fmla="*/ 1 h 396"/>
                <a:gd name="T28" fmla="*/ 1 w 226"/>
                <a:gd name="T29" fmla="*/ 1 h 396"/>
                <a:gd name="T30" fmla="*/ 1 w 226"/>
                <a:gd name="T31" fmla="*/ 1 h 396"/>
                <a:gd name="T32" fmla="*/ 1 w 226"/>
                <a:gd name="T33" fmla="*/ 1 h 396"/>
                <a:gd name="T34" fmla="*/ 1 w 226"/>
                <a:gd name="T35" fmla="*/ 1 h 396"/>
                <a:gd name="T36" fmla="*/ 1 w 226"/>
                <a:gd name="T37" fmla="*/ 1 h 396"/>
                <a:gd name="T38" fmla="*/ 1 w 226"/>
                <a:gd name="T39" fmla="*/ 1 h 396"/>
                <a:gd name="T40" fmla="*/ 1 w 226"/>
                <a:gd name="T41" fmla="*/ 1 h 396"/>
                <a:gd name="T42" fmla="*/ 0 w 226"/>
                <a:gd name="T43" fmla="*/ 1 h 396"/>
                <a:gd name="T44" fmla="*/ 1 w 226"/>
                <a:gd name="T45" fmla="*/ 2 h 396"/>
                <a:gd name="T46" fmla="*/ 1 w 226"/>
                <a:gd name="T47" fmla="*/ 2 h 396"/>
                <a:gd name="T48" fmla="*/ 1 w 226"/>
                <a:gd name="T49" fmla="*/ 2 h 396"/>
                <a:gd name="T50" fmla="*/ 1 w 226"/>
                <a:gd name="T51" fmla="*/ 2 h 396"/>
                <a:gd name="T52" fmla="*/ 1 w 226"/>
                <a:gd name="T53" fmla="*/ 2 h 396"/>
                <a:gd name="T54" fmla="*/ 1 w 226"/>
                <a:gd name="T55" fmla="*/ 3 h 396"/>
                <a:gd name="T56" fmla="*/ 1 w 226"/>
                <a:gd name="T57" fmla="*/ 3 h 396"/>
                <a:gd name="T58" fmla="*/ 1 w 226"/>
                <a:gd name="T59" fmla="*/ 3 h 396"/>
                <a:gd name="T60" fmla="*/ 1 w 226"/>
                <a:gd name="T61" fmla="*/ 3 h 396"/>
                <a:gd name="T62" fmla="*/ 1 w 226"/>
                <a:gd name="T63" fmla="*/ 3 h 396"/>
                <a:gd name="T64" fmla="*/ 1 w 226"/>
                <a:gd name="T65" fmla="*/ 3 h 396"/>
                <a:gd name="T66" fmla="*/ 1 w 226"/>
                <a:gd name="T67" fmla="*/ 3 h 396"/>
                <a:gd name="T68" fmla="*/ 1 w 226"/>
                <a:gd name="T69" fmla="*/ 3 h 396"/>
                <a:gd name="T70" fmla="*/ 1 w 226"/>
                <a:gd name="T71" fmla="*/ 3 h 396"/>
                <a:gd name="T72" fmla="*/ 1 w 226"/>
                <a:gd name="T73" fmla="*/ 3 h 396"/>
                <a:gd name="T74" fmla="*/ 1 w 226"/>
                <a:gd name="T75" fmla="*/ 3 h 396"/>
                <a:gd name="T76" fmla="*/ 1 w 226"/>
                <a:gd name="T77" fmla="*/ 3 h 396"/>
                <a:gd name="T78" fmla="*/ 1 w 226"/>
                <a:gd name="T79" fmla="*/ 3 h 396"/>
                <a:gd name="T80" fmla="*/ 1 w 226"/>
                <a:gd name="T81" fmla="*/ 2 h 396"/>
                <a:gd name="T82" fmla="*/ 1 w 226"/>
                <a:gd name="T83" fmla="*/ 2 h 396"/>
                <a:gd name="T84" fmla="*/ 1 w 226"/>
                <a:gd name="T85" fmla="*/ 2 h 396"/>
                <a:gd name="T86" fmla="*/ 1 w 226"/>
                <a:gd name="T87" fmla="*/ 2 h 396"/>
                <a:gd name="T88" fmla="*/ 1 w 226"/>
                <a:gd name="T89" fmla="*/ 2 h 396"/>
                <a:gd name="T90" fmla="*/ 1 w 226"/>
                <a:gd name="T91" fmla="*/ 2 h 396"/>
                <a:gd name="T92" fmla="*/ 1 w 226"/>
                <a:gd name="T93" fmla="*/ 2 h 396"/>
                <a:gd name="T94" fmla="*/ 1 w 226"/>
                <a:gd name="T95" fmla="*/ 2 h 396"/>
                <a:gd name="T96" fmla="*/ 1 w 226"/>
                <a:gd name="T97" fmla="*/ 1 h 396"/>
                <a:gd name="T98" fmla="*/ 1 w 226"/>
                <a:gd name="T99" fmla="*/ 1 h 396"/>
                <a:gd name="T100" fmla="*/ 1 w 226"/>
                <a:gd name="T101" fmla="*/ 1 h 396"/>
                <a:gd name="T102" fmla="*/ 1 w 226"/>
                <a:gd name="T103" fmla="*/ 1 h 396"/>
                <a:gd name="T104" fmla="*/ 1 w 226"/>
                <a:gd name="T105" fmla="*/ 1 h 396"/>
                <a:gd name="T106" fmla="*/ 1 w 226"/>
                <a:gd name="T107" fmla="*/ 1 h 396"/>
                <a:gd name="T108" fmla="*/ 1 w 226"/>
                <a:gd name="T109" fmla="*/ 1 h 396"/>
                <a:gd name="T110" fmla="*/ 1 w 226"/>
                <a:gd name="T111" fmla="*/ 1 h 396"/>
                <a:gd name="T112" fmla="*/ 1 w 226"/>
                <a:gd name="T113" fmla="*/ 1 h 39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26"/>
                <a:gd name="T172" fmla="*/ 0 h 396"/>
                <a:gd name="T173" fmla="*/ 226 w 226"/>
                <a:gd name="T174" fmla="*/ 396 h 39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26" h="396">
                  <a:moveTo>
                    <a:pt x="222" y="99"/>
                  </a:moveTo>
                  <a:lnTo>
                    <a:pt x="201" y="86"/>
                  </a:lnTo>
                  <a:lnTo>
                    <a:pt x="179" y="74"/>
                  </a:lnTo>
                  <a:lnTo>
                    <a:pt x="156" y="62"/>
                  </a:lnTo>
                  <a:lnTo>
                    <a:pt x="135" y="49"/>
                  </a:lnTo>
                  <a:lnTo>
                    <a:pt x="113" y="37"/>
                  </a:lnTo>
                  <a:lnTo>
                    <a:pt x="91" y="25"/>
                  </a:lnTo>
                  <a:lnTo>
                    <a:pt x="69" y="12"/>
                  </a:lnTo>
                  <a:lnTo>
                    <a:pt x="47" y="0"/>
                  </a:lnTo>
                  <a:lnTo>
                    <a:pt x="27" y="12"/>
                  </a:lnTo>
                  <a:lnTo>
                    <a:pt x="29" y="31"/>
                  </a:lnTo>
                  <a:lnTo>
                    <a:pt x="31" y="49"/>
                  </a:lnTo>
                  <a:lnTo>
                    <a:pt x="49" y="78"/>
                  </a:lnTo>
                  <a:lnTo>
                    <a:pt x="45" y="89"/>
                  </a:lnTo>
                  <a:lnTo>
                    <a:pt x="43" y="107"/>
                  </a:lnTo>
                  <a:lnTo>
                    <a:pt x="42" y="126"/>
                  </a:lnTo>
                  <a:lnTo>
                    <a:pt x="41" y="145"/>
                  </a:lnTo>
                  <a:lnTo>
                    <a:pt x="40" y="163"/>
                  </a:lnTo>
                  <a:lnTo>
                    <a:pt x="30" y="179"/>
                  </a:lnTo>
                  <a:lnTo>
                    <a:pt x="21" y="193"/>
                  </a:lnTo>
                  <a:lnTo>
                    <a:pt x="11" y="207"/>
                  </a:lnTo>
                  <a:lnTo>
                    <a:pt x="0" y="223"/>
                  </a:lnTo>
                  <a:lnTo>
                    <a:pt x="1" y="242"/>
                  </a:lnTo>
                  <a:lnTo>
                    <a:pt x="11" y="258"/>
                  </a:lnTo>
                  <a:lnTo>
                    <a:pt x="19" y="258"/>
                  </a:lnTo>
                  <a:lnTo>
                    <a:pt x="30" y="283"/>
                  </a:lnTo>
                  <a:lnTo>
                    <a:pt x="33" y="311"/>
                  </a:lnTo>
                  <a:lnTo>
                    <a:pt x="47" y="336"/>
                  </a:lnTo>
                  <a:lnTo>
                    <a:pt x="22" y="336"/>
                  </a:lnTo>
                  <a:lnTo>
                    <a:pt x="11" y="341"/>
                  </a:lnTo>
                  <a:lnTo>
                    <a:pt x="30" y="365"/>
                  </a:lnTo>
                  <a:lnTo>
                    <a:pt x="43" y="396"/>
                  </a:lnTo>
                  <a:lnTo>
                    <a:pt x="64" y="390"/>
                  </a:lnTo>
                  <a:lnTo>
                    <a:pt x="69" y="392"/>
                  </a:lnTo>
                  <a:lnTo>
                    <a:pt x="81" y="390"/>
                  </a:lnTo>
                  <a:lnTo>
                    <a:pt x="111" y="384"/>
                  </a:lnTo>
                  <a:lnTo>
                    <a:pt x="121" y="372"/>
                  </a:lnTo>
                  <a:lnTo>
                    <a:pt x="118" y="363"/>
                  </a:lnTo>
                  <a:lnTo>
                    <a:pt x="149" y="357"/>
                  </a:lnTo>
                  <a:lnTo>
                    <a:pt x="166" y="337"/>
                  </a:lnTo>
                  <a:lnTo>
                    <a:pt x="183" y="317"/>
                  </a:lnTo>
                  <a:lnTo>
                    <a:pt x="204" y="312"/>
                  </a:lnTo>
                  <a:lnTo>
                    <a:pt x="202" y="299"/>
                  </a:lnTo>
                  <a:lnTo>
                    <a:pt x="198" y="285"/>
                  </a:lnTo>
                  <a:lnTo>
                    <a:pt x="189" y="266"/>
                  </a:lnTo>
                  <a:lnTo>
                    <a:pt x="180" y="265"/>
                  </a:lnTo>
                  <a:lnTo>
                    <a:pt x="189" y="246"/>
                  </a:lnTo>
                  <a:lnTo>
                    <a:pt x="190" y="235"/>
                  </a:lnTo>
                  <a:lnTo>
                    <a:pt x="192" y="229"/>
                  </a:lnTo>
                  <a:lnTo>
                    <a:pt x="194" y="219"/>
                  </a:lnTo>
                  <a:lnTo>
                    <a:pt x="204" y="200"/>
                  </a:lnTo>
                  <a:lnTo>
                    <a:pt x="212" y="194"/>
                  </a:lnTo>
                  <a:lnTo>
                    <a:pt x="226" y="193"/>
                  </a:lnTo>
                  <a:lnTo>
                    <a:pt x="225" y="170"/>
                  </a:lnTo>
                  <a:lnTo>
                    <a:pt x="224" y="146"/>
                  </a:lnTo>
                  <a:lnTo>
                    <a:pt x="224" y="122"/>
                  </a:lnTo>
                  <a:lnTo>
                    <a:pt x="222" y="99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06" name="Freeform 34"/>
            <p:cNvSpPr>
              <a:spLocks/>
            </p:cNvSpPr>
            <p:nvPr/>
          </p:nvSpPr>
          <p:spPr bwMode="auto">
            <a:xfrm>
              <a:off x="3252" y="1872"/>
              <a:ext cx="23" cy="27"/>
            </a:xfrm>
            <a:custGeom>
              <a:avLst/>
              <a:gdLst>
                <a:gd name="T0" fmla="*/ 0 w 31"/>
                <a:gd name="T1" fmla="*/ 1 h 38"/>
                <a:gd name="T2" fmla="*/ 1 w 31"/>
                <a:gd name="T3" fmla="*/ 1 h 38"/>
                <a:gd name="T4" fmla="*/ 1 w 31"/>
                <a:gd name="T5" fmla="*/ 1 h 38"/>
                <a:gd name="T6" fmla="*/ 1 w 31"/>
                <a:gd name="T7" fmla="*/ 0 h 38"/>
                <a:gd name="T8" fmla="*/ 1 w 31"/>
                <a:gd name="T9" fmla="*/ 1 h 38"/>
                <a:gd name="T10" fmla="*/ 0 w 31"/>
                <a:gd name="T11" fmla="*/ 1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1"/>
                <a:gd name="T19" fmla="*/ 0 h 38"/>
                <a:gd name="T20" fmla="*/ 31 w 31"/>
                <a:gd name="T21" fmla="*/ 38 h 3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1" h="38">
                  <a:moveTo>
                    <a:pt x="0" y="38"/>
                  </a:moveTo>
                  <a:lnTo>
                    <a:pt x="25" y="38"/>
                  </a:lnTo>
                  <a:lnTo>
                    <a:pt x="31" y="26"/>
                  </a:lnTo>
                  <a:lnTo>
                    <a:pt x="23" y="0"/>
                  </a:lnTo>
                  <a:lnTo>
                    <a:pt x="16" y="1"/>
                  </a:lnTo>
                  <a:lnTo>
                    <a:pt x="0" y="3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07" name="Freeform 35"/>
            <p:cNvSpPr>
              <a:spLocks/>
            </p:cNvSpPr>
            <p:nvPr/>
          </p:nvSpPr>
          <p:spPr bwMode="auto">
            <a:xfrm>
              <a:off x="3166" y="1778"/>
              <a:ext cx="103" cy="100"/>
            </a:xfrm>
            <a:custGeom>
              <a:avLst/>
              <a:gdLst>
                <a:gd name="T0" fmla="*/ 0 w 145"/>
                <a:gd name="T1" fmla="*/ 1 h 141"/>
                <a:gd name="T2" fmla="*/ 1 w 145"/>
                <a:gd name="T3" fmla="*/ 1 h 141"/>
                <a:gd name="T4" fmla="*/ 1 w 145"/>
                <a:gd name="T5" fmla="*/ 1 h 141"/>
                <a:gd name="T6" fmla="*/ 1 w 145"/>
                <a:gd name="T7" fmla="*/ 1 h 141"/>
                <a:gd name="T8" fmla="*/ 1 w 145"/>
                <a:gd name="T9" fmla="*/ 1 h 141"/>
                <a:gd name="T10" fmla="*/ 1 w 145"/>
                <a:gd name="T11" fmla="*/ 1 h 141"/>
                <a:gd name="T12" fmla="*/ 1 w 145"/>
                <a:gd name="T13" fmla="*/ 0 h 141"/>
                <a:gd name="T14" fmla="*/ 1 w 145"/>
                <a:gd name="T15" fmla="*/ 1 h 141"/>
                <a:gd name="T16" fmla="*/ 1 w 145"/>
                <a:gd name="T17" fmla="*/ 1 h 141"/>
                <a:gd name="T18" fmla="*/ 1 w 145"/>
                <a:gd name="T19" fmla="*/ 1 h 141"/>
                <a:gd name="T20" fmla="*/ 1 w 145"/>
                <a:gd name="T21" fmla="*/ 1 h 141"/>
                <a:gd name="T22" fmla="*/ 1 w 145"/>
                <a:gd name="T23" fmla="*/ 1 h 141"/>
                <a:gd name="T24" fmla="*/ 1 w 145"/>
                <a:gd name="T25" fmla="*/ 1 h 141"/>
                <a:gd name="T26" fmla="*/ 1 w 145"/>
                <a:gd name="T27" fmla="*/ 1 h 141"/>
                <a:gd name="T28" fmla="*/ 1 w 145"/>
                <a:gd name="T29" fmla="*/ 1 h 141"/>
                <a:gd name="T30" fmla="*/ 1 w 145"/>
                <a:gd name="T31" fmla="*/ 1 h 141"/>
                <a:gd name="T32" fmla="*/ 1 w 145"/>
                <a:gd name="T33" fmla="*/ 1 h 141"/>
                <a:gd name="T34" fmla="*/ 1 w 145"/>
                <a:gd name="T35" fmla="*/ 1 h 141"/>
                <a:gd name="T36" fmla="*/ 1 w 145"/>
                <a:gd name="T37" fmla="*/ 1 h 141"/>
                <a:gd name="T38" fmla="*/ 1 w 145"/>
                <a:gd name="T39" fmla="*/ 1 h 141"/>
                <a:gd name="T40" fmla="*/ 1 w 145"/>
                <a:gd name="T41" fmla="*/ 1 h 141"/>
                <a:gd name="T42" fmla="*/ 1 w 145"/>
                <a:gd name="T43" fmla="*/ 1 h 141"/>
                <a:gd name="T44" fmla="*/ 1 w 145"/>
                <a:gd name="T45" fmla="*/ 1 h 141"/>
                <a:gd name="T46" fmla="*/ 1 w 145"/>
                <a:gd name="T47" fmla="*/ 1 h 141"/>
                <a:gd name="T48" fmla="*/ 1 w 145"/>
                <a:gd name="T49" fmla="*/ 1 h 141"/>
                <a:gd name="T50" fmla="*/ 1 w 145"/>
                <a:gd name="T51" fmla="*/ 1 h 141"/>
                <a:gd name="T52" fmla="*/ 1 w 145"/>
                <a:gd name="T53" fmla="*/ 1 h 141"/>
                <a:gd name="T54" fmla="*/ 1 w 145"/>
                <a:gd name="T55" fmla="*/ 1 h 141"/>
                <a:gd name="T56" fmla="*/ 1 w 145"/>
                <a:gd name="T57" fmla="*/ 1 h 141"/>
                <a:gd name="T58" fmla="*/ 1 w 145"/>
                <a:gd name="T59" fmla="*/ 1 h 141"/>
                <a:gd name="T60" fmla="*/ 1 w 145"/>
                <a:gd name="T61" fmla="*/ 1 h 141"/>
                <a:gd name="T62" fmla="*/ 0 w 145"/>
                <a:gd name="T63" fmla="*/ 1 h 1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45"/>
                <a:gd name="T97" fmla="*/ 0 h 141"/>
                <a:gd name="T98" fmla="*/ 145 w 145"/>
                <a:gd name="T99" fmla="*/ 141 h 14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45" h="141">
                  <a:moveTo>
                    <a:pt x="0" y="108"/>
                  </a:moveTo>
                  <a:lnTo>
                    <a:pt x="3" y="90"/>
                  </a:lnTo>
                  <a:lnTo>
                    <a:pt x="6" y="55"/>
                  </a:lnTo>
                  <a:lnTo>
                    <a:pt x="14" y="24"/>
                  </a:lnTo>
                  <a:lnTo>
                    <a:pt x="27" y="13"/>
                  </a:lnTo>
                  <a:lnTo>
                    <a:pt x="42" y="2"/>
                  </a:lnTo>
                  <a:lnTo>
                    <a:pt x="44" y="0"/>
                  </a:lnTo>
                  <a:lnTo>
                    <a:pt x="51" y="18"/>
                  </a:lnTo>
                  <a:lnTo>
                    <a:pt x="59" y="34"/>
                  </a:lnTo>
                  <a:lnTo>
                    <a:pt x="65" y="52"/>
                  </a:lnTo>
                  <a:lnTo>
                    <a:pt x="72" y="70"/>
                  </a:lnTo>
                  <a:lnTo>
                    <a:pt x="73" y="64"/>
                  </a:lnTo>
                  <a:lnTo>
                    <a:pt x="79" y="68"/>
                  </a:lnTo>
                  <a:lnTo>
                    <a:pt x="97" y="81"/>
                  </a:lnTo>
                  <a:lnTo>
                    <a:pt x="121" y="104"/>
                  </a:lnTo>
                  <a:lnTo>
                    <a:pt x="145" y="128"/>
                  </a:lnTo>
                  <a:lnTo>
                    <a:pt x="145" y="133"/>
                  </a:lnTo>
                  <a:lnTo>
                    <a:pt x="144" y="134"/>
                  </a:lnTo>
                  <a:lnTo>
                    <a:pt x="137" y="135"/>
                  </a:lnTo>
                  <a:lnTo>
                    <a:pt x="125" y="141"/>
                  </a:lnTo>
                  <a:lnTo>
                    <a:pt x="123" y="135"/>
                  </a:lnTo>
                  <a:lnTo>
                    <a:pt x="104" y="129"/>
                  </a:lnTo>
                  <a:lnTo>
                    <a:pt x="91" y="114"/>
                  </a:lnTo>
                  <a:lnTo>
                    <a:pt x="84" y="105"/>
                  </a:lnTo>
                  <a:lnTo>
                    <a:pt x="71" y="99"/>
                  </a:lnTo>
                  <a:lnTo>
                    <a:pt x="59" y="96"/>
                  </a:lnTo>
                  <a:lnTo>
                    <a:pt x="45" y="98"/>
                  </a:lnTo>
                  <a:lnTo>
                    <a:pt x="35" y="86"/>
                  </a:lnTo>
                  <a:lnTo>
                    <a:pt x="31" y="106"/>
                  </a:lnTo>
                  <a:lnTo>
                    <a:pt x="21" y="98"/>
                  </a:lnTo>
                  <a:lnTo>
                    <a:pt x="12" y="110"/>
                  </a:lnTo>
                  <a:lnTo>
                    <a:pt x="0" y="10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08" name="Freeform 36"/>
            <p:cNvSpPr>
              <a:spLocks/>
            </p:cNvSpPr>
            <p:nvPr/>
          </p:nvSpPr>
          <p:spPr bwMode="auto">
            <a:xfrm>
              <a:off x="3120" y="1839"/>
              <a:ext cx="229" cy="192"/>
            </a:xfrm>
            <a:custGeom>
              <a:avLst/>
              <a:gdLst>
                <a:gd name="T0" fmla="*/ 1 w 326"/>
                <a:gd name="T1" fmla="*/ 2 h 274"/>
                <a:gd name="T2" fmla="*/ 1 w 326"/>
                <a:gd name="T3" fmla="*/ 2 h 274"/>
                <a:gd name="T4" fmla="*/ 1 w 326"/>
                <a:gd name="T5" fmla="*/ 2 h 274"/>
                <a:gd name="T6" fmla="*/ 1 w 326"/>
                <a:gd name="T7" fmla="*/ 1 h 274"/>
                <a:gd name="T8" fmla="*/ 1 w 326"/>
                <a:gd name="T9" fmla="*/ 1 h 274"/>
                <a:gd name="T10" fmla="*/ 1 w 326"/>
                <a:gd name="T11" fmla="*/ 1 h 274"/>
                <a:gd name="T12" fmla="*/ 1 w 326"/>
                <a:gd name="T13" fmla="*/ 1 h 274"/>
                <a:gd name="T14" fmla="*/ 1 w 326"/>
                <a:gd name="T15" fmla="*/ 1 h 274"/>
                <a:gd name="T16" fmla="*/ 0 w 326"/>
                <a:gd name="T17" fmla="*/ 1 h 274"/>
                <a:gd name="T18" fmla="*/ 1 w 326"/>
                <a:gd name="T19" fmla="*/ 1 h 274"/>
                <a:gd name="T20" fmla="*/ 1 w 326"/>
                <a:gd name="T21" fmla="*/ 1 h 274"/>
                <a:gd name="T22" fmla="*/ 1 w 326"/>
                <a:gd name="T23" fmla="*/ 1 h 274"/>
                <a:gd name="T24" fmla="*/ 1 w 326"/>
                <a:gd name="T25" fmla="*/ 1 h 274"/>
                <a:gd name="T26" fmla="*/ 1 w 326"/>
                <a:gd name="T27" fmla="*/ 1 h 274"/>
                <a:gd name="T28" fmla="*/ 1 w 326"/>
                <a:gd name="T29" fmla="*/ 1 h 274"/>
                <a:gd name="T30" fmla="*/ 1 w 326"/>
                <a:gd name="T31" fmla="*/ 1 h 274"/>
                <a:gd name="T32" fmla="*/ 1 w 326"/>
                <a:gd name="T33" fmla="*/ 1 h 274"/>
                <a:gd name="T34" fmla="*/ 1 w 326"/>
                <a:gd name="T35" fmla="*/ 1 h 274"/>
                <a:gd name="T36" fmla="*/ 1 w 326"/>
                <a:gd name="T37" fmla="*/ 1 h 274"/>
                <a:gd name="T38" fmla="*/ 1 w 326"/>
                <a:gd name="T39" fmla="*/ 0 h 274"/>
                <a:gd name="T40" fmla="*/ 1 w 326"/>
                <a:gd name="T41" fmla="*/ 1 h 274"/>
                <a:gd name="T42" fmla="*/ 1 w 326"/>
                <a:gd name="T43" fmla="*/ 1 h 274"/>
                <a:gd name="T44" fmla="*/ 1 w 326"/>
                <a:gd name="T45" fmla="*/ 1 h 274"/>
                <a:gd name="T46" fmla="*/ 1 w 326"/>
                <a:gd name="T47" fmla="*/ 1 h 274"/>
                <a:gd name="T48" fmla="*/ 1 w 326"/>
                <a:gd name="T49" fmla="*/ 1 h 274"/>
                <a:gd name="T50" fmla="*/ 1 w 326"/>
                <a:gd name="T51" fmla="*/ 1 h 274"/>
                <a:gd name="T52" fmla="*/ 1 w 326"/>
                <a:gd name="T53" fmla="*/ 1 h 274"/>
                <a:gd name="T54" fmla="*/ 1 w 326"/>
                <a:gd name="T55" fmla="*/ 1 h 274"/>
                <a:gd name="T56" fmla="*/ 1 w 326"/>
                <a:gd name="T57" fmla="*/ 1 h 274"/>
                <a:gd name="T58" fmla="*/ 1 w 326"/>
                <a:gd name="T59" fmla="*/ 1 h 274"/>
                <a:gd name="T60" fmla="*/ 1 w 326"/>
                <a:gd name="T61" fmla="*/ 1 h 274"/>
                <a:gd name="T62" fmla="*/ 1 w 326"/>
                <a:gd name="T63" fmla="*/ 1 h 274"/>
                <a:gd name="T64" fmla="*/ 1 w 326"/>
                <a:gd name="T65" fmla="*/ 1 h 274"/>
                <a:gd name="T66" fmla="*/ 2 w 326"/>
                <a:gd name="T67" fmla="*/ 1 h 274"/>
                <a:gd name="T68" fmla="*/ 2 w 326"/>
                <a:gd name="T69" fmla="*/ 1 h 274"/>
                <a:gd name="T70" fmla="*/ 2 w 326"/>
                <a:gd name="T71" fmla="*/ 1 h 274"/>
                <a:gd name="T72" fmla="*/ 2 w 326"/>
                <a:gd name="T73" fmla="*/ 1 h 274"/>
                <a:gd name="T74" fmla="*/ 2 w 326"/>
                <a:gd name="T75" fmla="*/ 1 h 274"/>
                <a:gd name="T76" fmla="*/ 2 w 326"/>
                <a:gd name="T77" fmla="*/ 1 h 274"/>
                <a:gd name="T78" fmla="*/ 2 w 326"/>
                <a:gd name="T79" fmla="*/ 1 h 274"/>
                <a:gd name="T80" fmla="*/ 2 w 326"/>
                <a:gd name="T81" fmla="*/ 1 h 274"/>
                <a:gd name="T82" fmla="*/ 2 w 326"/>
                <a:gd name="T83" fmla="*/ 1 h 274"/>
                <a:gd name="T84" fmla="*/ 2 w 326"/>
                <a:gd name="T85" fmla="*/ 2 h 274"/>
                <a:gd name="T86" fmla="*/ 2 w 326"/>
                <a:gd name="T87" fmla="*/ 2 h 274"/>
                <a:gd name="T88" fmla="*/ 1 w 326"/>
                <a:gd name="T89" fmla="*/ 2 h 274"/>
                <a:gd name="T90" fmla="*/ 1 w 326"/>
                <a:gd name="T91" fmla="*/ 2 h 274"/>
                <a:gd name="T92" fmla="*/ 1 w 326"/>
                <a:gd name="T93" fmla="*/ 2 h 274"/>
                <a:gd name="T94" fmla="*/ 1 w 326"/>
                <a:gd name="T95" fmla="*/ 2 h 274"/>
                <a:gd name="T96" fmla="*/ 1 w 326"/>
                <a:gd name="T97" fmla="*/ 2 h 274"/>
                <a:gd name="T98" fmla="*/ 1 w 326"/>
                <a:gd name="T99" fmla="*/ 2 h 274"/>
                <a:gd name="T100" fmla="*/ 1 w 326"/>
                <a:gd name="T101" fmla="*/ 2 h 27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26"/>
                <a:gd name="T154" fmla="*/ 0 h 274"/>
                <a:gd name="T155" fmla="*/ 326 w 326"/>
                <a:gd name="T156" fmla="*/ 274 h 27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26" h="274">
                  <a:moveTo>
                    <a:pt x="110" y="268"/>
                  </a:moveTo>
                  <a:lnTo>
                    <a:pt x="84" y="248"/>
                  </a:lnTo>
                  <a:lnTo>
                    <a:pt x="64" y="246"/>
                  </a:lnTo>
                  <a:lnTo>
                    <a:pt x="58" y="227"/>
                  </a:lnTo>
                  <a:lnTo>
                    <a:pt x="45" y="220"/>
                  </a:lnTo>
                  <a:lnTo>
                    <a:pt x="37" y="204"/>
                  </a:lnTo>
                  <a:lnTo>
                    <a:pt x="28" y="187"/>
                  </a:lnTo>
                  <a:lnTo>
                    <a:pt x="7" y="168"/>
                  </a:lnTo>
                  <a:lnTo>
                    <a:pt x="0" y="162"/>
                  </a:lnTo>
                  <a:lnTo>
                    <a:pt x="7" y="150"/>
                  </a:lnTo>
                  <a:lnTo>
                    <a:pt x="22" y="146"/>
                  </a:lnTo>
                  <a:lnTo>
                    <a:pt x="26" y="120"/>
                  </a:lnTo>
                  <a:lnTo>
                    <a:pt x="28" y="92"/>
                  </a:lnTo>
                  <a:lnTo>
                    <a:pt x="40" y="90"/>
                  </a:lnTo>
                  <a:lnTo>
                    <a:pt x="45" y="62"/>
                  </a:lnTo>
                  <a:lnTo>
                    <a:pt x="67" y="22"/>
                  </a:lnTo>
                  <a:lnTo>
                    <a:pt x="79" y="24"/>
                  </a:lnTo>
                  <a:lnTo>
                    <a:pt x="88" y="12"/>
                  </a:lnTo>
                  <a:lnTo>
                    <a:pt x="98" y="20"/>
                  </a:lnTo>
                  <a:lnTo>
                    <a:pt x="102" y="0"/>
                  </a:lnTo>
                  <a:lnTo>
                    <a:pt x="112" y="12"/>
                  </a:lnTo>
                  <a:lnTo>
                    <a:pt x="126" y="10"/>
                  </a:lnTo>
                  <a:lnTo>
                    <a:pt x="138" y="13"/>
                  </a:lnTo>
                  <a:lnTo>
                    <a:pt x="151" y="19"/>
                  </a:lnTo>
                  <a:lnTo>
                    <a:pt x="158" y="28"/>
                  </a:lnTo>
                  <a:lnTo>
                    <a:pt x="171" y="43"/>
                  </a:lnTo>
                  <a:lnTo>
                    <a:pt x="190" y="49"/>
                  </a:lnTo>
                  <a:lnTo>
                    <a:pt x="192" y="55"/>
                  </a:lnTo>
                  <a:lnTo>
                    <a:pt x="204" y="49"/>
                  </a:lnTo>
                  <a:lnTo>
                    <a:pt x="188" y="86"/>
                  </a:lnTo>
                  <a:lnTo>
                    <a:pt x="213" y="86"/>
                  </a:lnTo>
                  <a:lnTo>
                    <a:pt x="211" y="101"/>
                  </a:lnTo>
                  <a:lnTo>
                    <a:pt x="225" y="119"/>
                  </a:lnTo>
                  <a:lnTo>
                    <a:pt x="238" y="137"/>
                  </a:lnTo>
                  <a:lnTo>
                    <a:pt x="255" y="143"/>
                  </a:lnTo>
                  <a:lnTo>
                    <a:pt x="272" y="149"/>
                  </a:lnTo>
                  <a:lnTo>
                    <a:pt x="288" y="155"/>
                  </a:lnTo>
                  <a:lnTo>
                    <a:pt x="304" y="162"/>
                  </a:lnTo>
                  <a:lnTo>
                    <a:pt x="326" y="162"/>
                  </a:lnTo>
                  <a:lnTo>
                    <a:pt x="310" y="181"/>
                  </a:lnTo>
                  <a:lnTo>
                    <a:pt x="294" y="200"/>
                  </a:lnTo>
                  <a:lnTo>
                    <a:pt x="278" y="220"/>
                  </a:lnTo>
                  <a:lnTo>
                    <a:pt x="261" y="239"/>
                  </a:lnTo>
                  <a:lnTo>
                    <a:pt x="244" y="240"/>
                  </a:lnTo>
                  <a:lnTo>
                    <a:pt x="226" y="241"/>
                  </a:lnTo>
                  <a:lnTo>
                    <a:pt x="206" y="256"/>
                  </a:lnTo>
                  <a:lnTo>
                    <a:pt x="195" y="262"/>
                  </a:lnTo>
                  <a:lnTo>
                    <a:pt x="174" y="257"/>
                  </a:lnTo>
                  <a:lnTo>
                    <a:pt x="151" y="264"/>
                  </a:lnTo>
                  <a:lnTo>
                    <a:pt x="140" y="274"/>
                  </a:lnTo>
                  <a:lnTo>
                    <a:pt x="110" y="26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09" name="Freeform 37"/>
            <p:cNvSpPr>
              <a:spLocks/>
            </p:cNvSpPr>
            <p:nvPr/>
          </p:nvSpPr>
          <p:spPr bwMode="auto">
            <a:xfrm>
              <a:off x="3242" y="1884"/>
              <a:ext cx="156" cy="236"/>
            </a:xfrm>
            <a:custGeom>
              <a:avLst/>
              <a:gdLst>
                <a:gd name="T0" fmla="*/ 1 w 221"/>
                <a:gd name="T1" fmla="*/ 1 h 337"/>
                <a:gd name="T2" fmla="*/ 1 w 221"/>
                <a:gd name="T3" fmla="*/ 1 h 337"/>
                <a:gd name="T4" fmla="*/ 1 w 221"/>
                <a:gd name="T5" fmla="*/ 1 h 337"/>
                <a:gd name="T6" fmla="*/ 1 w 221"/>
                <a:gd name="T7" fmla="*/ 1 h 337"/>
                <a:gd name="T8" fmla="*/ 1 w 221"/>
                <a:gd name="T9" fmla="*/ 1 h 337"/>
                <a:gd name="T10" fmla="*/ 1 w 221"/>
                <a:gd name="T11" fmla="*/ 1 h 337"/>
                <a:gd name="T12" fmla="*/ 1 w 221"/>
                <a:gd name="T13" fmla="*/ 1 h 337"/>
                <a:gd name="T14" fmla="*/ 1 w 221"/>
                <a:gd name="T15" fmla="*/ 1 h 337"/>
                <a:gd name="T16" fmla="*/ 1 w 221"/>
                <a:gd name="T17" fmla="*/ 2 h 337"/>
                <a:gd name="T18" fmla="*/ 1 w 221"/>
                <a:gd name="T19" fmla="*/ 2 h 337"/>
                <a:gd name="T20" fmla="*/ 1 w 221"/>
                <a:gd name="T21" fmla="*/ 2 h 337"/>
                <a:gd name="T22" fmla="*/ 1 w 221"/>
                <a:gd name="T23" fmla="*/ 2 h 337"/>
                <a:gd name="T24" fmla="*/ 1 w 221"/>
                <a:gd name="T25" fmla="*/ 2 h 337"/>
                <a:gd name="T26" fmla="*/ 1 w 221"/>
                <a:gd name="T27" fmla="*/ 2 h 337"/>
                <a:gd name="T28" fmla="*/ 1 w 221"/>
                <a:gd name="T29" fmla="*/ 2 h 337"/>
                <a:gd name="T30" fmla="*/ 1 w 221"/>
                <a:gd name="T31" fmla="*/ 3 h 337"/>
                <a:gd name="T32" fmla="*/ 1 w 221"/>
                <a:gd name="T33" fmla="*/ 2 h 337"/>
                <a:gd name="T34" fmla="*/ 1 w 221"/>
                <a:gd name="T35" fmla="*/ 2 h 337"/>
                <a:gd name="T36" fmla="*/ 1 w 221"/>
                <a:gd name="T37" fmla="*/ 2 h 337"/>
                <a:gd name="T38" fmla="*/ 1 w 221"/>
                <a:gd name="T39" fmla="*/ 2 h 337"/>
                <a:gd name="T40" fmla="*/ 0 w 221"/>
                <a:gd name="T41" fmla="*/ 1 h 337"/>
                <a:gd name="T42" fmla="*/ 1 w 221"/>
                <a:gd name="T43" fmla="*/ 1 h 337"/>
                <a:gd name="T44" fmla="*/ 1 w 221"/>
                <a:gd name="T45" fmla="*/ 1 h 337"/>
                <a:gd name="T46" fmla="*/ 1 w 221"/>
                <a:gd name="T47" fmla="*/ 1 h 337"/>
                <a:gd name="T48" fmla="*/ 1 w 221"/>
                <a:gd name="T49" fmla="*/ 1 h 337"/>
                <a:gd name="T50" fmla="*/ 1 w 221"/>
                <a:gd name="T51" fmla="*/ 1 h 337"/>
                <a:gd name="T52" fmla="*/ 1 w 221"/>
                <a:gd name="T53" fmla="*/ 1 h 337"/>
                <a:gd name="T54" fmla="*/ 1 w 221"/>
                <a:gd name="T55" fmla="*/ 1 h 337"/>
                <a:gd name="T56" fmla="*/ 1 w 221"/>
                <a:gd name="T57" fmla="*/ 1 h 337"/>
                <a:gd name="T58" fmla="*/ 1 w 221"/>
                <a:gd name="T59" fmla="*/ 1 h 337"/>
                <a:gd name="T60" fmla="*/ 1 w 221"/>
                <a:gd name="T61" fmla="*/ 1 h 337"/>
                <a:gd name="T62" fmla="*/ 1 w 221"/>
                <a:gd name="T63" fmla="*/ 1 h 337"/>
                <a:gd name="T64" fmla="*/ 1 w 221"/>
                <a:gd name="T65" fmla="*/ 1 h 337"/>
                <a:gd name="T66" fmla="*/ 1 w 221"/>
                <a:gd name="T67" fmla="*/ 1 h 337"/>
                <a:gd name="T68" fmla="*/ 1 w 221"/>
                <a:gd name="T69" fmla="*/ 1 h 337"/>
                <a:gd name="T70" fmla="*/ 1 w 221"/>
                <a:gd name="T71" fmla="*/ 1 h 337"/>
                <a:gd name="T72" fmla="*/ 1 w 221"/>
                <a:gd name="T73" fmla="*/ 1 h 337"/>
                <a:gd name="T74" fmla="*/ 1 w 221"/>
                <a:gd name="T75" fmla="*/ 1 h 337"/>
                <a:gd name="T76" fmla="*/ 1 w 221"/>
                <a:gd name="T77" fmla="*/ 1 h 337"/>
                <a:gd name="T78" fmla="*/ 1 w 221"/>
                <a:gd name="T79" fmla="*/ 1 h 337"/>
                <a:gd name="T80" fmla="*/ 1 w 221"/>
                <a:gd name="T81" fmla="*/ 1 h 337"/>
                <a:gd name="T82" fmla="*/ 1 w 221"/>
                <a:gd name="T83" fmla="*/ 1 h 337"/>
                <a:gd name="T84" fmla="*/ 1 w 221"/>
                <a:gd name="T85" fmla="*/ 1 h 337"/>
                <a:gd name="T86" fmla="*/ 1 w 221"/>
                <a:gd name="T87" fmla="*/ 1 h 337"/>
                <a:gd name="T88" fmla="*/ 1 w 221"/>
                <a:gd name="T89" fmla="*/ 1 h 337"/>
                <a:gd name="T90" fmla="*/ 1 w 221"/>
                <a:gd name="T91" fmla="*/ 1 h 337"/>
                <a:gd name="T92" fmla="*/ 1 w 221"/>
                <a:gd name="T93" fmla="*/ 1 h 337"/>
                <a:gd name="T94" fmla="*/ 1 w 221"/>
                <a:gd name="T95" fmla="*/ 0 h 337"/>
                <a:gd name="T96" fmla="*/ 1 w 221"/>
                <a:gd name="T97" fmla="*/ 1 h 337"/>
                <a:gd name="T98" fmla="*/ 1 w 221"/>
                <a:gd name="T99" fmla="*/ 1 h 337"/>
                <a:gd name="T100" fmla="*/ 2 w 221"/>
                <a:gd name="T101" fmla="*/ 1 h 337"/>
                <a:gd name="T102" fmla="*/ 1 w 221"/>
                <a:gd name="T103" fmla="*/ 1 h 33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21"/>
                <a:gd name="T157" fmla="*/ 0 h 337"/>
                <a:gd name="T158" fmla="*/ 221 w 221"/>
                <a:gd name="T159" fmla="*/ 337 h 337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21" h="337">
                  <a:moveTo>
                    <a:pt x="212" y="45"/>
                  </a:moveTo>
                  <a:lnTo>
                    <a:pt x="206" y="73"/>
                  </a:lnTo>
                  <a:lnTo>
                    <a:pt x="192" y="103"/>
                  </a:lnTo>
                  <a:lnTo>
                    <a:pt x="177" y="133"/>
                  </a:lnTo>
                  <a:lnTo>
                    <a:pt x="162" y="163"/>
                  </a:lnTo>
                  <a:lnTo>
                    <a:pt x="147" y="192"/>
                  </a:lnTo>
                  <a:lnTo>
                    <a:pt x="134" y="206"/>
                  </a:lnTo>
                  <a:lnTo>
                    <a:pt x="121" y="219"/>
                  </a:lnTo>
                  <a:lnTo>
                    <a:pt x="108" y="234"/>
                  </a:lnTo>
                  <a:lnTo>
                    <a:pt x="95" y="247"/>
                  </a:lnTo>
                  <a:lnTo>
                    <a:pt x="79" y="261"/>
                  </a:lnTo>
                  <a:lnTo>
                    <a:pt x="65" y="277"/>
                  </a:lnTo>
                  <a:lnTo>
                    <a:pt x="49" y="291"/>
                  </a:lnTo>
                  <a:lnTo>
                    <a:pt x="33" y="307"/>
                  </a:lnTo>
                  <a:lnTo>
                    <a:pt x="23" y="322"/>
                  </a:lnTo>
                  <a:lnTo>
                    <a:pt x="13" y="337"/>
                  </a:lnTo>
                  <a:lnTo>
                    <a:pt x="1" y="318"/>
                  </a:lnTo>
                  <a:lnTo>
                    <a:pt x="1" y="295"/>
                  </a:lnTo>
                  <a:lnTo>
                    <a:pt x="1" y="272"/>
                  </a:lnTo>
                  <a:lnTo>
                    <a:pt x="1" y="249"/>
                  </a:lnTo>
                  <a:lnTo>
                    <a:pt x="0" y="225"/>
                  </a:lnTo>
                  <a:lnTo>
                    <a:pt x="11" y="212"/>
                  </a:lnTo>
                  <a:lnTo>
                    <a:pt x="20" y="198"/>
                  </a:lnTo>
                  <a:lnTo>
                    <a:pt x="31" y="192"/>
                  </a:lnTo>
                  <a:lnTo>
                    <a:pt x="51" y="177"/>
                  </a:lnTo>
                  <a:lnTo>
                    <a:pt x="69" y="176"/>
                  </a:lnTo>
                  <a:lnTo>
                    <a:pt x="86" y="175"/>
                  </a:lnTo>
                  <a:lnTo>
                    <a:pt x="103" y="156"/>
                  </a:lnTo>
                  <a:lnTo>
                    <a:pt x="119" y="136"/>
                  </a:lnTo>
                  <a:lnTo>
                    <a:pt x="135" y="117"/>
                  </a:lnTo>
                  <a:lnTo>
                    <a:pt x="151" y="98"/>
                  </a:lnTo>
                  <a:lnTo>
                    <a:pt x="129" y="98"/>
                  </a:lnTo>
                  <a:lnTo>
                    <a:pt x="113" y="91"/>
                  </a:lnTo>
                  <a:lnTo>
                    <a:pt x="97" y="85"/>
                  </a:lnTo>
                  <a:lnTo>
                    <a:pt x="80" y="79"/>
                  </a:lnTo>
                  <a:lnTo>
                    <a:pt x="63" y="73"/>
                  </a:lnTo>
                  <a:lnTo>
                    <a:pt x="50" y="55"/>
                  </a:lnTo>
                  <a:lnTo>
                    <a:pt x="36" y="37"/>
                  </a:lnTo>
                  <a:lnTo>
                    <a:pt x="38" y="22"/>
                  </a:lnTo>
                  <a:lnTo>
                    <a:pt x="44" y="10"/>
                  </a:lnTo>
                  <a:lnTo>
                    <a:pt x="59" y="24"/>
                  </a:lnTo>
                  <a:lnTo>
                    <a:pt x="72" y="37"/>
                  </a:lnTo>
                  <a:lnTo>
                    <a:pt x="99" y="27"/>
                  </a:lnTo>
                  <a:lnTo>
                    <a:pt x="120" y="30"/>
                  </a:lnTo>
                  <a:lnTo>
                    <a:pt x="140" y="20"/>
                  </a:lnTo>
                  <a:lnTo>
                    <a:pt x="170" y="13"/>
                  </a:lnTo>
                  <a:lnTo>
                    <a:pt x="201" y="6"/>
                  </a:lnTo>
                  <a:lnTo>
                    <a:pt x="212" y="0"/>
                  </a:lnTo>
                  <a:lnTo>
                    <a:pt x="219" y="7"/>
                  </a:lnTo>
                  <a:lnTo>
                    <a:pt x="217" y="37"/>
                  </a:lnTo>
                  <a:lnTo>
                    <a:pt x="221" y="38"/>
                  </a:lnTo>
                  <a:lnTo>
                    <a:pt x="212" y="45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10" name="Freeform 38"/>
            <p:cNvSpPr>
              <a:spLocks/>
            </p:cNvSpPr>
            <p:nvPr/>
          </p:nvSpPr>
          <p:spPr bwMode="auto">
            <a:xfrm>
              <a:off x="2945" y="1688"/>
              <a:ext cx="251" cy="343"/>
            </a:xfrm>
            <a:custGeom>
              <a:avLst/>
              <a:gdLst>
                <a:gd name="T0" fmla="*/ 1 w 357"/>
                <a:gd name="T1" fmla="*/ 1 h 488"/>
                <a:gd name="T2" fmla="*/ 1 w 357"/>
                <a:gd name="T3" fmla="*/ 1 h 488"/>
                <a:gd name="T4" fmla="*/ 1 w 357"/>
                <a:gd name="T5" fmla="*/ 1 h 488"/>
                <a:gd name="T6" fmla="*/ 1 w 357"/>
                <a:gd name="T7" fmla="*/ 1 h 488"/>
                <a:gd name="T8" fmla="*/ 1 w 357"/>
                <a:gd name="T9" fmla="*/ 1 h 488"/>
                <a:gd name="T10" fmla="*/ 1 w 357"/>
                <a:gd name="T11" fmla="*/ 1 h 488"/>
                <a:gd name="T12" fmla="*/ 1 w 357"/>
                <a:gd name="T13" fmla="*/ 1 h 488"/>
                <a:gd name="T14" fmla="*/ 1 w 357"/>
                <a:gd name="T15" fmla="*/ 1 h 488"/>
                <a:gd name="T16" fmla="*/ 2 w 357"/>
                <a:gd name="T17" fmla="*/ 1 h 488"/>
                <a:gd name="T18" fmla="*/ 2 w 357"/>
                <a:gd name="T19" fmla="*/ 1 h 488"/>
                <a:gd name="T20" fmla="*/ 2 w 357"/>
                <a:gd name="T21" fmla="*/ 0 h 488"/>
                <a:gd name="T22" fmla="*/ 2 w 357"/>
                <a:gd name="T23" fmla="*/ 1 h 488"/>
                <a:gd name="T24" fmla="*/ 2 w 357"/>
                <a:gd name="T25" fmla="*/ 1 h 488"/>
                <a:gd name="T26" fmla="*/ 3 w 357"/>
                <a:gd name="T27" fmla="*/ 1 h 488"/>
                <a:gd name="T28" fmla="*/ 2 w 357"/>
                <a:gd name="T29" fmla="*/ 1 h 488"/>
                <a:gd name="T30" fmla="*/ 2 w 357"/>
                <a:gd name="T31" fmla="*/ 1 h 488"/>
                <a:gd name="T32" fmla="*/ 2 w 357"/>
                <a:gd name="T33" fmla="*/ 2 h 488"/>
                <a:gd name="T34" fmla="*/ 2 w 357"/>
                <a:gd name="T35" fmla="*/ 2 h 488"/>
                <a:gd name="T36" fmla="*/ 2 w 357"/>
                <a:gd name="T37" fmla="*/ 3 h 488"/>
                <a:gd name="T38" fmla="*/ 2 w 357"/>
                <a:gd name="T39" fmla="*/ 3 h 488"/>
                <a:gd name="T40" fmla="*/ 2 w 357"/>
                <a:gd name="T41" fmla="*/ 3 h 488"/>
                <a:gd name="T42" fmla="*/ 2 w 357"/>
                <a:gd name="T43" fmla="*/ 3 h 488"/>
                <a:gd name="T44" fmla="*/ 2 w 357"/>
                <a:gd name="T45" fmla="*/ 3 h 488"/>
                <a:gd name="T46" fmla="*/ 2 w 357"/>
                <a:gd name="T47" fmla="*/ 3 h 488"/>
                <a:gd name="T48" fmla="*/ 2 w 357"/>
                <a:gd name="T49" fmla="*/ 4 h 488"/>
                <a:gd name="T50" fmla="*/ 1 w 357"/>
                <a:gd name="T51" fmla="*/ 4 h 488"/>
                <a:gd name="T52" fmla="*/ 1 w 357"/>
                <a:gd name="T53" fmla="*/ 4 h 488"/>
                <a:gd name="T54" fmla="*/ 1 w 357"/>
                <a:gd name="T55" fmla="*/ 4 h 488"/>
                <a:gd name="T56" fmla="*/ 1 w 357"/>
                <a:gd name="T57" fmla="*/ 3 h 488"/>
                <a:gd name="T58" fmla="*/ 1 w 357"/>
                <a:gd name="T59" fmla="*/ 3 h 488"/>
                <a:gd name="T60" fmla="*/ 1 w 357"/>
                <a:gd name="T61" fmla="*/ 3 h 488"/>
                <a:gd name="T62" fmla="*/ 1 w 357"/>
                <a:gd name="T63" fmla="*/ 3 h 488"/>
                <a:gd name="T64" fmla="*/ 1 w 357"/>
                <a:gd name="T65" fmla="*/ 3 h 488"/>
                <a:gd name="T66" fmla="*/ 1 w 357"/>
                <a:gd name="T67" fmla="*/ 3 h 488"/>
                <a:gd name="T68" fmla="*/ 1 w 357"/>
                <a:gd name="T69" fmla="*/ 3 h 488"/>
                <a:gd name="T70" fmla="*/ 1 w 357"/>
                <a:gd name="T71" fmla="*/ 2 h 488"/>
                <a:gd name="T72" fmla="*/ 1 w 357"/>
                <a:gd name="T73" fmla="*/ 2 h 488"/>
                <a:gd name="T74" fmla="*/ 0 w 357"/>
                <a:gd name="T75" fmla="*/ 2 h 488"/>
                <a:gd name="T76" fmla="*/ 1 w 357"/>
                <a:gd name="T77" fmla="*/ 1 h 488"/>
                <a:gd name="T78" fmla="*/ 1 w 357"/>
                <a:gd name="T79" fmla="*/ 1 h 488"/>
                <a:gd name="T80" fmla="*/ 1 w 357"/>
                <a:gd name="T81" fmla="*/ 1 h 488"/>
                <a:gd name="T82" fmla="*/ 1 w 357"/>
                <a:gd name="T83" fmla="*/ 1 h 488"/>
                <a:gd name="T84" fmla="*/ 1 w 357"/>
                <a:gd name="T85" fmla="*/ 1 h 48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57"/>
                <a:gd name="T130" fmla="*/ 0 h 488"/>
                <a:gd name="T131" fmla="*/ 357 w 357"/>
                <a:gd name="T132" fmla="*/ 488 h 48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57" h="488">
                  <a:moveTo>
                    <a:pt x="42" y="90"/>
                  </a:moveTo>
                  <a:lnTo>
                    <a:pt x="42" y="77"/>
                  </a:lnTo>
                  <a:lnTo>
                    <a:pt x="64" y="77"/>
                  </a:lnTo>
                  <a:lnTo>
                    <a:pt x="63" y="53"/>
                  </a:lnTo>
                  <a:lnTo>
                    <a:pt x="62" y="28"/>
                  </a:lnTo>
                  <a:lnTo>
                    <a:pt x="78" y="28"/>
                  </a:lnTo>
                  <a:lnTo>
                    <a:pt x="95" y="28"/>
                  </a:lnTo>
                  <a:lnTo>
                    <a:pt x="112" y="28"/>
                  </a:lnTo>
                  <a:lnTo>
                    <a:pt x="129" y="28"/>
                  </a:lnTo>
                  <a:lnTo>
                    <a:pt x="146" y="28"/>
                  </a:lnTo>
                  <a:lnTo>
                    <a:pt x="162" y="28"/>
                  </a:lnTo>
                  <a:lnTo>
                    <a:pt x="179" y="28"/>
                  </a:lnTo>
                  <a:lnTo>
                    <a:pt x="196" y="28"/>
                  </a:lnTo>
                  <a:lnTo>
                    <a:pt x="198" y="22"/>
                  </a:lnTo>
                  <a:lnTo>
                    <a:pt x="200" y="28"/>
                  </a:lnTo>
                  <a:lnTo>
                    <a:pt x="227" y="32"/>
                  </a:lnTo>
                  <a:lnTo>
                    <a:pt x="254" y="34"/>
                  </a:lnTo>
                  <a:lnTo>
                    <a:pt x="258" y="23"/>
                  </a:lnTo>
                  <a:lnTo>
                    <a:pt x="269" y="21"/>
                  </a:lnTo>
                  <a:lnTo>
                    <a:pt x="274" y="6"/>
                  </a:lnTo>
                  <a:lnTo>
                    <a:pt x="280" y="9"/>
                  </a:lnTo>
                  <a:lnTo>
                    <a:pt x="288" y="0"/>
                  </a:lnTo>
                  <a:lnTo>
                    <a:pt x="303" y="16"/>
                  </a:lnTo>
                  <a:lnTo>
                    <a:pt x="317" y="32"/>
                  </a:lnTo>
                  <a:lnTo>
                    <a:pt x="324" y="50"/>
                  </a:lnTo>
                  <a:lnTo>
                    <a:pt x="329" y="80"/>
                  </a:lnTo>
                  <a:lnTo>
                    <a:pt x="336" y="108"/>
                  </a:lnTo>
                  <a:lnTo>
                    <a:pt x="357" y="130"/>
                  </a:lnTo>
                  <a:lnTo>
                    <a:pt x="342" y="141"/>
                  </a:lnTo>
                  <a:lnTo>
                    <a:pt x="329" y="152"/>
                  </a:lnTo>
                  <a:lnTo>
                    <a:pt x="321" y="183"/>
                  </a:lnTo>
                  <a:lnTo>
                    <a:pt x="318" y="218"/>
                  </a:lnTo>
                  <a:lnTo>
                    <a:pt x="315" y="236"/>
                  </a:lnTo>
                  <a:lnTo>
                    <a:pt x="293" y="276"/>
                  </a:lnTo>
                  <a:lnTo>
                    <a:pt x="288" y="304"/>
                  </a:lnTo>
                  <a:lnTo>
                    <a:pt x="276" y="306"/>
                  </a:lnTo>
                  <a:lnTo>
                    <a:pt x="274" y="334"/>
                  </a:lnTo>
                  <a:lnTo>
                    <a:pt x="270" y="360"/>
                  </a:lnTo>
                  <a:lnTo>
                    <a:pt x="255" y="364"/>
                  </a:lnTo>
                  <a:lnTo>
                    <a:pt x="248" y="376"/>
                  </a:lnTo>
                  <a:lnTo>
                    <a:pt x="255" y="382"/>
                  </a:lnTo>
                  <a:lnTo>
                    <a:pt x="276" y="401"/>
                  </a:lnTo>
                  <a:lnTo>
                    <a:pt x="285" y="418"/>
                  </a:lnTo>
                  <a:lnTo>
                    <a:pt x="293" y="434"/>
                  </a:lnTo>
                  <a:lnTo>
                    <a:pt x="306" y="441"/>
                  </a:lnTo>
                  <a:lnTo>
                    <a:pt x="312" y="460"/>
                  </a:lnTo>
                  <a:lnTo>
                    <a:pt x="296" y="460"/>
                  </a:lnTo>
                  <a:lnTo>
                    <a:pt x="279" y="460"/>
                  </a:lnTo>
                  <a:lnTo>
                    <a:pt x="270" y="470"/>
                  </a:lnTo>
                  <a:lnTo>
                    <a:pt x="260" y="480"/>
                  </a:lnTo>
                  <a:lnTo>
                    <a:pt x="234" y="480"/>
                  </a:lnTo>
                  <a:lnTo>
                    <a:pt x="225" y="485"/>
                  </a:lnTo>
                  <a:lnTo>
                    <a:pt x="220" y="482"/>
                  </a:lnTo>
                  <a:lnTo>
                    <a:pt x="203" y="483"/>
                  </a:lnTo>
                  <a:lnTo>
                    <a:pt x="202" y="488"/>
                  </a:lnTo>
                  <a:lnTo>
                    <a:pt x="186" y="473"/>
                  </a:lnTo>
                  <a:lnTo>
                    <a:pt x="171" y="458"/>
                  </a:lnTo>
                  <a:lnTo>
                    <a:pt x="162" y="464"/>
                  </a:lnTo>
                  <a:lnTo>
                    <a:pt x="149" y="466"/>
                  </a:lnTo>
                  <a:lnTo>
                    <a:pt x="132" y="455"/>
                  </a:lnTo>
                  <a:lnTo>
                    <a:pt x="126" y="449"/>
                  </a:lnTo>
                  <a:lnTo>
                    <a:pt x="123" y="442"/>
                  </a:lnTo>
                  <a:lnTo>
                    <a:pt x="111" y="425"/>
                  </a:lnTo>
                  <a:lnTo>
                    <a:pt x="102" y="412"/>
                  </a:lnTo>
                  <a:lnTo>
                    <a:pt x="82" y="394"/>
                  </a:lnTo>
                  <a:lnTo>
                    <a:pt x="78" y="383"/>
                  </a:lnTo>
                  <a:lnTo>
                    <a:pt x="58" y="369"/>
                  </a:lnTo>
                  <a:lnTo>
                    <a:pt x="54" y="362"/>
                  </a:lnTo>
                  <a:lnTo>
                    <a:pt x="39" y="358"/>
                  </a:lnTo>
                  <a:lnTo>
                    <a:pt x="42" y="334"/>
                  </a:lnTo>
                  <a:lnTo>
                    <a:pt x="33" y="318"/>
                  </a:lnTo>
                  <a:lnTo>
                    <a:pt x="24" y="303"/>
                  </a:lnTo>
                  <a:lnTo>
                    <a:pt x="22" y="290"/>
                  </a:lnTo>
                  <a:lnTo>
                    <a:pt x="18" y="276"/>
                  </a:lnTo>
                  <a:lnTo>
                    <a:pt x="9" y="257"/>
                  </a:lnTo>
                  <a:lnTo>
                    <a:pt x="0" y="256"/>
                  </a:lnTo>
                  <a:lnTo>
                    <a:pt x="9" y="237"/>
                  </a:lnTo>
                  <a:lnTo>
                    <a:pt x="10" y="226"/>
                  </a:lnTo>
                  <a:lnTo>
                    <a:pt x="12" y="220"/>
                  </a:lnTo>
                  <a:lnTo>
                    <a:pt x="14" y="210"/>
                  </a:lnTo>
                  <a:lnTo>
                    <a:pt x="24" y="191"/>
                  </a:lnTo>
                  <a:lnTo>
                    <a:pt x="32" y="185"/>
                  </a:lnTo>
                  <a:lnTo>
                    <a:pt x="46" y="184"/>
                  </a:lnTo>
                  <a:lnTo>
                    <a:pt x="45" y="161"/>
                  </a:lnTo>
                  <a:lnTo>
                    <a:pt x="44" y="137"/>
                  </a:lnTo>
                  <a:lnTo>
                    <a:pt x="44" y="113"/>
                  </a:lnTo>
                  <a:lnTo>
                    <a:pt x="42" y="9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211" name="Freeform 39"/>
            <p:cNvSpPr>
              <a:spLocks/>
            </p:cNvSpPr>
            <p:nvPr/>
          </p:nvSpPr>
          <p:spPr bwMode="auto">
            <a:xfrm>
              <a:off x="3059" y="2132"/>
              <a:ext cx="27" cy="37"/>
            </a:xfrm>
            <a:custGeom>
              <a:avLst/>
              <a:gdLst>
                <a:gd name="T0" fmla="*/ 1 w 40"/>
                <a:gd name="T1" fmla="*/ 1 h 52"/>
                <a:gd name="T2" fmla="*/ 1 w 40"/>
                <a:gd name="T3" fmla="*/ 1 h 52"/>
                <a:gd name="T4" fmla="*/ 1 w 40"/>
                <a:gd name="T5" fmla="*/ 0 h 52"/>
                <a:gd name="T6" fmla="*/ 1 w 40"/>
                <a:gd name="T7" fmla="*/ 1 h 52"/>
                <a:gd name="T8" fmla="*/ 0 w 40"/>
                <a:gd name="T9" fmla="*/ 1 h 52"/>
                <a:gd name="T10" fmla="*/ 0 w 40"/>
                <a:gd name="T11" fmla="*/ 1 h 52"/>
                <a:gd name="T12" fmla="*/ 0 w 40"/>
                <a:gd name="T13" fmla="*/ 1 h 52"/>
                <a:gd name="T14" fmla="*/ 1 w 40"/>
                <a:gd name="T15" fmla="*/ 1 h 52"/>
                <a:gd name="T16" fmla="*/ 1 w 40"/>
                <a:gd name="T17" fmla="*/ 1 h 52"/>
                <a:gd name="T18" fmla="*/ 1 w 40"/>
                <a:gd name="T19" fmla="*/ 1 h 52"/>
                <a:gd name="T20" fmla="*/ 1 w 40"/>
                <a:gd name="T21" fmla="*/ 1 h 52"/>
                <a:gd name="T22" fmla="*/ 1 w 40"/>
                <a:gd name="T23" fmla="*/ 1 h 52"/>
                <a:gd name="T24" fmla="*/ 1 w 40"/>
                <a:gd name="T25" fmla="*/ 1 h 5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0"/>
                <a:gd name="T40" fmla="*/ 0 h 52"/>
                <a:gd name="T41" fmla="*/ 40 w 40"/>
                <a:gd name="T42" fmla="*/ 52 h 5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0" h="52">
                  <a:moveTo>
                    <a:pt x="34" y="14"/>
                  </a:moveTo>
                  <a:lnTo>
                    <a:pt x="34" y="2"/>
                  </a:lnTo>
                  <a:lnTo>
                    <a:pt x="22" y="0"/>
                  </a:lnTo>
                  <a:lnTo>
                    <a:pt x="19" y="8"/>
                  </a:lnTo>
                  <a:lnTo>
                    <a:pt x="0" y="9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5" y="32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27" y="37"/>
                  </a:lnTo>
                  <a:lnTo>
                    <a:pt x="40" y="22"/>
                  </a:lnTo>
                  <a:lnTo>
                    <a:pt x="34" y="1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12" name="Freeform 40"/>
            <p:cNvSpPr>
              <a:spLocks/>
            </p:cNvSpPr>
            <p:nvPr/>
          </p:nvSpPr>
          <p:spPr bwMode="auto">
            <a:xfrm>
              <a:off x="2784" y="2030"/>
              <a:ext cx="115" cy="149"/>
            </a:xfrm>
            <a:custGeom>
              <a:avLst/>
              <a:gdLst>
                <a:gd name="T0" fmla="*/ 1 w 163"/>
                <a:gd name="T1" fmla="*/ 1 h 214"/>
                <a:gd name="T2" fmla="*/ 1 w 163"/>
                <a:gd name="T3" fmla="*/ 1 h 214"/>
                <a:gd name="T4" fmla="*/ 1 w 163"/>
                <a:gd name="T5" fmla="*/ 1 h 214"/>
                <a:gd name="T6" fmla="*/ 1 w 163"/>
                <a:gd name="T7" fmla="*/ 1 h 214"/>
                <a:gd name="T8" fmla="*/ 1 w 163"/>
                <a:gd name="T9" fmla="*/ 1 h 214"/>
                <a:gd name="T10" fmla="*/ 1 w 163"/>
                <a:gd name="T11" fmla="*/ 1 h 214"/>
                <a:gd name="T12" fmla="*/ 1 w 163"/>
                <a:gd name="T13" fmla="*/ 1 h 214"/>
                <a:gd name="T14" fmla="*/ 0 w 163"/>
                <a:gd name="T15" fmla="*/ 1 h 214"/>
                <a:gd name="T16" fmla="*/ 1 w 163"/>
                <a:gd name="T17" fmla="*/ 1 h 214"/>
                <a:gd name="T18" fmla="*/ 1 w 163"/>
                <a:gd name="T19" fmla="*/ 1 h 214"/>
                <a:gd name="T20" fmla="*/ 1 w 163"/>
                <a:gd name="T21" fmla="*/ 1 h 214"/>
                <a:gd name="T22" fmla="*/ 1 w 163"/>
                <a:gd name="T23" fmla="*/ 1 h 214"/>
                <a:gd name="T24" fmla="*/ 1 w 163"/>
                <a:gd name="T25" fmla="*/ 1 h 214"/>
                <a:gd name="T26" fmla="*/ 1 w 163"/>
                <a:gd name="T27" fmla="*/ 1 h 214"/>
                <a:gd name="T28" fmla="*/ 1 w 163"/>
                <a:gd name="T29" fmla="*/ 1 h 214"/>
                <a:gd name="T30" fmla="*/ 1 w 163"/>
                <a:gd name="T31" fmla="*/ 1 h 214"/>
                <a:gd name="T32" fmla="*/ 1 w 163"/>
                <a:gd name="T33" fmla="*/ 1 h 214"/>
                <a:gd name="T34" fmla="*/ 1 w 163"/>
                <a:gd name="T35" fmla="*/ 1 h 214"/>
                <a:gd name="T36" fmla="*/ 1 w 163"/>
                <a:gd name="T37" fmla="*/ 1 h 214"/>
                <a:gd name="T38" fmla="*/ 1 w 163"/>
                <a:gd name="T39" fmla="*/ 1 h 214"/>
                <a:gd name="T40" fmla="*/ 1 w 163"/>
                <a:gd name="T41" fmla="*/ 1 h 214"/>
                <a:gd name="T42" fmla="*/ 1 w 163"/>
                <a:gd name="T43" fmla="*/ 1 h 214"/>
                <a:gd name="T44" fmla="*/ 1 w 163"/>
                <a:gd name="T45" fmla="*/ 1 h 214"/>
                <a:gd name="T46" fmla="*/ 1 w 163"/>
                <a:gd name="T47" fmla="*/ 1 h 214"/>
                <a:gd name="T48" fmla="*/ 1 w 163"/>
                <a:gd name="T49" fmla="*/ 1 h 214"/>
                <a:gd name="T50" fmla="*/ 1 w 163"/>
                <a:gd name="T51" fmla="*/ 1 h 214"/>
                <a:gd name="T52" fmla="*/ 1 w 163"/>
                <a:gd name="T53" fmla="*/ 1 h 214"/>
                <a:gd name="T54" fmla="*/ 1 w 163"/>
                <a:gd name="T55" fmla="*/ 0 h 214"/>
                <a:gd name="T56" fmla="*/ 1 w 163"/>
                <a:gd name="T57" fmla="*/ 1 h 214"/>
                <a:gd name="T58" fmla="*/ 1 w 163"/>
                <a:gd name="T59" fmla="*/ 1 h 214"/>
                <a:gd name="T60" fmla="*/ 1 w 163"/>
                <a:gd name="T61" fmla="*/ 1 h 214"/>
                <a:gd name="T62" fmla="*/ 1 w 163"/>
                <a:gd name="T63" fmla="*/ 1 h 214"/>
                <a:gd name="T64" fmla="*/ 1 w 163"/>
                <a:gd name="T65" fmla="*/ 1 h 214"/>
                <a:gd name="T66" fmla="*/ 1 w 163"/>
                <a:gd name="T67" fmla="*/ 1 h 214"/>
                <a:gd name="T68" fmla="*/ 1 w 163"/>
                <a:gd name="T69" fmla="*/ 1 h 214"/>
                <a:gd name="T70" fmla="*/ 1 w 163"/>
                <a:gd name="T71" fmla="*/ 1 h 214"/>
                <a:gd name="T72" fmla="*/ 1 w 163"/>
                <a:gd name="T73" fmla="*/ 1 h 214"/>
                <a:gd name="T74" fmla="*/ 1 w 163"/>
                <a:gd name="T75" fmla="*/ 1 h 214"/>
                <a:gd name="T76" fmla="*/ 1 w 163"/>
                <a:gd name="T77" fmla="*/ 1 h 214"/>
                <a:gd name="T78" fmla="*/ 1 w 163"/>
                <a:gd name="T79" fmla="*/ 1 h 214"/>
                <a:gd name="T80" fmla="*/ 1 w 163"/>
                <a:gd name="T81" fmla="*/ 1 h 214"/>
                <a:gd name="T82" fmla="*/ 1 w 163"/>
                <a:gd name="T83" fmla="*/ 1 h 214"/>
                <a:gd name="T84" fmla="*/ 1 w 163"/>
                <a:gd name="T85" fmla="*/ 1 h 214"/>
                <a:gd name="T86" fmla="*/ 1 w 163"/>
                <a:gd name="T87" fmla="*/ 1 h 214"/>
                <a:gd name="T88" fmla="*/ 1 w 163"/>
                <a:gd name="T89" fmla="*/ 1 h 214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63"/>
                <a:gd name="T136" fmla="*/ 0 h 214"/>
                <a:gd name="T137" fmla="*/ 163 w 163"/>
                <a:gd name="T138" fmla="*/ 214 h 214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63" h="214">
                  <a:moveTo>
                    <a:pt x="29" y="149"/>
                  </a:moveTo>
                  <a:lnTo>
                    <a:pt x="9" y="151"/>
                  </a:lnTo>
                  <a:lnTo>
                    <a:pt x="9" y="159"/>
                  </a:lnTo>
                  <a:lnTo>
                    <a:pt x="13" y="165"/>
                  </a:lnTo>
                  <a:lnTo>
                    <a:pt x="17" y="175"/>
                  </a:lnTo>
                  <a:lnTo>
                    <a:pt x="12" y="180"/>
                  </a:lnTo>
                  <a:lnTo>
                    <a:pt x="7" y="177"/>
                  </a:lnTo>
                  <a:lnTo>
                    <a:pt x="0" y="187"/>
                  </a:lnTo>
                  <a:lnTo>
                    <a:pt x="19" y="214"/>
                  </a:lnTo>
                  <a:lnTo>
                    <a:pt x="33" y="201"/>
                  </a:lnTo>
                  <a:lnTo>
                    <a:pt x="42" y="204"/>
                  </a:lnTo>
                  <a:lnTo>
                    <a:pt x="53" y="208"/>
                  </a:lnTo>
                  <a:lnTo>
                    <a:pt x="59" y="201"/>
                  </a:lnTo>
                  <a:lnTo>
                    <a:pt x="72" y="199"/>
                  </a:lnTo>
                  <a:lnTo>
                    <a:pt x="74" y="210"/>
                  </a:lnTo>
                  <a:lnTo>
                    <a:pt x="91" y="193"/>
                  </a:lnTo>
                  <a:lnTo>
                    <a:pt x="108" y="178"/>
                  </a:lnTo>
                  <a:lnTo>
                    <a:pt x="110" y="159"/>
                  </a:lnTo>
                  <a:lnTo>
                    <a:pt x="114" y="139"/>
                  </a:lnTo>
                  <a:lnTo>
                    <a:pt x="129" y="119"/>
                  </a:lnTo>
                  <a:lnTo>
                    <a:pt x="144" y="99"/>
                  </a:lnTo>
                  <a:lnTo>
                    <a:pt x="147" y="79"/>
                  </a:lnTo>
                  <a:lnTo>
                    <a:pt x="151" y="61"/>
                  </a:lnTo>
                  <a:lnTo>
                    <a:pt x="153" y="42"/>
                  </a:lnTo>
                  <a:lnTo>
                    <a:pt x="157" y="24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9" y="0"/>
                  </a:lnTo>
                  <a:lnTo>
                    <a:pt x="117" y="7"/>
                  </a:lnTo>
                  <a:lnTo>
                    <a:pt x="110" y="34"/>
                  </a:lnTo>
                  <a:lnTo>
                    <a:pt x="105" y="45"/>
                  </a:lnTo>
                  <a:lnTo>
                    <a:pt x="87" y="40"/>
                  </a:lnTo>
                  <a:lnTo>
                    <a:pt x="68" y="36"/>
                  </a:lnTo>
                  <a:lnTo>
                    <a:pt x="47" y="35"/>
                  </a:lnTo>
                  <a:lnTo>
                    <a:pt x="44" y="59"/>
                  </a:lnTo>
                  <a:lnTo>
                    <a:pt x="68" y="57"/>
                  </a:lnTo>
                  <a:lnTo>
                    <a:pt x="71" y="73"/>
                  </a:lnTo>
                  <a:lnTo>
                    <a:pt x="60" y="88"/>
                  </a:lnTo>
                  <a:lnTo>
                    <a:pt x="73" y="109"/>
                  </a:lnTo>
                  <a:lnTo>
                    <a:pt x="67" y="144"/>
                  </a:lnTo>
                  <a:lnTo>
                    <a:pt x="60" y="150"/>
                  </a:lnTo>
                  <a:lnTo>
                    <a:pt x="56" y="143"/>
                  </a:lnTo>
                  <a:lnTo>
                    <a:pt x="43" y="148"/>
                  </a:lnTo>
                  <a:lnTo>
                    <a:pt x="31" y="135"/>
                  </a:lnTo>
                  <a:lnTo>
                    <a:pt x="29" y="149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13" name="Freeform 41"/>
            <p:cNvSpPr>
              <a:spLocks/>
            </p:cNvSpPr>
            <p:nvPr/>
          </p:nvSpPr>
          <p:spPr bwMode="auto">
            <a:xfrm>
              <a:off x="3134" y="2012"/>
              <a:ext cx="124" cy="161"/>
            </a:xfrm>
            <a:custGeom>
              <a:avLst/>
              <a:gdLst>
                <a:gd name="T0" fmla="*/ 1 w 175"/>
                <a:gd name="T1" fmla="*/ 1 h 230"/>
                <a:gd name="T2" fmla="*/ 1 w 175"/>
                <a:gd name="T3" fmla="*/ 1 h 230"/>
                <a:gd name="T4" fmla="*/ 1 w 175"/>
                <a:gd name="T5" fmla="*/ 1 h 230"/>
                <a:gd name="T6" fmla="*/ 1 w 175"/>
                <a:gd name="T7" fmla="*/ 1 h 230"/>
                <a:gd name="T8" fmla="*/ 1 w 175"/>
                <a:gd name="T9" fmla="*/ 1 h 230"/>
                <a:gd name="T10" fmla="*/ 0 w 175"/>
                <a:gd name="T11" fmla="*/ 1 h 230"/>
                <a:gd name="T12" fmla="*/ 1 w 175"/>
                <a:gd name="T13" fmla="*/ 1 h 230"/>
                <a:gd name="T14" fmla="*/ 1 w 175"/>
                <a:gd name="T15" fmla="*/ 1 h 230"/>
                <a:gd name="T16" fmla="*/ 1 w 175"/>
                <a:gd name="T17" fmla="*/ 1 h 230"/>
                <a:gd name="T18" fmla="*/ 1 w 175"/>
                <a:gd name="T19" fmla="*/ 1 h 230"/>
                <a:gd name="T20" fmla="*/ 1 w 175"/>
                <a:gd name="T21" fmla="*/ 1 h 230"/>
                <a:gd name="T22" fmla="*/ 1 w 175"/>
                <a:gd name="T23" fmla="*/ 0 h 230"/>
                <a:gd name="T24" fmla="*/ 1 w 175"/>
                <a:gd name="T25" fmla="*/ 0 h 230"/>
                <a:gd name="T26" fmla="*/ 1 w 175"/>
                <a:gd name="T27" fmla="*/ 0 h 230"/>
                <a:gd name="T28" fmla="*/ 1 w 175"/>
                <a:gd name="T29" fmla="*/ 1 h 230"/>
                <a:gd name="T30" fmla="*/ 1 w 175"/>
                <a:gd name="T31" fmla="*/ 1 h 230"/>
                <a:gd name="T32" fmla="*/ 1 w 175"/>
                <a:gd name="T33" fmla="*/ 1 h 230"/>
                <a:gd name="T34" fmla="*/ 1 w 175"/>
                <a:gd name="T35" fmla="*/ 1 h 230"/>
                <a:gd name="T36" fmla="*/ 1 w 175"/>
                <a:gd name="T37" fmla="*/ 1 h 230"/>
                <a:gd name="T38" fmla="*/ 1 w 175"/>
                <a:gd name="T39" fmla="*/ 1 h 230"/>
                <a:gd name="T40" fmla="*/ 1 w 175"/>
                <a:gd name="T41" fmla="*/ 1 h 230"/>
                <a:gd name="T42" fmla="*/ 1 w 175"/>
                <a:gd name="T43" fmla="*/ 1 h 230"/>
                <a:gd name="T44" fmla="*/ 1 w 175"/>
                <a:gd name="T45" fmla="*/ 1 h 230"/>
                <a:gd name="T46" fmla="*/ 1 w 175"/>
                <a:gd name="T47" fmla="*/ 1 h 230"/>
                <a:gd name="T48" fmla="*/ 1 w 175"/>
                <a:gd name="T49" fmla="*/ 1 h 230"/>
                <a:gd name="T50" fmla="*/ 1 w 175"/>
                <a:gd name="T51" fmla="*/ 1 h 230"/>
                <a:gd name="T52" fmla="*/ 1 w 175"/>
                <a:gd name="T53" fmla="*/ 1 h 230"/>
                <a:gd name="T54" fmla="*/ 1 w 175"/>
                <a:gd name="T55" fmla="*/ 1 h 230"/>
                <a:gd name="T56" fmla="*/ 1 w 175"/>
                <a:gd name="T57" fmla="*/ 1 h 230"/>
                <a:gd name="T58" fmla="*/ 1 w 175"/>
                <a:gd name="T59" fmla="*/ 1 h 230"/>
                <a:gd name="T60" fmla="*/ 1 w 175"/>
                <a:gd name="T61" fmla="*/ 1 h 230"/>
                <a:gd name="T62" fmla="*/ 1 w 175"/>
                <a:gd name="T63" fmla="*/ 1 h 230"/>
                <a:gd name="T64" fmla="*/ 1 w 175"/>
                <a:gd name="T65" fmla="*/ 1 h 230"/>
                <a:gd name="T66" fmla="*/ 1 w 175"/>
                <a:gd name="T67" fmla="*/ 1 h 230"/>
                <a:gd name="T68" fmla="*/ 1 w 175"/>
                <a:gd name="T69" fmla="*/ 1 h 230"/>
                <a:gd name="T70" fmla="*/ 1 w 175"/>
                <a:gd name="T71" fmla="*/ 1 h 23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75"/>
                <a:gd name="T109" fmla="*/ 0 h 230"/>
                <a:gd name="T110" fmla="*/ 175 w 175"/>
                <a:gd name="T111" fmla="*/ 230 h 23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75" h="230">
                  <a:moveTo>
                    <a:pt x="82" y="188"/>
                  </a:moveTo>
                  <a:lnTo>
                    <a:pt x="61" y="176"/>
                  </a:lnTo>
                  <a:lnTo>
                    <a:pt x="41" y="163"/>
                  </a:lnTo>
                  <a:lnTo>
                    <a:pt x="20" y="151"/>
                  </a:lnTo>
                  <a:lnTo>
                    <a:pt x="1" y="139"/>
                  </a:lnTo>
                  <a:lnTo>
                    <a:pt x="0" y="112"/>
                  </a:lnTo>
                  <a:lnTo>
                    <a:pt x="16" y="86"/>
                  </a:lnTo>
                  <a:lnTo>
                    <a:pt x="24" y="67"/>
                  </a:lnTo>
                  <a:lnTo>
                    <a:pt x="18" y="48"/>
                  </a:lnTo>
                  <a:lnTo>
                    <a:pt x="11" y="29"/>
                  </a:lnTo>
                  <a:lnTo>
                    <a:pt x="2" y="10"/>
                  </a:lnTo>
                  <a:lnTo>
                    <a:pt x="11" y="0"/>
                  </a:lnTo>
                  <a:lnTo>
                    <a:pt x="28" y="0"/>
                  </a:lnTo>
                  <a:lnTo>
                    <a:pt x="44" y="0"/>
                  </a:lnTo>
                  <a:lnTo>
                    <a:pt x="64" y="2"/>
                  </a:lnTo>
                  <a:lnTo>
                    <a:pt x="90" y="22"/>
                  </a:lnTo>
                  <a:lnTo>
                    <a:pt x="120" y="28"/>
                  </a:lnTo>
                  <a:lnTo>
                    <a:pt x="131" y="18"/>
                  </a:lnTo>
                  <a:lnTo>
                    <a:pt x="154" y="11"/>
                  </a:lnTo>
                  <a:lnTo>
                    <a:pt x="175" y="16"/>
                  </a:lnTo>
                  <a:lnTo>
                    <a:pt x="166" y="30"/>
                  </a:lnTo>
                  <a:lnTo>
                    <a:pt x="155" y="43"/>
                  </a:lnTo>
                  <a:lnTo>
                    <a:pt x="156" y="67"/>
                  </a:lnTo>
                  <a:lnTo>
                    <a:pt x="156" y="90"/>
                  </a:lnTo>
                  <a:lnTo>
                    <a:pt x="156" y="113"/>
                  </a:lnTo>
                  <a:lnTo>
                    <a:pt x="156" y="136"/>
                  </a:lnTo>
                  <a:lnTo>
                    <a:pt x="168" y="155"/>
                  </a:lnTo>
                  <a:lnTo>
                    <a:pt x="156" y="162"/>
                  </a:lnTo>
                  <a:lnTo>
                    <a:pt x="146" y="178"/>
                  </a:lnTo>
                  <a:lnTo>
                    <a:pt x="137" y="186"/>
                  </a:lnTo>
                  <a:lnTo>
                    <a:pt x="127" y="208"/>
                  </a:lnTo>
                  <a:lnTo>
                    <a:pt x="118" y="228"/>
                  </a:lnTo>
                  <a:lnTo>
                    <a:pt x="115" y="230"/>
                  </a:lnTo>
                  <a:lnTo>
                    <a:pt x="100" y="214"/>
                  </a:lnTo>
                  <a:lnTo>
                    <a:pt x="83" y="197"/>
                  </a:lnTo>
                  <a:lnTo>
                    <a:pt x="82" y="18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14" name="Freeform 42"/>
            <p:cNvSpPr>
              <a:spLocks/>
            </p:cNvSpPr>
            <p:nvPr/>
          </p:nvSpPr>
          <p:spPr bwMode="auto">
            <a:xfrm>
              <a:off x="2654" y="1853"/>
              <a:ext cx="182" cy="163"/>
            </a:xfrm>
            <a:custGeom>
              <a:avLst/>
              <a:gdLst>
                <a:gd name="T0" fmla="*/ 2 w 259"/>
                <a:gd name="T1" fmla="*/ 1 h 233"/>
                <a:gd name="T2" fmla="*/ 1 w 259"/>
                <a:gd name="T3" fmla="*/ 1 h 233"/>
                <a:gd name="T4" fmla="*/ 1 w 259"/>
                <a:gd name="T5" fmla="*/ 1 h 233"/>
                <a:gd name="T6" fmla="*/ 1 w 259"/>
                <a:gd name="T7" fmla="*/ 2 h 233"/>
                <a:gd name="T8" fmla="*/ 1 w 259"/>
                <a:gd name="T9" fmla="*/ 2 h 233"/>
                <a:gd name="T10" fmla="*/ 1 w 259"/>
                <a:gd name="T11" fmla="*/ 2 h 233"/>
                <a:gd name="T12" fmla="*/ 1 w 259"/>
                <a:gd name="T13" fmla="*/ 2 h 233"/>
                <a:gd name="T14" fmla="*/ 1 w 259"/>
                <a:gd name="T15" fmla="*/ 2 h 233"/>
                <a:gd name="T16" fmla="*/ 1 w 259"/>
                <a:gd name="T17" fmla="*/ 2 h 233"/>
                <a:gd name="T18" fmla="*/ 1 w 259"/>
                <a:gd name="T19" fmla="*/ 2 h 233"/>
                <a:gd name="T20" fmla="*/ 1 w 259"/>
                <a:gd name="T21" fmla="*/ 2 h 233"/>
                <a:gd name="T22" fmla="*/ 1 w 259"/>
                <a:gd name="T23" fmla="*/ 2 h 233"/>
                <a:gd name="T24" fmla="*/ 1 w 259"/>
                <a:gd name="T25" fmla="*/ 2 h 233"/>
                <a:gd name="T26" fmla="*/ 1 w 259"/>
                <a:gd name="T27" fmla="*/ 2 h 233"/>
                <a:gd name="T28" fmla="*/ 1 w 259"/>
                <a:gd name="T29" fmla="*/ 2 h 233"/>
                <a:gd name="T30" fmla="*/ 1 w 259"/>
                <a:gd name="T31" fmla="*/ 2 h 233"/>
                <a:gd name="T32" fmla="*/ 1 w 259"/>
                <a:gd name="T33" fmla="*/ 2 h 233"/>
                <a:gd name="T34" fmla="*/ 1 w 259"/>
                <a:gd name="T35" fmla="*/ 2 h 233"/>
                <a:gd name="T36" fmla="*/ 1 w 259"/>
                <a:gd name="T37" fmla="*/ 2 h 233"/>
                <a:gd name="T38" fmla="*/ 1 w 259"/>
                <a:gd name="T39" fmla="*/ 2 h 233"/>
                <a:gd name="T40" fmla="*/ 1 w 259"/>
                <a:gd name="T41" fmla="*/ 2 h 233"/>
                <a:gd name="T42" fmla="*/ 1 w 259"/>
                <a:gd name="T43" fmla="*/ 2 h 233"/>
                <a:gd name="T44" fmla="*/ 1 w 259"/>
                <a:gd name="T45" fmla="*/ 1 h 233"/>
                <a:gd name="T46" fmla="*/ 1 w 259"/>
                <a:gd name="T47" fmla="*/ 1 h 233"/>
                <a:gd name="T48" fmla="*/ 1 w 259"/>
                <a:gd name="T49" fmla="*/ 1 h 233"/>
                <a:gd name="T50" fmla="*/ 0 w 259"/>
                <a:gd name="T51" fmla="*/ 1 h 233"/>
                <a:gd name="T52" fmla="*/ 1 w 259"/>
                <a:gd name="T53" fmla="*/ 1 h 233"/>
                <a:gd name="T54" fmla="*/ 1 w 259"/>
                <a:gd name="T55" fmla="*/ 1 h 233"/>
                <a:gd name="T56" fmla="*/ 1 w 259"/>
                <a:gd name="T57" fmla="*/ 1 h 233"/>
                <a:gd name="T58" fmla="*/ 1 w 259"/>
                <a:gd name="T59" fmla="*/ 1 h 233"/>
                <a:gd name="T60" fmla="*/ 1 w 259"/>
                <a:gd name="T61" fmla="*/ 1 h 233"/>
                <a:gd name="T62" fmla="*/ 1 w 259"/>
                <a:gd name="T63" fmla="*/ 1 h 233"/>
                <a:gd name="T64" fmla="*/ 1 w 259"/>
                <a:gd name="T65" fmla="*/ 1 h 233"/>
                <a:gd name="T66" fmla="*/ 1 w 259"/>
                <a:gd name="T67" fmla="*/ 1 h 233"/>
                <a:gd name="T68" fmla="*/ 1 w 259"/>
                <a:gd name="T69" fmla="*/ 1 h 233"/>
                <a:gd name="T70" fmla="*/ 1 w 259"/>
                <a:gd name="T71" fmla="*/ 0 h 233"/>
                <a:gd name="T72" fmla="*/ 1 w 259"/>
                <a:gd name="T73" fmla="*/ 1 h 233"/>
                <a:gd name="T74" fmla="*/ 1 w 259"/>
                <a:gd name="T75" fmla="*/ 1 h 233"/>
                <a:gd name="T76" fmla="*/ 1 w 259"/>
                <a:gd name="T77" fmla="*/ 1 h 233"/>
                <a:gd name="T78" fmla="*/ 1 w 259"/>
                <a:gd name="T79" fmla="*/ 1 h 233"/>
                <a:gd name="T80" fmla="*/ 1 w 259"/>
                <a:gd name="T81" fmla="*/ 1 h 233"/>
                <a:gd name="T82" fmla="*/ 2 w 259"/>
                <a:gd name="T83" fmla="*/ 1 h 233"/>
                <a:gd name="T84" fmla="*/ 2 w 259"/>
                <a:gd name="T85" fmla="*/ 1 h 233"/>
                <a:gd name="T86" fmla="*/ 2 w 259"/>
                <a:gd name="T87" fmla="*/ 1 h 233"/>
                <a:gd name="T88" fmla="*/ 3 w 259"/>
                <a:gd name="T89" fmla="*/ 0 h 233"/>
                <a:gd name="T90" fmla="*/ 3 w 259"/>
                <a:gd name="T91" fmla="*/ 1 h 233"/>
                <a:gd name="T92" fmla="*/ 3 w 259"/>
                <a:gd name="T93" fmla="*/ 1 h 233"/>
                <a:gd name="T94" fmla="*/ 3 w 259"/>
                <a:gd name="T95" fmla="*/ 1 h 233"/>
                <a:gd name="T96" fmla="*/ 3 w 259"/>
                <a:gd name="T97" fmla="*/ 1 h 233"/>
                <a:gd name="T98" fmla="*/ 3 w 259"/>
                <a:gd name="T99" fmla="*/ 1 h 233"/>
                <a:gd name="T100" fmla="*/ 2 w 259"/>
                <a:gd name="T101" fmla="*/ 1 h 233"/>
                <a:gd name="T102" fmla="*/ 2 w 259"/>
                <a:gd name="T103" fmla="*/ 1 h 233"/>
                <a:gd name="T104" fmla="*/ 2 w 259"/>
                <a:gd name="T105" fmla="*/ 1 h 233"/>
                <a:gd name="T106" fmla="*/ 2 w 259"/>
                <a:gd name="T107" fmla="*/ 1 h 233"/>
                <a:gd name="T108" fmla="*/ 2 w 259"/>
                <a:gd name="T109" fmla="*/ 1 h 233"/>
                <a:gd name="T110" fmla="*/ 2 w 259"/>
                <a:gd name="T111" fmla="*/ 1 h 233"/>
                <a:gd name="T112" fmla="*/ 2 w 259"/>
                <a:gd name="T113" fmla="*/ 1 h 23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59"/>
                <a:gd name="T172" fmla="*/ 0 h 233"/>
                <a:gd name="T173" fmla="*/ 259 w 259"/>
                <a:gd name="T174" fmla="*/ 233 h 23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59" h="233">
                  <a:moveTo>
                    <a:pt x="172" y="167"/>
                  </a:moveTo>
                  <a:lnTo>
                    <a:pt x="155" y="172"/>
                  </a:lnTo>
                  <a:lnTo>
                    <a:pt x="144" y="186"/>
                  </a:lnTo>
                  <a:lnTo>
                    <a:pt x="134" y="201"/>
                  </a:lnTo>
                  <a:lnTo>
                    <a:pt x="128" y="221"/>
                  </a:lnTo>
                  <a:lnTo>
                    <a:pt x="121" y="221"/>
                  </a:lnTo>
                  <a:lnTo>
                    <a:pt x="121" y="228"/>
                  </a:lnTo>
                  <a:lnTo>
                    <a:pt x="101" y="228"/>
                  </a:lnTo>
                  <a:lnTo>
                    <a:pt x="97" y="226"/>
                  </a:lnTo>
                  <a:lnTo>
                    <a:pt x="94" y="227"/>
                  </a:lnTo>
                  <a:lnTo>
                    <a:pt x="90" y="231"/>
                  </a:lnTo>
                  <a:lnTo>
                    <a:pt x="88" y="222"/>
                  </a:lnTo>
                  <a:lnTo>
                    <a:pt x="88" y="233"/>
                  </a:lnTo>
                  <a:lnTo>
                    <a:pt x="86" y="229"/>
                  </a:lnTo>
                  <a:lnTo>
                    <a:pt x="84" y="231"/>
                  </a:lnTo>
                  <a:lnTo>
                    <a:pt x="77" y="231"/>
                  </a:lnTo>
                  <a:lnTo>
                    <a:pt x="68" y="232"/>
                  </a:lnTo>
                  <a:lnTo>
                    <a:pt x="59" y="208"/>
                  </a:lnTo>
                  <a:lnTo>
                    <a:pt x="60" y="207"/>
                  </a:lnTo>
                  <a:lnTo>
                    <a:pt x="56" y="203"/>
                  </a:lnTo>
                  <a:lnTo>
                    <a:pt x="58" y="202"/>
                  </a:lnTo>
                  <a:lnTo>
                    <a:pt x="53" y="197"/>
                  </a:lnTo>
                  <a:lnTo>
                    <a:pt x="29" y="181"/>
                  </a:lnTo>
                  <a:lnTo>
                    <a:pt x="17" y="181"/>
                  </a:lnTo>
                  <a:lnTo>
                    <a:pt x="22" y="177"/>
                  </a:lnTo>
                  <a:lnTo>
                    <a:pt x="0" y="183"/>
                  </a:lnTo>
                  <a:lnTo>
                    <a:pt x="1" y="149"/>
                  </a:lnTo>
                  <a:lnTo>
                    <a:pt x="4" y="115"/>
                  </a:lnTo>
                  <a:lnTo>
                    <a:pt x="19" y="88"/>
                  </a:lnTo>
                  <a:lnTo>
                    <a:pt x="22" y="65"/>
                  </a:lnTo>
                  <a:lnTo>
                    <a:pt x="18" y="52"/>
                  </a:lnTo>
                  <a:lnTo>
                    <a:pt x="18" y="51"/>
                  </a:lnTo>
                  <a:lnTo>
                    <a:pt x="19" y="41"/>
                  </a:lnTo>
                  <a:lnTo>
                    <a:pt x="26" y="24"/>
                  </a:lnTo>
                  <a:lnTo>
                    <a:pt x="30" y="6"/>
                  </a:lnTo>
                  <a:lnTo>
                    <a:pt x="52" y="0"/>
                  </a:lnTo>
                  <a:lnTo>
                    <a:pt x="73" y="1"/>
                  </a:lnTo>
                  <a:lnTo>
                    <a:pt x="88" y="16"/>
                  </a:lnTo>
                  <a:lnTo>
                    <a:pt x="110" y="10"/>
                  </a:lnTo>
                  <a:lnTo>
                    <a:pt x="126" y="16"/>
                  </a:lnTo>
                  <a:lnTo>
                    <a:pt x="143" y="23"/>
                  </a:lnTo>
                  <a:lnTo>
                    <a:pt x="168" y="11"/>
                  </a:lnTo>
                  <a:lnTo>
                    <a:pt x="190" y="12"/>
                  </a:lnTo>
                  <a:lnTo>
                    <a:pt x="212" y="15"/>
                  </a:lnTo>
                  <a:lnTo>
                    <a:pt x="236" y="0"/>
                  </a:lnTo>
                  <a:lnTo>
                    <a:pt x="246" y="16"/>
                  </a:lnTo>
                  <a:lnTo>
                    <a:pt x="250" y="35"/>
                  </a:lnTo>
                  <a:lnTo>
                    <a:pt x="259" y="43"/>
                  </a:lnTo>
                  <a:lnTo>
                    <a:pt x="254" y="58"/>
                  </a:lnTo>
                  <a:lnTo>
                    <a:pt x="239" y="72"/>
                  </a:lnTo>
                  <a:lnTo>
                    <a:pt x="230" y="89"/>
                  </a:lnTo>
                  <a:lnTo>
                    <a:pt x="223" y="107"/>
                  </a:lnTo>
                  <a:lnTo>
                    <a:pt x="215" y="127"/>
                  </a:lnTo>
                  <a:lnTo>
                    <a:pt x="206" y="139"/>
                  </a:lnTo>
                  <a:lnTo>
                    <a:pt x="198" y="162"/>
                  </a:lnTo>
                  <a:lnTo>
                    <a:pt x="185" y="181"/>
                  </a:lnTo>
                  <a:lnTo>
                    <a:pt x="172" y="16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15" name="Freeform 43"/>
            <p:cNvSpPr>
              <a:spLocks/>
            </p:cNvSpPr>
            <p:nvPr/>
          </p:nvSpPr>
          <p:spPr bwMode="auto">
            <a:xfrm>
              <a:off x="2625" y="1876"/>
              <a:ext cx="43" cy="107"/>
            </a:xfrm>
            <a:custGeom>
              <a:avLst/>
              <a:gdLst>
                <a:gd name="T0" fmla="*/ 1 w 64"/>
                <a:gd name="T1" fmla="*/ 1 h 151"/>
                <a:gd name="T2" fmla="*/ 1 w 64"/>
                <a:gd name="T3" fmla="*/ 1 h 151"/>
                <a:gd name="T4" fmla="*/ 0 w 64"/>
                <a:gd name="T5" fmla="*/ 1 h 151"/>
                <a:gd name="T6" fmla="*/ 1 w 64"/>
                <a:gd name="T7" fmla="*/ 1 h 151"/>
                <a:gd name="T8" fmla="*/ 1 w 64"/>
                <a:gd name="T9" fmla="*/ 1 h 151"/>
                <a:gd name="T10" fmla="*/ 1 w 64"/>
                <a:gd name="T11" fmla="*/ 1 h 151"/>
                <a:gd name="T12" fmla="*/ 1 w 64"/>
                <a:gd name="T13" fmla="*/ 1 h 151"/>
                <a:gd name="T14" fmla="*/ 1 w 64"/>
                <a:gd name="T15" fmla="*/ 1 h 151"/>
                <a:gd name="T16" fmla="*/ 1 w 64"/>
                <a:gd name="T17" fmla="*/ 1 h 151"/>
                <a:gd name="T18" fmla="*/ 1 w 64"/>
                <a:gd name="T19" fmla="*/ 1 h 151"/>
                <a:gd name="T20" fmla="*/ 1 w 64"/>
                <a:gd name="T21" fmla="*/ 1 h 151"/>
                <a:gd name="T22" fmla="*/ 1 w 64"/>
                <a:gd name="T23" fmla="*/ 1 h 151"/>
                <a:gd name="T24" fmla="*/ 1 w 64"/>
                <a:gd name="T25" fmla="*/ 1 h 151"/>
                <a:gd name="T26" fmla="*/ 1 w 64"/>
                <a:gd name="T27" fmla="*/ 1 h 151"/>
                <a:gd name="T28" fmla="*/ 1 w 64"/>
                <a:gd name="T29" fmla="*/ 1 h 151"/>
                <a:gd name="T30" fmla="*/ 1 w 64"/>
                <a:gd name="T31" fmla="*/ 1 h 151"/>
                <a:gd name="T32" fmla="*/ 1 w 64"/>
                <a:gd name="T33" fmla="*/ 0 h 151"/>
                <a:gd name="T34" fmla="*/ 1 w 64"/>
                <a:gd name="T35" fmla="*/ 1 h 151"/>
                <a:gd name="T36" fmla="*/ 1 w 64"/>
                <a:gd name="T37" fmla="*/ 1 h 151"/>
                <a:gd name="T38" fmla="*/ 1 w 64"/>
                <a:gd name="T39" fmla="*/ 1 h 151"/>
                <a:gd name="T40" fmla="*/ 1 w 64"/>
                <a:gd name="T41" fmla="*/ 1 h 151"/>
                <a:gd name="T42" fmla="*/ 1 w 64"/>
                <a:gd name="T43" fmla="*/ 1 h 151"/>
                <a:gd name="T44" fmla="*/ 1 w 64"/>
                <a:gd name="T45" fmla="*/ 1 h 1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4"/>
                <a:gd name="T70" fmla="*/ 0 h 151"/>
                <a:gd name="T71" fmla="*/ 64 w 64"/>
                <a:gd name="T72" fmla="*/ 151 h 15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4" h="151">
                  <a:moveTo>
                    <a:pt x="4" y="32"/>
                  </a:moveTo>
                  <a:lnTo>
                    <a:pt x="2" y="32"/>
                  </a:lnTo>
                  <a:lnTo>
                    <a:pt x="0" y="43"/>
                  </a:lnTo>
                  <a:lnTo>
                    <a:pt x="12" y="58"/>
                  </a:lnTo>
                  <a:lnTo>
                    <a:pt x="14" y="77"/>
                  </a:lnTo>
                  <a:lnTo>
                    <a:pt x="16" y="96"/>
                  </a:lnTo>
                  <a:lnTo>
                    <a:pt x="17" y="114"/>
                  </a:lnTo>
                  <a:lnTo>
                    <a:pt x="17" y="133"/>
                  </a:lnTo>
                  <a:lnTo>
                    <a:pt x="18" y="151"/>
                  </a:lnTo>
                  <a:lnTo>
                    <a:pt x="42" y="148"/>
                  </a:lnTo>
                  <a:lnTo>
                    <a:pt x="43" y="114"/>
                  </a:lnTo>
                  <a:lnTo>
                    <a:pt x="46" y="80"/>
                  </a:lnTo>
                  <a:lnTo>
                    <a:pt x="61" y="53"/>
                  </a:lnTo>
                  <a:lnTo>
                    <a:pt x="64" y="30"/>
                  </a:lnTo>
                  <a:lnTo>
                    <a:pt x="60" y="17"/>
                  </a:lnTo>
                  <a:lnTo>
                    <a:pt x="60" y="16"/>
                  </a:lnTo>
                  <a:lnTo>
                    <a:pt x="41" y="0"/>
                  </a:lnTo>
                  <a:lnTo>
                    <a:pt x="35" y="7"/>
                  </a:lnTo>
                  <a:lnTo>
                    <a:pt x="35" y="11"/>
                  </a:lnTo>
                  <a:lnTo>
                    <a:pt x="35" y="12"/>
                  </a:lnTo>
                  <a:lnTo>
                    <a:pt x="34" y="13"/>
                  </a:lnTo>
                  <a:lnTo>
                    <a:pt x="17" y="24"/>
                  </a:lnTo>
                  <a:lnTo>
                    <a:pt x="4" y="3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16" name="Freeform 44"/>
            <p:cNvSpPr>
              <a:spLocks/>
            </p:cNvSpPr>
            <p:nvPr/>
          </p:nvSpPr>
          <p:spPr bwMode="auto">
            <a:xfrm>
              <a:off x="2526" y="1829"/>
              <a:ext cx="123" cy="97"/>
            </a:xfrm>
            <a:custGeom>
              <a:avLst/>
              <a:gdLst>
                <a:gd name="T0" fmla="*/ 1 w 173"/>
                <a:gd name="T1" fmla="*/ 1 h 139"/>
                <a:gd name="T2" fmla="*/ 1 w 173"/>
                <a:gd name="T3" fmla="*/ 1 h 139"/>
                <a:gd name="T4" fmla="*/ 1 w 173"/>
                <a:gd name="T5" fmla="*/ 1 h 139"/>
                <a:gd name="T6" fmla="*/ 1 w 173"/>
                <a:gd name="T7" fmla="*/ 1 h 139"/>
                <a:gd name="T8" fmla="*/ 1 w 173"/>
                <a:gd name="T9" fmla="*/ 1 h 139"/>
                <a:gd name="T10" fmla="*/ 1 w 173"/>
                <a:gd name="T11" fmla="*/ 1 h 139"/>
                <a:gd name="T12" fmla="*/ 1 w 173"/>
                <a:gd name="T13" fmla="*/ 1 h 139"/>
                <a:gd name="T14" fmla="*/ 1 w 173"/>
                <a:gd name="T15" fmla="*/ 1 h 139"/>
                <a:gd name="T16" fmla="*/ 1 w 173"/>
                <a:gd name="T17" fmla="*/ 1 h 139"/>
                <a:gd name="T18" fmla="*/ 1 w 173"/>
                <a:gd name="T19" fmla="*/ 1 h 139"/>
                <a:gd name="T20" fmla="*/ 1 w 173"/>
                <a:gd name="T21" fmla="*/ 1 h 139"/>
                <a:gd name="T22" fmla="*/ 0 w 173"/>
                <a:gd name="T23" fmla="*/ 1 h 139"/>
                <a:gd name="T24" fmla="*/ 1 w 173"/>
                <a:gd name="T25" fmla="*/ 1 h 139"/>
                <a:gd name="T26" fmla="*/ 1 w 173"/>
                <a:gd name="T27" fmla="*/ 1 h 139"/>
                <a:gd name="T28" fmla="*/ 1 w 173"/>
                <a:gd name="T29" fmla="*/ 1 h 139"/>
                <a:gd name="T30" fmla="*/ 1 w 173"/>
                <a:gd name="T31" fmla="*/ 1 h 139"/>
                <a:gd name="T32" fmla="*/ 1 w 173"/>
                <a:gd name="T33" fmla="*/ 1 h 139"/>
                <a:gd name="T34" fmla="*/ 1 w 173"/>
                <a:gd name="T35" fmla="*/ 1 h 139"/>
                <a:gd name="T36" fmla="*/ 1 w 173"/>
                <a:gd name="T37" fmla="*/ 1 h 139"/>
                <a:gd name="T38" fmla="*/ 1 w 173"/>
                <a:gd name="T39" fmla="*/ 1 h 139"/>
                <a:gd name="T40" fmla="*/ 1 w 173"/>
                <a:gd name="T41" fmla="*/ 1 h 139"/>
                <a:gd name="T42" fmla="*/ 1 w 173"/>
                <a:gd name="T43" fmla="*/ 1 h 139"/>
                <a:gd name="T44" fmla="*/ 1 w 173"/>
                <a:gd name="T45" fmla="*/ 1 h 139"/>
                <a:gd name="T46" fmla="*/ 1 w 173"/>
                <a:gd name="T47" fmla="*/ 0 h 139"/>
                <a:gd name="T48" fmla="*/ 1 w 173"/>
                <a:gd name="T49" fmla="*/ 1 h 139"/>
                <a:gd name="T50" fmla="*/ 1 w 173"/>
                <a:gd name="T51" fmla="*/ 1 h 139"/>
                <a:gd name="T52" fmla="*/ 1 w 173"/>
                <a:gd name="T53" fmla="*/ 1 h 139"/>
                <a:gd name="T54" fmla="*/ 1 w 173"/>
                <a:gd name="T55" fmla="*/ 1 h 139"/>
                <a:gd name="T56" fmla="*/ 1 w 173"/>
                <a:gd name="T57" fmla="*/ 1 h 139"/>
                <a:gd name="T58" fmla="*/ 1 w 173"/>
                <a:gd name="T59" fmla="*/ 1 h 139"/>
                <a:gd name="T60" fmla="*/ 1 w 173"/>
                <a:gd name="T61" fmla="*/ 1 h 139"/>
                <a:gd name="T62" fmla="*/ 1 w 173"/>
                <a:gd name="T63" fmla="*/ 1 h 139"/>
                <a:gd name="T64" fmla="*/ 1 w 173"/>
                <a:gd name="T65" fmla="*/ 1 h 139"/>
                <a:gd name="T66" fmla="*/ 1 w 173"/>
                <a:gd name="T67" fmla="*/ 1 h 139"/>
                <a:gd name="T68" fmla="*/ 1 w 173"/>
                <a:gd name="T69" fmla="*/ 1 h 139"/>
                <a:gd name="T70" fmla="*/ 1 w 173"/>
                <a:gd name="T71" fmla="*/ 1 h 139"/>
                <a:gd name="T72" fmla="*/ 1 w 173"/>
                <a:gd name="T73" fmla="*/ 1 h 13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73"/>
                <a:gd name="T112" fmla="*/ 0 h 139"/>
                <a:gd name="T113" fmla="*/ 173 w 173"/>
                <a:gd name="T114" fmla="*/ 139 h 139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73" h="139">
                  <a:moveTo>
                    <a:pt x="142" y="100"/>
                  </a:moveTo>
                  <a:lnTo>
                    <a:pt x="134" y="100"/>
                  </a:lnTo>
                  <a:lnTo>
                    <a:pt x="116" y="98"/>
                  </a:lnTo>
                  <a:lnTo>
                    <a:pt x="110" y="99"/>
                  </a:lnTo>
                  <a:lnTo>
                    <a:pt x="84" y="100"/>
                  </a:lnTo>
                  <a:lnTo>
                    <a:pt x="59" y="100"/>
                  </a:lnTo>
                  <a:lnTo>
                    <a:pt x="60" y="120"/>
                  </a:lnTo>
                  <a:lnTo>
                    <a:pt x="61" y="139"/>
                  </a:lnTo>
                  <a:lnTo>
                    <a:pt x="42" y="128"/>
                  </a:lnTo>
                  <a:lnTo>
                    <a:pt x="22" y="133"/>
                  </a:lnTo>
                  <a:lnTo>
                    <a:pt x="8" y="120"/>
                  </a:lnTo>
                  <a:lnTo>
                    <a:pt x="0" y="115"/>
                  </a:lnTo>
                  <a:lnTo>
                    <a:pt x="5" y="82"/>
                  </a:lnTo>
                  <a:lnTo>
                    <a:pt x="12" y="76"/>
                  </a:lnTo>
                  <a:lnTo>
                    <a:pt x="24" y="66"/>
                  </a:lnTo>
                  <a:lnTo>
                    <a:pt x="29" y="55"/>
                  </a:lnTo>
                  <a:lnTo>
                    <a:pt x="31" y="42"/>
                  </a:lnTo>
                  <a:lnTo>
                    <a:pt x="46" y="46"/>
                  </a:lnTo>
                  <a:lnTo>
                    <a:pt x="49" y="38"/>
                  </a:lnTo>
                  <a:lnTo>
                    <a:pt x="53" y="36"/>
                  </a:lnTo>
                  <a:lnTo>
                    <a:pt x="61" y="24"/>
                  </a:lnTo>
                  <a:lnTo>
                    <a:pt x="74" y="22"/>
                  </a:lnTo>
                  <a:lnTo>
                    <a:pt x="77" y="13"/>
                  </a:lnTo>
                  <a:lnTo>
                    <a:pt x="104" y="0"/>
                  </a:lnTo>
                  <a:lnTo>
                    <a:pt x="125" y="2"/>
                  </a:lnTo>
                  <a:lnTo>
                    <a:pt x="127" y="24"/>
                  </a:lnTo>
                  <a:lnTo>
                    <a:pt x="145" y="42"/>
                  </a:lnTo>
                  <a:lnTo>
                    <a:pt x="142" y="43"/>
                  </a:lnTo>
                  <a:lnTo>
                    <a:pt x="142" y="50"/>
                  </a:lnTo>
                  <a:lnTo>
                    <a:pt x="155" y="61"/>
                  </a:lnTo>
                  <a:lnTo>
                    <a:pt x="162" y="58"/>
                  </a:lnTo>
                  <a:lnTo>
                    <a:pt x="167" y="67"/>
                  </a:lnTo>
                  <a:lnTo>
                    <a:pt x="173" y="79"/>
                  </a:lnTo>
                  <a:lnTo>
                    <a:pt x="173" y="80"/>
                  </a:lnTo>
                  <a:lnTo>
                    <a:pt x="172" y="81"/>
                  </a:lnTo>
                  <a:lnTo>
                    <a:pt x="155" y="92"/>
                  </a:lnTo>
                  <a:lnTo>
                    <a:pt x="142" y="10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17" name="Freeform 45"/>
            <p:cNvSpPr>
              <a:spLocks/>
            </p:cNvSpPr>
            <p:nvPr/>
          </p:nvSpPr>
          <p:spPr bwMode="auto">
            <a:xfrm>
              <a:off x="2743" y="1862"/>
              <a:ext cx="118" cy="199"/>
            </a:xfrm>
            <a:custGeom>
              <a:avLst/>
              <a:gdLst>
                <a:gd name="T0" fmla="*/ 1 w 169"/>
                <a:gd name="T1" fmla="*/ 1 h 281"/>
                <a:gd name="T2" fmla="*/ 1 w 169"/>
                <a:gd name="T3" fmla="*/ 1 h 281"/>
                <a:gd name="T4" fmla="*/ 1 w 169"/>
                <a:gd name="T5" fmla="*/ 1 h 281"/>
                <a:gd name="T6" fmla="*/ 1 w 169"/>
                <a:gd name="T7" fmla="*/ 1 h 281"/>
                <a:gd name="T8" fmla="*/ 1 w 169"/>
                <a:gd name="T9" fmla="*/ 1 h 281"/>
                <a:gd name="T10" fmla="*/ 1 w 169"/>
                <a:gd name="T11" fmla="*/ 1 h 281"/>
                <a:gd name="T12" fmla="*/ 1 w 169"/>
                <a:gd name="T13" fmla="*/ 1 h 281"/>
                <a:gd name="T14" fmla="*/ 1 w 169"/>
                <a:gd name="T15" fmla="*/ 1 h 281"/>
                <a:gd name="T16" fmla="*/ 1 w 169"/>
                <a:gd name="T17" fmla="*/ 2 h 281"/>
                <a:gd name="T18" fmla="*/ 1 w 169"/>
                <a:gd name="T19" fmla="*/ 2 h 281"/>
                <a:gd name="T20" fmla="*/ 1 w 169"/>
                <a:gd name="T21" fmla="*/ 2 h 281"/>
                <a:gd name="T22" fmla="*/ 1 w 169"/>
                <a:gd name="T23" fmla="*/ 2 h 281"/>
                <a:gd name="T24" fmla="*/ 1 w 169"/>
                <a:gd name="T25" fmla="*/ 2 h 281"/>
                <a:gd name="T26" fmla="*/ 1 w 169"/>
                <a:gd name="T27" fmla="*/ 2 h 281"/>
                <a:gd name="T28" fmla="*/ 1 w 169"/>
                <a:gd name="T29" fmla="*/ 2 h 281"/>
                <a:gd name="T30" fmla="*/ 1 w 169"/>
                <a:gd name="T31" fmla="*/ 2 h 281"/>
                <a:gd name="T32" fmla="*/ 1 w 169"/>
                <a:gd name="T33" fmla="*/ 2 h 281"/>
                <a:gd name="T34" fmla="*/ 1 w 169"/>
                <a:gd name="T35" fmla="*/ 2 h 281"/>
                <a:gd name="T36" fmla="*/ 1 w 169"/>
                <a:gd name="T37" fmla="*/ 2 h 281"/>
                <a:gd name="T38" fmla="*/ 1 w 169"/>
                <a:gd name="T39" fmla="*/ 2 h 281"/>
                <a:gd name="T40" fmla="*/ 1 w 169"/>
                <a:gd name="T41" fmla="*/ 2 h 281"/>
                <a:gd name="T42" fmla="*/ 1 w 169"/>
                <a:gd name="T43" fmla="*/ 2 h 281"/>
                <a:gd name="T44" fmla="*/ 1 w 169"/>
                <a:gd name="T45" fmla="*/ 2 h 281"/>
                <a:gd name="T46" fmla="*/ 1 w 169"/>
                <a:gd name="T47" fmla="*/ 1 h 281"/>
                <a:gd name="T48" fmla="*/ 0 w 169"/>
                <a:gd name="T49" fmla="*/ 1 h 281"/>
                <a:gd name="T50" fmla="*/ 1 w 169"/>
                <a:gd name="T51" fmla="*/ 1 h 281"/>
                <a:gd name="T52" fmla="*/ 1 w 169"/>
                <a:gd name="T53" fmla="*/ 1 h 281"/>
                <a:gd name="T54" fmla="*/ 1 w 169"/>
                <a:gd name="T55" fmla="*/ 1 h 281"/>
                <a:gd name="T56" fmla="*/ 1 w 169"/>
                <a:gd name="T57" fmla="*/ 1 h 281"/>
                <a:gd name="T58" fmla="*/ 1 w 169"/>
                <a:gd name="T59" fmla="*/ 1 h 281"/>
                <a:gd name="T60" fmla="*/ 1 w 169"/>
                <a:gd name="T61" fmla="*/ 1 h 281"/>
                <a:gd name="T62" fmla="*/ 1 w 169"/>
                <a:gd name="T63" fmla="*/ 1 h 281"/>
                <a:gd name="T64" fmla="*/ 1 w 169"/>
                <a:gd name="T65" fmla="*/ 1 h 281"/>
                <a:gd name="T66" fmla="*/ 1 w 169"/>
                <a:gd name="T67" fmla="*/ 1 h 281"/>
                <a:gd name="T68" fmla="*/ 1 w 169"/>
                <a:gd name="T69" fmla="*/ 1 h 281"/>
                <a:gd name="T70" fmla="*/ 1 w 169"/>
                <a:gd name="T71" fmla="*/ 1 h 281"/>
                <a:gd name="T72" fmla="*/ 1 w 169"/>
                <a:gd name="T73" fmla="*/ 1 h 281"/>
                <a:gd name="T74" fmla="*/ 1 w 169"/>
                <a:gd name="T75" fmla="*/ 1 h 281"/>
                <a:gd name="T76" fmla="*/ 1 w 169"/>
                <a:gd name="T77" fmla="*/ 1 h 281"/>
                <a:gd name="T78" fmla="*/ 1 w 169"/>
                <a:gd name="T79" fmla="*/ 1 h 281"/>
                <a:gd name="T80" fmla="*/ 1 w 169"/>
                <a:gd name="T81" fmla="*/ 0 h 281"/>
                <a:gd name="T82" fmla="*/ 1 w 169"/>
                <a:gd name="T83" fmla="*/ 0 h 281"/>
                <a:gd name="T84" fmla="*/ 1 w 169"/>
                <a:gd name="T85" fmla="*/ 1 h 281"/>
                <a:gd name="T86" fmla="*/ 1 w 169"/>
                <a:gd name="T87" fmla="*/ 1 h 281"/>
                <a:gd name="T88" fmla="*/ 1 w 169"/>
                <a:gd name="T89" fmla="*/ 1 h 281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69"/>
                <a:gd name="T136" fmla="*/ 0 h 281"/>
                <a:gd name="T137" fmla="*/ 169 w 169"/>
                <a:gd name="T138" fmla="*/ 281 h 281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69" h="281">
                  <a:moveTo>
                    <a:pt x="156" y="78"/>
                  </a:moveTo>
                  <a:lnTo>
                    <a:pt x="131" y="78"/>
                  </a:lnTo>
                  <a:lnTo>
                    <a:pt x="120" y="83"/>
                  </a:lnTo>
                  <a:lnTo>
                    <a:pt x="139" y="107"/>
                  </a:lnTo>
                  <a:lnTo>
                    <a:pt x="152" y="138"/>
                  </a:lnTo>
                  <a:lnTo>
                    <a:pt x="142" y="158"/>
                  </a:lnTo>
                  <a:lnTo>
                    <a:pt x="131" y="179"/>
                  </a:lnTo>
                  <a:lnTo>
                    <a:pt x="138" y="212"/>
                  </a:lnTo>
                  <a:lnTo>
                    <a:pt x="150" y="230"/>
                  </a:lnTo>
                  <a:lnTo>
                    <a:pt x="162" y="248"/>
                  </a:lnTo>
                  <a:lnTo>
                    <a:pt x="169" y="270"/>
                  </a:lnTo>
                  <a:lnTo>
                    <a:pt x="164" y="281"/>
                  </a:lnTo>
                  <a:lnTo>
                    <a:pt x="146" y="276"/>
                  </a:lnTo>
                  <a:lnTo>
                    <a:pt x="127" y="272"/>
                  </a:lnTo>
                  <a:lnTo>
                    <a:pt x="106" y="271"/>
                  </a:lnTo>
                  <a:lnTo>
                    <a:pt x="84" y="271"/>
                  </a:lnTo>
                  <a:lnTo>
                    <a:pt x="62" y="271"/>
                  </a:lnTo>
                  <a:lnTo>
                    <a:pt x="46" y="269"/>
                  </a:lnTo>
                  <a:lnTo>
                    <a:pt x="29" y="266"/>
                  </a:lnTo>
                  <a:lnTo>
                    <a:pt x="29" y="241"/>
                  </a:lnTo>
                  <a:lnTo>
                    <a:pt x="26" y="229"/>
                  </a:lnTo>
                  <a:lnTo>
                    <a:pt x="25" y="225"/>
                  </a:lnTo>
                  <a:lnTo>
                    <a:pt x="11" y="223"/>
                  </a:lnTo>
                  <a:lnTo>
                    <a:pt x="4" y="209"/>
                  </a:lnTo>
                  <a:lnTo>
                    <a:pt x="0" y="210"/>
                  </a:lnTo>
                  <a:lnTo>
                    <a:pt x="2" y="205"/>
                  </a:lnTo>
                  <a:lnTo>
                    <a:pt x="8" y="185"/>
                  </a:lnTo>
                  <a:lnTo>
                    <a:pt x="18" y="170"/>
                  </a:lnTo>
                  <a:lnTo>
                    <a:pt x="29" y="156"/>
                  </a:lnTo>
                  <a:lnTo>
                    <a:pt x="46" y="151"/>
                  </a:lnTo>
                  <a:lnTo>
                    <a:pt x="59" y="165"/>
                  </a:lnTo>
                  <a:lnTo>
                    <a:pt x="72" y="146"/>
                  </a:lnTo>
                  <a:lnTo>
                    <a:pt x="80" y="123"/>
                  </a:lnTo>
                  <a:lnTo>
                    <a:pt x="89" y="111"/>
                  </a:lnTo>
                  <a:lnTo>
                    <a:pt x="97" y="91"/>
                  </a:lnTo>
                  <a:lnTo>
                    <a:pt x="104" y="73"/>
                  </a:lnTo>
                  <a:lnTo>
                    <a:pt x="113" y="56"/>
                  </a:lnTo>
                  <a:lnTo>
                    <a:pt x="128" y="42"/>
                  </a:lnTo>
                  <a:lnTo>
                    <a:pt x="133" y="27"/>
                  </a:lnTo>
                  <a:lnTo>
                    <a:pt x="124" y="19"/>
                  </a:lnTo>
                  <a:lnTo>
                    <a:pt x="120" y="0"/>
                  </a:lnTo>
                  <a:lnTo>
                    <a:pt x="128" y="0"/>
                  </a:lnTo>
                  <a:lnTo>
                    <a:pt x="139" y="25"/>
                  </a:lnTo>
                  <a:lnTo>
                    <a:pt x="142" y="53"/>
                  </a:lnTo>
                  <a:lnTo>
                    <a:pt x="156" y="7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18" name="Freeform 46"/>
            <p:cNvSpPr>
              <a:spLocks/>
            </p:cNvSpPr>
            <p:nvPr/>
          </p:nvSpPr>
          <p:spPr bwMode="auto">
            <a:xfrm>
              <a:off x="2834" y="1900"/>
              <a:ext cx="200" cy="152"/>
            </a:xfrm>
            <a:custGeom>
              <a:avLst/>
              <a:gdLst>
                <a:gd name="T0" fmla="*/ 1 w 284"/>
                <a:gd name="T1" fmla="*/ 1 h 216"/>
                <a:gd name="T2" fmla="*/ 1 w 284"/>
                <a:gd name="T3" fmla="*/ 1 h 216"/>
                <a:gd name="T4" fmla="*/ 1 w 284"/>
                <a:gd name="T5" fmla="*/ 1 h 216"/>
                <a:gd name="T6" fmla="*/ 1 w 284"/>
                <a:gd name="T7" fmla="*/ 1 h 216"/>
                <a:gd name="T8" fmla="*/ 1 w 284"/>
                <a:gd name="T9" fmla="*/ 1 h 216"/>
                <a:gd name="T10" fmla="*/ 1 w 284"/>
                <a:gd name="T11" fmla="*/ 0 h 216"/>
                <a:gd name="T12" fmla="*/ 1 w 284"/>
                <a:gd name="T13" fmla="*/ 1 h 216"/>
                <a:gd name="T14" fmla="*/ 1 w 284"/>
                <a:gd name="T15" fmla="*/ 1 h 216"/>
                <a:gd name="T16" fmla="*/ 1 w 284"/>
                <a:gd name="T17" fmla="*/ 1 h 216"/>
                <a:gd name="T18" fmla="*/ 1 w 284"/>
                <a:gd name="T19" fmla="*/ 1 h 216"/>
                <a:gd name="T20" fmla="*/ 1 w 284"/>
                <a:gd name="T21" fmla="*/ 1 h 216"/>
                <a:gd name="T22" fmla="*/ 2 w 284"/>
                <a:gd name="T23" fmla="*/ 1 h 216"/>
                <a:gd name="T24" fmla="*/ 2 w 284"/>
                <a:gd name="T25" fmla="*/ 1 h 216"/>
                <a:gd name="T26" fmla="*/ 2 w 284"/>
                <a:gd name="T27" fmla="*/ 1 h 216"/>
                <a:gd name="T28" fmla="*/ 2 w 284"/>
                <a:gd name="T29" fmla="*/ 1 h 216"/>
                <a:gd name="T30" fmla="*/ 2 w 284"/>
                <a:gd name="T31" fmla="*/ 1 h 216"/>
                <a:gd name="T32" fmla="*/ 2 w 284"/>
                <a:gd name="T33" fmla="*/ 1 h 216"/>
                <a:gd name="T34" fmla="*/ 2 w 284"/>
                <a:gd name="T35" fmla="*/ 1 h 216"/>
                <a:gd name="T36" fmla="*/ 2 w 284"/>
                <a:gd name="T37" fmla="*/ 1 h 216"/>
                <a:gd name="T38" fmla="*/ 2 w 284"/>
                <a:gd name="T39" fmla="*/ 1 h 216"/>
                <a:gd name="T40" fmla="*/ 1 w 284"/>
                <a:gd name="T41" fmla="*/ 1 h 216"/>
                <a:gd name="T42" fmla="*/ 1 w 284"/>
                <a:gd name="T43" fmla="*/ 1 h 216"/>
                <a:gd name="T44" fmla="*/ 1 w 284"/>
                <a:gd name="T45" fmla="*/ 1 h 216"/>
                <a:gd name="T46" fmla="*/ 1 w 284"/>
                <a:gd name="T47" fmla="*/ 1 h 216"/>
                <a:gd name="T48" fmla="*/ 1 w 284"/>
                <a:gd name="T49" fmla="*/ 1 h 216"/>
                <a:gd name="T50" fmla="*/ 1 w 284"/>
                <a:gd name="T51" fmla="*/ 1 h 216"/>
                <a:gd name="T52" fmla="*/ 1 w 284"/>
                <a:gd name="T53" fmla="*/ 1 h 216"/>
                <a:gd name="T54" fmla="*/ 1 w 284"/>
                <a:gd name="T55" fmla="*/ 1 h 216"/>
                <a:gd name="T56" fmla="*/ 1 w 284"/>
                <a:gd name="T57" fmla="*/ 1 h 216"/>
                <a:gd name="T58" fmla="*/ 1 w 284"/>
                <a:gd name="T59" fmla="*/ 1 h 216"/>
                <a:gd name="T60" fmla="*/ 1 w 284"/>
                <a:gd name="T61" fmla="*/ 1 h 216"/>
                <a:gd name="T62" fmla="*/ 1 w 284"/>
                <a:gd name="T63" fmla="*/ 1 h 216"/>
                <a:gd name="T64" fmla="*/ 1 w 284"/>
                <a:gd name="T65" fmla="*/ 1 h 216"/>
                <a:gd name="T66" fmla="*/ 1 w 284"/>
                <a:gd name="T67" fmla="*/ 1 h 216"/>
                <a:gd name="T68" fmla="*/ 1 w 284"/>
                <a:gd name="T69" fmla="*/ 1 h 216"/>
                <a:gd name="T70" fmla="*/ 1 w 284"/>
                <a:gd name="T71" fmla="*/ 1 h 216"/>
                <a:gd name="T72" fmla="*/ 1 w 284"/>
                <a:gd name="T73" fmla="*/ 1 h 216"/>
                <a:gd name="T74" fmla="*/ 0 w 284"/>
                <a:gd name="T75" fmla="*/ 1 h 216"/>
                <a:gd name="T76" fmla="*/ 1 w 284"/>
                <a:gd name="T77" fmla="*/ 1 h 216"/>
                <a:gd name="T78" fmla="*/ 1 w 284"/>
                <a:gd name="T79" fmla="*/ 1 h 216"/>
                <a:gd name="T80" fmla="*/ 1 w 284"/>
                <a:gd name="T81" fmla="*/ 1 h 216"/>
                <a:gd name="T82" fmla="*/ 1 w 284"/>
                <a:gd name="T83" fmla="*/ 1 h 216"/>
                <a:gd name="T84" fmla="*/ 1 w 284"/>
                <a:gd name="T85" fmla="*/ 1 h 216"/>
                <a:gd name="T86" fmla="*/ 1 w 284"/>
                <a:gd name="T87" fmla="*/ 1 h 216"/>
                <a:gd name="T88" fmla="*/ 1 w 284"/>
                <a:gd name="T89" fmla="*/ 1 h 2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84"/>
                <a:gd name="T136" fmla="*/ 0 h 216"/>
                <a:gd name="T137" fmla="*/ 284 w 284"/>
                <a:gd name="T138" fmla="*/ 216 h 2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84" h="216">
                  <a:moveTo>
                    <a:pt x="99" y="60"/>
                  </a:moveTo>
                  <a:lnTo>
                    <a:pt x="96" y="51"/>
                  </a:lnTo>
                  <a:lnTo>
                    <a:pt x="127" y="45"/>
                  </a:lnTo>
                  <a:lnTo>
                    <a:pt x="144" y="25"/>
                  </a:lnTo>
                  <a:lnTo>
                    <a:pt x="161" y="5"/>
                  </a:lnTo>
                  <a:lnTo>
                    <a:pt x="182" y="0"/>
                  </a:lnTo>
                  <a:lnTo>
                    <a:pt x="191" y="15"/>
                  </a:lnTo>
                  <a:lnTo>
                    <a:pt x="200" y="31"/>
                  </a:lnTo>
                  <a:lnTo>
                    <a:pt x="197" y="55"/>
                  </a:lnTo>
                  <a:lnTo>
                    <a:pt x="212" y="59"/>
                  </a:lnTo>
                  <a:lnTo>
                    <a:pt x="216" y="66"/>
                  </a:lnTo>
                  <a:lnTo>
                    <a:pt x="236" y="80"/>
                  </a:lnTo>
                  <a:lnTo>
                    <a:pt x="240" y="91"/>
                  </a:lnTo>
                  <a:lnTo>
                    <a:pt x="260" y="109"/>
                  </a:lnTo>
                  <a:lnTo>
                    <a:pt x="269" y="122"/>
                  </a:lnTo>
                  <a:lnTo>
                    <a:pt x="281" y="139"/>
                  </a:lnTo>
                  <a:lnTo>
                    <a:pt x="284" y="146"/>
                  </a:lnTo>
                  <a:lnTo>
                    <a:pt x="272" y="144"/>
                  </a:lnTo>
                  <a:lnTo>
                    <a:pt x="256" y="141"/>
                  </a:lnTo>
                  <a:lnTo>
                    <a:pt x="239" y="140"/>
                  </a:lnTo>
                  <a:lnTo>
                    <a:pt x="230" y="147"/>
                  </a:lnTo>
                  <a:lnTo>
                    <a:pt x="215" y="147"/>
                  </a:lnTo>
                  <a:lnTo>
                    <a:pt x="192" y="155"/>
                  </a:lnTo>
                  <a:lnTo>
                    <a:pt x="182" y="153"/>
                  </a:lnTo>
                  <a:lnTo>
                    <a:pt x="173" y="169"/>
                  </a:lnTo>
                  <a:lnTo>
                    <a:pt x="151" y="163"/>
                  </a:lnTo>
                  <a:lnTo>
                    <a:pt x="131" y="157"/>
                  </a:lnTo>
                  <a:lnTo>
                    <a:pt x="108" y="144"/>
                  </a:lnTo>
                  <a:lnTo>
                    <a:pt x="90" y="165"/>
                  </a:lnTo>
                  <a:lnTo>
                    <a:pt x="91" y="185"/>
                  </a:lnTo>
                  <a:lnTo>
                    <a:pt x="74" y="183"/>
                  </a:lnTo>
                  <a:lnTo>
                    <a:pt x="57" y="182"/>
                  </a:lnTo>
                  <a:lnTo>
                    <a:pt x="45" y="189"/>
                  </a:lnTo>
                  <a:lnTo>
                    <a:pt x="38" y="216"/>
                  </a:lnTo>
                  <a:lnTo>
                    <a:pt x="31" y="194"/>
                  </a:lnTo>
                  <a:lnTo>
                    <a:pt x="19" y="176"/>
                  </a:lnTo>
                  <a:lnTo>
                    <a:pt x="7" y="158"/>
                  </a:lnTo>
                  <a:lnTo>
                    <a:pt x="0" y="125"/>
                  </a:lnTo>
                  <a:lnTo>
                    <a:pt x="11" y="104"/>
                  </a:lnTo>
                  <a:lnTo>
                    <a:pt x="21" y="84"/>
                  </a:lnTo>
                  <a:lnTo>
                    <a:pt x="42" y="78"/>
                  </a:lnTo>
                  <a:lnTo>
                    <a:pt x="47" y="80"/>
                  </a:lnTo>
                  <a:lnTo>
                    <a:pt x="59" y="78"/>
                  </a:lnTo>
                  <a:lnTo>
                    <a:pt x="89" y="72"/>
                  </a:lnTo>
                  <a:lnTo>
                    <a:pt x="99" y="6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19" name="Freeform 47"/>
            <p:cNvSpPr>
              <a:spLocks/>
            </p:cNvSpPr>
            <p:nvPr/>
          </p:nvSpPr>
          <p:spPr bwMode="auto">
            <a:xfrm>
              <a:off x="2355" y="1851"/>
              <a:ext cx="45" cy="13"/>
            </a:xfrm>
            <a:custGeom>
              <a:avLst/>
              <a:gdLst>
                <a:gd name="T0" fmla="*/ 1 w 64"/>
                <a:gd name="T1" fmla="*/ 1 h 18"/>
                <a:gd name="T2" fmla="*/ 0 w 64"/>
                <a:gd name="T3" fmla="*/ 1 h 18"/>
                <a:gd name="T4" fmla="*/ 1 w 64"/>
                <a:gd name="T5" fmla="*/ 1 h 18"/>
                <a:gd name="T6" fmla="*/ 1 w 64"/>
                <a:gd name="T7" fmla="*/ 1 h 18"/>
                <a:gd name="T8" fmla="*/ 1 w 64"/>
                <a:gd name="T9" fmla="*/ 1 h 18"/>
                <a:gd name="T10" fmla="*/ 1 w 64"/>
                <a:gd name="T11" fmla="*/ 1 h 18"/>
                <a:gd name="T12" fmla="*/ 1 w 64"/>
                <a:gd name="T13" fmla="*/ 0 h 18"/>
                <a:gd name="T14" fmla="*/ 1 w 64"/>
                <a:gd name="T15" fmla="*/ 1 h 18"/>
                <a:gd name="T16" fmla="*/ 1 w 64"/>
                <a:gd name="T17" fmla="*/ 1 h 18"/>
                <a:gd name="T18" fmla="*/ 1 w 64"/>
                <a:gd name="T19" fmla="*/ 1 h 18"/>
                <a:gd name="T20" fmla="*/ 1 w 64"/>
                <a:gd name="T21" fmla="*/ 1 h 18"/>
                <a:gd name="T22" fmla="*/ 1 w 64"/>
                <a:gd name="T23" fmla="*/ 1 h 18"/>
                <a:gd name="T24" fmla="*/ 1 w 64"/>
                <a:gd name="T25" fmla="*/ 1 h 1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4"/>
                <a:gd name="T40" fmla="*/ 0 h 18"/>
                <a:gd name="T41" fmla="*/ 64 w 64"/>
                <a:gd name="T42" fmla="*/ 18 h 1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4" h="18">
                  <a:moveTo>
                    <a:pt x="4" y="7"/>
                  </a:moveTo>
                  <a:lnTo>
                    <a:pt x="0" y="18"/>
                  </a:lnTo>
                  <a:lnTo>
                    <a:pt x="17" y="12"/>
                  </a:lnTo>
                  <a:lnTo>
                    <a:pt x="35" y="6"/>
                  </a:lnTo>
                  <a:lnTo>
                    <a:pt x="64" y="12"/>
                  </a:lnTo>
                  <a:lnTo>
                    <a:pt x="58" y="6"/>
                  </a:lnTo>
                  <a:lnTo>
                    <a:pt x="31" y="0"/>
                  </a:lnTo>
                  <a:lnTo>
                    <a:pt x="28" y="5"/>
                  </a:lnTo>
                  <a:lnTo>
                    <a:pt x="5" y="5"/>
                  </a:lnTo>
                  <a:lnTo>
                    <a:pt x="5" y="7"/>
                  </a:lnTo>
                  <a:lnTo>
                    <a:pt x="25" y="7"/>
                  </a:lnTo>
                  <a:lnTo>
                    <a:pt x="13" y="13"/>
                  </a:lnTo>
                  <a:lnTo>
                    <a:pt x="4" y="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20" name="Freeform 48"/>
            <p:cNvSpPr>
              <a:spLocks/>
            </p:cNvSpPr>
            <p:nvPr/>
          </p:nvSpPr>
          <p:spPr bwMode="auto">
            <a:xfrm>
              <a:off x="2562" y="1898"/>
              <a:ext cx="68" cy="111"/>
            </a:xfrm>
            <a:custGeom>
              <a:avLst/>
              <a:gdLst>
                <a:gd name="T0" fmla="*/ 1 w 97"/>
                <a:gd name="T1" fmla="*/ 1 h 157"/>
                <a:gd name="T2" fmla="*/ 1 w 97"/>
                <a:gd name="T3" fmla="*/ 1 h 157"/>
                <a:gd name="T4" fmla="*/ 1 w 97"/>
                <a:gd name="T5" fmla="*/ 1 h 157"/>
                <a:gd name="T6" fmla="*/ 1 w 97"/>
                <a:gd name="T7" fmla="*/ 1 h 157"/>
                <a:gd name="T8" fmla="*/ 1 w 97"/>
                <a:gd name="T9" fmla="*/ 2 h 157"/>
                <a:gd name="T10" fmla="*/ 1 w 97"/>
                <a:gd name="T11" fmla="*/ 1 h 157"/>
                <a:gd name="T12" fmla="*/ 1 w 97"/>
                <a:gd name="T13" fmla="*/ 1 h 157"/>
                <a:gd name="T14" fmla="*/ 1 w 97"/>
                <a:gd name="T15" fmla="*/ 1 h 157"/>
                <a:gd name="T16" fmla="*/ 0 w 97"/>
                <a:gd name="T17" fmla="*/ 1 h 157"/>
                <a:gd name="T18" fmla="*/ 1 w 97"/>
                <a:gd name="T19" fmla="*/ 1 h 157"/>
                <a:gd name="T20" fmla="*/ 1 w 97"/>
                <a:gd name="T21" fmla="*/ 1 h 157"/>
                <a:gd name="T22" fmla="*/ 1 w 97"/>
                <a:gd name="T23" fmla="*/ 1 h 157"/>
                <a:gd name="T24" fmla="*/ 1 w 97"/>
                <a:gd name="T25" fmla="*/ 1 h 157"/>
                <a:gd name="T26" fmla="*/ 1 w 97"/>
                <a:gd name="T27" fmla="*/ 1 h 157"/>
                <a:gd name="T28" fmla="*/ 1 w 97"/>
                <a:gd name="T29" fmla="*/ 1 h 157"/>
                <a:gd name="T30" fmla="*/ 1 w 97"/>
                <a:gd name="T31" fmla="*/ 1 h 157"/>
                <a:gd name="T32" fmla="*/ 1 w 97"/>
                <a:gd name="T33" fmla="*/ 0 h 157"/>
                <a:gd name="T34" fmla="*/ 1 w 97"/>
                <a:gd name="T35" fmla="*/ 1 h 157"/>
                <a:gd name="T36" fmla="*/ 1 w 97"/>
                <a:gd name="T37" fmla="*/ 1 h 157"/>
                <a:gd name="T38" fmla="*/ 1 w 97"/>
                <a:gd name="T39" fmla="*/ 1 h 157"/>
                <a:gd name="T40" fmla="*/ 1 w 97"/>
                <a:gd name="T41" fmla="*/ 1 h 157"/>
                <a:gd name="T42" fmla="*/ 1 w 97"/>
                <a:gd name="T43" fmla="*/ 1 h 157"/>
                <a:gd name="T44" fmla="*/ 1 w 97"/>
                <a:gd name="T45" fmla="*/ 1 h 157"/>
                <a:gd name="T46" fmla="*/ 1 w 97"/>
                <a:gd name="T47" fmla="*/ 1 h 157"/>
                <a:gd name="T48" fmla="*/ 1 w 97"/>
                <a:gd name="T49" fmla="*/ 1 h 157"/>
                <a:gd name="T50" fmla="*/ 1 w 97"/>
                <a:gd name="T51" fmla="*/ 1 h 157"/>
                <a:gd name="T52" fmla="*/ 1 w 97"/>
                <a:gd name="T53" fmla="*/ 1 h 157"/>
                <a:gd name="T54" fmla="*/ 1 w 97"/>
                <a:gd name="T55" fmla="*/ 1 h 15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97"/>
                <a:gd name="T85" fmla="*/ 0 h 157"/>
                <a:gd name="T86" fmla="*/ 97 w 97"/>
                <a:gd name="T87" fmla="*/ 157 h 15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97" h="157">
                  <a:moveTo>
                    <a:pt x="85" y="133"/>
                  </a:moveTo>
                  <a:lnTo>
                    <a:pt x="70" y="139"/>
                  </a:lnTo>
                  <a:lnTo>
                    <a:pt x="54" y="145"/>
                  </a:lnTo>
                  <a:lnTo>
                    <a:pt x="39" y="151"/>
                  </a:lnTo>
                  <a:lnTo>
                    <a:pt x="23" y="157"/>
                  </a:lnTo>
                  <a:lnTo>
                    <a:pt x="3" y="150"/>
                  </a:lnTo>
                  <a:lnTo>
                    <a:pt x="10" y="145"/>
                  </a:lnTo>
                  <a:lnTo>
                    <a:pt x="5" y="126"/>
                  </a:lnTo>
                  <a:lnTo>
                    <a:pt x="0" y="107"/>
                  </a:lnTo>
                  <a:lnTo>
                    <a:pt x="9" y="90"/>
                  </a:lnTo>
                  <a:lnTo>
                    <a:pt x="17" y="72"/>
                  </a:lnTo>
                  <a:lnTo>
                    <a:pt x="12" y="41"/>
                  </a:lnTo>
                  <a:lnTo>
                    <a:pt x="11" y="22"/>
                  </a:lnTo>
                  <a:lnTo>
                    <a:pt x="10" y="2"/>
                  </a:lnTo>
                  <a:lnTo>
                    <a:pt x="35" y="2"/>
                  </a:lnTo>
                  <a:lnTo>
                    <a:pt x="61" y="1"/>
                  </a:lnTo>
                  <a:lnTo>
                    <a:pt x="67" y="0"/>
                  </a:lnTo>
                  <a:lnTo>
                    <a:pt x="71" y="7"/>
                  </a:lnTo>
                  <a:lnTo>
                    <a:pt x="79" y="30"/>
                  </a:lnTo>
                  <a:lnTo>
                    <a:pt x="79" y="41"/>
                  </a:lnTo>
                  <a:lnTo>
                    <a:pt x="81" y="58"/>
                  </a:lnTo>
                  <a:lnTo>
                    <a:pt x="84" y="73"/>
                  </a:lnTo>
                  <a:lnTo>
                    <a:pt x="85" y="94"/>
                  </a:lnTo>
                  <a:lnTo>
                    <a:pt x="85" y="113"/>
                  </a:lnTo>
                  <a:lnTo>
                    <a:pt x="97" y="125"/>
                  </a:lnTo>
                  <a:lnTo>
                    <a:pt x="87" y="133"/>
                  </a:lnTo>
                  <a:lnTo>
                    <a:pt x="78" y="126"/>
                  </a:lnTo>
                  <a:lnTo>
                    <a:pt x="85" y="13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21" name="Freeform 49"/>
            <p:cNvSpPr>
              <a:spLocks/>
            </p:cNvSpPr>
            <p:nvPr/>
          </p:nvSpPr>
          <p:spPr bwMode="auto">
            <a:xfrm>
              <a:off x="2382" y="1871"/>
              <a:ext cx="111" cy="93"/>
            </a:xfrm>
            <a:custGeom>
              <a:avLst/>
              <a:gdLst>
                <a:gd name="T0" fmla="*/ 1 w 159"/>
                <a:gd name="T1" fmla="*/ 1 h 133"/>
                <a:gd name="T2" fmla="*/ 1 w 159"/>
                <a:gd name="T3" fmla="*/ 1 h 133"/>
                <a:gd name="T4" fmla="*/ 1 w 159"/>
                <a:gd name="T5" fmla="*/ 1 h 133"/>
                <a:gd name="T6" fmla="*/ 1 w 159"/>
                <a:gd name="T7" fmla="*/ 1 h 133"/>
                <a:gd name="T8" fmla="*/ 1 w 159"/>
                <a:gd name="T9" fmla="*/ 1 h 133"/>
                <a:gd name="T10" fmla="*/ 1 w 159"/>
                <a:gd name="T11" fmla="*/ 1 h 133"/>
                <a:gd name="T12" fmla="*/ 1 w 159"/>
                <a:gd name="T13" fmla="*/ 1 h 133"/>
                <a:gd name="T14" fmla="*/ 1 w 159"/>
                <a:gd name="T15" fmla="*/ 1 h 133"/>
                <a:gd name="T16" fmla="*/ 1 w 159"/>
                <a:gd name="T17" fmla="*/ 1 h 133"/>
                <a:gd name="T18" fmla="*/ 1 w 159"/>
                <a:gd name="T19" fmla="*/ 1 h 133"/>
                <a:gd name="T20" fmla="*/ 1 w 159"/>
                <a:gd name="T21" fmla="*/ 1 h 133"/>
                <a:gd name="T22" fmla="*/ 1 w 159"/>
                <a:gd name="T23" fmla="*/ 1 h 133"/>
                <a:gd name="T24" fmla="*/ 1 w 159"/>
                <a:gd name="T25" fmla="*/ 1 h 133"/>
                <a:gd name="T26" fmla="*/ 1 w 159"/>
                <a:gd name="T27" fmla="*/ 1 h 133"/>
                <a:gd name="T28" fmla="*/ 1 w 159"/>
                <a:gd name="T29" fmla="*/ 1 h 133"/>
                <a:gd name="T30" fmla="*/ 1 w 159"/>
                <a:gd name="T31" fmla="*/ 1 h 133"/>
                <a:gd name="T32" fmla="*/ 1 w 159"/>
                <a:gd name="T33" fmla="*/ 1 h 133"/>
                <a:gd name="T34" fmla="*/ 1 w 159"/>
                <a:gd name="T35" fmla="*/ 1 h 133"/>
                <a:gd name="T36" fmla="*/ 1 w 159"/>
                <a:gd name="T37" fmla="*/ 1 h 133"/>
                <a:gd name="T38" fmla="*/ 1 w 159"/>
                <a:gd name="T39" fmla="*/ 1 h 133"/>
                <a:gd name="T40" fmla="*/ 1 w 159"/>
                <a:gd name="T41" fmla="*/ 1 h 133"/>
                <a:gd name="T42" fmla="*/ 1 w 159"/>
                <a:gd name="T43" fmla="*/ 1 h 133"/>
                <a:gd name="T44" fmla="*/ 1 w 159"/>
                <a:gd name="T45" fmla="*/ 1 h 133"/>
                <a:gd name="T46" fmla="*/ 1 w 159"/>
                <a:gd name="T47" fmla="*/ 1 h 133"/>
                <a:gd name="T48" fmla="*/ 1 w 159"/>
                <a:gd name="T49" fmla="*/ 1 h 133"/>
                <a:gd name="T50" fmla="*/ 1 w 159"/>
                <a:gd name="T51" fmla="*/ 1 h 133"/>
                <a:gd name="T52" fmla="*/ 1 w 159"/>
                <a:gd name="T53" fmla="*/ 1 h 133"/>
                <a:gd name="T54" fmla="*/ 1 w 159"/>
                <a:gd name="T55" fmla="*/ 1 h 133"/>
                <a:gd name="T56" fmla="*/ 1 w 159"/>
                <a:gd name="T57" fmla="*/ 1 h 133"/>
                <a:gd name="T58" fmla="*/ 1 w 159"/>
                <a:gd name="T59" fmla="*/ 1 h 133"/>
                <a:gd name="T60" fmla="*/ 1 w 159"/>
                <a:gd name="T61" fmla="*/ 1 h 133"/>
                <a:gd name="T62" fmla="*/ 0 w 159"/>
                <a:gd name="T63" fmla="*/ 1 h 133"/>
                <a:gd name="T64" fmla="*/ 1 w 159"/>
                <a:gd name="T65" fmla="*/ 1 h 133"/>
                <a:gd name="T66" fmla="*/ 1 w 159"/>
                <a:gd name="T67" fmla="*/ 1 h 133"/>
                <a:gd name="T68" fmla="*/ 1 w 159"/>
                <a:gd name="T69" fmla="*/ 1 h 133"/>
                <a:gd name="T70" fmla="*/ 1 w 159"/>
                <a:gd name="T71" fmla="*/ 0 h 133"/>
                <a:gd name="T72" fmla="*/ 1 w 159"/>
                <a:gd name="T73" fmla="*/ 1 h 133"/>
                <a:gd name="T74" fmla="*/ 1 w 159"/>
                <a:gd name="T75" fmla="*/ 1 h 133"/>
                <a:gd name="T76" fmla="*/ 1 w 159"/>
                <a:gd name="T77" fmla="*/ 1 h 133"/>
                <a:gd name="T78" fmla="*/ 1 w 159"/>
                <a:gd name="T79" fmla="*/ 1 h 133"/>
                <a:gd name="T80" fmla="*/ 1 w 159"/>
                <a:gd name="T81" fmla="*/ 1 h 133"/>
                <a:gd name="T82" fmla="*/ 1 w 159"/>
                <a:gd name="T83" fmla="*/ 1 h 133"/>
                <a:gd name="T84" fmla="*/ 1 w 159"/>
                <a:gd name="T85" fmla="*/ 1 h 133"/>
                <a:gd name="T86" fmla="*/ 1 w 159"/>
                <a:gd name="T87" fmla="*/ 1 h 133"/>
                <a:gd name="T88" fmla="*/ 1 w 159"/>
                <a:gd name="T89" fmla="*/ 1 h 133"/>
                <a:gd name="T90" fmla="*/ 1 w 159"/>
                <a:gd name="T91" fmla="*/ 1 h 13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59"/>
                <a:gd name="T139" fmla="*/ 0 h 133"/>
                <a:gd name="T140" fmla="*/ 159 w 159"/>
                <a:gd name="T141" fmla="*/ 133 h 13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59" h="133">
                  <a:moveTo>
                    <a:pt x="143" y="31"/>
                  </a:moveTo>
                  <a:lnTo>
                    <a:pt x="141" y="39"/>
                  </a:lnTo>
                  <a:lnTo>
                    <a:pt x="143" y="39"/>
                  </a:lnTo>
                  <a:lnTo>
                    <a:pt x="154" y="62"/>
                  </a:lnTo>
                  <a:lnTo>
                    <a:pt x="153" y="81"/>
                  </a:lnTo>
                  <a:lnTo>
                    <a:pt x="155" y="85"/>
                  </a:lnTo>
                  <a:lnTo>
                    <a:pt x="156" y="90"/>
                  </a:lnTo>
                  <a:lnTo>
                    <a:pt x="159" y="99"/>
                  </a:lnTo>
                  <a:lnTo>
                    <a:pt x="158" y="104"/>
                  </a:lnTo>
                  <a:lnTo>
                    <a:pt x="148" y="106"/>
                  </a:lnTo>
                  <a:lnTo>
                    <a:pt x="152" y="116"/>
                  </a:lnTo>
                  <a:lnTo>
                    <a:pt x="144" y="126"/>
                  </a:lnTo>
                  <a:lnTo>
                    <a:pt x="143" y="126"/>
                  </a:lnTo>
                  <a:lnTo>
                    <a:pt x="137" y="128"/>
                  </a:lnTo>
                  <a:lnTo>
                    <a:pt x="128" y="133"/>
                  </a:lnTo>
                  <a:lnTo>
                    <a:pt x="122" y="128"/>
                  </a:lnTo>
                  <a:lnTo>
                    <a:pt x="116" y="104"/>
                  </a:lnTo>
                  <a:lnTo>
                    <a:pt x="104" y="104"/>
                  </a:lnTo>
                  <a:lnTo>
                    <a:pt x="95" y="105"/>
                  </a:lnTo>
                  <a:lnTo>
                    <a:pt x="98" y="88"/>
                  </a:lnTo>
                  <a:lnTo>
                    <a:pt x="83" y="66"/>
                  </a:lnTo>
                  <a:lnTo>
                    <a:pt x="53" y="73"/>
                  </a:lnTo>
                  <a:lnTo>
                    <a:pt x="38" y="90"/>
                  </a:lnTo>
                  <a:lnTo>
                    <a:pt x="36" y="82"/>
                  </a:lnTo>
                  <a:lnTo>
                    <a:pt x="30" y="75"/>
                  </a:lnTo>
                  <a:lnTo>
                    <a:pt x="27" y="69"/>
                  </a:lnTo>
                  <a:lnTo>
                    <a:pt x="21" y="64"/>
                  </a:lnTo>
                  <a:lnTo>
                    <a:pt x="9" y="50"/>
                  </a:lnTo>
                  <a:lnTo>
                    <a:pt x="10" y="46"/>
                  </a:lnTo>
                  <a:lnTo>
                    <a:pt x="8" y="48"/>
                  </a:lnTo>
                  <a:lnTo>
                    <a:pt x="5" y="40"/>
                  </a:lnTo>
                  <a:lnTo>
                    <a:pt x="0" y="43"/>
                  </a:lnTo>
                  <a:lnTo>
                    <a:pt x="5" y="32"/>
                  </a:lnTo>
                  <a:lnTo>
                    <a:pt x="26" y="25"/>
                  </a:lnTo>
                  <a:lnTo>
                    <a:pt x="27" y="10"/>
                  </a:lnTo>
                  <a:lnTo>
                    <a:pt x="29" y="0"/>
                  </a:lnTo>
                  <a:lnTo>
                    <a:pt x="48" y="3"/>
                  </a:lnTo>
                  <a:lnTo>
                    <a:pt x="80" y="7"/>
                  </a:lnTo>
                  <a:lnTo>
                    <a:pt x="77" y="12"/>
                  </a:lnTo>
                  <a:lnTo>
                    <a:pt x="92" y="13"/>
                  </a:lnTo>
                  <a:lnTo>
                    <a:pt x="98" y="15"/>
                  </a:lnTo>
                  <a:lnTo>
                    <a:pt x="111" y="14"/>
                  </a:lnTo>
                  <a:lnTo>
                    <a:pt x="125" y="8"/>
                  </a:lnTo>
                  <a:lnTo>
                    <a:pt x="129" y="4"/>
                  </a:lnTo>
                  <a:lnTo>
                    <a:pt x="136" y="25"/>
                  </a:lnTo>
                  <a:lnTo>
                    <a:pt x="143" y="3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222" name="Freeform 50"/>
            <p:cNvSpPr>
              <a:spLocks/>
            </p:cNvSpPr>
            <p:nvPr/>
          </p:nvSpPr>
          <p:spPr bwMode="auto">
            <a:xfrm>
              <a:off x="2356" y="1871"/>
              <a:ext cx="45" cy="29"/>
            </a:xfrm>
            <a:custGeom>
              <a:avLst/>
              <a:gdLst>
                <a:gd name="T0" fmla="*/ 1 w 65"/>
                <a:gd name="T1" fmla="*/ 1 h 43"/>
                <a:gd name="T2" fmla="*/ 1 w 65"/>
                <a:gd name="T3" fmla="*/ 1 h 43"/>
                <a:gd name="T4" fmla="*/ 1 w 65"/>
                <a:gd name="T5" fmla="*/ 1 h 43"/>
                <a:gd name="T6" fmla="*/ 1 w 65"/>
                <a:gd name="T7" fmla="*/ 1 h 43"/>
                <a:gd name="T8" fmla="*/ 1 w 65"/>
                <a:gd name="T9" fmla="*/ 1 h 43"/>
                <a:gd name="T10" fmla="*/ 1 w 65"/>
                <a:gd name="T11" fmla="*/ 1 h 43"/>
                <a:gd name="T12" fmla="*/ 1 w 65"/>
                <a:gd name="T13" fmla="*/ 1 h 43"/>
                <a:gd name="T14" fmla="*/ 1 w 65"/>
                <a:gd name="T15" fmla="*/ 0 h 43"/>
                <a:gd name="T16" fmla="*/ 1 w 65"/>
                <a:gd name="T17" fmla="*/ 1 h 43"/>
                <a:gd name="T18" fmla="*/ 1 w 65"/>
                <a:gd name="T19" fmla="*/ 1 h 43"/>
                <a:gd name="T20" fmla="*/ 0 w 65"/>
                <a:gd name="T21" fmla="*/ 1 h 43"/>
                <a:gd name="T22" fmla="*/ 1 w 65"/>
                <a:gd name="T23" fmla="*/ 1 h 43"/>
                <a:gd name="T24" fmla="*/ 1 w 65"/>
                <a:gd name="T25" fmla="*/ 1 h 43"/>
                <a:gd name="T26" fmla="*/ 1 w 65"/>
                <a:gd name="T27" fmla="*/ 1 h 43"/>
                <a:gd name="T28" fmla="*/ 1 w 65"/>
                <a:gd name="T29" fmla="*/ 1 h 43"/>
                <a:gd name="T30" fmla="*/ 1 w 65"/>
                <a:gd name="T31" fmla="*/ 1 h 43"/>
                <a:gd name="T32" fmla="*/ 1 w 65"/>
                <a:gd name="T33" fmla="*/ 1 h 43"/>
                <a:gd name="T34" fmla="*/ 1 w 65"/>
                <a:gd name="T35" fmla="*/ 1 h 43"/>
                <a:gd name="T36" fmla="*/ 1 w 65"/>
                <a:gd name="T37" fmla="*/ 1 h 4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5"/>
                <a:gd name="T58" fmla="*/ 0 h 43"/>
                <a:gd name="T59" fmla="*/ 65 w 65"/>
                <a:gd name="T60" fmla="*/ 43 h 43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5" h="43">
                  <a:moveTo>
                    <a:pt x="33" y="25"/>
                  </a:moveTo>
                  <a:lnTo>
                    <a:pt x="29" y="32"/>
                  </a:lnTo>
                  <a:lnTo>
                    <a:pt x="34" y="38"/>
                  </a:lnTo>
                  <a:lnTo>
                    <a:pt x="36" y="43"/>
                  </a:lnTo>
                  <a:lnTo>
                    <a:pt x="41" y="32"/>
                  </a:lnTo>
                  <a:lnTo>
                    <a:pt x="62" y="25"/>
                  </a:lnTo>
                  <a:lnTo>
                    <a:pt x="63" y="10"/>
                  </a:lnTo>
                  <a:lnTo>
                    <a:pt x="65" y="0"/>
                  </a:lnTo>
                  <a:lnTo>
                    <a:pt x="47" y="1"/>
                  </a:lnTo>
                  <a:lnTo>
                    <a:pt x="29" y="2"/>
                  </a:lnTo>
                  <a:lnTo>
                    <a:pt x="0" y="8"/>
                  </a:lnTo>
                  <a:lnTo>
                    <a:pt x="11" y="9"/>
                  </a:lnTo>
                  <a:lnTo>
                    <a:pt x="8" y="14"/>
                  </a:lnTo>
                  <a:lnTo>
                    <a:pt x="18" y="16"/>
                  </a:lnTo>
                  <a:lnTo>
                    <a:pt x="17" y="19"/>
                  </a:lnTo>
                  <a:lnTo>
                    <a:pt x="33" y="19"/>
                  </a:lnTo>
                  <a:lnTo>
                    <a:pt x="36" y="21"/>
                  </a:lnTo>
                  <a:lnTo>
                    <a:pt x="26" y="24"/>
                  </a:lnTo>
                  <a:lnTo>
                    <a:pt x="33" y="25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223" name="Freeform 51"/>
            <p:cNvSpPr>
              <a:spLocks/>
            </p:cNvSpPr>
            <p:nvPr/>
          </p:nvSpPr>
          <p:spPr bwMode="auto">
            <a:xfrm>
              <a:off x="2481" y="1905"/>
              <a:ext cx="92" cy="111"/>
            </a:xfrm>
            <a:custGeom>
              <a:avLst/>
              <a:gdLst>
                <a:gd name="T0" fmla="*/ 1 w 131"/>
                <a:gd name="T1" fmla="*/ 1 h 157"/>
                <a:gd name="T2" fmla="*/ 1 w 131"/>
                <a:gd name="T3" fmla="*/ 1 h 157"/>
                <a:gd name="T4" fmla="*/ 1 w 131"/>
                <a:gd name="T5" fmla="*/ 1 h 157"/>
                <a:gd name="T6" fmla="*/ 1 w 131"/>
                <a:gd name="T7" fmla="*/ 0 h 157"/>
                <a:gd name="T8" fmla="*/ 1 w 131"/>
                <a:gd name="T9" fmla="*/ 1 h 157"/>
                <a:gd name="T10" fmla="*/ 1 w 131"/>
                <a:gd name="T11" fmla="*/ 1 h 157"/>
                <a:gd name="T12" fmla="*/ 1 w 131"/>
                <a:gd name="T13" fmla="*/ 1 h 157"/>
                <a:gd name="T14" fmla="*/ 1 w 131"/>
                <a:gd name="T15" fmla="*/ 1 h 157"/>
                <a:gd name="T16" fmla="*/ 1 w 131"/>
                <a:gd name="T17" fmla="*/ 1 h 157"/>
                <a:gd name="T18" fmla="*/ 1 w 131"/>
                <a:gd name="T19" fmla="*/ 1 h 157"/>
                <a:gd name="T20" fmla="*/ 1 w 131"/>
                <a:gd name="T21" fmla="*/ 1 h 157"/>
                <a:gd name="T22" fmla="*/ 1 w 131"/>
                <a:gd name="T23" fmla="*/ 1 h 157"/>
                <a:gd name="T24" fmla="*/ 1 w 131"/>
                <a:gd name="T25" fmla="*/ 1 h 157"/>
                <a:gd name="T26" fmla="*/ 1 w 131"/>
                <a:gd name="T27" fmla="*/ 1 h 157"/>
                <a:gd name="T28" fmla="*/ 1 w 131"/>
                <a:gd name="T29" fmla="*/ 1 h 157"/>
                <a:gd name="T30" fmla="*/ 1 w 131"/>
                <a:gd name="T31" fmla="*/ 1 h 157"/>
                <a:gd name="T32" fmla="*/ 0 w 131"/>
                <a:gd name="T33" fmla="*/ 1 h 157"/>
                <a:gd name="T34" fmla="*/ 0 w 131"/>
                <a:gd name="T35" fmla="*/ 1 h 157"/>
                <a:gd name="T36" fmla="*/ 0 w 131"/>
                <a:gd name="T37" fmla="*/ 1 h 157"/>
                <a:gd name="T38" fmla="*/ 1 w 131"/>
                <a:gd name="T39" fmla="*/ 1 h 157"/>
                <a:gd name="T40" fmla="*/ 1 w 131"/>
                <a:gd name="T41" fmla="*/ 1 h 157"/>
                <a:gd name="T42" fmla="*/ 1 w 131"/>
                <a:gd name="T43" fmla="*/ 2 h 157"/>
                <a:gd name="T44" fmla="*/ 1 w 131"/>
                <a:gd name="T45" fmla="*/ 1 h 157"/>
                <a:gd name="T46" fmla="*/ 1 w 131"/>
                <a:gd name="T47" fmla="*/ 1 h 157"/>
                <a:gd name="T48" fmla="*/ 1 w 131"/>
                <a:gd name="T49" fmla="*/ 1 h 157"/>
                <a:gd name="T50" fmla="*/ 1 w 131"/>
                <a:gd name="T51" fmla="*/ 1 h 157"/>
                <a:gd name="T52" fmla="*/ 1 w 131"/>
                <a:gd name="T53" fmla="*/ 1 h 157"/>
                <a:gd name="T54" fmla="*/ 1 w 131"/>
                <a:gd name="T55" fmla="*/ 1 h 157"/>
                <a:gd name="T56" fmla="*/ 1 w 131"/>
                <a:gd name="T57" fmla="*/ 1 h 157"/>
                <a:gd name="T58" fmla="*/ 1 w 131"/>
                <a:gd name="T59" fmla="*/ 1 h 157"/>
                <a:gd name="T60" fmla="*/ 1 w 131"/>
                <a:gd name="T61" fmla="*/ 1 h 157"/>
                <a:gd name="T62" fmla="*/ 1 w 131"/>
                <a:gd name="T63" fmla="*/ 1 h 157"/>
                <a:gd name="T64" fmla="*/ 1 w 131"/>
                <a:gd name="T65" fmla="*/ 1 h 157"/>
                <a:gd name="T66" fmla="*/ 1 w 131"/>
                <a:gd name="T67" fmla="*/ 1 h 157"/>
                <a:gd name="T68" fmla="*/ 1 w 131"/>
                <a:gd name="T69" fmla="*/ 1 h 157"/>
                <a:gd name="T70" fmla="*/ 1 w 131"/>
                <a:gd name="T71" fmla="*/ 1 h 157"/>
                <a:gd name="T72" fmla="*/ 1 w 131"/>
                <a:gd name="T73" fmla="*/ 1 h 157"/>
                <a:gd name="T74" fmla="*/ 1 w 131"/>
                <a:gd name="T75" fmla="*/ 1 h 157"/>
                <a:gd name="T76" fmla="*/ 1 w 131"/>
                <a:gd name="T77" fmla="*/ 1 h 15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31"/>
                <a:gd name="T118" fmla="*/ 0 h 157"/>
                <a:gd name="T119" fmla="*/ 131 w 131"/>
                <a:gd name="T120" fmla="*/ 157 h 157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31" h="157">
                  <a:moveTo>
                    <a:pt x="73" y="11"/>
                  </a:moveTo>
                  <a:lnTo>
                    <a:pt x="65" y="6"/>
                  </a:lnTo>
                  <a:lnTo>
                    <a:pt x="51" y="9"/>
                  </a:lnTo>
                  <a:lnTo>
                    <a:pt x="47" y="0"/>
                  </a:lnTo>
                  <a:lnTo>
                    <a:pt x="40" y="6"/>
                  </a:lnTo>
                  <a:lnTo>
                    <a:pt x="29" y="12"/>
                  </a:lnTo>
                  <a:lnTo>
                    <a:pt x="16" y="8"/>
                  </a:lnTo>
                  <a:lnTo>
                    <a:pt x="11" y="13"/>
                  </a:lnTo>
                  <a:lnTo>
                    <a:pt x="10" y="32"/>
                  </a:lnTo>
                  <a:lnTo>
                    <a:pt x="12" y="36"/>
                  </a:lnTo>
                  <a:lnTo>
                    <a:pt x="13" y="41"/>
                  </a:lnTo>
                  <a:lnTo>
                    <a:pt x="16" y="50"/>
                  </a:lnTo>
                  <a:lnTo>
                    <a:pt x="15" y="55"/>
                  </a:lnTo>
                  <a:lnTo>
                    <a:pt x="5" y="57"/>
                  </a:lnTo>
                  <a:lnTo>
                    <a:pt x="9" y="67"/>
                  </a:lnTo>
                  <a:lnTo>
                    <a:pt x="1" y="77"/>
                  </a:lnTo>
                  <a:lnTo>
                    <a:pt x="0" y="77"/>
                  </a:lnTo>
                  <a:lnTo>
                    <a:pt x="0" y="99"/>
                  </a:lnTo>
                  <a:lnTo>
                    <a:pt x="0" y="104"/>
                  </a:lnTo>
                  <a:lnTo>
                    <a:pt x="15" y="116"/>
                  </a:lnTo>
                  <a:lnTo>
                    <a:pt x="24" y="127"/>
                  </a:lnTo>
                  <a:lnTo>
                    <a:pt x="21" y="157"/>
                  </a:lnTo>
                  <a:lnTo>
                    <a:pt x="48" y="147"/>
                  </a:lnTo>
                  <a:lnTo>
                    <a:pt x="76" y="138"/>
                  </a:lnTo>
                  <a:lnTo>
                    <a:pt x="70" y="137"/>
                  </a:lnTo>
                  <a:lnTo>
                    <a:pt x="97" y="135"/>
                  </a:lnTo>
                  <a:lnTo>
                    <a:pt x="83" y="135"/>
                  </a:lnTo>
                  <a:lnTo>
                    <a:pt x="101" y="134"/>
                  </a:lnTo>
                  <a:lnTo>
                    <a:pt x="114" y="135"/>
                  </a:lnTo>
                  <a:lnTo>
                    <a:pt x="117" y="139"/>
                  </a:lnTo>
                  <a:lnTo>
                    <a:pt x="124" y="134"/>
                  </a:lnTo>
                  <a:lnTo>
                    <a:pt x="119" y="115"/>
                  </a:lnTo>
                  <a:lnTo>
                    <a:pt x="114" y="96"/>
                  </a:lnTo>
                  <a:lnTo>
                    <a:pt x="123" y="79"/>
                  </a:lnTo>
                  <a:lnTo>
                    <a:pt x="131" y="61"/>
                  </a:lnTo>
                  <a:lnTo>
                    <a:pt x="126" y="30"/>
                  </a:lnTo>
                  <a:lnTo>
                    <a:pt x="107" y="19"/>
                  </a:lnTo>
                  <a:lnTo>
                    <a:pt x="87" y="24"/>
                  </a:lnTo>
                  <a:lnTo>
                    <a:pt x="73" y="1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24" name="Freeform 52"/>
            <p:cNvSpPr>
              <a:spLocks/>
            </p:cNvSpPr>
            <p:nvPr/>
          </p:nvSpPr>
          <p:spPr bwMode="auto">
            <a:xfrm>
              <a:off x="2407" y="1917"/>
              <a:ext cx="46" cy="54"/>
            </a:xfrm>
            <a:custGeom>
              <a:avLst/>
              <a:gdLst>
                <a:gd name="T0" fmla="*/ 1 w 66"/>
                <a:gd name="T1" fmla="*/ 1 h 76"/>
                <a:gd name="T2" fmla="*/ 1 w 66"/>
                <a:gd name="T3" fmla="*/ 1 h 76"/>
                <a:gd name="T4" fmla="*/ 1 w 66"/>
                <a:gd name="T5" fmla="*/ 1 h 76"/>
                <a:gd name="T6" fmla="*/ 1 w 66"/>
                <a:gd name="T7" fmla="*/ 1 h 76"/>
                <a:gd name="T8" fmla="*/ 1 w 66"/>
                <a:gd name="T9" fmla="*/ 1 h 76"/>
                <a:gd name="T10" fmla="*/ 1 w 66"/>
                <a:gd name="T11" fmla="*/ 1 h 76"/>
                <a:gd name="T12" fmla="*/ 1 w 66"/>
                <a:gd name="T13" fmla="*/ 1 h 76"/>
                <a:gd name="T14" fmla="*/ 1 w 66"/>
                <a:gd name="T15" fmla="*/ 1 h 76"/>
                <a:gd name="T16" fmla="*/ 1 w 66"/>
                <a:gd name="T17" fmla="*/ 1 h 76"/>
                <a:gd name="T18" fmla="*/ 1 w 66"/>
                <a:gd name="T19" fmla="*/ 1 h 76"/>
                <a:gd name="T20" fmla="*/ 1 w 66"/>
                <a:gd name="T21" fmla="*/ 1 h 76"/>
                <a:gd name="T22" fmla="*/ 0 w 66"/>
                <a:gd name="T23" fmla="*/ 1 h 76"/>
                <a:gd name="T24" fmla="*/ 1 w 66"/>
                <a:gd name="T25" fmla="*/ 1 h 76"/>
                <a:gd name="T26" fmla="*/ 1 w 66"/>
                <a:gd name="T27" fmla="*/ 0 h 76"/>
                <a:gd name="T28" fmla="*/ 1 w 66"/>
                <a:gd name="T29" fmla="*/ 1 h 76"/>
                <a:gd name="T30" fmla="*/ 1 w 66"/>
                <a:gd name="T31" fmla="*/ 1 h 76"/>
                <a:gd name="T32" fmla="*/ 1 w 66"/>
                <a:gd name="T33" fmla="*/ 1 h 7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6"/>
                <a:gd name="T52" fmla="*/ 0 h 76"/>
                <a:gd name="T53" fmla="*/ 66 w 66"/>
                <a:gd name="T54" fmla="*/ 76 h 7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6" h="76">
                  <a:moveTo>
                    <a:pt x="66" y="38"/>
                  </a:moveTo>
                  <a:lnTo>
                    <a:pt x="56" y="52"/>
                  </a:lnTo>
                  <a:lnTo>
                    <a:pt x="45" y="68"/>
                  </a:lnTo>
                  <a:lnTo>
                    <a:pt x="39" y="76"/>
                  </a:lnTo>
                  <a:lnTo>
                    <a:pt x="16" y="64"/>
                  </a:lnTo>
                  <a:lnTo>
                    <a:pt x="20" y="61"/>
                  </a:lnTo>
                  <a:lnTo>
                    <a:pt x="15" y="57"/>
                  </a:lnTo>
                  <a:lnTo>
                    <a:pt x="1" y="40"/>
                  </a:lnTo>
                  <a:lnTo>
                    <a:pt x="8" y="36"/>
                  </a:lnTo>
                  <a:lnTo>
                    <a:pt x="1" y="33"/>
                  </a:lnTo>
                  <a:lnTo>
                    <a:pt x="7" y="28"/>
                  </a:lnTo>
                  <a:lnTo>
                    <a:pt x="0" y="24"/>
                  </a:lnTo>
                  <a:lnTo>
                    <a:pt x="15" y="7"/>
                  </a:lnTo>
                  <a:lnTo>
                    <a:pt x="45" y="0"/>
                  </a:lnTo>
                  <a:lnTo>
                    <a:pt x="60" y="22"/>
                  </a:lnTo>
                  <a:lnTo>
                    <a:pt x="57" y="39"/>
                  </a:lnTo>
                  <a:lnTo>
                    <a:pt x="66" y="3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25" name="Freeform 53"/>
            <p:cNvSpPr>
              <a:spLocks/>
            </p:cNvSpPr>
            <p:nvPr/>
          </p:nvSpPr>
          <p:spPr bwMode="auto">
            <a:xfrm>
              <a:off x="2609" y="1898"/>
              <a:ext cx="28" cy="87"/>
            </a:xfrm>
            <a:custGeom>
              <a:avLst/>
              <a:gdLst>
                <a:gd name="T0" fmla="*/ 1 w 40"/>
                <a:gd name="T1" fmla="*/ 1 h 125"/>
                <a:gd name="T2" fmla="*/ 0 w 40"/>
                <a:gd name="T3" fmla="*/ 0 h 125"/>
                <a:gd name="T4" fmla="*/ 1 w 40"/>
                <a:gd name="T5" fmla="*/ 1 h 125"/>
                <a:gd name="T6" fmla="*/ 1 w 40"/>
                <a:gd name="T7" fmla="*/ 1 h 125"/>
                <a:gd name="T8" fmla="*/ 1 w 40"/>
                <a:gd name="T9" fmla="*/ 1 h 125"/>
                <a:gd name="T10" fmla="*/ 1 w 40"/>
                <a:gd name="T11" fmla="*/ 1 h 125"/>
                <a:gd name="T12" fmla="*/ 1 w 40"/>
                <a:gd name="T13" fmla="*/ 1 h 125"/>
                <a:gd name="T14" fmla="*/ 1 w 40"/>
                <a:gd name="T15" fmla="*/ 1 h 125"/>
                <a:gd name="T16" fmla="*/ 1 w 40"/>
                <a:gd name="T17" fmla="*/ 1 h 125"/>
                <a:gd name="T18" fmla="*/ 1 w 40"/>
                <a:gd name="T19" fmla="*/ 1 h 125"/>
                <a:gd name="T20" fmla="*/ 1 w 40"/>
                <a:gd name="T21" fmla="*/ 1 h 125"/>
                <a:gd name="T22" fmla="*/ 1 w 40"/>
                <a:gd name="T23" fmla="*/ 1 h 125"/>
                <a:gd name="T24" fmla="*/ 1 w 40"/>
                <a:gd name="T25" fmla="*/ 1 h 125"/>
                <a:gd name="T26" fmla="*/ 1 w 40"/>
                <a:gd name="T27" fmla="*/ 1 h 125"/>
                <a:gd name="T28" fmla="*/ 1 w 40"/>
                <a:gd name="T29" fmla="*/ 1 h 125"/>
                <a:gd name="T30" fmla="*/ 1 w 40"/>
                <a:gd name="T31" fmla="*/ 1 h 125"/>
                <a:gd name="T32" fmla="*/ 1 w 40"/>
                <a:gd name="T33" fmla="*/ 1 h 125"/>
                <a:gd name="T34" fmla="*/ 1 w 40"/>
                <a:gd name="T35" fmla="*/ 1 h 125"/>
                <a:gd name="T36" fmla="*/ 1 w 40"/>
                <a:gd name="T37" fmla="*/ 1 h 12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0"/>
                <a:gd name="T58" fmla="*/ 0 h 125"/>
                <a:gd name="T59" fmla="*/ 40 w 40"/>
                <a:gd name="T60" fmla="*/ 125 h 12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0" h="125">
                  <a:moveTo>
                    <a:pt x="18" y="2"/>
                  </a:moveTo>
                  <a:lnTo>
                    <a:pt x="0" y="0"/>
                  </a:lnTo>
                  <a:lnTo>
                    <a:pt x="4" y="7"/>
                  </a:lnTo>
                  <a:lnTo>
                    <a:pt x="12" y="30"/>
                  </a:lnTo>
                  <a:lnTo>
                    <a:pt x="12" y="41"/>
                  </a:lnTo>
                  <a:lnTo>
                    <a:pt x="14" y="58"/>
                  </a:lnTo>
                  <a:lnTo>
                    <a:pt x="17" y="73"/>
                  </a:lnTo>
                  <a:lnTo>
                    <a:pt x="18" y="94"/>
                  </a:lnTo>
                  <a:lnTo>
                    <a:pt x="18" y="113"/>
                  </a:lnTo>
                  <a:lnTo>
                    <a:pt x="30" y="125"/>
                  </a:lnTo>
                  <a:lnTo>
                    <a:pt x="40" y="121"/>
                  </a:lnTo>
                  <a:lnTo>
                    <a:pt x="39" y="103"/>
                  </a:lnTo>
                  <a:lnTo>
                    <a:pt x="39" y="84"/>
                  </a:lnTo>
                  <a:lnTo>
                    <a:pt x="38" y="66"/>
                  </a:lnTo>
                  <a:lnTo>
                    <a:pt x="36" y="47"/>
                  </a:lnTo>
                  <a:lnTo>
                    <a:pt x="34" y="28"/>
                  </a:lnTo>
                  <a:lnTo>
                    <a:pt x="22" y="13"/>
                  </a:lnTo>
                  <a:lnTo>
                    <a:pt x="24" y="2"/>
                  </a:lnTo>
                  <a:lnTo>
                    <a:pt x="18" y="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26" name="Freeform 54"/>
            <p:cNvSpPr>
              <a:spLocks/>
            </p:cNvSpPr>
            <p:nvPr/>
          </p:nvSpPr>
          <p:spPr bwMode="auto">
            <a:xfrm>
              <a:off x="2483" y="1448"/>
              <a:ext cx="309" cy="309"/>
            </a:xfrm>
            <a:custGeom>
              <a:avLst/>
              <a:gdLst>
                <a:gd name="T0" fmla="*/ 0 w 441"/>
                <a:gd name="T1" fmla="*/ 1 h 441"/>
                <a:gd name="T2" fmla="*/ 1 w 441"/>
                <a:gd name="T3" fmla="*/ 2 h 441"/>
                <a:gd name="T4" fmla="*/ 1 w 441"/>
                <a:gd name="T5" fmla="*/ 2 h 441"/>
                <a:gd name="T6" fmla="*/ 1 w 441"/>
                <a:gd name="T7" fmla="*/ 2 h 441"/>
                <a:gd name="T8" fmla="*/ 1 w 441"/>
                <a:gd name="T9" fmla="*/ 2 h 441"/>
                <a:gd name="T10" fmla="*/ 1 w 441"/>
                <a:gd name="T11" fmla="*/ 3 h 441"/>
                <a:gd name="T12" fmla="*/ 1 w 441"/>
                <a:gd name="T13" fmla="*/ 3 h 441"/>
                <a:gd name="T14" fmla="*/ 1 w 441"/>
                <a:gd name="T15" fmla="*/ 3 h 441"/>
                <a:gd name="T16" fmla="*/ 2 w 441"/>
                <a:gd name="T17" fmla="*/ 3 h 441"/>
                <a:gd name="T18" fmla="*/ 2 w 441"/>
                <a:gd name="T19" fmla="*/ 3 h 441"/>
                <a:gd name="T20" fmla="*/ 2 w 441"/>
                <a:gd name="T21" fmla="*/ 3 h 441"/>
                <a:gd name="T22" fmla="*/ 3 w 441"/>
                <a:gd name="T23" fmla="*/ 3 h 441"/>
                <a:gd name="T24" fmla="*/ 3 w 441"/>
                <a:gd name="T25" fmla="*/ 3 h 441"/>
                <a:gd name="T26" fmla="*/ 3 w 441"/>
                <a:gd name="T27" fmla="*/ 2 h 441"/>
                <a:gd name="T28" fmla="*/ 3 w 441"/>
                <a:gd name="T29" fmla="*/ 2 h 441"/>
                <a:gd name="T30" fmla="*/ 3 w 441"/>
                <a:gd name="T31" fmla="*/ 2 h 441"/>
                <a:gd name="T32" fmla="*/ 3 w 441"/>
                <a:gd name="T33" fmla="*/ 1 h 441"/>
                <a:gd name="T34" fmla="*/ 3 w 441"/>
                <a:gd name="T35" fmla="*/ 1 h 441"/>
                <a:gd name="T36" fmla="*/ 3 w 441"/>
                <a:gd name="T37" fmla="*/ 1 h 441"/>
                <a:gd name="T38" fmla="*/ 3 w 441"/>
                <a:gd name="T39" fmla="*/ 1 h 441"/>
                <a:gd name="T40" fmla="*/ 3 w 441"/>
                <a:gd name="T41" fmla="*/ 1 h 441"/>
                <a:gd name="T42" fmla="*/ 3 w 441"/>
                <a:gd name="T43" fmla="*/ 1 h 441"/>
                <a:gd name="T44" fmla="*/ 2 w 441"/>
                <a:gd name="T45" fmla="*/ 0 h 441"/>
                <a:gd name="T46" fmla="*/ 2 w 441"/>
                <a:gd name="T47" fmla="*/ 1 h 441"/>
                <a:gd name="T48" fmla="*/ 2 w 441"/>
                <a:gd name="T49" fmla="*/ 1 h 441"/>
                <a:gd name="T50" fmla="*/ 1 w 441"/>
                <a:gd name="T51" fmla="*/ 1 h 441"/>
                <a:gd name="T52" fmla="*/ 1 w 441"/>
                <a:gd name="T53" fmla="*/ 1 h 441"/>
                <a:gd name="T54" fmla="*/ 1 w 441"/>
                <a:gd name="T55" fmla="*/ 1 h 441"/>
                <a:gd name="T56" fmla="*/ 1 w 441"/>
                <a:gd name="T57" fmla="*/ 1 h 441"/>
                <a:gd name="T58" fmla="*/ 1 w 441"/>
                <a:gd name="T59" fmla="*/ 1 h 441"/>
                <a:gd name="T60" fmla="*/ 1 w 441"/>
                <a:gd name="T61" fmla="*/ 1 h 441"/>
                <a:gd name="T62" fmla="*/ 1 w 441"/>
                <a:gd name="T63" fmla="*/ 1 h 441"/>
                <a:gd name="T64" fmla="*/ 1 w 441"/>
                <a:gd name="T65" fmla="*/ 1 h 441"/>
                <a:gd name="T66" fmla="*/ 1 w 441"/>
                <a:gd name="T67" fmla="*/ 1 h 44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441"/>
                <a:gd name="T103" fmla="*/ 0 h 441"/>
                <a:gd name="T104" fmla="*/ 441 w 441"/>
                <a:gd name="T105" fmla="*/ 441 h 441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441" h="441">
                  <a:moveTo>
                    <a:pt x="5" y="201"/>
                  </a:moveTo>
                  <a:lnTo>
                    <a:pt x="0" y="230"/>
                  </a:lnTo>
                  <a:lnTo>
                    <a:pt x="0" y="239"/>
                  </a:lnTo>
                  <a:lnTo>
                    <a:pt x="21" y="252"/>
                  </a:lnTo>
                  <a:lnTo>
                    <a:pt x="41" y="267"/>
                  </a:lnTo>
                  <a:lnTo>
                    <a:pt x="62" y="281"/>
                  </a:lnTo>
                  <a:lnTo>
                    <a:pt x="82" y="296"/>
                  </a:lnTo>
                  <a:lnTo>
                    <a:pt x="98" y="308"/>
                  </a:lnTo>
                  <a:lnTo>
                    <a:pt x="113" y="320"/>
                  </a:lnTo>
                  <a:lnTo>
                    <a:pt x="129" y="332"/>
                  </a:lnTo>
                  <a:lnTo>
                    <a:pt x="146" y="344"/>
                  </a:lnTo>
                  <a:lnTo>
                    <a:pt x="161" y="356"/>
                  </a:lnTo>
                  <a:lnTo>
                    <a:pt x="177" y="368"/>
                  </a:lnTo>
                  <a:lnTo>
                    <a:pt x="194" y="381"/>
                  </a:lnTo>
                  <a:lnTo>
                    <a:pt x="209" y="393"/>
                  </a:lnTo>
                  <a:lnTo>
                    <a:pt x="209" y="400"/>
                  </a:lnTo>
                  <a:lnTo>
                    <a:pt x="220" y="410"/>
                  </a:lnTo>
                  <a:lnTo>
                    <a:pt x="250" y="422"/>
                  </a:lnTo>
                  <a:lnTo>
                    <a:pt x="251" y="441"/>
                  </a:lnTo>
                  <a:lnTo>
                    <a:pt x="275" y="441"/>
                  </a:lnTo>
                  <a:lnTo>
                    <a:pt x="292" y="437"/>
                  </a:lnTo>
                  <a:lnTo>
                    <a:pt x="310" y="434"/>
                  </a:lnTo>
                  <a:lnTo>
                    <a:pt x="327" y="416"/>
                  </a:lnTo>
                  <a:lnTo>
                    <a:pt x="344" y="399"/>
                  </a:lnTo>
                  <a:lnTo>
                    <a:pt x="369" y="382"/>
                  </a:lnTo>
                  <a:lnTo>
                    <a:pt x="393" y="365"/>
                  </a:lnTo>
                  <a:lnTo>
                    <a:pt x="417" y="348"/>
                  </a:lnTo>
                  <a:lnTo>
                    <a:pt x="441" y="333"/>
                  </a:lnTo>
                  <a:lnTo>
                    <a:pt x="431" y="312"/>
                  </a:lnTo>
                  <a:lnTo>
                    <a:pt x="406" y="309"/>
                  </a:lnTo>
                  <a:lnTo>
                    <a:pt x="398" y="287"/>
                  </a:lnTo>
                  <a:lnTo>
                    <a:pt x="384" y="267"/>
                  </a:lnTo>
                  <a:lnTo>
                    <a:pt x="394" y="258"/>
                  </a:lnTo>
                  <a:lnTo>
                    <a:pt x="393" y="230"/>
                  </a:lnTo>
                  <a:lnTo>
                    <a:pt x="393" y="201"/>
                  </a:lnTo>
                  <a:lnTo>
                    <a:pt x="383" y="172"/>
                  </a:lnTo>
                  <a:lnTo>
                    <a:pt x="384" y="166"/>
                  </a:lnTo>
                  <a:lnTo>
                    <a:pt x="378" y="142"/>
                  </a:lnTo>
                  <a:lnTo>
                    <a:pt x="374" y="119"/>
                  </a:lnTo>
                  <a:lnTo>
                    <a:pt x="357" y="101"/>
                  </a:lnTo>
                  <a:lnTo>
                    <a:pt x="340" y="77"/>
                  </a:lnTo>
                  <a:lnTo>
                    <a:pt x="350" y="59"/>
                  </a:lnTo>
                  <a:lnTo>
                    <a:pt x="358" y="41"/>
                  </a:lnTo>
                  <a:lnTo>
                    <a:pt x="356" y="6"/>
                  </a:lnTo>
                  <a:lnTo>
                    <a:pt x="360" y="0"/>
                  </a:lnTo>
                  <a:lnTo>
                    <a:pt x="329" y="0"/>
                  </a:lnTo>
                  <a:lnTo>
                    <a:pt x="311" y="0"/>
                  </a:lnTo>
                  <a:lnTo>
                    <a:pt x="288" y="4"/>
                  </a:lnTo>
                  <a:lnTo>
                    <a:pt x="266" y="4"/>
                  </a:lnTo>
                  <a:lnTo>
                    <a:pt x="243" y="4"/>
                  </a:lnTo>
                  <a:lnTo>
                    <a:pt x="215" y="12"/>
                  </a:lnTo>
                  <a:lnTo>
                    <a:pt x="189" y="20"/>
                  </a:lnTo>
                  <a:lnTo>
                    <a:pt x="178" y="26"/>
                  </a:lnTo>
                  <a:lnTo>
                    <a:pt x="158" y="35"/>
                  </a:lnTo>
                  <a:lnTo>
                    <a:pt x="138" y="45"/>
                  </a:lnTo>
                  <a:lnTo>
                    <a:pt x="143" y="51"/>
                  </a:lnTo>
                  <a:lnTo>
                    <a:pt x="147" y="69"/>
                  </a:lnTo>
                  <a:lnTo>
                    <a:pt x="149" y="88"/>
                  </a:lnTo>
                  <a:lnTo>
                    <a:pt x="162" y="110"/>
                  </a:lnTo>
                  <a:lnTo>
                    <a:pt x="158" y="117"/>
                  </a:lnTo>
                  <a:lnTo>
                    <a:pt x="135" y="118"/>
                  </a:lnTo>
                  <a:lnTo>
                    <a:pt x="107" y="129"/>
                  </a:lnTo>
                  <a:lnTo>
                    <a:pt x="107" y="143"/>
                  </a:lnTo>
                  <a:lnTo>
                    <a:pt x="93" y="154"/>
                  </a:lnTo>
                  <a:lnTo>
                    <a:pt x="77" y="165"/>
                  </a:lnTo>
                  <a:lnTo>
                    <a:pt x="58" y="173"/>
                  </a:lnTo>
                  <a:lnTo>
                    <a:pt x="40" y="180"/>
                  </a:lnTo>
                  <a:lnTo>
                    <a:pt x="23" y="191"/>
                  </a:lnTo>
                  <a:lnTo>
                    <a:pt x="5" y="20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27" name="Freeform 55"/>
            <p:cNvSpPr>
              <a:spLocks/>
            </p:cNvSpPr>
            <p:nvPr/>
          </p:nvSpPr>
          <p:spPr bwMode="auto">
            <a:xfrm>
              <a:off x="2533" y="1460"/>
              <a:ext cx="2" cy="2"/>
            </a:xfrm>
            <a:custGeom>
              <a:avLst/>
              <a:gdLst>
                <a:gd name="T0" fmla="*/ 0 w 2"/>
                <a:gd name="T1" fmla="*/ 2 h 2"/>
                <a:gd name="T2" fmla="*/ 0 w 2"/>
                <a:gd name="T3" fmla="*/ 0 h 2"/>
                <a:gd name="T4" fmla="*/ 0 w 2"/>
                <a:gd name="T5" fmla="*/ 2 h 2"/>
                <a:gd name="T6" fmla="*/ 0 60000 65536"/>
                <a:gd name="T7" fmla="*/ 0 60000 65536"/>
                <a:gd name="T8" fmla="*/ 0 60000 65536"/>
                <a:gd name="T9" fmla="*/ 0 w 2"/>
                <a:gd name="T10" fmla="*/ 0 h 2"/>
                <a:gd name="T11" fmla="*/ 2 w 2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28" name="Freeform 56"/>
            <p:cNvSpPr>
              <a:spLocks/>
            </p:cNvSpPr>
            <p:nvPr/>
          </p:nvSpPr>
          <p:spPr bwMode="auto">
            <a:xfrm>
              <a:off x="2751" y="1512"/>
              <a:ext cx="239" cy="239"/>
            </a:xfrm>
            <a:custGeom>
              <a:avLst/>
              <a:gdLst>
                <a:gd name="T0" fmla="*/ 2 w 340"/>
                <a:gd name="T1" fmla="*/ 3 h 339"/>
                <a:gd name="T2" fmla="*/ 2 w 340"/>
                <a:gd name="T3" fmla="*/ 2 h 339"/>
                <a:gd name="T4" fmla="*/ 3 w 340"/>
                <a:gd name="T5" fmla="*/ 2 h 339"/>
                <a:gd name="T6" fmla="*/ 3 w 340"/>
                <a:gd name="T7" fmla="*/ 2 h 339"/>
                <a:gd name="T8" fmla="*/ 3 w 340"/>
                <a:gd name="T9" fmla="*/ 2 h 339"/>
                <a:gd name="T10" fmla="*/ 3 w 340"/>
                <a:gd name="T11" fmla="*/ 2 h 339"/>
                <a:gd name="T12" fmla="*/ 3 w 340"/>
                <a:gd name="T13" fmla="*/ 1 h 339"/>
                <a:gd name="T14" fmla="*/ 3 w 340"/>
                <a:gd name="T15" fmla="*/ 1 h 339"/>
                <a:gd name="T16" fmla="*/ 3 w 340"/>
                <a:gd name="T17" fmla="*/ 1 h 339"/>
                <a:gd name="T18" fmla="*/ 3 w 340"/>
                <a:gd name="T19" fmla="*/ 1 h 339"/>
                <a:gd name="T20" fmla="*/ 2 w 340"/>
                <a:gd name="T21" fmla="*/ 1 h 339"/>
                <a:gd name="T22" fmla="*/ 2 w 340"/>
                <a:gd name="T23" fmla="*/ 1 h 339"/>
                <a:gd name="T24" fmla="*/ 2 w 340"/>
                <a:gd name="T25" fmla="*/ 1 h 339"/>
                <a:gd name="T26" fmla="*/ 2 w 340"/>
                <a:gd name="T27" fmla="*/ 1 h 339"/>
                <a:gd name="T28" fmla="*/ 2 w 340"/>
                <a:gd name="T29" fmla="*/ 1 h 339"/>
                <a:gd name="T30" fmla="*/ 2 w 340"/>
                <a:gd name="T31" fmla="*/ 1 h 339"/>
                <a:gd name="T32" fmla="*/ 2 w 340"/>
                <a:gd name="T33" fmla="*/ 1 h 339"/>
                <a:gd name="T34" fmla="*/ 2 w 340"/>
                <a:gd name="T35" fmla="*/ 1 h 339"/>
                <a:gd name="T36" fmla="*/ 2 w 340"/>
                <a:gd name="T37" fmla="*/ 1 h 339"/>
                <a:gd name="T38" fmla="*/ 2 w 340"/>
                <a:gd name="T39" fmla="*/ 1 h 339"/>
                <a:gd name="T40" fmla="*/ 2 w 340"/>
                <a:gd name="T41" fmla="*/ 1 h 339"/>
                <a:gd name="T42" fmla="*/ 1 w 340"/>
                <a:gd name="T43" fmla="*/ 1 h 339"/>
                <a:gd name="T44" fmla="*/ 1 w 340"/>
                <a:gd name="T45" fmla="*/ 1 h 339"/>
                <a:gd name="T46" fmla="*/ 1 w 340"/>
                <a:gd name="T47" fmla="*/ 1 h 339"/>
                <a:gd name="T48" fmla="*/ 1 w 340"/>
                <a:gd name="T49" fmla="*/ 1 h 339"/>
                <a:gd name="T50" fmla="*/ 1 w 340"/>
                <a:gd name="T51" fmla="*/ 1 h 339"/>
                <a:gd name="T52" fmla="*/ 1 w 340"/>
                <a:gd name="T53" fmla="*/ 1 h 339"/>
                <a:gd name="T54" fmla="*/ 1 w 340"/>
                <a:gd name="T55" fmla="*/ 1 h 339"/>
                <a:gd name="T56" fmla="*/ 1 w 340"/>
                <a:gd name="T57" fmla="*/ 1 h 339"/>
                <a:gd name="T58" fmla="*/ 1 w 340"/>
                <a:gd name="T59" fmla="*/ 1 h 339"/>
                <a:gd name="T60" fmla="*/ 1 w 340"/>
                <a:gd name="T61" fmla="*/ 0 h 339"/>
                <a:gd name="T62" fmla="*/ 1 w 340"/>
                <a:gd name="T63" fmla="*/ 1 h 339"/>
                <a:gd name="T64" fmla="*/ 1 w 340"/>
                <a:gd name="T65" fmla="*/ 1 h 339"/>
                <a:gd name="T66" fmla="*/ 1 w 340"/>
                <a:gd name="T67" fmla="*/ 1 h 339"/>
                <a:gd name="T68" fmla="*/ 1 w 340"/>
                <a:gd name="T69" fmla="*/ 1 h 339"/>
                <a:gd name="T70" fmla="*/ 1 w 340"/>
                <a:gd name="T71" fmla="*/ 1 h 339"/>
                <a:gd name="T72" fmla="*/ 0 w 340"/>
                <a:gd name="T73" fmla="*/ 1 h 339"/>
                <a:gd name="T74" fmla="*/ 1 w 340"/>
                <a:gd name="T75" fmla="*/ 1 h 339"/>
                <a:gd name="T76" fmla="*/ 1 w 340"/>
                <a:gd name="T77" fmla="*/ 1 h 339"/>
                <a:gd name="T78" fmla="*/ 1 w 340"/>
                <a:gd name="T79" fmla="*/ 1 h 339"/>
                <a:gd name="T80" fmla="*/ 1 w 340"/>
                <a:gd name="T81" fmla="*/ 1 h 339"/>
                <a:gd name="T82" fmla="*/ 1 w 340"/>
                <a:gd name="T83" fmla="*/ 1 h 339"/>
                <a:gd name="T84" fmla="*/ 1 w 340"/>
                <a:gd name="T85" fmla="*/ 1 h 339"/>
                <a:gd name="T86" fmla="*/ 1 w 340"/>
                <a:gd name="T87" fmla="*/ 1 h 339"/>
                <a:gd name="T88" fmla="*/ 1 w 340"/>
                <a:gd name="T89" fmla="*/ 2 h 339"/>
                <a:gd name="T90" fmla="*/ 1 w 340"/>
                <a:gd name="T91" fmla="*/ 2 h 339"/>
                <a:gd name="T92" fmla="*/ 1 w 340"/>
                <a:gd name="T93" fmla="*/ 2 h 339"/>
                <a:gd name="T94" fmla="*/ 1 w 340"/>
                <a:gd name="T95" fmla="*/ 2 h 339"/>
                <a:gd name="T96" fmla="*/ 1 w 340"/>
                <a:gd name="T97" fmla="*/ 2 h 339"/>
                <a:gd name="T98" fmla="*/ 1 w 340"/>
                <a:gd name="T99" fmla="*/ 2 h 339"/>
                <a:gd name="T100" fmla="*/ 1 w 340"/>
                <a:gd name="T101" fmla="*/ 2 h 339"/>
                <a:gd name="T102" fmla="*/ 1 w 340"/>
                <a:gd name="T103" fmla="*/ 2 h 339"/>
                <a:gd name="T104" fmla="*/ 1 w 340"/>
                <a:gd name="T105" fmla="*/ 2 h 339"/>
                <a:gd name="T106" fmla="*/ 2 w 340"/>
                <a:gd name="T107" fmla="*/ 2 h 339"/>
                <a:gd name="T108" fmla="*/ 2 w 340"/>
                <a:gd name="T109" fmla="*/ 2 h 339"/>
                <a:gd name="T110" fmla="*/ 2 w 340"/>
                <a:gd name="T111" fmla="*/ 2 h 339"/>
                <a:gd name="T112" fmla="*/ 2 w 340"/>
                <a:gd name="T113" fmla="*/ 3 h 33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40"/>
                <a:gd name="T172" fmla="*/ 0 h 339"/>
                <a:gd name="T173" fmla="*/ 340 w 340"/>
                <a:gd name="T174" fmla="*/ 339 h 339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40" h="339">
                  <a:moveTo>
                    <a:pt x="318" y="339"/>
                  </a:moveTo>
                  <a:lnTo>
                    <a:pt x="318" y="326"/>
                  </a:lnTo>
                  <a:lnTo>
                    <a:pt x="340" y="326"/>
                  </a:lnTo>
                  <a:lnTo>
                    <a:pt x="339" y="302"/>
                  </a:lnTo>
                  <a:lnTo>
                    <a:pt x="338" y="277"/>
                  </a:lnTo>
                  <a:lnTo>
                    <a:pt x="336" y="254"/>
                  </a:lnTo>
                  <a:lnTo>
                    <a:pt x="335" y="230"/>
                  </a:lnTo>
                  <a:lnTo>
                    <a:pt x="334" y="207"/>
                  </a:lnTo>
                  <a:lnTo>
                    <a:pt x="333" y="183"/>
                  </a:lnTo>
                  <a:lnTo>
                    <a:pt x="330" y="161"/>
                  </a:lnTo>
                  <a:lnTo>
                    <a:pt x="329" y="138"/>
                  </a:lnTo>
                  <a:lnTo>
                    <a:pt x="328" y="114"/>
                  </a:lnTo>
                  <a:lnTo>
                    <a:pt x="326" y="91"/>
                  </a:lnTo>
                  <a:lnTo>
                    <a:pt x="324" y="72"/>
                  </a:lnTo>
                  <a:lnTo>
                    <a:pt x="324" y="53"/>
                  </a:lnTo>
                  <a:lnTo>
                    <a:pt x="328" y="37"/>
                  </a:lnTo>
                  <a:lnTo>
                    <a:pt x="316" y="29"/>
                  </a:lnTo>
                  <a:lnTo>
                    <a:pt x="284" y="20"/>
                  </a:lnTo>
                  <a:lnTo>
                    <a:pt x="279" y="12"/>
                  </a:lnTo>
                  <a:lnTo>
                    <a:pt x="251" y="6"/>
                  </a:lnTo>
                  <a:lnTo>
                    <a:pt x="236" y="15"/>
                  </a:lnTo>
                  <a:lnTo>
                    <a:pt x="220" y="25"/>
                  </a:lnTo>
                  <a:lnTo>
                    <a:pt x="221" y="59"/>
                  </a:lnTo>
                  <a:lnTo>
                    <a:pt x="201" y="72"/>
                  </a:lnTo>
                  <a:lnTo>
                    <a:pt x="177" y="60"/>
                  </a:lnTo>
                  <a:lnTo>
                    <a:pt x="153" y="48"/>
                  </a:lnTo>
                  <a:lnTo>
                    <a:pt x="127" y="41"/>
                  </a:lnTo>
                  <a:lnTo>
                    <a:pt x="118" y="19"/>
                  </a:lnTo>
                  <a:lnTo>
                    <a:pt x="95" y="13"/>
                  </a:lnTo>
                  <a:lnTo>
                    <a:pt x="72" y="8"/>
                  </a:lnTo>
                  <a:lnTo>
                    <a:pt x="41" y="0"/>
                  </a:lnTo>
                  <a:lnTo>
                    <a:pt x="40" y="20"/>
                  </a:lnTo>
                  <a:lnTo>
                    <a:pt x="27" y="31"/>
                  </a:lnTo>
                  <a:lnTo>
                    <a:pt x="13" y="43"/>
                  </a:lnTo>
                  <a:lnTo>
                    <a:pt x="13" y="63"/>
                  </a:lnTo>
                  <a:lnTo>
                    <a:pt x="1" y="73"/>
                  </a:lnTo>
                  <a:lnTo>
                    <a:pt x="0" y="79"/>
                  </a:lnTo>
                  <a:lnTo>
                    <a:pt x="10" y="108"/>
                  </a:lnTo>
                  <a:lnTo>
                    <a:pt x="10" y="137"/>
                  </a:lnTo>
                  <a:lnTo>
                    <a:pt x="11" y="165"/>
                  </a:lnTo>
                  <a:lnTo>
                    <a:pt x="1" y="174"/>
                  </a:lnTo>
                  <a:lnTo>
                    <a:pt x="15" y="194"/>
                  </a:lnTo>
                  <a:lnTo>
                    <a:pt x="23" y="216"/>
                  </a:lnTo>
                  <a:lnTo>
                    <a:pt x="48" y="219"/>
                  </a:lnTo>
                  <a:lnTo>
                    <a:pt x="58" y="240"/>
                  </a:lnTo>
                  <a:lnTo>
                    <a:pt x="88" y="247"/>
                  </a:lnTo>
                  <a:lnTo>
                    <a:pt x="106" y="261"/>
                  </a:lnTo>
                  <a:lnTo>
                    <a:pt x="121" y="253"/>
                  </a:lnTo>
                  <a:lnTo>
                    <a:pt x="143" y="240"/>
                  </a:lnTo>
                  <a:lnTo>
                    <a:pt x="165" y="252"/>
                  </a:lnTo>
                  <a:lnTo>
                    <a:pt x="187" y="265"/>
                  </a:lnTo>
                  <a:lnTo>
                    <a:pt x="209" y="277"/>
                  </a:lnTo>
                  <a:lnTo>
                    <a:pt x="231" y="289"/>
                  </a:lnTo>
                  <a:lnTo>
                    <a:pt x="252" y="302"/>
                  </a:lnTo>
                  <a:lnTo>
                    <a:pt x="275" y="314"/>
                  </a:lnTo>
                  <a:lnTo>
                    <a:pt x="297" y="326"/>
                  </a:lnTo>
                  <a:lnTo>
                    <a:pt x="318" y="339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29" name="Freeform 57"/>
            <p:cNvSpPr>
              <a:spLocks/>
            </p:cNvSpPr>
            <p:nvPr/>
          </p:nvSpPr>
          <p:spPr bwMode="auto">
            <a:xfrm>
              <a:off x="2424" y="1656"/>
              <a:ext cx="251" cy="258"/>
            </a:xfrm>
            <a:custGeom>
              <a:avLst/>
              <a:gdLst>
                <a:gd name="T0" fmla="*/ 1 w 357"/>
                <a:gd name="T1" fmla="*/ 3 h 368"/>
                <a:gd name="T2" fmla="*/ 1 w 357"/>
                <a:gd name="T3" fmla="*/ 3 h 368"/>
                <a:gd name="T4" fmla="*/ 1 w 357"/>
                <a:gd name="T5" fmla="*/ 3 h 368"/>
                <a:gd name="T6" fmla="*/ 1 w 357"/>
                <a:gd name="T7" fmla="*/ 3 h 368"/>
                <a:gd name="T8" fmla="*/ 1 w 357"/>
                <a:gd name="T9" fmla="*/ 3 h 368"/>
                <a:gd name="T10" fmla="*/ 1 w 357"/>
                <a:gd name="T11" fmla="*/ 2 h 368"/>
                <a:gd name="T12" fmla="*/ 1 w 357"/>
                <a:gd name="T13" fmla="*/ 2 h 368"/>
                <a:gd name="T14" fmla="*/ 1 w 357"/>
                <a:gd name="T15" fmla="*/ 2 h 368"/>
                <a:gd name="T16" fmla="*/ 1 w 357"/>
                <a:gd name="T17" fmla="*/ 2 h 368"/>
                <a:gd name="T18" fmla="*/ 1 w 357"/>
                <a:gd name="T19" fmla="*/ 2 h 368"/>
                <a:gd name="T20" fmla="*/ 2 w 357"/>
                <a:gd name="T21" fmla="*/ 2 h 368"/>
                <a:gd name="T22" fmla="*/ 2 w 357"/>
                <a:gd name="T23" fmla="*/ 2 h 368"/>
                <a:gd name="T24" fmla="*/ 2 w 357"/>
                <a:gd name="T25" fmla="*/ 2 h 368"/>
                <a:gd name="T26" fmla="*/ 3 w 357"/>
                <a:gd name="T27" fmla="*/ 1 h 368"/>
                <a:gd name="T28" fmla="*/ 3 w 357"/>
                <a:gd name="T29" fmla="*/ 1 h 368"/>
                <a:gd name="T30" fmla="*/ 3 w 357"/>
                <a:gd name="T31" fmla="*/ 1 h 368"/>
                <a:gd name="T32" fmla="*/ 3 w 357"/>
                <a:gd name="T33" fmla="*/ 1 h 368"/>
                <a:gd name="T34" fmla="*/ 2 w 357"/>
                <a:gd name="T35" fmla="*/ 1 h 368"/>
                <a:gd name="T36" fmla="*/ 2 w 357"/>
                <a:gd name="T37" fmla="*/ 1 h 368"/>
                <a:gd name="T38" fmla="*/ 2 w 357"/>
                <a:gd name="T39" fmla="*/ 1 h 368"/>
                <a:gd name="T40" fmla="*/ 1 w 357"/>
                <a:gd name="T41" fmla="*/ 1 h 368"/>
                <a:gd name="T42" fmla="*/ 1 w 357"/>
                <a:gd name="T43" fmla="*/ 1 h 368"/>
                <a:gd name="T44" fmla="*/ 1 w 357"/>
                <a:gd name="T45" fmla="*/ 0 h 368"/>
                <a:gd name="T46" fmla="*/ 1 w 357"/>
                <a:gd name="T47" fmla="*/ 1 h 368"/>
                <a:gd name="T48" fmla="*/ 1 w 357"/>
                <a:gd name="T49" fmla="*/ 1 h 368"/>
                <a:gd name="T50" fmla="*/ 1 w 357"/>
                <a:gd name="T51" fmla="*/ 1 h 368"/>
                <a:gd name="T52" fmla="*/ 1 w 357"/>
                <a:gd name="T53" fmla="*/ 1 h 368"/>
                <a:gd name="T54" fmla="*/ 1 w 357"/>
                <a:gd name="T55" fmla="*/ 1 h 368"/>
                <a:gd name="T56" fmla="*/ 1 w 357"/>
                <a:gd name="T57" fmla="*/ 2 h 368"/>
                <a:gd name="T58" fmla="*/ 1 w 357"/>
                <a:gd name="T59" fmla="*/ 2 h 368"/>
                <a:gd name="T60" fmla="*/ 1 w 357"/>
                <a:gd name="T61" fmla="*/ 1 h 368"/>
                <a:gd name="T62" fmla="*/ 1 w 357"/>
                <a:gd name="T63" fmla="*/ 2 h 368"/>
                <a:gd name="T64" fmla="*/ 1 w 357"/>
                <a:gd name="T65" fmla="*/ 2 h 368"/>
                <a:gd name="T66" fmla="*/ 1 w 357"/>
                <a:gd name="T67" fmla="*/ 2 h 368"/>
                <a:gd name="T68" fmla="*/ 1 w 357"/>
                <a:gd name="T69" fmla="*/ 2 h 368"/>
                <a:gd name="T70" fmla="*/ 1 w 357"/>
                <a:gd name="T71" fmla="*/ 2 h 368"/>
                <a:gd name="T72" fmla="*/ 1 w 357"/>
                <a:gd name="T73" fmla="*/ 2 h 368"/>
                <a:gd name="T74" fmla="*/ 1 w 357"/>
                <a:gd name="T75" fmla="*/ 2 h 368"/>
                <a:gd name="T76" fmla="*/ 1 w 357"/>
                <a:gd name="T77" fmla="*/ 3 h 36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57"/>
                <a:gd name="T118" fmla="*/ 0 h 368"/>
                <a:gd name="T119" fmla="*/ 357 w 357"/>
                <a:gd name="T120" fmla="*/ 368 h 368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57" h="368">
                  <a:moveTo>
                    <a:pt x="81" y="337"/>
                  </a:moveTo>
                  <a:lnTo>
                    <a:pt x="79" y="345"/>
                  </a:lnTo>
                  <a:lnTo>
                    <a:pt x="81" y="345"/>
                  </a:lnTo>
                  <a:lnTo>
                    <a:pt x="92" y="368"/>
                  </a:lnTo>
                  <a:lnTo>
                    <a:pt x="97" y="363"/>
                  </a:lnTo>
                  <a:lnTo>
                    <a:pt x="110" y="367"/>
                  </a:lnTo>
                  <a:lnTo>
                    <a:pt x="121" y="361"/>
                  </a:lnTo>
                  <a:lnTo>
                    <a:pt x="128" y="355"/>
                  </a:lnTo>
                  <a:lnTo>
                    <a:pt x="132" y="364"/>
                  </a:lnTo>
                  <a:lnTo>
                    <a:pt x="146" y="361"/>
                  </a:lnTo>
                  <a:lnTo>
                    <a:pt x="151" y="328"/>
                  </a:lnTo>
                  <a:lnTo>
                    <a:pt x="158" y="322"/>
                  </a:lnTo>
                  <a:lnTo>
                    <a:pt x="170" y="312"/>
                  </a:lnTo>
                  <a:lnTo>
                    <a:pt x="175" y="301"/>
                  </a:lnTo>
                  <a:lnTo>
                    <a:pt x="177" y="288"/>
                  </a:lnTo>
                  <a:lnTo>
                    <a:pt x="192" y="292"/>
                  </a:lnTo>
                  <a:lnTo>
                    <a:pt x="195" y="284"/>
                  </a:lnTo>
                  <a:lnTo>
                    <a:pt x="199" y="282"/>
                  </a:lnTo>
                  <a:lnTo>
                    <a:pt x="207" y="270"/>
                  </a:lnTo>
                  <a:lnTo>
                    <a:pt x="220" y="268"/>
                  </a:lnTo>
                  <a:lnTo>
                    <a:pt x="223" y="259"/>
                  </a:lnTo>
                  <a:lnTo>
                    <a:pt x="250" y="246"/>
                  </a:lnTo>
                  <a:lnTo>
                    <a:pt x="271" y="248"/>
                  </a:lnTo>
                  <a:lnTo>
                    <a:pt x="274" y="248"/>
                  </a:lnTo>
                  <a:lnTo>
                    <a:pt x="295" y="241"/>
                  </a:lnTo>
                  <a:lnTo>
                    <a:pt x="319" y="240"/>
                  </a:lnTo>
                  <a:lnTo>
                    <a:pt x="343" y="240"/>
                  </a:lnTo>
                  <a:lnTo>
                    <a:pt x="354" y="217"/>
                  </a:lnTo>
                  <a:lnTo>
                    <a:pt x="355" y="199"/>
                  </a:lnTo>
                  <a:lnTo>
                    <a:pt x="356" y="181"/>
                  </a:lnTo>
                  <a:lnTo>
                    <a:pt x="357" y="163"/>
                  </a:lnTo>
                  <a:lnTo>
                    <a:pt x="357" y="145"/>
                  </a:lnTo>
                  <a:lnTo>
                    <a:pt x="333" y="145"/>
                  </a:lnTo>
                  <a:lnTo>
                    <a:pt x="332" y="126"/>
                  </a:lnTo>
                  <a:lnTo>
                    <a:pt x="302" y="114"/>
                  </a:lnTo>
                  <a:lnTo>
                    <a:pt x="291" y="104"/>
                  </a:lnTo>
                  <a:lnTo>
                    <a:pt x="291" y="97"/>
                  </a:lnTo>
                  <a:lnTo>
                    <a:pt x="276" y="85"/>
                  </a:lnTo>
                  <a:lnTo>
                    <a:pt x="259" y="72"/>
                  </a:lnTo>
                  <a:lnTo>
                    <a:pt x="243" y="60"/>
                  </a:lnTo>
                  <a:lnTo>
                    <a:pt x="228" y="48"/>
                  </a:lnTo>
                  <a:lnTo>
                    <a:pt x="211" y="36"/>
                  </a:lnTo>
                  <a:lnTo>
                    <a:pt x="195" y="24"/>
                  </a:lnTo>
                  <a:lnTo>
                    <a:pt x="180" y="12"/>
                  </a:lnTo>
                  <a:lnTo>
                    <a:pt x="164" y="0"/>
                  </a:lnTo>
                  <a:lnTo>
                    <a:pt x="145" y="0"/>
                  </a:lnTo>
                  <a:lnTo>
                    <a:pt x="126" y="0"/>
                  </a:lnTo>
                  <a:lnTo>
                    <a:pt x="128" y="26"/>
                  </a:lnTo>
                  <a:lnTo>
                    <a:pt x="130" y="52"/>
                  </a:lnTo>
                  <a:lnTo>
                    <a:pt x="133" y="79"/>
                  </a:lnTo>
                  <a:lnTo>
                    <a:pt x="135" y="105"/>
                  </a:lnTo>
                  <a:lnTo>
                    <a:pt x="138" y="132"/>
                  </a:lnTo>
                  <a:lnTo>
                    <a:pt x="140" y="158"/>
                  </a:lnTo>
                  <a:lnTo>
                    <a:pt x="142" y="184"/>
                  </a:lnTo>
                  <a:lnTo>
                    <a:pt x="145" y="211"/>
                  </a:lnTo>
                  <a:lnTo>
                    <a:pt x="151" y="214"/>
                  </a:lnTo>
                  <a:lnTo>
                    <a:pt x="147" y="235"/>
                  </a:lnTo>
                  <a:lnTo>
                    <a:pt x="126" y="235"/>
                  </a:lnTo>
                  <a:lnTo>
                    <a:pt x="105" y="235"/>
                  </a:lnTo>
                  <a:lnTo>
                    <a:pt x="85" y="235"/>
                  </a:lnTo>
                  <a:lnTo>
                    <a:pt x="63" y="235"/>
                  </a:lnTo>
                  <a:lnTo>
                    <a:pt x="61" y="232"/>
                  </a:lnTo>
                  <a:lnTo>
                    <a:pt x="31" y="241"/>
                  </a:lnTo>
                  <a:lnTo>
                    <a:pt x="27" y="242"/>
                  </a:lnTo>
                  <a:lnTo>
                    <a:pt x="14" y="234"/>
                  </a:lnTo>
                  <a:lnTo>
                    <a:pt x="4" y="255"/>
                  </a:lnTo>
                  <a:lnTo>
                    <a:pt x="0" y="254"/>
                  </a:lnTo>
                  <a:lnTo>
                    <a:pt x="6" y="278"/>
                  </a:lnTo>
                  <a:lnTo>
                    <a:pt x="12" y="288"/>
                  </a:lnTo>
                  <a:lnTo>
                    <a:pt x="18" y="313"/>
                  </a:lnTo>
                  <a:lnTo>
                    <a:pt x="15" y="318"/>
                  </a:lnTo>
                  <a:lnTo>
                    <a:pt x="30" y="319"/>
                  </a:lnTo>
                  <a:lnTo>
                    <a:pt x="36" y="321"/>
                  </a:lnTo>
                  <a:lnTo>
                    <a:pt x="49" y="320"/>
                  </a:lnTo>
                  <a:lnTo>
                    <a:pt x="63" y="314"/>
                  </a:lnTo>
                  <a:lnTo>
                    <a:pt x="67" y="310"/>
                  </a:lnTo>
                  <a:lnTo>
                    <a:pt x="74" y="331"/>
                  </a:lnTo>
                  <a:lnTo>
                    <a:pt x="81" y="33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230" name="Freeform 58"/>
            <p:cNvSpPr>
              <a:spLocks/>
            </p:cNvSpPr>
            <p:nvPr/>
          </p:nvSpPr>
          <p:spPr bwMode="auto">
            <a:xfrm>
              <a:off x="2819" y="1464"/>
              <a:ext cx="4" cy="2"/>
            </a:xfrm>
            <a:custGeom>
              <a:avLst/>
              <a:gdLst>
                <a:gd name="T0" fmla="*/ 2 w 5"/>
                <a:gd name="T1" fmla="*/ 1 h 4"/>
                <a:gd name="T2" fmla="*/ 2 w 5"/>
                <a:gd name="T3" fmla="*/ 1 h 4"/>
                <a:gd name="T4" fmla="*/ 0 w 5"/>
                <a:gd name="T5" fmla="*/ 0 h 4"/>
                <a:gd name="T6" fmla="*/ 2 w 5"/>
                <a:gd name="T7" fmla="*/ 1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4"/>
                <a:gd name="T14" fmla="*/ 5 w 5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4">
                  <a:moveTo>
                    <a:pt x="5" y="3"/>
                  </a:moveTo>
                  <a:lnTo>
                    <a:pt x="3" y="4"/>
                  </a:lnTo>
                  <a:lnTo>
                    <a:pt x="0" y="0"/>
                  </a:lnTo>
                  <a:lnTo>
                    <a:pt x="5" y="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31" name="Freeform 59"/>
            <p:cNvSpPr>
              <a:spLocks/>
            </p:cNvSpPr>
            <p:nvPr/>
          </p:nvSpPr>
          <p:spPr bwMode="auto">
            <a:xfrm>
              <a:off x="2353" y="1616"/>
              <a:ext cx="186" cy="220"/>
            </a:xfrm>
            <a:custGeom>
              <a:avLst/>
              <a:gdLst>
                <a:gd name="T0" fmla="*/ 1 w 265"/>
                <a:gd name="T1" fmla="*/ 2 h 312"/>
                <a:gd name="T2" fmla="*/ 1 w 265"/>
                <a:gd name="T3" fmla="*/ 2 h 312"/>
                <a:gd name="T4" fmla="*/ 1 w 265"/>
                <a:gd name="T5" fmla="*/ 2 h 312"/>
                <a:gd name="T6" fmla="*/ 1 w 265"/>
                <a:gd name="T7" fmla="*/ 1 h 312"/>
                <a:gd name="T8" fmla="*/ 1 w 265"/>
                <a:gd name="T9" fmla="*/ 1 h 312"/>
                <a:gd name="T10" fmla="*/ 1 w 265"/>
                <a:gd name="T11" fmla="*/ 1 h 312"/>
                <a:gd name="T12" fmla="*/ 1 w 265"/>
                <a:gd name="T13" fmla="*/ 1 h 312"/>
                <a:gd name="T14" fmla="*/ 0 w 265"/>
                <a:gd name="T15" fmla="*/ 1 h 312"/>
                <a:gd name="T16" fmla="*/ 1 w 265"/>
                <a:gd name="T17" fmla="*/ 1 h 312"/>
                <a:gd name="T18" fmla="*/ 1 w 265"/>
                <a:gd name="T19" fmla="*/ 1 h 312"/>
                <a:gd name="T20" fmla="*/ 1 w 265"/>
                <a:gd name="T21" fmla="*/ 1 h 312"/>
                <a:gd name="T22" fmla="*/ 1 w 265"/>
                <a:gd name="T23" fmla="*/ 1 h 312"/>
                <a:gd name="T24" fmla="*/ 1 w 265"/>
                <a:gd name="T25" fmla="*/ 1 h 312"/>
                <a:gd name="T26" fmla="*/ 1 w 265"/>
                <a:gd name="T27" fmla="*/ 1 h 312"/>
                <a:gd name="T28" fmla="*/ 1 w 265"/>
                <a:gd name="T29" fmla="*/ 1 h 312"/>
                <a:gd name="T30" fmla="*/ 1 w 265"/>
                <a:gd name="T31" fmla="*/ 1 h 312"/>
                <a:gd name="T32" fmla="*/ 1 w 265"/>
                <a:gd name="T33" fmla="*/ 1 h 312"/>
                <a:gd name="T34" fmla="*/ 1 w 265"/>
                <a:gd name="T35" fmla="*/ 1 h 312"/>
                <a:gd name="T36" fmla="*/ 1 w 265"/>
                <a:gd name="T37" fmla="*/ 1 h 312"/>
                <a:gd name="T38" fmla="*/ 1 w 265"/>
                <a:gd name="T39" fmla="*/ 1 h 312"/>
                <a:gd name="T40" fmla="*/ 1 w 265"/>
                <a:gd name="T41" fmla="*/ 1 h 312"/>
                <a:gd name="T42" fmla="*/ 1 w 265"/>
                <a:gd name="T43" fmla="*/ 1 h 312"/>
                <a:gd name="T44" fmla="*/ 1 w 265"/>
                <a:gd name="T45" fmla="*/ 0 h 312"/>
                <a:gd name="T46" fmla="*/ 1 w 265"/>
                <a:gd name="T47" fmla="*/ 1 h 312"/>
                <a:gd name="T48" fmla="*/ 1 w 265"/>
                <a:gd name="T49" fmla="*/ 1 h 312"/>
                <a:gd name="T50" fmla="*/ 2 w 265"/>
                <a:gd name="T51" fmla="*/ 1 h 312"/>
                <a:gd name="T52" fmla="*/ 2 w 265"/>
                <a:gd name="T53" fmla="*/ 1 h 312"/>
                <a:gd name="T54" fmla="*/ 2 w 265"/>
                <a:gd name="T55" fmla="*/ 1 h 312"/>
                <a:gd name="T56" fmla="*/ 1 w 265"/>
                <a:gd name="T57" fmla="*/ 1 h 312"/>
                <a:gd name="T58" fmla="*/ 1 w 265"/>
                <a:gd name="T59" fmla="*/ 1 h 312"/>
                <a:gd name="T60" fmla="*/ 1 w 265"/>
                <a:gd name="T61" fmla="*/ 1 h 312"/>
                <a:gd name="T62" fmla="*/ 2 w 265"/>
                <a:gd name="T63" fmla="*/ 1 h 312"/>
                <a:gd name="T64" fmla="*/ 2 w 265"/>
                <a:gd name="T65" fmla="*/ 1 h 312"/>
                <a:gd name="T66" fmla="*/ 2 w 265"/>
                <a:gd name="T67" fmla="*/ 1 h 312"/>
                <a:gd name="T68" fmla="*/ 2 w 265"/>
                <a:gd name="T69" fmla="*/ 1 h 312"/>
                <a:gd name="T70" fmla="*/ 2 w 265"/>
                <a:gd name="T71" fmla="*/ 2 h 312"/>
                <a:gd name="T72" fmla="*/ 2 w 265"/>
                <a:gd name="T73" fmla="*/ 2 h 312"/>
                <a:gd name="T74" fmla="*/ 2 w 265"/>
                <a:gd name="T75" fmla="*/ 2 h 312"/>
                <a:gd name="T76" fmla="*/ 2 w 265"/>
                <a:gd name="T77" fmla="*/ 2 h 312"/>
                <a:gd name="T78" fmla="*/ 1 w 265"/>
                <a:gd name="T79" fmla="*/ 2 h 312"/>
                <a:gd name="T80" fmla="*/ 1 w 265"/>
                <a:gd name="T81" fmla="*/ 2 h 312"/>
                <a:gd name="T82" fmla="*/ 1 w 265"/>
                <a:gd name="T83" fmla="*/ 2 h 312"/>
                <a:gd name="T84" fmla="*/ 1 w 265"/>
                <a:gd name="T85" fmla="*/ 2 h 312"/>
                <a:gd name="T86" fmla="*/ 1 w 265"/>
                <a:gd name="T87" fmla="*/ 2 h 312"/>
                <a:gd name="T88" fmla="*/ 1 w 265"/>
                <a:gd name="T89" fmla="*/ 2 h 312"/>
                <a:gd name="T90" fmla="*/ 1 w 265"/>
                <a:gd name="T91" fmla="*/ 2 h 312"/>
                <a:gd name="T92" fmla="*/ 1 w 265"/>
                <a:gd name="T93" fmla="*/ 2 h 312"/>
                <a:gd name="T94" fmla="*/ 1 w 265"/>
                <a:gd name="T95" fmla="*/ 2 h 312"/>
                <a:gd name="T96" fmla="*/ 1 w 265"/>
                <a:gd name="T97" fmla="*/ 2 h 312"/>
                <a:gd name="T98" fmla="*/ 1 w 265"/>
                <a:gd name="T99" fmla="*/ 2 h 312"/>
                <a:gd name="T100" fmla="*/ 1 w 265"/>
                <a:gd name="T101" fmla="*/ 2 h 312"/>
                <a:gd name="T102" fmla="*/ 1 w 265"/>
                <a:gd name="T103" fmla="*/ 2 h 312"/>
                <a:gd name="T104" fmla="*/ 1 w 265"/>
                <a:gd name="T105" fmla="*/ 2 h 312"/>
                <a:gd name="T106" fmla="*/ 1 w 265"/>
                <a:gd name="T107" fmla="*/ 2 h 3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65"/>
                <a:gd name="T163" fmla="*/ 0 h 312"/>
                <a:gd name="T164" fmla="*/ 265 w 265"/>
                <a:gd name="T165" fmla="*/ 312 h 31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65" h="312">
                  <a:moveTo>
                    <a:pt x="13" y="269"/>
                  </a:moveTo>
                  <a:lnTo>
                    <a:pt x="8" y="279"/>
                  </a:lnTo>
                  <a:lnTo>
                    <a:pt x="14" y="250"/>
                  </a:lnTo>
                  <a:lnTo>
                    <a:pt x="20" y="220"/>
                  </a:lnTo>
                  <a:lnTo>
                    <a:pt x="14" y="196"/>
                  </a:lnTo>
                  <a:lnTo>
                    <a:pt x="15" y="169"/>
                  </a:lnTo>
                  <a:lnTo>
                    <a:pt x="1" y="155"/>
                  </a:lnTo>
                  <a:lnTo>
                    <a:pt x="0" y="161"/>
                  </a:lnTo>
                  <a:lnTo>
                    <a:pt x="3" y="148"/>
                  </a:lnTo>
                  <a:lnTo>
                    <a:pt x="24" y="148"/>
                  </a:lnTo>
                  <a:lnTo>
                    <a:pt x="45" y="148"/>
                  </a:lnTo>
                  <a:lnTo>
                    <a:pt x="67" y="148"/>
                  </a:lnTo>
                  <a:lnTo>
                    <a:pt x="87" y="148"/>
                  </a:lnTo>
                  <a:lnTo>
                    <a:pt x="89" y="126"/>
                  </a:lnTo>
                  <a:lnTo>
                    <a:pt x="89" y="106"/>
                  </a:lnTo>
                  <a:lnTo>
                    <a:pt x="110" y="95"/>
                  </a:lnTo>
                  <a:lnTo>
                    <a:pt x="110" y="64"/>
                  </a:lnTo>
                  <a:lnTo>
                    <a:pt x="111" y="31"/>
                  </a:lnTo>
                  <a:lnTo>
                    <a:pt x="129" y="31"/>
                  </a:lnTo>
                  <a:lnTo>
                    <a:pt x="147" y="31"/>
                  </a:lnTo>
                  <a:lnTo>
                    <a:pt x="165" y="31"/>
                  </a:lnTo>
                  <a:lnTo>
                    <a:pt x="182" y="31"/>
                  </a:lnTo>
                  <a:lnTo>
                    <a:pt x="183" y="0"/>
                  </a:lnTo>
                  <a:lnTo>
                    <a:pt x="204" y="13"/>
                  </a:lnTo>
                  <a:lnTo>
                    <a:pt x="224" y="28"/>
                  </a:lnTo>
                  <a:lnTo>
                    <a:pt x="245" y="42"/>
                  </a:lnTo>
                  <a:lnTo>
                    <a:pt x="265" y="57"/>
                  </a:lnTo>
                  <a:lnTo>
                    <a:pt x="246" y="57"/>
                  </a:lnTo>
                  <a:lnTo>
                    <a:pt x="227" y="57"/>
                  </a:lnTo>
                  <a:lnTo>
                    <a:pt x="229" y="83"/>
                  </a:lnTo>
                  <a:lnTo>
                    <a:pt x="231" y="109"/>
                  </a:lnTo>
                  <a:lnTo>
                    <a:pt x="234" y="136"/>
                  </a:lnTo>
                  <a:lnTo>
                    <a:pt x="236" y="162"/>
                  </a:lnTo>
                  <a:lnTo>
                    <a:pt x="239" y="189"/>
                  </a:lnTo>
                  <a:lnTo>
                    <a:pt x="241" y="215"/>
                  </a:lnTo>
                  <a:lnTo>
                    <a:pt x="243" y="241"/>
                  </a:lnTo>
                  <a:lnTo>
                    <a:pt x="246" y="268"/>
                  </a:lnTo>
                  <a:lnTo>
                    <a:pt x="252" y="271"/>
                  </a:lnTo>
                  <a:lnTo>
                    <a:pt x="248" y="292"/>
                  </a:lnTo>
                  <a:lnTo>
                    <a:pt x="227" y="292"/>
                  </a:lnTo>
                  <a:lnTo>
                    <a:pt x="206" y="292"/>
                  </a:lnTo>
                  <a:lnTo>
                    <a:pt x="186" y="292"/>
                  </a:lnTo>
                  <a:lnTo>
                    <a:pt x="164" y="292"/>
                  </a:lnTo>
                  <a:lnTo>
                    <a:pt x="162" y="289"/>
                  </a:lnTo>
                  <a:lnTo>
                    <a:pt x="132" y="298"/>
                  </a:lnTo>
                  <a:lnTo>
                    <a:pt x="128" y="299"/>
                  </a:lnTo>
                  <a:lnTo>
                    <a:pt x="115" y="291"/>
                  </a:lnTo>
                  <a:lnTo>
                    <a:pt x="105" y="312"/>
                  </a:lnTo>
                  <a:lnTo>
                    <a:pt x="101" y="311"/>
                  </a:lnTo>
                  <a:lnTo>
                    <a:pt x="85" y="293"/>
                  </a:lnTo>
                  <a:lnTo>
                    <a:pt x="69" y="276"/>
                  </a:lnTo>
                  <a:lnTo>
                    <a:pt x="48" y="264"/>
                  </a:lnTo>
                  <a:lnTo>
                    <a:pt x="31" y="267"/>
                  </a:lnTo>
                  <a:lnTo>
                    <a:pt x="13" y="269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32" name="Freeform 60"/>
            <p:cNvSpPr>
              <a:spLocks/>
            </p:cNvSpPr>
            <p:nvPr/>
          </p:nvSpPr>
          <p:spPr bwMode="auto">
            <a:xfrm>
              <a:off x="2415" y="1466"/>
              <a:ext cx="182" cy="143"/>
            </a:xfrm>
            <a:custGeom>
              <a:avLst/>
              <a:gdLst>
                <a:gd name="T0" fmla="*/ 1 w 258"/>
                <a:gd name="T1" fmla="*/ 1 h 204"/>
                <a:gd name="T2" fmla="*/ 1 w 258"/>
                <a:gd name="T3" fmla="*/ 1 h 204"/>
                <a:gd name="T4" fmla="*/ 1 w 258"/>
                <a:gd name="T5" fmla="*/ 1 h 204"/>
                <a:gd name="T6" fmla="*/ 1 w 258"/>
                <a:gd name="T7" fmla="*/ 1 h 204"/>
                <a:gd name="T8" fmla="*/ 1 w 258"/>
                <a:gd name="T9" fmla="*/ 1 h 204"/>
                <a:gd name="T10" fmla="*/ 1 w 258"/>
                <a:gd name="T11" fmla="*/ 1 h 204"/>
                <a:gd name="T12" fmla="*/ 1 w 258"/>
                <a:gd name="T13" fmla="*/ 1 h 204"/>
                <a:gd name="T14" fmla="*/ 1 w 258"/>
                <a:gd name="T15" fmla="*/ 1 h 204"/>
                <a:gd name="T16" fmla="*/ 1 w 258"/>
                <a:gd name="T17" fmla="*/ 1 h 204"/>
                <a:gd name="T18" fmla="*/ 1 w 258"/>
                <a:gd name="T19" fmla="*/ 1 h 204"/>
                <a:gd name="T20" fmla="*/ 0 w 258"/>
                <a:gd name="T21" fmla="*/ 1 h 204"/>
                <a:gd name="T22" fmla="*/ 1 w 258"/>
                <a:gd name="T23" fmla="*/ 1 h 204"/>
                <a:gd name="T24" fmla="*/ 1 w 258"/>
                <a:gd name="T25" fmla="*/ 1 h 204"/>
                <a:gd name="T26" fmla="*/ 1 w 258"/>
                <a:gd name="T27" fmla="*/ 1 h 204"/>
                <a:gd name="T28" fmla="*/ 1 w 258"/>
                <a:gd name="T29" fmla="*/ 1 h 204"/>
                <a:gd name="T30" fmla="*/ 1 w 258"/>
                <a:gd name="T31" fmla="*/ 1 h 204"/>
                <a:gd name="T32" fmla="*/ 1 w 258"/>
                <a:gd name="T33" fmla="*/ 1 h 204"/>
                <a:gd name="T34" fmla="*/ 1 w 258"/>
                <a:gd name="T35" fmla="*/ 1 h 204"/>
                <a:gd name="T36" fmla="*/ 1 w 258"/>
                <a:gd name="T37" fmla="*/ 1 h 204"/>
                <a:gd name="T38" fmla="*/ 1 w 258"/>
                <a:gd name="T39" fmla="*/ 1 h 204"/>
                <a:gd name="T40" fmla="*/ 1 w 258"/>
                <a:gd name="T41" fmla="*/ 1 h 204"/>
                <a:gd name="T42" fmla="*/ 1 w 258"/>
                <a:gd name="T43" fmla="*/ 1 h 204"/>
                <a:gd name="T44" fmla="*/ 1 w 258"/>
                <a:gd name="T45" fmla="*/ 1 h 204"/>
                <a:gd name="T46" fmla="*/ 2 w 258"/>
                <a:gd name="T47" fmla="*/ 1 h 204"/>
                <a:gd name="T48" fmla="*/ 2 w 258"/>
                <a:gd name="T49" fmla="*/ 1 h 204"/>
                <a:gd name="T50" fmla="*/ 2 w 258"/>
                <a:gd name="T51" fmla="*/ 1 h 204"/>
                <a:gd name="T52" fmla="*/ 2 w 258"/>
                <a:gd name="T53" fmla="*/ 1 h 204"/>
                <a:gd name="T54" fmla="*/ 2 w 258"/>
                <a:gd name="T55" fmla="*/ 1 h 204"/>
                <a:gd name="T56" fmla="*/ 2 w 258"/>
                <a:gd name="T57" fmla="*/ 1 h 204"/>
                <a:gd name="T58" fmla="*/ 2 w 258"/>
                <a:gd name="T59" fmla="*/ 1 h 204"/>
                <a:gd name="T60" fmla="*/ 1 w 258"/>
                <a:gd name="T61" fmla="*/ 1 h 204"/>
                <a:gd name="T62" fmla="*/ 1 w 258"/>
                <a:gd name="T63" fmla="*/ 1 h 204"/>
                <a:gd name="T64" fmla="*/ 1 w 258"/>
                <a:gd name="T65" fmla="*/ 1 h 204"/>
                <a:gd name="T66" fmla="*/ 1 w 258"/>
                <a:gd name="T67" fmla="*/ 0 h 204"/>
                <a:gd name="T68" fmla="*/ 1 w 258"/>
                <a:gd name="T69" fmla="*/ 1 h 204"/>
                <a:gd name="T70" fmla="*/ 1 w 258"/>
                <a:gd name="T71" fmla="*/ 1 h 204"/>
                <a:gd name="T72" fmla="*/ 1 w 258"/>
                <a:gd name="T73" fmla="*/ 1 h 20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58"/>
                <a:gd name="T112" fmla="*/ 0 h 204"/>
                <a:gd name="T113" fmla="*/ 258 w 258"/>
                <a:gd name="T114" fmla="*/ 204 h 204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58" h="204">
                  <a:moveTo>
                    <a:pt x="134" y="50"/>
                  </a:moveTo>
                  <a:lnTo>
                    <a:pt x="114" y="62"/>
                  </a:lnTo>
                  <a:lnTo>
                    <a:pt x="95" y="74"/>
                  </a:lnTo>
                  <a:lnTo>
                    <a:pt x="84" y="93"/>
                  </a:lnTo>
                  <a:lnTo>
                    <a:pt x="75" y="112"/>
                  </a:lnTo>
                  <a:lnTo>
                    <a:pt x="77" y="135"/>
                  </a:lnTo>
                  <a:lnTo>
                    <a:pt x="68" y="152"/>
                  </a:lnTo>
                  <a:lnTo>
                    <a:pt x="57" y="170"/>
                  </a:lnTo>
                  <a:lnTo>
                    <a:pt x="41" y="182"/>
                  </a:lnTo>
                  <a:lnTo>
                    <a:pt x="24" y="193"/>
                  </a:lnTo>
                  <a:lnTo>
                    <a:pt x="0" y="204"/>
                  </a:lnTo>
                  <a:lnTo>
                    <a:pt x="24" y="204"/>
                  </a:lnTo>
                  <a:lnTo>
                    <a:pt x="48" y="204"/>
                  </a:lnTo>
                  <a:lnTo>
                    <a:pt x="72" y="204"/>
                  </a:lnTo>
                  <a:lnTo>
                    <a:pt x="96" y="204"/>
                  </a:lnTo>
                  <a:lnTo>
                    <a:pt x="101" y="175"/>
                  </a:lnTo>
                  <a:lnTo>
                    <a:pt x="119" y="165"/>
                  </a:lnTo>
                  <a:lnTo>
                    <a:pt x="136" y="154"/>
                  </a:lnTo>
                  <a:lnTo>
                    <a:pt x="154" y="147"/>
                  </a:lnTo>
                  <a:lnTo>
                    <a:pt x="173" y="139"/>
                  </a:lnTo>
                  <a:lnTo>
                    <a:pt x="189" y="128"/>
                  </a:lnTo>
                  <a:lnTo>
                    <a:pt x="203" y="117"/>
                  </a:lnTo>
                  <a:lnTo>
                    <a:pt x="203" y="103"/>
                  </a:lnTo>
                  <a:lnTo>
                    <a:pt x="231" y="92"/>
                  </a:lnTo>
                  <a:lnTo>
                    <a:pt x="254" y="91"/>
                  </a:lnTo>
                  <a:lnTo>
                    <a:pt x="258" y="84"/>
                  </a:lnTo>
                  <a:lnTo>
                    <a:pt x="245" y="62"/>
                  </a:lnTo>
                  <a:lnTo>
                    <a:pt x="243" y="43"/>
                  </a:lnTo>
                  <a:lnTo>
                    <a:pt x="239" y="25"/>
                  </a:lnTo>
                  <a:lnTo>
                    <a:pt x="234" y="19"/>
                  </a:lnTo>
                  <a:lnTo>
                    <a:pt x="220" y="15"/>
                  </a:lnTo>
                  <a:lnTo>
                    <a:pt x="214" y="15"/>
                  </a:lnTo>
                  <a:lnTo>
                    <a:pt x="178" y="14"/>
                  </a:lnTo>
                  <a:lnTo>
                    <a:pt x="167" y="0"/>
                  </a:lnTo>
                  <a:lnTo>
                    <a:pt x="155" y="9"/>
                  </a:lnTo>
                  <a:lnTo>
                    <a:pt x="144" y="30"/>
                  </a:lnTo>
                  <a:lnTo>
                    <a:pt x="134" y="5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33" name="Freeform 61"/>
            <p:cNvSpPr>
              <a:spLocks/>
            </p:cNvSpPr>
            <p:nvPr/>
          </p:nvSpPr>
          <p:spPr bwMode="auto">
            <a:xfrm>
              <a:off x="2615" y="1681"/>
              <a:ext cx="239" cy="207"/>
            </a:xfrm>
            <a:custGeom>
              <a:avLst/>
              <a:gdLst>
                <a:gd name="T0" fmla="*/ 1 w 339"/>
                <a:gd name="T1" fmla="*/ 2 h 293"/>
                <a:gd name="T2" fmla="*/ 1 w 339"/>
                <a:gd name="T3" fmla="*/ 2 h 293"/>
                <a:gd name="T4" fmla="*/ 1 w 339"/>
                <a:gd name="T5" fmla="*/ 2 h 293"/>
                <a:gd name="T6" fmla="*/ 1 w 339"/>
                <a:gd name="T7" fmla="*/ 2 h 293"/>
                <a:gd name="T8" fmla="*/ 1 w 339"/>
                <a:gd name="T9" fmla="*/ 2 h 293"/>
                <a:gd name="T10" fmla="*/ 1 w 339"/>
                <a:gd name="T11" fmla="*/ 2 h 293"/>
                <a:gd name="T12" fmla="*/ 0 w 339"/>
                <a:gd name="T13" fmla="*/ 1 h 293"/>
                <a:gd name="T14" fmla="*/ 1 w 339"/>
                <a:gd name="T15" fmla="*/ 1 h 293"/>
                <a:gd name="T16" fmla="*/ 1 w 339"/>
                <a:gd name="T17" fmla="*/ 1 h 293"/>
                <a:gd name="T18" fmla="*/ 1 w 339"/>
                <a:gd name="T19" fmla="*/ 1 h 293"/>
                <a:gd name="T20" fmla="*/ 1 w 339"/>
                <a:gd name="T21" fmla="*/ 1 h 293"/>
                <a:gd name="T22" fmla="*/ 1 w 339"/>
                <a:gd name="T23" fmla="*/ 1 h 293"/>
                <a:gd name="T24" fmla="*/ 1 w 339"/>
                <a:gd name="T25" fmla="*/ 1 h 293"/>
                <a:gd name="T26" fmla="*/ 1 w 339"/>
                <a:gd name="T27" fmla="*/ 1 h 293"/>
                <a:gd name="T28" fmla="*/ 1 w 339"/>
                <a:gd name="T29" fmla="*/ 1 h 293"/>
                <a:gd name="T30" fmla="*/ 1 w 339"/>
                <a:gd name="T31" fmla="*/ 1 h 293"/>
                <a:gd name="T32" fmla="*/ 1 w 339"/>
                <a:gd name="T33" fmla="*/ 1 h 293"/>
                <a:gd name="T34" fmla="*/ 1 w 339"/>
                <a:gd name="T35" fmla="*/ 1 h 293"/>
                <a:gd name="T36" fmla="*/ 1 w 339"/>
                <a:gd name="T37" fmla="*/ 1 h 293"/>
                <a:gd name="T38" fmla="*/ 1 w 339"/>
                <a:gd name="T39" fmla="*/ 1 h 293"/>
                <a:gd name="T40" fmla="*/ 1 w 339"/>
                <a:gd name="T41" fmla="*/ 1 h 293"/>
                <a:gd name="T42" fmla="*/ 1 w 339"/>
                <a:gd name="T43" fmla="*/ 1 h 293"/>
                <a:gd name="T44" fmla="*/ 1 w 339"/>
                <a:gd name="T45" fmla="*/ 1 h 293"/>
                <a:gd name="T46" fmla="*/ 2 w 339"/>
                <a:gd name="T47" fmla="*/ 0 h 293"/>
                <a:gd name="T48" fmla="*/ 2 w 339"/>
                <a:gd name="T49" fmla="*/ 1 h 293"/>
                <a:gd name="T50" fmla="*/ 2 w 339"/>
                <a:gd name="T51" fmla="*/ 1 h 293"/>
                <a:gd name="T52" fmla="*/ 2 w 339"/>
                <a:gd name="T53" fmla="*/ 1 h 293"/>
                <a:gd name="T54" fmla="*/ 2 w 339"/>
                <a:gd name="T55" fmla="*/ 1 h 293"/>
                <a:gd name="T56" fmla="*/ 2 w 339"/>
                <a:gd name="T57" fmla="*/ 1 h 293"/>
                <a:gd name="T58" fmla="*/ 2 w 339"/>
                <a:gd name="T59" fmla="*/ 1 h 293"/>
                <a:gd name="T60" fmla="*/ 3 w 339"/>
                <a:gd name="T61" fmla="*/ 1 h 293"/>
                <a:gd name="T62" fmla="*/ 3 w 339"/>
                <a:gd name="T63" fmla="*/ 1 h 293"/>
                <a:gd name="T64" fmla="*/ 3 w 339"/>
                <a:gd name="T65" fmla="*/ 1 h 293"/>
                <a:gd name="T66" fmla="*/ 3 w 339"/>
                <a:gd name="T67" fmla="*/ 1 h 293"/>
                <a:gd name="T68" fmla="*/ 3 w 339"/>
                <a:gd name="T69" fmla="*/ 1 h 293"/>
                <a:gd name="T70" fmla="*/ 3 w 339"/>
                <a:gd name="T71" fmla="*/ 1 h 293"/>
                <a:gd name="T72" fmla="*/ 2 w 339"/>
                <a:gd name="T73" fmla="*/ 1 h 293"/>
                <a:gd name="T74" fmla="*/ 2 w 339"/>
                <a:gd name="T75" fmla="*/ 1 h 293"/>
                <a:gd name="T76" fmla="*/ 2 w 339"/>
                <a:gd name="T77" fmla="*/ 1 h 293"/>
                <a:gd name="T78" fmla="*/ 2 w 339"/>
                <a:gd name="T79" fmla="*/ 2 h 293"/>
                <a:gd name="T80" fmla="*/ 2 w 339"/>
                <a:gd name="T81" fmla="*/ 2 h 293"/>
                <a:gd name="T82" fmla="*/ 2 w 339"/>
                <a:gd name="T83" fmla="*/ 2 h 293"/>
                <a:gd name="T84" fmla="*/ 2 w 339"/>
                <a:gd name="T85" fmla="*/ 2 h 293"/>
                <a:gd name="T86" fmla="*/ 1 w 339"/>
                <a:gd name="T87" fmla="*/ 2 h 293"/>
                <a:gd name="T88" fmla="*/ 1 w 339"/>
                <a:gd name="T89" fmla="*/ 2 h 293"/>
                <a:gd name="T90" fmla="*/ 1 w 339"/>
                <a:gd name="T91" fmla="*/ 2 h 293"/>
                <a:gd name="T92" fmla="*/ 1 w 339"/>
                <a:gd name="T93" fmla="*/ 2 h 293"/>
                <a:gd name="T94" fmla="*/ 1 w 339"/>
                <a:gd name="T95" fmla="*/ 2 h 293"/>
                <a:gd name="T96" fmla="*/ 1 w 339"/>
                <a:gd name="T97" fmla="*/ 2 h 293"/>
                <a:gd name="T98" fmla="*/ 1 w 339"/>
                <a:gd name="T99" fmla="*/ 2 h 293"/>
                <a:gd name="T100" fmla="*/ 1 w 339"/>
                <a:gd name="T101" fmla="*/ 2 h 293"/>
                <a:gd name="T102" fmla="*/ 1 w 339"/>
                <a:gd name="T103" fmla="*/ 2 h 293"/>
                <a:gd name="T104" fmla="*/ 1 w 339"/>
                <a:gd name="T105" fmla="*/ 2 h 293"/>
                <a:gd name="T106" fmla="*/ 1 w 339"/>
                <a:gd name="T107" fmla="*/ 2 h 293"/>
                <a:gd name="T108" fmla="*/ 1 w 339"/>
                <a:gd name="T109" fmla="*/ 2 h 293"/>
                <a:gd name="T110" fmla="*/ 1 w 339"/>
                <a:gd name="T111" fmla="*/ 2 h 293"/>
                <a:gd name="T112" fmla="*/ 1 w 339"/>
                <a:gd name="T113" fmla="*/ 2 h 293"/>
                <a:gd name="T114" fmla="*/ 1 w 339"/>
                <a:gd name="T115" fmla="*/ 2 h 293"/>
                <a:gd name="T116" fmla="*/ 1 w 339"/>
                <a:gd name="T117" fmla="*/ 2 h 2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39"/>
                <a:gd name="T178" fmla="*/ 0 h 293"/>
                <a:gd name="T179" fmla="*/ 339 w 339"/>
                <a:gd name="T180" fmla="*/ 293 h 29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39" h="293">
                  <a:moveTo>
                    <a:pt x="37" y="267"/>
                  </a:moveTo>
                  <a:lnTo>
                    <a:pt x="30" y="270"/>
                  </a:lnTo>
                  <a:lnTo>
                    <a:pt x="17" y="259"/>
                  </a:lnTo>
                  <a:lnTo>
                    <a:pt x="17" y="252"/>
                  </a:lnTo>
                  <a:lnTo>
                    <a:pt x="20" y="251"/>
                  </a:lnTo>
                  <a:lnTo>
                    <a:pt x="2" y="233"/>
                  </a:lnTo>
                  <a:lnTo>
                    <a:pt x="0" y="211"/>
                  </a:lnTo>
                  <a:lnTo>
                    <a:pt x="3" y="211"/>
                  </a:lnTo>
                  <a:lnTo>
                    <a:pt x="24" y="204"/>
                  </a:lnTo>
                  <a:lnTo>
                    <a:pt x="48" y="203"/>
                  </a:lnTo>
                  <a:lnTo>
                    <a:pt x="72" y="203"/>
                  </a:lnTo>
                  <a:lnTo>
                    <a:pt x="83" y="180"/>
                  </a:lnTo>
                  <a:lnTo>
                    <a:pt x="84" y="162"/>
                  </a:lnTo>
                  <a:lnTo>
                    <a:pt x="85" y="144"/>
                  </a:lnTo>
                  <a:lnTo>
                    <a:pt x="86" y="126"/>
                  </a:lnTo>
                  <a:lnTo>
                    <a:pt x="86" y="108"/>
                  </a:lnTo>
                  <a:lnTo>
                    <a:pt x="103" y="104"/>
                  </a:lnTo>
                  <a:lnTo>
                    <a:pt x="121" y="101"/>
                  </a:lnTo>
                  <a:lnTo>
                    <a:pt x="138" y="83"/>
                  </a:lnTo>
                  <a:lnTo>
                    <a:pt x="155" y="66"/>
                  </a:lnTo>
                  <a:lnTo>
                    <a:pt x="180" y="49"/>
                  </a:lnTo>
                  <a:lnTo>
                    <a:pt x="204" y="32"/>
                  </a:lnTo>
                  <a:lnTo>
                    <a:pt x="228" y="15"/>
                  </a:lnTo>
                  <a:lnTo>
                    <a:pt x="252" y="0"/>
                  </a:lnTo>
                  <a:lnTo>
                    <a:pt x="282" y="7"/>
                  </a:lnTo>
                  <a:lnTo>
                    <a:pt x="300" y="21"/>
                  </a:lnTo>
                  <a:lnTo>
                    <a:pt x="315" y="13"/>
                  </a:lnTo>
                  <a:lnTo>
                    <a:pt x="317" y="12"/>
                  </a:lnTo>
                  <a:lnTo>
                    <a:pt x="319" y="31"/>
                  </a:lnTo>
                  <a:lnTo>
                    <a:pt x="321" y="49"/>
                  </a:lnTo>
                  <a:lnTo>
                    <a:pt x="339" y="78"/>
                  </a:lnTo>
                  <a:lnTo>
                    <a:pt x="335" y="89"/>
                  </a:lnTo>
                  <a:lnTo>
                    <a:pt x="333" y="107"/>
                  </a:lnTo>
                  <a:lnTo>
                    <a:pt x="332" y="126"/>
                  </a:lnTo>
                  <a:lnTo>
                    <a:pt x="331" y="145"/>
                  </a:lnTo>
                  <a:lnTo>
                    <a:pt x="330" y="163"/>
                  </a:lnTo>
                  <a:lnTo>
                    <a:pt x="320" y="179"/>
                  </a:lnTo>
                  <a:lnTo>
                    <a:pt x="311" y="193"/>
                  </a:lnTo>
                  <a:lnTo>
                    <a:pt x="301" y="207"/>
                  </a:lnTo>
                  <a:lnTo>
                    <a:pt x="290" y="223"/>
                  </a:lnTo>
                  <a:lnTo>
                    <a:pt x="291" y="242"/>
                  </a:lnTo>
                  <a:lnTo>
                    <a:pt x="267" y="257"/>
                  </a:lnTo>
                  <a:lnTo>
                    <a:pt x="245" y="254"/>
                  </a:lnTo>
                  <a:lnTo>
                    <a:pt x="223" y="253"/>
                  </a:lnTo>
                  <a:lnTo>
                    <a:pt x="198" y="265"/>
                  </a:lnTo>
                  <a:lnTo>
                    <a:pt x="181" y="258"/>
                  </a:lnTo>
                  <a:lnTo>
                    <a:pt x="165" y="252"/>
                  </a:lnTo>
                  <a:lnTo>
                    <a:pt x="143" y="258"/>
                  </a:lnTo>
                  <a:lnTo>
                    <a:pt x="128" y="243"/>
                  </a:lnTo>
                  <a:lnTo>
                    <a:pt x="107" y="242"/>
                  </a:lnTo>
                  <a:lnTo>
                    <a:pt x="85" y="248"/>
                  </a:lnTo>
                  <a:lnTo>
                    <a:pt x="81" y="266"/>
                  </a:lnTo>
                  <a:lnTo>
                    <a:pt x="74" y="283"/>
                  </a:lnTo>
                  <a:lnTo>
                    <a:pt x="73" y="293"/>
                  </a:lnTo>
                  <a:lnTo>
                    <a:pt x="54" y="277"/>
                  </a:lnTo>
                  <a:lnTo>
                    <a:pt x="48" y="284"/>
                  </a:lnTo>
                  <a:lnTo>
                    <a:pt x="48" y="288"/>
                  </a:lnTo>
                  <a:lnTo>
                    <a:pt x="42" y="276"/>
                  </a:lnTo>
                  <a:lnTo>
                    <a:pt x="37" y="26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34" name="Freeform 62"/>
            <p:cNvSpPr>
              <a:spLocks/>
            </p:cNvSpPr>
            <p:nvPr/>
          </p:nvSpPr>
          <p:spPr bwMode="auto">
            <a:xfrm>
              <a:off x="2345" y="1802"/>
              <a:ext cx="91" cy="74"/>
            </a:xfrm>
            <a:custGeom>
              <a:avLst/>
              <a:gdLst>
                <a:gd name="T0" fmla="*/ 1 w 131"/>
                <a:gd name="T1" fmla="*/ 1 h 107"/>
                <a:gd name="T2" fmla="*/ 1 w 131"/>
                <a:gd name="T3" fmla="*/ 1 h 107"/>
                <a:gd name="T4" fmla="*/ 1 w 131"/>
                <a:gd name="T5" fmla="*/ 1 h 107"/>
                <a:gd name="T6" fmla="*/ 0 w 131"/>
                <a:gd name="T7" fmla="*/ 1 h 107"/>
                <a:gd name="T8" fmla="*/ 1 w 131"/>
                <a:gd name="T9" fmla="*/ 1 h 107"/>
                <a:gd name="T10" fmla="*/ 1 w 131"/>
                <a:gd name="T11" fmla="*/ 1 h 107"/>
                <a:gd name="T12" fmla="*/ 1 w 131"/>
                <a:gd name="T13" fmla="*/ 1 h 107"/>
                <a:gd name="T14" fmla="*/ 1 w 131"/>
                <a:gd name="T15" fmla="*/ 1 h 107"/>
                <a:gd name="T16" fmla="*/ 1 w 131"/>
                <a:gd name="T17" fmla="*/ 1 h 107"/>
                <a:gd name="T18" fmla="*/ 1 w 131"/>
                <a:gd name="T19" fmla="*/ 1 h 107"/>
                <a:gd name="T20" fmla="*/ 1 w 131"/>
                <a:gd name="T21" fmla="*/ 1 h 107"/>
                <a:gd name="T22" fmla="*/ 1 w 131"/>
                <a:gd name="T23" fmla="*/ 1 h 107"/>
                <a:gd name="T24" fmla="*/ 1 w 131"/>
                <a:gd name="T25" fmla="*/ 1 h 107"/>
                <a:gd name="T26" fmla="*/ 1 w 131"/>
                <a:gd name="T27" fmla="*/ 1 h 107"/>
                <a:gd name="T28" fmla="*/ 1 w 131"/>
                <a:gd name="T29" fmla="*/ 1 h 107"/>
                <a:gd name="T30" fmla="*/ 1 w 131"/>
                <a:gd name="T31" fmla="*/ 1 h 107"/>
                <a:gd name="T32" fmla="*/ 1 w 131"/>
                <a:gd name="T33" fmla="*/ 1 h 107"/>
                <a:gd name="T34" fmla="*/ 1 w 131"/>
                <a:gd name="T35" fmla="*/ 1 h 107"/>
                <a:gd name="T36" fmla="*/ 1 w 131"/>
                <a:gd name="T37" fmla="*/ 1 h 107"/>
                <a:gd name="T38" fmla="*/ 1 w 131"/>
                <a:gd name="T39" fmla="*/ 1 h 107"/>
                <a:gd name="T40" fmla="*/ 1 w 131"/>
                <a:gd name="T41" fmla="*/ 1 h 107"/>
                <a:gd name="T42" fmla="*/ 1 w 131"/>
                <a:gd name="T43" fmla="*/ 1 h 107"/>
                <a:gd name="T44" fmla="*/ 1 w 131"/>
                <a:gd name="T45" fmla="*/ 1 h 107"/>
                <a:gd name="T46" fmla="*/ 1 w 131"/>
                <a:gd name="T47" fmla="*/ 1 h 107"/>
                <a:gd name="T48" fmla="*/ 1 w 131"/>
                <a:gd name="T49" fmla="*/ 1 h 107"/>
                <a:gd name="T50" fmla="*/ 1 w 131"/>
                <a:gd name="T51" fmla="*/ 1 h 107"/>
                <a:gd name="T52" fmla="*/ 1 w 131"/>
                <a:gd name="T53" fmla="*/ 1 h 107"/>
                <a:gd name="T54" fmla="*/ 1 w 131"/>
                <a:gd name="T55" fmla="*/ 1 h 107"/>
                <a:gd name="T56" fmla="*/ 1 w 131"/>
                <a:gd name="T57" fmla="*/ 1 h 107"/>
                <a:gd name="T58" fmla="*/ 1 w 131"/>
                <a:gd name="T59" fmla="*/ 1 h 107"/>
                <a:gd name="T60" fmla="*/ 1 w 131"/>
                <a:gd name="T61" fmla="*/ 1 h 107"/>
                <a:gd name="T62" fmla="*/ 1 w 131"/>
                <a:gd name="T63" fmla="*/ 1 h 107"/>
                <a:gd name="T64" fmla="*/ 1 w 131"/>
                <a:gd name="T65" fmla="*/ 0 h 107"/>
                <a:gd name="T66" fmla="*/ 1 w 131"/>
                <a:gd name="T67" fmla="*/ 1 h 107"/>
                <a:gd name="T68" fmla="*/ 1 w 131"/>
                <a:gd name="T69" fmla="*/ 1 h 1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31"/>
                <a:gd name="T106" fmla="*/ 0 h 107"/>
                <a:gd name="T107" fmla="*/ 131 w 131"/>
                <a:gd name="T108" fmla="*/ 107 h 10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31" h="107">
                  <a:moveTo>
                    <a:pt x="25" y="5"/>
                  </a:moveTo>
                  <a:lnTo>
                    <a:pt x="20" y="15"/>
                  </a:lnTo>
                  <a:lnTo>
                    <a:pt x="11" y="31"/>
                  </a:lnTo>
                  <a:lnTo>
                    <a:pt x="0" y="49"/>
                  </a:lnTo>
                  <a:lnTo>
                    <a:pt x="14" y="66"/>
                  </a:lnTo>
                  <a:lnTo>
                    <a:pt x="20" y="61"/>
                  </a:lnTo>
                  <a:lnTo>
                    <a:pt x="15" y="66"/>
                  </a:lnTo>
                  <a:lnTo>
                    <a:pt x="19" y="69"/>
                  </a:lnTo>
                  <a:lnTo>
                    <a:pt x="19" y="76"/>
                  </a:lnTo>
                  <a:lnTo>
                    <a:pt x="42" y="76"/>
                  </a:lnTo>
                  <a:lnTo>
                    <a:pt x="45" y="71"/>
                  </a:lnTo>
                  <a:lnTo>
                    <a:pt x="72" y="77"/>
                  </a:lnTo>
                  <a:lnTo>
                    <a:pt x="78" y="83"/>
                  </a:lnTo>
                  <a:lnTo>
                    <a:pt x="49" y="77"/>
                  </a:lnTo>
                  <a:lnTo>
                    <a:pt x="31" y="83"/>
                  </a:lnTo>
                  <a:lnTo>
                    <a:pt x="14" y="89"/>
                  </a:lnTo>
                  <a:lnTo>
                    <a:pt x="17" y="100"/>
                  </a:lnTo>
                  <a:lnTo>
                    <a:pt x="32" y="97"/>
                  </a:lnTo>
                  <a:lnTo>
                    <a:pt x="41" y="95"/>
                  </a:lnTo>
                  <a:lnTo>
                    <a:pt x="41" y="97"/>
                  </a:lnTo>
                  <a:lnTo>
                    <a:pt x="20" y="100"/>
                  </a:lnTo>
                  <a:lnTo>
                    <a:pt x="15" y="107"/>
                  </a:lnTo>
                  <a:lnTo>
                    <a:pt x="44" y="101"/>
                  </a:lnTo>
                  <a:lnTo>
                    <a:pt x="62" y="100"/>
                  </a:lnTo>
                  <a:lnTo>
                    <a:pt x="80" y="99"/>
                  </a:lnTo>
                  <a:lnTo>
                    <a:pt x="99" y="102"/>
                  </a:lnTo>
                  <a:lnTo>
                    <a:pt x="131" y="106"/>
                  </a:lnTo>
                  <a:lnTo>
                    <a:pt x="125" y="81"/>
                  </a:lnTo>
                  <a:lnTo>
                    <a:pt x="119" y="71"/>
                  </a:lnTo>
                  <a:lnTo>
                    <a:pt x="113" y="47"/>
                  </a:lnTo>
                  <a:lnTo>
                    <a:pt x="97" y="29"/>
                  </a:lnTo>
                  <a:lnTo>
                    <a:pt x="81" y="12"/>
                  </a:lnTo>
                  <a:lnTo>
                    <a:pt x="60" y="0"/>
                  </a:lnTo>
                  <a:lnTo>
                    <a:pt x="43" y="3"/>
                  </a:lnTo>
                  <a:lnTo>
                    <a:pt x="25" y="5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35" name="Freeform 63"/>
            <p:cNvSpPr>
              <a:spLocks/>
            </p:cNvSpPr>
            <p:nvPr/>
          </p:nvSpPr>
          <p:spPr bwMode="auto">
            <a:xfrm>
              <a:off x="2722" y="1442"/>
              <a:ext cx="59" cy="122"/>
            </a:xfrm>
            <a:custGeom>
              <a:avLst/>
              <a:gdLst>
                <a:gd name="T0" fmla="*/ 1 w 84"/>
                <a:gd name="T1" fmla="*/ 1 h 174"/>
                <a:gd name="T2" fmla="*/ 1 w 84"/>
                <a:gd name="T3" fmla="*/ 1 h 174"/>
                <a:gd name="T4" fmla="*/ 1 w 84"/>
                <a:gd name="T5" fmla="*/ 1 h 174"/>
                <a:gd name="T6" fmla="*/ 1 w 84"/>
                <a:gd name="T7" fmla="*/ 1 h 174"/>
                <a:gd name="T8" fmla="*/ 1 w 84"/>
                <a:gd name="T9" fmla="*/ 1 h 174"/>
                <a:gd name="T10" fmla="*/ 0 w 84"/>
                <a:gd name="T11" fmla="*/ 1 h 174"/>
                <a:gd name="T12" fmla="*/ 1 w 84"/>
                <a:gd name="T13" fmla="*/ 1 h 174"/>
                <a:gd name="T14" fmla="*/ 1 w 84"/>
                <a:gd name="T15" fmla="*/ 1 h 174"/>
                <a:gd name="T16" fmla="*/ 1 w 84"/>
                <a:gd name="T17" fmla="*/ 1 h 174"/>
                <a:gd name="T18" fmla="*/ 1 w 84"/>
                <a:gd name="T19" fmla="*/ 1 h 174"/>
                <a:gd name="T20" fmla="*/ 1 w 84"/>
                <a:gd name="T21" fmla="*/ 0 h 174"/>
                <a:gd name="T22" fmla="*/ 1 w 84"/>
                <a:gd name="T23" fmla="*/ 1 h 174"/>
                <a:gd name="T24" fmla="*/ 1 w 84"/>
                <a:gd name="T25" fmla="*/ 1 h 174"/>
                <a:gd name="T26" fmla="*/ 1 w 84"/>
                <a:gd name="T27" fmla="*/ 1 h 174"/>
                <a:gd name="T28" fmla="*/ 1 w 84"/>
                <a:gd name="T29" fmla="*/ 1 h 174"/>
                <a:gd name="T30" fmla="*/ 1 w 84"/>
                <a:gd name="T31" fmla="*/ 1 h 174"/>
                <a:gd name="T32" fmla="*/ 1 w 84"/>
                <a:gd name="T33" fmla="*/ 1 h 174"/>
                <a:gd name="T34" fmla="*/ 1 w 84"/>
                <a:gd name="T35" fmla="*/ 1 h 174"/>
                <a:gd name="T36" fmla="*/ 1 w 84"/>
                <a:gd name="T37" fmla="*/ 1 h 174"/>
                <a:gd name="T38" fmla="*/ 1 w 84"/>
                <a:gd name="T39" fmla="*/ 1 h 174"/>
                <a:gd name="T40" fmla="*/ 1 w 84"/>
                <a:gd name="T41" fmla="*/ 1 h 174"/>
                <a:gd name="T42" fmla="*/ 1 w 84"/>
                <a:gd name="T43" fmla="*/ 1 h 174"/>
                <a:gd name="T44" fmla="*/ 1 w 84"/>
                <a:gd name="T45" fmla="*/ 1 h 174"/>
                <a:gd name="T46" fmla="*/ 1 w 84"/>
                <a:gd name="T47" fmla="*/ 1 h 17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84"/>
                <a:gd name="T73" fmla="*/ 0 h 174"/>
                <a:gd name="T74" fmla="*/ 84 w 84"/>
                <a:gd name="T75" fmla="*/ 174 h 17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84" h="174">
                  <a:moveTo>
                    <a:pt x="56" y="164"/>
                  </a:moveTo>
                  <a:lnTo>
                    <a:pt x="44" y="174"/>
                  </a:lnTo>
                  <a:lnTo>
                    <a:pt x="38" y="150"/>
                  </a:lnTo>
                  <a:lnTo>
                    <a:pt x="34" y="127"/>
                  </a:lnTo>
                  <a:lnTo>
                    <a:pt x="17" y="109"/>
                  </a:lnTo>
                  <a:lnTo>
                    <a:pt x="0" y="85"/>
                  </a:lnTo>
                  <a:lnTo>
                    <a:pt x="10" y="67"/>
                  </a:lnTo>
                  <a:lnTo>
                    <a:pt x="18" y="49"/>
                  </a:lnTo>
                  <a:lnTo>
                    <a:pt x="16" y="14"/>
                  </a:lnTo>
                  <a:lnTo>
                    <a:pt x="20" y="8"/>
                  </a:lnTo>
                  <a:lnTo>
                    <a:pt x="44" y="0"/>
                  </a:lnTo>
                  <a:lnTo>
                    <a:pt x="53" y="5"/>
                  </a:lnTo>
                  <a:lnTo>
                    <a:pt x="58" y="13"/>
                  </a:lnTo>
                  <a:lnTo>
                    <a:pt x="71" y="6"/>
                  </a:lnTo>
                  <a:lnTo>
                    <a:pt x="60" y="31"/>
                  </a:lnTo>
                  <a:lnTo>
                    <a:pt x="73" y="49"/>
                  </a:lnTo>
                  <a:lnTo>
                    <a:pt x="62" y="65"/>
                  </a:lnTo>
                  <a:lnTo>
                    <a:pt x="52" y="79"/>
                  </a:lnTo>
                  <a:lnTo>
                    <a:pt x="71" y="91"/>
                  </a:lnTo>
                  <a:lnTo>
                    <a:pt x="84" y="101"/>
                  </a:lnTo>
                  <a:lnTo>
                    <a:pt x="83" y="121"/>
                  </a:lnTo>
                  <a:lnTo>
                    <a:pt x="70" y="132"/>
                  </a:lnTo>
                  <a:lnTo>
                    <a:pt x="56" y="144"/>
                  </a:lnTo>
                  <a:lnTo>
                    <a:pt x="56" y="16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36" name="Freeform 64"/>
            <p:cNvSpPr>
              <a:spLocks/>
            </p:cNvSpPr>
            <p:nvPr/>
          </p:nvSpPr>
          <p:spPr bwMode="auto">
            <a:xfrm>
              <a:off x="2435" y="1944"/>
              <a:ext cx="63" cy="72"/>
            </a:xfrm>
            <a:custGeom>
              <a:avLst/>
              <a:gdLst>
                <a:gd name="T0" fmla="*/ 1 w 90"/>
                <a:gd name="T1" fmla="*/ 1 h 102"/>
                <a:gd name="T2" fmla="*/ 1 w 90"/>
                <a:gd name="T3" fmla="*/ 1 h 102"/>
                <a:gd name="T4" fmla="*/ 1 w 90"/>
                <a:gd name="T5" fmla="*/ 1 h 102"/>
                <a:gd name="T6" fmla="*/ 1 w 90"/>
                <a:gd name="T7" fmla="*/ 1 h 102"/>
                <a:gd name="T8" fmla="*/ 0 w 90"/>
                <a:gd name="T9" fmla="*/ 1 h 102"/>
                <a:gd name="T10" fmla="*/ 1 w 90"/>
                <a:gd name="T11" fmla="*/ 1 h 102"/>
                <a:gd name="T12" fmla="*/ 1 w 90"/>
                <a:gd name="T13" fmla="*/ 1 h 102"/>
                <a:gd name="T14" fmla="*/ 1 w 90"/>
                <a:gd name="T15" fmla="*/ 0 h 102"/>
                <a:gd name="T16" fmla="*/ 1 w 90"/>
                <a:gd name="T17" fmla="*/ 0 h 102"/>
                <a:gd name="T18" fmla="*/ 1 w 90"/>
                <a:gd name="T19" fmla="*/ 1 h 102"/>
                <a:gd name="T20" fmla="*/ 1 w 90"/>
                <a:gd name="T21" fmla="*/ 1 h 102"/>
                <a:gd name="T22" fmla="*/ 1 w 90"/>
                <a:gd name="T23" fmla="*/ 1 h 102"/>
                <a:gd name="T24" fmla="*/ 1 w 90"/>
                <a:gd name="T25" fmla="*/ 1 h 102"/>
                <a:gd name="T26" fmla="*/ 1 w 90"/>
                <a:gd name="T27" fmla="*/ 1 h 102"/>
                <a:gd name="T28" fmla="*/ 1 w 90"/>
                <a:gd name="T29" fmla="*/ 1 h 102"/>
                <a:gd name="T30" fmla="*/ 1 w 90"/>
                <a:gd name="T31" fmla="*/ 1 h 102"/>
                <a:gd name="T32" fmla="*/ 1 w 90"/>
                <a:gd name="T33" fmla="*/ 1 h 102"/>
                <a:gd name="T34" fmla="*/ 1 w 90"/>
                <a:gd name="T35" fmla="*/ 1 h 10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90"/>
                <a:gd name="T55" fmla="*/ 0 h 102"/>
                <a:gd name="T56" fmla="*/ 90 w 90"/>
                <a:gd name="T57" fmla="*/ 102 h 10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90" h="102">
                  <a:moveTo>
                    <a:pt x="87" y="102"/>
                  </a:moveTo>
                  <a:lnTo>
                    <a:pt x="64" y="88"/>
                  </a:lnTo>
                  <a:lnTo>
                    <a:pt x="41" y="74"/>
                  </a:lnTo>
                  <a:lnTo>
                    <a:pt x="21" y="56"/>
                  </a:lnTo>
                  <a:lnTo>
                    <a:pt x="0" y="38"/>
                  </a:lnTo>
                  <a:lnTo>
                    <a:pt x="6" y="30"/>
                  </a:lnTo>
                  <a:lnTo>
                    <a:pt x="17" y="14"/>
                  </a:lnTo>
                  <a:lnTo>
                    <a:pt x="27" y="0"/>
                  </a:lnTo>
                  <a:lnTo>
                    <a:pt x="39" y="0"/>
                  </a:lnTo>
                  <a:lnTo>
                    <a:pt x="45" y="24"/>
                  </a:lnTo>
                  <a:lnTo>
                    <a:pt x="51" y="29"/>
                  </a:lnTo>
                  <a:lnTo>
                    <a:pt x="60" y="24"/>
                  </a:lnTo>
                  <a:lnTo>
                    <a:pt x="66" y="22"/>
                  </a:lnTo>
                  <a:lnTo>
                    <a:pt x="66" y="44"/>
                  </a:lnTo>
                  <a:lnTo>
                    <a:pt x="66" y="49"/>
                  </a:lnTo>
                  <a:lnTo>
                    <a:pt x="81" y="61"/>
                  </a:lnTo>
                  <a:lnTo>
                    <a:pt x="90" y="72"/>
                  </a:lnTo>
                  <a:lnTo>
                    <a:pt x="87" y="10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37" name="Freeform 65"/>
            <p:cNvSpPr>
              <a:spLocks/>
            </p:cNvSpPr>
            <p:nvPr/>
          </p:nvSpPr>
          <p:spPr bwMode="auto">
            <a:xfrm>
              <a:off x="1499" y="1924"/>
              <a:ext cx="49" cy="43"/>
            </a:xfrm>
            <a:custGeom>
              <a:avLst/>
              <a:gdLst>
                <a:gd name="T0" fmla="*/ 0 w 69"/>
                <a:gd name="T1" fmla="*/ 1 h 59"/>
                <a:gd name="T2" fmla="*/ 1 w 69"/>
                <a:gd name="T3" fmla="*/ 1 h 59"/>
                <a:gd name="T4" fmla="*/ 1 w 69"/>
                <a:gd name="T5" fmla="*/ 1 h 59"/>
                <a:gd name="T6" fmla="*/ 1 w 69"/>
                <a:gd name="T7" fmla="*/ 0 h 59"/>
                <a:gd name="T8" fmla="*/ 1 w 69"/>
                <a:gd name="T9" fmla="*/ 1 h 59"/>
                <a:gd name="T10" fmla="*/ 1 w 69"/>
                <a:gd name="T11" fmla="*/ 1 h 59"/>
                <a:gd name="T12" fmla="*/ 1 w 69"/>
                <a:gd name="T13" fmla="*/ 1 h 59"/>
                <a:gd name="T14" fmla="*/ 1 w 69"/>
                <a:gd name="T15" fmla="*/ 1 h 59"/>
                <a:gd name="T16" fmla="*/ 1 w 69"/>
                <a:gd name="T17" fmla="*/ 1 h 59"/>
                <a:gd name="T18" fmla="*/ 1 w 69"/>
                <a:gd name="T19" fmla="*/ 1 h 59"/>
                <a:gd name="T20" fmla="*/ 1 w 69"/>
                <a:gd name="T21" fmla="*/ 1 h 59"/>
                <a:gd name="T22" fmla="*/ 1 w 69"/>
                <a:gd name="T23" fmla="*/ 1 h 59"/>
                <a:gd name="T24" fmla="*/ 1 w 69"/>
                <a:gd name="T25" fmla="*/ 1 h 59"/>
                <a:gd name="T26" fmla="*/ 1 w 69"/>
                <a:gd name="T27" fmla="*/ 1 h 59"/>
                <a:gd name="T28" fmla="*/ 1 w 69"/>
                <a:gd name="T29" fmla="*/ 1 h 59"/>
                <a:gd name="T30" fmla="*/ 1 w 69"/>
                <a:gd name="T31" fmla="*/ 1 h 59"/>
                <a:gd name="T32" fmla="*/ 1 w 69"/>
                <a:gd name="T33" fmla="*/ 1 h 59"/>
                <a:gd name="T34" fmla="*/ 0 w 69"/>
                <a:gd name="T35" fmla="*/ 1 h 5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9"/>
                <a:gd name="T55" fmla="*/ 0 h 59"/>
                <a:gd name="T56" fmla="*/ 69 w 69"/>
                <a:gd name="T57" fmla="*/ 59 h 5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9" h="59">
                  <a:moveTo>
                    <a:pt x="0" y="39"/>
                  </a:moveTo>
                  <a:lnTo>
                    <a:pt x="1" y="20"/>
                  </a:lnTo>
                  <a:lnTo>
                    <a:pt x="1" y="3"/>
                  </a:lnTo>
                  <a:lnTo>
                    <a:pt x="9" y="0"/>
                  </a:lnTo>
                  <a:lnTo>
                    <a:pt x="15" y="11"/>
                  </a:lnTo>
                  <a:lnTo>
                    <a:pt x="25" y="15"/>
                  </a:lnTo>
                  <a:lnTo>
                    <a:pt x="31" y="20"/>
                  </a:lnTo>
                  <a:lnTo>
                    <a:pt x="62" y="10"/>
                  </a:lnTo>
                  <a:lnTo>
                    <a:pt x="66" y="12"/>
                  </a:lnTo>
                  <a:lnTo>
                    <a:pt x="69" y="20"/>
                  </a:lnTo>
                  <a:lnTo>
                    <a:pt x="54" y="34"/>
                  </a:lnTo>
                  <a:lnTo>
                    <a:pt x="63" y="52"/>
                  </a:lnTo>
                  <a:lnTo>
                    <a:pt x="43" y="59"/>
                  </a:lnTo>
                  <a:lnTo>
                    <a:pt x="40" y="44"/>
                  </a:lnTo>
                  <a:lnTo>
                    <a:pt x="37" y="48"/>
                  </a:lnTo>
                  <a:lnTo>
                    <a:pt x="26" y="39"/>
                  </a:lnTo>
                  <a:lnTo>
                    <a:pt x="6" y="32"/>
                  </a:lnTo>
                  <a:lnTo>
                    <a:pt x="0" y="39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238" name="Freeform 66"/>
            <p:cNvSpPr>
              <a:spLocks/>
            </p:cNvSpPr>
            <p:nvPr/>
          </p:nvSpPr>
          <p:spPr bwMode="auto">
            <a:xfrm>
              <a:off x="1549" y="1926"/>
              <a:ext cx="35" cy="39"/>
            </a:xfrm>
            <a:custGeom>
              <a:avLst/>
              <a:gdLst>
                <a:gd name="T0" fmla="*/ 1 w 52"/>
                <a:gd name="T1" fmla="*/ 1 h 55"/>
                <a:gd name="T2" fmla="*/ 1 w 52"/>
                <a:gd name="T3" fmla="*/ 1 h 55"/>
                <a:gd name="T4" fmla="*/ 1 w 52"/>
                <a:gd name="T5" fmla="*/ 1 h 55"/>
                <a:gd name="T6" fmla="*/ 1 w 52"/>
                <a:gd name="T7" fmla="*/ 1 h 55"/>
                <a:gd name="T8" fmla="*/ 1 w 52"/>
                <a:gd name="T9" fmla="*/ 1 h 55"/>
                <a:gd name="T10" fmla="*/ 1 w 52"/>
                <a:gd name="T11" fmla="*/ 1 h 55"/>
                <a:gd name="T12" fmla="*/ 1 w 52"/>
                <a:gd name="T13" fmla="*/ 1 h 55"/>
                <a:gd name="T14" fmla="*/ 0 w 52"/>
                <a:gd name="T15" fmla="*/ 0 h 55"/>
                <a:gd name="T16" fmla="*/ 1 w 52"/>
                <a:gd name="T17" fmla="*/ 1 h 55"/>
                <a:gd name="T18" fmla="*/ 1 w 52"/>
                <a:gd name="T19" fmla="*/ 1 h 55"/>
                <a:gd name="T20" fmla="*/ 1 w 52"/>
                <a:gd name="T21" fmla="*/ 1 h 55"/>
                <a:gd name="T22" fmla="*/ 1 w 52"/>
                <a:gd name="T23" fmla="*/ 1 h 55"/>
                <a:gd name="T24" fmla="*/ 1 w 52"/>
                <a:gd name="T25" fmla="*/ 1 h 55"/>
                <a:gd name="T26" fmla="*/ 1 w 52"/>
                <a:gd name="T27" fmla="*/ 1 h 55"/>
                <a:gd name="T28" fmla="*/ 1 w 52"/>
                <a:gd name="T29" fmla="*/ 1 h 55"/>
                <a:gd name="T30" fmla="*/ 1 w 52"/>
                <a:gd name="T31" fmla="*/ 1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2"/>
                <a:gd name="T49" fmla="*/ 0 h 55"/>
                <a:gd name="T50" fmla="*/ 52 w 52"/>
                <a:gd name="T51" fmla="*/ 55 h 5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2" h="55">
                  <a:moveTo>
                    <a:pt x="30" y="30"/>
                  </a:moveTo>
                  <a:lnTo>
                    <a:pt x="39" y="31"/>
                  </a:lnTo>
                  <a:lnTo>
                    <a:pt x="35" y="26"/>
                  </a:lnTo>
                  <a:lnTo>
                    <a:pt x="29" y="25"/>
                  </a:lnTo>
                  <a:lnTo>
                    <a:pt x="23" y="18"/>
                  </a:lnTo>
                  <a:lnTo>
                    <a:pt x="8" y="12"/>
                  </a:lnTo>
                  <a:lnTo>
                    <a:pt x="2" y="6"/>
                  </a:lnTo>
                  <a:lnTo>
                    <a:pt x="0" y="0"/>
                  </a:lnTo>
                  <a:lnTo>
                    <a:pt x="22" y="1"/>
                  </a:lnTo>
                  <a:lnTo>
                    <a:pt x="36" y="11"/>
                  </a:lnTo>
                  <a:lnTo>
                    <a:pt x="51" y="20"/>
                  </a:lnTo>
                  <a:lnTo>
                    <a:pt x="52" y="39"/>
                  </a:lnTo>
                  <a:lnTo>
                    <a:pt x="44" y="45"/>
                  </a:lnTo>
                  <a:lnTo>
                    <a:pt x="39" y="55"/>
                  </a:lnTo>
                  <a:lnTo>
                    <a:pt x="33" y="48"/>
                  </a:lnTo>
                  <a:lnTo>
                    <a:pt x="30" y="3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239" name="Freeform 67"/>
            <p:cNvSpPr>
              <a:spLocks/>
            </p:cNvSpPr>
            <p:nvPr/>
          </p:nvSpPr>
          <p:spPr bwMode="auto">
            <a:xfrm>
              <a:off x="1932" y="1992"/>
              <a:ext cx="46" cy="62"/>
            </a:xfrm>
            <a:custGeom>
              <a:avLst/>
              <a:gdLst>
                <a:gd name="T0" fmla="*/ 1 w 65"/>
                <a:gd name="T1" fmla="*/ 1 h 88"/>
                <a:gd name="T2" fmla="*/ 1 w 65"/>
                <a:gd name="T3" fmla="*/ 1 h 88"/>
                <a:gd name="T4" fmla="*/ 1 w 65"/>
                <a:gd name="T5" fmla="*/ 0 h 88"/>
                <a:gd name="T6" fmla="*/ 1 w 65"/>
                <a:gd name="T7" fmla="*/ 1 h 88"/>
                <a:gd name="T8" fmla="*/ 1 w 65"/>
                <a:gd name="T9" fmla="*/ 1 h 88"/>
                <a:gd name="T10" fmla="*/ 1 w 65"/>
                <a:gd name="T11" fmla="*/ 1 h 88"/>
                <a:gd name="T12" fmla="*/ 0 w 65"/>
                <a:gd name="T13" fmla="*/ 1 h 88"/>
                <a:gd name="T14" fmla="*/ 1 w 65"/>
                <a:gd name="T15" fmla="*/ 1 h 88"/>
                <a:gd name="T16" fmla="*/ 1 w 65"/>
                <a:gd name="T17" fmla="*/ 1 h 88"/>
                <a:gd name="T18" fmla="*/ 1 w 65"/>
                <a:gd name="T19" fmla="*/ 1 h 88"/>
                <a:gd name="T20" fmla="*/ 1 w 65"/>
                <a:gd name="T21" fmla="*/ 1 h 88"/>
                <a:gd name="T22" fmla="*/ 1 w 65"/>
                <a:gd name="T23" fmla="*/ 1 h 88"/>
                <a:gd name="T24" fmla="*/ 1 w 65"/>
                <a:gd name="T25" fmla="*/ 1 h 88"/>
                <a:gd name="T26" fmla="*/ 1 w 65"/>
                <a:gd name="T27" fmla="*/ 1 h 8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5"/>
                <a:gd name="T43" fmla="*/ 0 h 88"/>
                <a:gd name="T44" fmla="*/ 65 w 65"/>
                <a:gd name="T45" fmla="*/ 88 h 8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5" h="88">
                  <a:moveTo>
                    <a:pt x="51" y="23"/>
                  </a:moveTo>
                  <a:lnTo>
                    <a:pt x="30" y="5"/>
                  </a:lnTo>
                  <a:lnTo>
                    <a:pt x="15" y="0"/>
                  </a:lnTo>
                  <a:lnTo>
                    <a:pt x="11" y="9"/>
                  </a:lnTo>
                  <a:lnTo>
                    <a:pt x="4" y="30"/>
                  </a:lnTo>
                  <a:lnTo>
                    <a:pt x="12" y="60"/>
                  </a:lnTo>
                  <a:lnTo>
                    <a:pt x="0" y="84"/>
                  </a:lnTo>
                  <a:lnTo>
                    <a:pt x="15" y="87"/>
                  </a:lnTo>
                  <a:lnTo>
                    <a:pt x="36" y="88"/>
                  </a:lnTo>
                  <a:lnTo>
                    <a:pt x="51" y="65"/>
                  </a:lnTo>
                  <a:lnTo>
                    <a:pt x="65" y="42"/>
                  </a:lnTo>
                  <a:lnTo>
                    <a:pt x="59" y="28"/>
                  </a:lnTo>
                  <a:lnTo>
                    <a:pt x="59" y="33"/>
                  </a:lnTo>
                  <a:lnTo>
                    <a:pt x="51" y="2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40" name="Freeform 68"/>
            <p:cNvSpPr>
              <a:spLocks/>
            </p:cNvSpPr>
            <p:nvPr/>
          </p:nvSpPr>
          <p:spPr bwMode="auto">
            <a:xfrm>
              <a:off x="1558" y="1876"/>
              <a:ext cx="184" cy="289"/>
            </a:xfrm>
            <a:custGeom>
              <a:avLst/>
              <a:gdLst>
                <a:gd name="T0" fmla="*/ 1 w 263"/>
                <a:gd name="T1" fmla="*/ 1 h 410"/>
                <a:gd name="T2" fmla="*/ 1 w 263"/>
                <a:gd name="T3" fmla="*/ 1 h 410"/>
                <a:gd name="T4" fmla="*/ 1 w 263"/>
                <a:gd name="T5" fmla="*/ 1 h 410"/>
                <a:gd name="T6" fmla="*/ 1 w 263"/>
                <a:gd name="T7" fmla="*/ 1 h 410"/>
                <a:gd name="T8" fmla="*/ 1 w 263"/>
                <a:gd name="T9" fmla="*/ 1 h 410"/>
                <a:gd name="T10" fmla="*/ 1 w 263"/>
                <a:gd name="T11" fmla="*/ 1 h 410"/>
                <a:gd name="T12" fmla="*/ 1 w 263"/>
                <a:gd name="T13" fmla="*/ 1 h 410"/>
                <a:gd name="T14" fmla="*/ 1 w 263"/>
                <a:gd name="T15" fmla="*/ 1 h 410"/>
                <a:gd name="T16" fmla="*/ 1 w 263"/>
                <a:gd name="T17" fmla="*/ 1 h 410"/>
                <a:gd name="T18" fmla="*/ 1 w 263"/>
                <a:gd name="T19" fmla="*/ 2 h 410"/>
                <a:gd name="T20" fmla="*/ 1 w 263"/>
                <a:gd name="T21" fmla="*/ 2 h 410"/>
                <a:gd name="T22" fmla="*/ 1 w 263"/>
                <a:gd name="T23" fmla="*/ 2 h 410"/>
                <a:gd name="T24" fmla="*/ 1 w 263"/>
                <a:gd name="T25" fmla="*/ 2 h 410"/>
                <a:gd name="T26" fmla="*/ 1 w 263"/>
                <a:gd name="T27" fmla="*/ 2 h 410"/>
                <a:gd name="T28" fmla="*/ 1 w 263"/>
                <a:gd name="T29" fmla="*/ 2 h 410"/>
                <a:gd name="T30" fmla="*/ 1 w 263"/>
                <a:gd name="T31" fmla="*/ 3 h 410"/>
                <a:gd name="T32" fmla="*/ 1 w 263"/>
                <a:gd name="T33" fmla="*/ 3 h 410"/>
                <a:gd name="T34" fmla="*/ 1 w 263"/>
                <a:gd name="T35" fmla="*/ 3 h 410"/>
                <a:gd name="T36" fmla="*/ 1 w 263"/>
                <a:gd name="T37" fmla="*/ 3 h 410"/>
                <a:gd name="T38" fmla="*/ 1 w 263"/>
                <a:gd name="T39" fmla="*/ 3 h 410"/>
                <a:gd name="T40" fmla="*/ 1 w 263"/>
                <a:gd name="T41" fmla="*/ 2 h 410"/>
                <a:gd name="T42" fmla="*/ 1 w 263"/>
                <a:gd name="T43" fmla="*/ 2 h 410"/>
                <a:gd name="T44" fmla="*/ 1 w 263"/>
                <a:gd name="T45" fmla="*/ 2 h 410"/>
                <a:gd name="T46" fmla="*/ 1 w 263"/>
                <a:gd name="T47" fmla="*/ 2 h 410"/>
                <a:gd name="T48" fmla="*/ 1 w 263"/>
                <a:gd name="T49" fmla="*/ 2 h 410"/>
                <a:gd name="T50" fmla="*/ 1 w 263"/>
                <a:gd name="T51" fmla="*/ 2 h 410"/>
                <a:gd name="T52" fmla="*/ 1 w 263"/>
                <a:gd name="T53" fmla="*/ 2 h 410"/>
                <a:gd name="T54" fmla="*/ 1 w 263"/>
                <a:gd name="T55" fmla="*/ 1 h 410"/>
                <a:gd name="T56" fmla="*/ 1 w 263"/>
                <a:gd name="T57" fmla="*/ 1 h 410"/>
                <a:gd name="T58" fmla="*/ 1 w 263"/>
                <a:gd name="T59" fmla="*/ 1 h 410"/>
                <a:gd name="T60" fmla="*/ 1 w 263"/>
                <a:gd name="T61" fmla="*/ 1 h 410"/>
                <a:gd name="T62" fmla="*/ 1 w 263"/>
                <a:gd name="T63" fmla="*/ 1 h 410"/>
                <a:gd name="T64" fmla="*/ 1 w 263"/>
                <a:gd name="T65" fmla="*/ 1 h 410"/>
                <a:gd name="T66" fmla="*/ 1 w 263"/>
                <a:gd name="T67" fmla="*/ 1 h 410"/>
                <a:gd name="T68" fmla="*/ 1 w 263"/>
                <a:gd name="T69" fmla="*/ 1 h 410"/>
                <a:gd name="T70" fmla="*/ 1 w 263"/>
                <a:gd name="T71" fmla="*/ 1 h 410"/>
                <a:gd name="T72" fmla="*/ 1 w 263"/>
                <a:gd name="T73" fmla="*/ 1 h 410"/>
                <a:gd name="T74" fmla="*/ 1 w 263"/>
                <a:gd name="T75" fmla="*/ 1 h 41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63"/>
                <a:gd name="T115" fmla="*/ 0 h 410"/>
                <a:gd name="T116" fmla="*/ 263 w 263"/>
                <a:gd name="T117" fmla="*/ 410 h 41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63" h="410">
                  <a:moveTo>
                    <a:pt x="111" y="28"/>
                  </a:moveTo>
                  <a:lnTo>
                    <a:pt x="104" y="38"/>
                  </a:lnTo>
                  <a:lnTo>
                    <a:pt x="106" y="34"/>
                  </a:lnTo>
                  <a:lnTo>
                    <a:pt x="94" y="34"/>
                  </a:lnTo>
                  <a:lnTo>
                    <a:pt x="78" y="54"/>
                  </a:lnTo>
                  <a:lnTo>
                    <a:pt x="75" y="72"/>
                  </a:lnTo>
                  <a:lnTo>
                    <a:pt x="51" y="96"/>
                  </a:lnTo>
                  <a:lnTo>
                    <a:pt x="48" y="109"/>
                  </a:lnTo>
                  <a:lnTo>
                    <a:pt x="44" y="97"/>
                  </a:lnTo>
                  <a:lnTo>
                    <a:pt x="39" y="91"/>
                  </a:lnTo>
                  <a:lnTo>
                    <a:pt x="40" y="110"/>
                  </a:lnTo>
                  <a:lnTo>
                    <a:pt x="32" y="116"/>
                  </a:lnTo>
                  <a:lnTo>
                    <a:pt x="27" y="126"/>
                  </a:lnTo>
                  <a:lnTo>
                    <a:pt x="33" y="137"/>
                  </a:lnTo>
                  <a:lnTo>
                    <a:pt x="38" y="160"/>
                  </a:lnTo>
                  <a:lnTo>
                    <a:pt x="33" y="170"/>
                  </a:lnTo>
                  <a:lnTo>
                    <a:pt x="34" y="188"/>
                  </a:lnTo>
                  <a:lnTo>
                    <a:pt x="36" y="208"/>
                  </a:lnTo>
                  <a:lnTo>
                    <a:pt x="39" y="210"/>
                  </a:lnTo>
                  <a:lnTo>
                    <a:pt x="24" y="238"/>
                  </a:lnTo>
                  <a:lnTo>
                    <a:pt x="11" y="244"/>
                  </a:lnTo>
                  <a:lnTo>
                    <a:pt x="6" y="258"/>
                  </a:lnTo>
                  <a:lnTo>
                    <a:pt x="0" y="262"/>
                  </a:lnTo>
                  <a:lnTo>
                    <a:pt x="2" y="270"/>
                  </a:lnTo>
                  <a:lnTo>
                    <a:pt x="20" y="283"/>
                  </a:lnTo>
                  <a:lnTo>
                    <a:pt x="33" y="296"/>
                  </a:lnTo>
                  <a:lnTo>
                    <a:pt x="54" y="296"/>
                  </a:lnTo>
                  <a:lnTo>
                    <a:pt x="78" y="308"/>
                  </a:lnTo>
                  <a:lnTo>
                    <a:pt x="80" y="307"/>
                  </a:lnTo>
                  <a:lnTo>
                    <a:pt x="93" y="319"/>
                  </a:lnTo>
                  <a:lnTo>
                    <a:pt x="105" y="331"/>
                  </a:lnTo>
                  <a:lnTo>
                    <a:pt x="122" y="350"/>
                  </a:lnTo>
                  <a:lnTo>
                    <a:pt x="126" y="362"/>
                  </a:lnTo>
                  <a:lnTo>
                    <a:pt x="153" y="362"/>
                  </a:lnTo>
                  <a:lnTo>
                    <a:pt x="170" y="364"/>
                  </a:lnTo>
                  <a:lnTo>
                    <a:pt x="192" y="371"/>
                  </a:lnTo>
                  <a:lnTo>
                    <a:pt x="184" y="401"/>
                  </a:lnTo>
                  <a:lnTo>
                    <a:pt x="197" y="410"/>
                  </a:lnTo>
                  <a:lnTo>
                    <a:pt x="202" y="376"/>
                  </a:lnTo>
                  <a:lnTo>
                    <a:pt x="208" y="341"/>
                  </a:lnTo>
                  <a:lnTo>
                    <a:pt x="198" y="316"/>
                  </a:lnTo>
                  <a:lnTo>
                    <a:pt x="194" y="292"/>
                  </a:lnTo>
                  <a:lnTo>
                    <a:pt x="209" y="290"/>
                  </a:lnTo>
                  <a:lnTo>
                    <a:pt x="213" y="284"/>
                  </a:lnTo>
                  <a:lnTo>
                    <a:pt x="201" y="280"/>
                  </a:lnTo>
                  <a:lnTo>
                    <a:pt x="198" y="263"/>
                  </a:lnTo>
                  <a:lnTo>
                    <a:pt x="218" y="263"/>
                  </a:lnTo>
                  <a:lnTo>
                    <a:pt x="236" y="263"/>
                  </a:lnTo>
                  <a:lnTo>
                    <a:pt x="233" y="259"/>
                  </a:lnTo>
                  <a:lnTo>
                    <a:pt x="239" y="262"/>
                  </a:lnTo>
                  <a:lnTo>
                    <a:pt x="251" y="253"/>
                  </a:lnTo>
                  <a:lnTo>
                    <a:pt x="260" y="274"/>
                  </a:lnTo>
                  <a:lnTo>
                    <a:pt x="263" y="276"/>
                  </a:lnTo>
                  <a:lnTo>
                    <a:pt x="258" y="256"/>
                  </a:lnTo>
                  <a:lnTo>
                    <a:pt x="246" y="236"/>
                  </a:lnTo>
                  <a:lnTo>
                    <a:pt x="254" y="224"/>
                  </a:lnTo>
                  <a:lnTo>
                    <a:pt x="243" y="194"/>
                  </a:lnTo>
                  <a:lnTo>
                    <a:pt x="249" y="173"/>
                  </a:lnTo>
                  <a:lnTo>
                    <a:pt x="254" y="152"/>
                  </a:lnTo>
                  <a:lnTo>
                    <a:pt x="234" y="154"/>
                  </a:lnTo>
                  <a:lnTo>
                    <a:pt x="215" y="155"/>
                  </a:lnTo>
                  <a:lnTo>
                    <a:pt x="196" y="133"/>
                  </a:lnTo>
                  <a:lnTo>
                    <a:pt x="179" y="132"/>
                  </a:lnTo>
                  <a:lnTo>
                    <a:pt x="162" y="131"/>
                  </a:lnTo>
                  <a:lnTo>
                    <a:pt x="147" y="122"/>
                  </a:lnTo>
                  <a:lnTo>
                    <a:pt x="147" y="107"/>
                  </a:lnTo>
                  <a:lnTo>
                    <a:pt x="136" y="79"/>
                  </a:lnTo>
                  <a:lnTo>
                    <a:pt x="128" y="78"/>
                  </a:lnTo>
                  <a:lnTo>
                    <a:pt x="136" y="58"/>
                  </a:lnTo>
                  <a:lnTo>
                    <a:pt x="149" y="37"/>
                  </a:lnTo>
                  <a:lnTo>
                    <a:pt x="161" y="17"/>
                  </a:lnTo>
                  <a:lnTo>
                    <a:pt x="176" y="12"/>
                  </a:lnTo>
                  <a:lnTo>
                    <a:pt x="178" y="0"/>
                  </a:lnTo>
                  <a:lnTo>
                    <a:pt x="165" y="1"/>
                  </a:lnTo>
                  <a:lnTo>
                    <a:pt x="144" y="13"/>
                  </a:lnTo>
                  <a:lnTo>
                    <a:pt x="124" y="26"/>
                  </a:lnTo>
                  <a:lnTo>
                    <a:pt x="111" y="2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41" name="Freeform 69"/>
            <p:cNvSpPr>
              <a:spLocks/>
            </p:cNvSpPr>
            <p:nvPr/>
          </p:nvSpPr>
          <p:spPr bwMode="auto">
            <a:xfrm>
              <a:off x="1829" y="1943"/>
              <a:ext cx="75" cy="125"/>
            </a:xfrm>
            <a:custGeom>
              <a:avLst/>
              <a:gdLst>
                <a:gd name="T0" fmla="*/ 1 w 106"/>
                <a:gd name="T1" fmla="*/ 1 h 177"/>
                <a:gd name="T2" fmla="*/ 1 w 106"/>
                <a:gd name="T3" fmla="*/ 1 h 177"/>
                <a:gd name="T4" fmla="*/ 1 w 106"/>
                <a:gd name="T5" fmla="*/ 1 h 177"/>
                <a:gd name="T6" fmla="*/ 1 w 106"/>
                <a:gd name="T7" fmla="*/ 1 h 177"/>
                <a:gd name="T8" fmla="*/ 1 w 106"/>
                <a:gd name="T9" fmla="*/ 1 h 177"/>
                <a:gd name="T10" fmla="*/ 1 w 106"/>
                <a:gd name="T11" fmla="*/ 1 h 177"/>
                <a:gd name="T12" fmla="*/ 1 w 106"/>
                <a:gd name="T13" fmla="*/ 1 h 177"/>
                <a:gd name="T14" fmla="*/ 1 w 106"/>
                <a:gd name="T15" fmla="*/ 1 h 177"/>
                <a:gd name="T16" fmla="*/ 1 w 106"/>
                <a:gd name="T17" fmla="*/ 1 h 177"/>
                <a:gd name="T18" fmla="*/ 1 w 106"/>
                <a:gd name="T19" fmla="*/ 1 h 177"/>
                <a:gd name="T20" fmla="*/ 1 w 106"/>
                <a:gd name="T21" fmla="*/ 1 h 177"/>
                <a:gd name="T22" fmla="*/ 1 w 106"/>
                <a:gd name="T23" fmla="*/ 1 h 177"/>
                <a:gd name="T24" fmla="*/ 1 w 106"/>
                <a:gd name="T25" fmla="*/ 0 h 177"/>
                <a:gd name="T26" fmla="*/ 1 w 106"/>
                <a:gd name="T27" fmla="*/ 1 h 177"/>
                <a:gd name="T28" fmla="*/ 1 w 106"/>
                <a:gd name="T29" fmla="*/ 1 h 177"/>
                <a:gd name="T30" fmla="*/ 1 w 106"/>
                <a:gd name="T31" fmla="*/ 1 h 177"/>
                <a:gd name="T32" fmla="*/ 1 w 106"/>
                <a:gd name="T33" fmla="*/ 1 h 177"/>
                <a:gd name="T34" fmla="*/ 0 w 106"/>
                <a:gd name="T35" fmla="*/ 1 h 177"/>
                <a:gd name="T36" fmla="*/ 1 w 106"/>
                <a:gd name="T37" fmla="*/ 1 h 177"/>
                <a:gd name="T38" fmla="*/ 1 w 106"/>
                <a:gd name="T39" fmla="*/ 1 h 177"/>
                <a:gd name="T40" fmla="*/ 1 w 106"/>
                <a:gd name="T41" fmla="*/ 1 h 177"/>
                <a:gd name="T42" fmla="*/ 1 w 106"/>
                <a:gd name="T43" fmla="*/ 1 h 177"/>
                <a:gd name="T44" fmla="*/ 1 w 106"/>
                <a:gd name="T45" fmla="*/ 1 h 177"/>
                <a:gd name="T46" fmla="*/ 1 w 106"/>
                <a:gd name="T47" fmla="*/ 1 h 177"/>
                <a:gd name="T48" fmla="*/ 1 w 106"/>
                <a:gd name="T49" fmla="*/ 1 h 177"/>
                <a:gd name="T50" fmla="*/ 1 w 106"/>
                <a:gd name="T51" fmla="*/ 1 h 177"/>
                <a:gd name="T52" fmla="*/ 1 w 106"/>
                <a:gd name="T53" fmla="*/ 1 h 177"/>
                <a:gd name="T54" fmla="*/ 1 w 106"/>
                <a:gd name="T55" fmla="*/ 1 h 177"/>
                <a:gd name="T56" fmla="*/ 1 w 106"/>
                <a:gd name="T57" fmla="*/ 1 h 177"/>
                <a:gd name="T58" fmla="*/ 1 w 106"/>
                <a:gd name="T59" fmla="*/ 1 h 177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06"/>
                <a:gd name="T91" fmla="*/ 0 h 177"/>
                <a:gd name="T92" fmla="*/ 106 w 106"/>
                <a:gd name="T93" fmla="*/ 177 h 177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06" h="177">
                  <a:moveTo>
                    <a:pt x="84" y="128"/>
                  </a:moveTo>
                  <a:lnTo>
                    <a:pt x="73" y="114"/>
                  </a:lnTo>
                  <a:lnTo>
                    <a:pt x="75" y="92"/>
                  </a:lnTo>
                  <a:lnTo>
                    <a:pt x="85" y="87"/>
                  </a:lnTo>
                  <a:lnTo>
                    <a:pt x="90" y="75"/>
                  </a:lnTo>
                  <a:lnTo>
                    <a:pt x="89" y="55"/>
                  </a:lnTo>
                  <a:lnTo>
                    <a:pt x="65" y="41"/>
                  </a:lnTo>
                  <a:lnTo>
                    <a:pt x="60" y="50"/>
                  </a:lnTo>
                  <a:lnTo>
                    <a:pt x="62" y="25"/>
                  </a:lnTo>
                  <a:lnTo>
                    <a:pt x="49" y="14"/>
                  </a:lnTo>
                  <a:lnTo>
                    <a:pt x="37" y="3"/>
                  </a:lnTo>
                  <a:lnTo>
                    <a:pt x="42" y="7"/>
                  </a:lnTo>
                  <a:lnTo>
                    <a:pt x="32" y="0"/>
                  </a:lnTo>
                  <a:lnTo>
                    <a:pt x="36" y="5"/>
                  </a:lnTo>
                  <a:lnTo>
                    <a:pt x="15" y="24"/>
                  </a:lnTo>
                  <a:lnTo>
                    <a:pt x="24" y="35"/>
                  </a:lnTo>
                  <a:lnTo>
                    <a:pt x="8" y="44"/>
                  </a:lnTo>
                  <a:lnTo>
                    <a:pt x="0" y="62"/>
                  </a:lnTo>
                  <a:lnTo>
                    <a:pt x="13" y="81"/>
                  </a:lnTo>
                  <a:lnTo>
                    <a:pt x="25" y="81"/>
                  </a:lnTo>
                  <a:lnTo>
                    <a:pt x="27" y="95"/>
                  </a:lnTo>
                  <a:lnTo>
                    <a:pt x="36" y="108"/>
                  </a:lnTo>
                  <a:lnTo>
                    <a:pt x="31" y="131"/>
                  </a:lnTo>
                  <a:lnTo>
                    <a:pt x="33" y="159"/>
                  </a:lnTo>
                  <a:lnTo>
                    <a:pt x="48" y="177"/>
                  </a:lnTo>
                  <a:lnTo>
                    <a:pt x="61" y="177"/>
                  </a:lnTo>
                  <a:lnTo>
                    <a:pt x="83" y="167"/>
                  </a:lnTo>
                  <a:lnTo>
                    <a:pt x="106" y="163"/>
                  </a:lnTo>
                  <a:lnTo>
                    <a:pt x="95" y="145"/>
                  </a:lnTo>
                  <a:lnTo>
                    <a:pt x="84" y="12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42" name="Freeform 70"/>
            <p:cNvSpPr>
              <a:spLocks/>
            </p:cNvSpPr>
            <p:nvPr/>
          </p:nvSpPr>
          <p:spPr bwMode="auto">
            <a:xfrm>
              <a:off x="1881" y="1989"/>
              <a:ext cx="59" cy="70"/>
            </a:xfrm>
            <a:custGeom>
              <a:avLst/>
              <a:gdLst>
                <a:gd name="T0" fmla="*/ 1 w 85"/>
                <a:gd name="T1" fmla="*/ 1 h 100"/>
                <a:gd name="T2" fmla="*/ 0 w 85"/>
                <a:gd name="T3" fmla="*/ 1 h 100"/>
                <a:gd name="T4" fmla="*/ 1 w 85"/>
                <a:gd name="T5" fmla="*/ 1 h 100"/>
                <a:gd name="T6" fmla="*/ 1 w 85"/>
                <a:gd name="T7" fmla="*/ 1 h 100"/>
                <a:gd name="T8" fmla="*/ 1 w 85"/>
                <a:gd name="T9" fmla="*/ 1 h 100"/>
                <a:gd name="T10" fmla="*/ 1 w 85"/>
                <a:gd name="T11" fmla="*/ 0 h 100"/>
                <a:gd name="T12" fmla="*/ 1 w 85"/>
                <a:gd name="T13" fmla="*/ 1 h 100"/>
                <a:gd name="T14" fmla="*/ 1 w 85"/>
                <a:gd name="T15" fmla="*/ 1 h 100"/>
                <a:gd name="T16" fmla="*/ 1 w 85"/>
                <a:gd name="T17" fmla="*/ 0 h 100"/>
                <a:gd name="T18" fmla="*/ 1 w 85"/>
                <a:gd name="T19" fmla="*/ 1 h 100"/>
                <a:gd name="T20" fmla="*/ 1 w 85"/>
                <a:gd name="T21" fmla="*/ 1 h 100"/>
                <a:gd name="T22" fmla="*/ 1 w 85"/>
                <a:gd name="T23" fmla="*/ 1 h 100"/>
                <a:gd name="T24" fmla="*/ 1 w 85"/>
                <a:gd name="T25" fmla="*/ 1 h 100"/>
                <a:gd name="T26" fmla="*/ 1 w 85"/>
                <a:gd name="T27" fmla="*/ 1 h 100"/>
                <a:gd name="T28" fmla="*/ 1 w 85"/>
                <a:gd name="T29" fmla="*/ 1 h 100"/>
                <a:gd name="T30" fmla="*/ 1 w 85"/>
                <a:gd name="T31" fmla="*/ 1 h 100"/>
                <a:gd name="T32" fmla="*/ 1 w 85"/>
                <a:gd name="T33" fmla="*/ 1 h 100"/>
                <a:gd name="T34" fmla="*/ 1 w 85"/>
                <a:gd name="T35" fmla="*/ 1 h 100"/>
                <a:gd name="T36" fmla="*/ 1 w 85"/>
                <a:gd name="T37" fmla="*/ 1 h 100"/>
                <a:gd name="T38" fmla="*/ 1 w 85"/>
                <a:gd name="T39" fmla="*/ 1 h 10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5"/>
                <a:gd name="T61" fmla="*/ 0 h 100"/>
                <a:gd name="T62" fmla="*/ 85 w 85"/>
                <a:gd name="T63" fmla="*/ 100 h 10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5" h="100">
                  <a:moveTo>
                    <a:pt x="11" y="63"/>
                  </a:moveTo>
                  <a:lnTo>
                    <a:pt x="0" y="49"/>
                  </a:lnTo>
                  <a:lnTo>
                    <a:pt x="2" y="27"/>
                  </a:lnTo>
                  <a:lnTo>
                    <a:pt x="12" y="22"/>
                  </a:lnTo>
                  <a:lnTo>
                    <a:pt x="17" y="10"/>
                  </a:lnTo>
                  <a:lnTo>
                    <a:pt x="21" y="0"/>
                  </a:lnTo>
                  <a:lnTo>
                    <a:pt x="46" y="2"/>
                  </a:lnTo>
                  <a:lnTo>
                    <a:pt x="66" y="1"/>
                  </a:lnTo>
                  <a:lnTo>
                    <a:pt x="65" y="0"/>
                  </a:lnTo>
                  <a:lnTo>
                    <a:pt x="85" y="1"/>
                  </a:lnTo>
                  <a:lnTo>
                    <a:pt x="84" y="13"/>
                  </a:lnTo>
                  <a:lnTo>
                    <a:pt x="77" y="34"/>
                  </a:lnTo>
                  <a:lnTo>
                    <a:pt x="85" y="64"/>
                  </a:lnTo>
                  <a:lnTo>
                    <a:pt x="73" y="88"/>
                  </a:lnTo>
                  <a:lnTo>
                    <a:pt x="60" y="84"/>
                  </a:lnTo>
                  <a:lnTo>
                    <a:pt x="41" y="87"/>
                  </a:lnTo>
                  <a:lnTo>
                    <a:pt x="42" y="100"/>
                  </a:lnTo>
                  <a:lnTo>
                    <a:pt x="33" y="98"/>
                  </a:lnTo>
                  <a:lnTo>
                    <a:pt x="22" y="80"/>
                  </a:lnTo>
                  <a:lnTo>
                    <a:pt x="11" y="6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43" name="Freeform 71"/>
            <p:cNvSpPr>
              <a:spLocks/>
            </p:cNvSpPr>
            <p:nvPr/>
          </p:nvSpPr>
          <p:spPr bwMode="auto">
            <a:xfrm>
              <a:off x="1825" y="1905"/>
              <a:ext cx="14" cy="11"/>
            </a:xfrm>
            <a:custGeom>
              <a:avLst/>
              <a:gdLst>
                <a:gd name="T0" fmla="*/ 1 w 19"/>
                <a:gd name="T1" fmla="*/ 0 h 16"/>
                <a:gd name="T2" fmla="*/ 1 w 19"/>
                <a:gd name="T3" fmla="*/ 0 h 16"/>
                <a:gd name="T4" fmla="*/ 1 w 19"/>
                <a:gd name="T5" fmla="*/ 1 h 16"/>
                <a:gd name="T6" fmla="*/ 0 w 19"/>
                <a:gd name="T7" fmla="*/ 1 h 16"/>
                <a:gd name="T8" fmla="*/ 1 w 19"/>
                <a:gd name="T9" fmla="*/ 1 h 16"/>
                <a:gd name="T10" fmla="*/ 1 w 19"/>
                <a:gd name="T11" fmla="*/ 0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16"/>
                <a:gd name="T20" fmla="*/ 19 w 19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16">
                  <a:moveTo>
                    <a:pt x="5" y="0"/>
                  </a:moveTo>
                  <a:lnTo>
                    <a:pt x="19" y="0"/>
                  </a:lnTo>
                  <a:lnTo>
                    <a:pt x="13" y="16"/>
                  </a:lnTo>
                  <a:lnTo>
                    <a:pt x="0" y="14"/>
                  </a:lnTo>
                  <a:lnTo>
                    <a:pt x="8" y="4"/>
                  </a:lnTo>
                  <a:lnTo>
                    <a:pt x="5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44" name="Freeform 72"/>
            <p:cNvSpPr>
              <a:spLocks/>
            </p:cNvSpPr>
            <p:nvPr/>
          </p:nvSpPr>
          <p:spPr bwMode="auto">
            <a:xfrm>
              <a:off x="1646" y="1879"/>
              <a:ext cx="208" cy="199"/>
            </a:xfrm>
            <a:custGeom>
              <a:avLst/>
              <a:gdLst>
                <a:gd name="T0" fmla="*/ 2 w 295"/>
                <a:gd name="T1" fmla="*/ 1 h 283"/>
                <a:gd name="T2" fmla="*/ 1 w 295"/>
                <a:gd name="T3" fmla="*/ 1 h 283"/>
                <a:gd name="T4" fmla="*/ 1 w 295"/>
                <a:gd name="T5" fmla="*/ 1 h 283"/>
                <a:gd name="T6" fmla="*/ 1 w 295"/>
                <a:gd name="T7" fmla="*/ 1 h 283"/>
                <a:gd name="T8" fmla="*/ 1 w 295"/>
                <a:gd name="T9" fmla="*/ 1 h 283"/>
                <a:gd name="T10" fmla="*/ 1 w 295"/>
                <a:gd name="T11" fmla="*/ 1 h 283"/>
                <a:gd name="T12" fmla="*/ 1 w 295"/>
                <a:gd name="T13" fmla="*/ 1 h 283"/>
                <a:gd name="T14" fmla="*/ 1 w 295"/>
                <a:gd name="T15" fmla="*/ 1 h 283"/>
                <a:gd name="T16" fmla="*/ 1 w 295"/>
                <a:gd name="T17" fmla="*/ 1 h 283"/>
                <a:gd name="T18" fmla="*/ 1 w 295"/>
                <a:gd name="T19" fmla="*/ 1 h 283"/>
                <a:gd name="T20" fmla="*/ 1 w 295"/>
                <a:gd name="T21" fmla="*/ 1 h 283"/>
                <a:gd name="T22" fmla="*/ 1 w 295"/>
                <a:gd name="T23" fmla="*/ 1 h 283"/>
                <a:gd name="T24" fmla="*/ 1 w 295"/>
                <a:gd name="T25" fmla="*/ 1 h 283"/>
                <a:gd name="T26" fmla="*/ 1 w 295"/>
                <a:gd name="T27" fmla="*/ 1 h 283"/>
                <a:gd name="T28" fmla="*/ 1 w 295"/>
                <a:gd name="T29" fmla="*/ 1 h 283"/>
                <a:gd name="T30" fmla="*/ 0 w 295"/>
                <a:gd name="T31" fmla="*/ 1 h 283"/>
                <a:gd name="T32" fmla="*/ 1 w 295"/>
                <a:gd name="T33" fmla="*/ 1 h 283"/>
                <a:gd name="T34" fmla="*/ 1 w 295"/>
                <a:gd name="T35" fmla="*/ 1 h 283"/>
                <a:gd name="T36" fmla="*/ 1 w 295"/>
                <a:gd name="T37" fmla="*/ 1 h 283"/>
                <a:gd name="T38" fmla="*/ 1 w 295"/>
                <a:gd name="T39" fmla="*/ 1 h 283"/>
                <a:gd name="T40" fmla="*/ 1 w 295"/>
                <a:gd name="T41" fmla="*/ 1 h 283"/>
                <a:gd name="T42" fmla="*/ 1 w 295"/>
                <a:gd name="T43" fmla="*/ 1 h 283"/>
                <a:gd name="T44" fmla="*/ 1 w 295"/>
                <a:gd name="T45" fmla="*/ 2 h 283"/>
                <a:gd name="T46" fmla="*/ 1 w 295"/>
                <a:gd name="T47" fmla="*/ 2 h 283"/>
                <a:gd name="T48" fmla="*/ 1 w 295"/>
                <a:gd name="T49" fmla="*/ 2 h 283"/>
                <a:gd name="T50" fmla="*/ 1 w 295"/>
                <a:gd name="T51" fmla="*/ 2 h 283"/>
                <a:gd name="T52" fmla="*/ 1 w 295"/>
                <a:gd name="T53" fmla="*/ 2 h 283"/>
                <a:gd name="T54" fmla="*/ 1 w 295"/>
                <a:gd name="T55" fmla="*/ 1 h 283"/>
                <a:gd name="T56" fmla="*/ 1 w 295"/>
                <a:gd name="T57" fmla="*/ 1 h 283"/>
                <a:gd name="T58" fmla="*/ 2 w 295"/>
                <a:gd name="T59" fmla="*/ 1 h 283"/>
                <a:gd name="T60" fmla="*/ 2 w 295"/>
                <a:gd name="T61" fmla="*/ 1 h 283"/>
                <a:gd name="T62" fmla="*/ 2 w 295"/>
                <a:gd name="T63" fmla="*/ 1 h 283"/>
                <a:gd name="T64" fmla="*/ 2 w 295"/>
                <a:gd name="T65" fmla="*/ 1 h 283"/>
                <a:gd name="T66" fmla="*/ 2 w 295"/>
                <a:gd name="T67" fmla="*/ 1 h 283"/>
                <a:gd name="T68" fmla="*/ 2 w 295"/>
                <a:gd name="T69" fmla="*/ 1 h 283"/>
                <a:gd name="T70" fmla="*/ 2 w 295"/>
                <a:gd name="T71" fmla="*/ 1 h 283"/>
                <a:gd name="T72" fmla="*/ 2 w 295"/>
                <a:gd name="T73" fmla="*/ 1 h 283"/>
                <a:gd name="T74" fmla="*/ 2 w 295"/>
                <a:gd name="T75" fmla="*/ 1 h 283"/>
                <a:gd name="T76" fmla="*/ 2 w 295"/>
                <a:gd name="T77" fmla="*/ 1 h 28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95"/>
                <a:gd name="T118" fmla="*/ 0 h 283"/>
                <a:gd name="T119" fmla="*/ 295 w 295"/>
                <a:gd name="T120" fmla="*/ 283 h 28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95" h="283">
                  <a:moveTo>
                    <a:pt x="244" y="61"/>
                  </a:moveTo>
                  <a:lnTo>
                    <a:pt x="243" y="57"/>
                  </a:lnTo>
                  <a:lnTo>
                    <a:pt x="238" y="52"/>
                  </a:lnTo>
                  <a:lnTo>
                    <a:pt x="230" y="52"/>
                  </a:lnTo>
                  <a:lnTo>
                    <a:pt x="234" y="51"/>
                  </a:lnTo>
                  <a:lnTo>
                    <a:pt x="228" y="45"/>
                  </a:lnTo>
                  <a:lnTo>
                    <a:pt x="250" y="38"/>
                  </a:lnTo>
                  <a:lnTo>
                    <a:pt x="226" y="38"/>
                  </a:lnTo>
                  <a:lnTo>
                    <a:pt x="202" y="38"/>
                  </a:lnTo>
                  <a:lnTo>
                    <a:pt x="211" y="42"/>
                  </a:lnTo>
                  <a:lnTo>
                    <a:pt x="189" y="51"/>
                  </a:lnTo>
                  <a:lnTo>
                    <a:pt x="159" y="42"/>
                  </a:lnTo>
                  <a:lnTo>
                    <a:pt x="139" y="42"/>
                  </a:lnTo>
                  <a:lnTo>
                    <a:pt x="118" y="42"/>
                  </a:lnTo>
                  <a:lnTo>
                    <a:pt x="111" y="26"/>
                  </a:lnTo>
                  <a:lnTo>
                    <a:pt x="87" y="16"/>
                  </a:lnTo>
                  <a:lnTo>
                    <a:pt x="78" y="0"/>
                  </a:lnTo>
                  <a:lnTo>
                    <a:pt x="72" y="10"/>
                  </a:lnTo>
                  <a:lnTo>
                    <a:pt x="82" y="16"/>
                  </a:lnTo>
                  <a:lnTo>
                    <a:pt x="76" y="16"/>
                  </a:lnTo>
                  <a:lnTo>
                    <a:pt x="48" y="28"/>
                  </a:lnTo>
                  <a:lnTo>
                    <a:pt x="44" y="34"/>
                  </a:lnTo>
                  <a:lnTo>
                    <a:pt x="50" y="66"/>
                  </a:lnTo>
                  <a:lnTo>
                    <a:pt x="40" y="78"/>
                  </a:lnTo>
                  <a:lnTo>
                    <a:pt x="28" y="61"/>
                  </a:lnTo>
                  <a:lnTo>
                    <a:pt x="39" y="39"/>
                  </a:lnTo>
                  <a:lnTo>
                    <a:pt x="33" y="19"/>
                  </a:lnTo>
                  <a:lnTo>
                    <a:pt x="48" y="8"/>
                  </a:lnTo>
                  <a:lnTo>
                    <a:pt x="33" y="13"/>
                  </a:lnTo>
                  <a:lnTo>
                    <a:pt x="21" y="33"/>
                  </a:lnTo>
                  <a:lnTo>
                    <a:pt x="8" y="54"/>
                  </a:lnTo>
                  <a:lnTo>
                    <a:pt x="0" y="74"/>
                  </a:lnTo>
                  <a:lnTo>
                    <a:pt x="8" y="75"/>
                  </a:lnTo>
                  <a:lnTo>
                    <a:pt x="19" y="103"/>
                  </a:lnTo>
                  <a:lnTo>
                    <a:pt x="19" y="118"/>
                  </a:lnTo>
                  <a:lnTo>
                    <a:pt x="34" y="127"/>
                  </a:lnTo>
                  <a:lnTo>
                    <a:pt x="51" y="128"/>
                  </a:lnTo>
                  <a:lnTo>
                    <a:pt x="68" y="129"/>
                  </a:lnTo>
                  <a:lnTo>
                    <a:pt x="87" y="151"/>
                  </a:lnTo>
                  <a:lnTo>
                    <a:pt x="106" y="150"/>
                  </a:lnTo>
                  <a:lnTo>
                    <a:pt x="126" y="148"/>
                  </a:lnTo>
                  <a:lnTo>
                    <a:pt x="121" y="169"/>
                  </a:lnTo>
                  <a:lnTo>
                    <a:pt x="115" y="190"/>
                  </a:lnTo>
                  <a:lnTo>
                    <a:pt x="126" y="220"/>
                  </a:lnTo>
                  <a:lnTo>
                    <a:pt x="118" y="232"/>
                  </a:lnTo>
                  <a:lnTo>
                    <a:pt x="130" y="252"/>
                  </a:lnTo>
                  <a:lnTo>
                    <a:pt x="135" y="272"/>
                  </a:lnTo>
                  <a:lnTo>
                    <a:pt x="153" y="283"/>
                  </a:lnTo>
                  <a:lnTo>
                    <a:pt x="165" y="282"/>
                  </a:lnTo>
                  <a:lnTo>
                    <a:pt x="168" y="283"/>
                  </a:lnTo>
                  <a:lnTo>
                    <a:pt x="190" y="266"/>
                  </a:lnTo>
                  <a:lnTo>
                    <a:pt x="210" y="249"/>
                  </a:lnTo>
                  <a:lnTo>
                    <a:pt x="213" y="242"/>
                  </a:lnTo>
                  <a:lnTo>
                    <a:pt x="199" y="237"/>
                  </a:lnTo>
                  <a:lnTo>
                    <a:pt x="193" y="210"/>
                  </a:lnTo>
                  <a:lnTo>
                    <a:pt x="186" y="196"/>
                  </a:lnTo>
                  <a:lnTo>
                    <a:pt x="207" y="204"/>
                  </a:lnTo>
                  <a:lnTo>
                    <a:pt x="228" y="211"/>
                  </a:lnTo>
                  <a:lnTo>
                    <a:pt x="231" y="202"/>
                  </a:lnTo>
                  <a:lnTo>
                    <a:pt x="249" y="194"/>
                  </a:lnTo>
                  <a:lnTo>
                    <a:pt x="267" y="187"/>
                  </a:lnTo>
                  <a:lnTo>
                    <a:pt x="273" y="174"/>
                  </a:lnTo>
                  <a:lnTo>
                    <a:pt x="272" y="172"/>
                  </a:lnTo>
                  <a:lnTo>
                    <a:pt x="259" y="153"/>
                  </a:lnTo>
                  <a:lnTo>
                    <a:pt x="267" y="135"/>
                  </a:lnTo>
                  <a:lnTo>
                    <a:pt x="283" y="126"/>
                  </a:lnTo>
                  <a:lnTo>
                    <a:pt x="274" y="115"/>
                  </a:lnTo>
                  <a:lnTo>
                    <a:pt x="295" y="96"/>
                  </a:lnTo>
                  <a:lnTo>
                    <a:pt x="291" y="91"/>
                  </a:lnTo>
                  <a:lnTo>
                    <a:pt x="270" y="90"/>
                  </a:lnTo>
                  <a:lnTo>
                    <a:pt x="255" y="90"/>
                  </a:lnTo>
                  <a:lnTo>
                    <a:pt x="260" y="88"/>
                  </a:lnTo>
                  <a:lnTo>
                    <a:pt x="268" y="76"/>
                  </a:lnTo>
                  <a:lnTo>
                    <a:pt x="273" y="72"/>
                  </a:lnTo>
                  <a:lnTo>
                    <a:pt x="260" y="60"/>
                  </a:lnTo>
                  <a:lnTo>
                    <a:pt x="252" y="61"/>
                  </a:lnTo>
                  <a:lnTo>
                    <a:pt x="243" y="56"/>
                  </a:lnTo>
                  <a:lnTo>
                    <a:pt x="244" y="6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45" name="Freeform 73"/>
            <p:cNvSpPr>
              <a:spLocks/>
            </p:cNvSpPr>
            <p:nvPr/>
          </p:nvSpPr>
          <p:spPr bwMode="auto">
            <a:xfrm>
              <a:off x="1788" y="1899"/>
              <a:ext cx="7" cy="1"/>
            </a:xfrm>
            <a:custGeom>
              <a:avLst/>
              <a:gdLst>
                <a:gd name="T0" fmla="*/ 1 w 11"/>
                <a:gd name="T1" fmla="*/ 0 h 3"/>
                <a:gd name="T2" fmla="*/ 0 w 11"/>
                <a:gd name="T3" fmla="*/ 0 h 3"/>
                <a:gd name="T4" fmla="*/ 1 w 11"/>
                <a:gd name="T5" fmla="*/ 0 h 3"/>
                <a:gd name="T6" fmla="*/ 0 60000 65536"/>
                <a:gd name="T7" fmla="*/ 0 60000 65536"/>
                <a:gd name="T8" fmla="*/ 0 60000 65536"/>
                <a:gd name="T9" fmla="*/ 0 w 11"/>
                <a:gd name="T10" fmla="*/ 0 h 3"/>
                <a:gd name="T11" fmla="*/ 11 w 11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1" h="3">
                  <a:moveTo>
                    <a:pt x="11" y="3"/>
                  </a:moveTo>
                  <a:lnTo>
                    <a:pt x="0" y="0"/>
                  </a:lnTo>
                  <a:lnTo>
                    <a:pt x="11" y="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46" name="Freeform 74"/>
            <p:cNvSpPr>
              <a:spLocks/>
            </p:cNvSpPr>
            <p:nvPr/>
          </p:nvSpPr>
          <p:spPr bwMode="auto">
            <a:xfrm>
              <a:off x="1493" y="1688"/>
              <a:ext cx="158" cy="56"/>
            </a:xfrm>
            <a:custGeom>
              <a:avLst/>
              <a:gdLst>
                <a:gd name="T0" fmla="*/ 1 w 225"/>
                <a:gd name="T1" fmla="*/ 1 h 81"/>
                <a:gd name="T2" fmla="*/ 1 w 225"/>
                <a:gd name="T3" fmla="*/ 1 h 81"/>
                <a:gd name="T4" fmla="*/ 1 w 225"/>
                <a:gd name="T5" fmla="*/ 1 h 81"/>
                <a:gd name="T6" fmla="*/ 1 w 225"/>
                <a:gd name="T7" fmla="*/ 1 h 81"/>
                <a:gd name="T8" fmla="*/ 1 w 225"/>
                <a:gd name="T9" fmla="*/ 1 h 81"/>
                <a:gd name="T10" fmla="*/ 1 w 225"/>
                <a:gd name="T11" fmla="*/ 1 h 81"/>
                <a:gd name="T12" fmla="*/ 1 w 225"/>
                <a:gd name="T13" fmla="*/ 0 h 81"/>
                <a:gd name="T14" fmla="*/ 1 w 225"/>
                <a:gd name="T15" fmla="*/ 1 h 81"/>
                <a:gd name="T16" fmla="*/ 1 w 225"/>
                <a:gd name="T17" fmla="*/ 1 h 81"/>
                <a:gd name="T18" fmla="*/ 1 w 225"/>
                <a:gd name="T19" fmla="*/ 1 h 81"/>
                <a:gd name="T20" fmla="*/ 0 w 225"/>
                <a:gd name="T21" fmla="*/ 1 h 81"/>
                <a:gd name="T22" fmla="*/ 1 w 225"/>
                <a:gd name="T23" fmla="*/ 1 h 81"/>
                <a:gd name="T24" fmla="*/ 1 w 225"/>
                <a:gd name="T25" fmla="*/ 1 h 81"/>
                <a:gd name="T26" fmla="*/ 1 w 225"/>
                <a:gd name="T27" fmla="*/ 1 h 81"/>
                <a:gd name="T28" fmla="*/ 1 w 225"/>
                <a:gd name="T29" fmla="*/ 1 h 81"/>
                <a:gd name="T30" fmla="*/ 1 w 225"/>
                <a:gd name="T31" fmla="*/ 1 h 81"/>
                <a:gd name="T32" fmla="*/ 1 w 225"/>
                <a:gd name="T33" fmla="*/ 1 h 81"/>
                <a:gd name="T34" fmla="*/ 1 w 225"/>
                <a:gd name="T35" fmla="*/ 1 h 81"/>
                <a:gd name="T36" fmla="*/ 1 w 225"/>
                <a:gd name="T37" fmla="*/ 1 h 81"/>
                <a:gd name="T38" fmla="*/ 1 w 225"/>
                <a:gd name="T39" fmla="*/ 1 h 81"/>
                <a:gd name="T40" fmla="*/ 1 w 225"/>
                <a:gd name="T41" fmla="*/ 1 h 81"/>
                <a:gd name="T42" fmla="*/ 1 w 225"/>
                <a:gd name="T43" fmla="*/ 1 h 81"/>
                <a:gd name="T44" fmla="*/ 1 w 225"/>
                <a:gd name="T45" fmla="*/ 1 h 81"/>
                <a:gd name="T46" fmla="*/ 1 w 225"/>
                <a:gd name="T47" fmla="*/ 1 h 81"/>
                <a:gd name="T48" fmla="*/ 1 w 225"/>
                <a:gd name="T49" fmla="*/ 1 h 81"/>
                <a:gd name="T50" fmla="*/ 1 w 225"/>
                <a:gd name="T51" fmla="*/ 1 h 81"/>
                <a:gd name="T52" fmla="*/ 1 w 225"/>
                <a:gd name="T53" fmla="*/ 1 h 81"/>
                <a:gd name="T54" fmla="*/ 1 w 225"/>
                <a:gd name="T55" fmla="*/ 1 h 81"/>
                <a:gd name="T56" fmla="*/ 1 w 225"/>
                <a:gd name="T57" fmla="*/ 1 h 81"/>
                <a:gd name="T58" fmla="*/ 1 w 225"/>
                <a:gd name="T59" fmla="*/ 1 h 81"/>
                <a:gd name="T60" fmla="*/ 1 w 225"/>
                <a:gd name="T61" fmla="*/ 1 h 81"/>
                <a:gd name="T62" fmla="*/ 1 w 225"/>
                <a:gd name="T63" fmla="*/ 1 h 81"/>
                <a:gd name="T64" fmla="*/ 1 w 225"/>
                <a:gd name="T65" fmla="*/ 1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25"/>
                <a:gd name="T100" fmla="*/ 0 h 81"/>
                <a:gd name="T101" fmla="*/ 225 w 225"/>
                <a:gd name="T102" fmla="*/ 81 h 8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25" h="81">
                  <a:moveTo>
                    <a:pt x="157" y="33"/>
                  </a:moveTo>
                  <a:lnTo>
                    <a:pt x="159" y="35"/>
                  </a:lnTo>
                  <a:lnTo>
                    <a:pt x="136" y="24"/>
                  </a:lnTo>
                  <a:lnTo>
                    <a:pt x="114" y="13"/>
                  </a:lnTo>
                  <a:lnTo>
                    <a:pt x="97" y="5"/>
                  </a:lnTo>
                  <a:lnTo>
                    <a:pt x="82" y="1"/>
                  </a:lnTo>
                  <a:lnTo>
                    <a:pt x="73" y="0"/>
                  </a:lnTo>
                  <a:lnTo>
                    <a:pt x="48" y="5"/>
                  </a:lnTo>
                  <a:lnTo>
                    <a:pt x="22" y="11"/>
                  </a:lnTo>
                  <a:lnTo>
                    <a:pt x="11" y="27"/>
                  </a:lnTo>
                  <a:lnTo>
                    <a:pt x="0" y="34"/>
                  </a:lnTo>
                  <a:lnTo>
                    <a:pt x="7" y="31"/>
                  </a:lnTo>
                  <a:lnTo>
                    <a:pt x="25" y="23"/>
                  </a:lnTo>
                  <a:lnTo>
                    <a:pt x="42" y="16"/>
                  </a:lnTo>
                  <a:lnTo>
                    <a:pt x="71" y="15"/>
                  </a:lnTo>
                  <a:lnTo>
                    <a:pt x="60" y="18"/>
                  </a:lnTo>
                  <a:lnTo>
                    <a:pt x="79" y="24"/>
                  </a:lnTo>
                  <a:lnTo>
                    <a:pt x="91" y="28"/>
                  </a:lnTo>
                  <a:lnTo>
                    <a:pt x="97" y="31"/>
                  </a:lnTo>
                  <a:lnTo>
                    <a:pt x="127" y="39"/>
                  </a:lnTo>
                  <a:lnTo>
                    <a:pt x="133" y="53"/>
                  </a:lnTo>
                  <a:lnTo>
                    <a:pt x="160" y="65"/>
                  </a:lnTo>
                  <a:lnTo>
                    <a:pt x="147" y="81"/>
                  </a:lnTo>
                  <a:lnTo>
                    <a:pt x="168" y="81"/>
                  </a:lnTo>
                  <a:lnTo>
                    <a:pt x="190" y="79"/>
                  </a:lnTo>
                  <a:lnTo>
                    <a:pt x="207" y="77"/>
                  </a:lnTo>
                  <a:lnTo>
                    <a:pt x="225" y="75"/>
                  </a:lnTo>
                  <a:lnTo>
                    <a:pt x="209" y="66"/>
                  </a:lnTo>
                  <a:lnTo>
                    <a:pt x="192" y="58"/>
                  </a:lnTo>
                  <a:lnTo>
                    <a:pt x="192" y="51"/>
                  </a:lnTo>
                  <a:lnTo>
                    <a:pt x="177" y="45"/>
                  </a:lnTo>
                  <a:lnTo>
                    <a:pt x="161" y="39"/>
                  </a:lnTo>
                  <a:lnTo>
                    <a:pt x="157" y="3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47" name="Freeform 75"/>
            <p:cNvSpPr>
              <a:spLocks/>
            </p:cNvSpPr>
            <p:nvPr/>
          </p:nvSpPr>
          <p:spPr bwMode="auto">
            <a:xfrm>
              <a:off x="1518" y="1709"/>
              <a:ext cx="9" cy="7"/>
            </a:xfrm>
            <a:custGeom>
              <a:avLst/>
              <a:gdLst>
                <a:gd name="T0" fmla="*/ 0 w 12"/>
                <a:gd name="T1" fmla="*/ 1 h 11"/>
                <a:gd name="T2" fmla="*/ 2 w 12"/>
                <a:gd name="T3" fmla="*/ 1 h 11"/>
                <a:gd name="T4" fmla="*/ 2 w 12"/>
                <a:gd name="T5" fmla="*/ 0 h 11"/>
                <a:gd name="T6" fmla="*/ 0 w 12"/>
                <a:gd name="T7" fmla="*/ 1 h 1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2"/>
                <a:gd name="T13" fmla="*/ 0 h 11"/>
                <a:gd name="T14" fmla="*/ 12 w 12"/>
                <a:gd name="T15" fmla="*/ 11 h 1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2" h="11">
                  <a:moveTo>
                    <a:pt x="0" y="11"/>
                  </a:moveTo>
                  <a:lnTo>
                    <a:pt x="12" y="10"/>
                  </a:lnTo>
                  <a:lnTo>
                    <a:pt x="4" y="0"/>
                  </a:lnTo>
                  <a:lnTo>
                    <a:pt x="0" y="1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48" name="Freeform 76"/>
            <p:cNvSpPr>
              <a:spLocks/>
            </p:cNvSpPr>
            <p:nvPr/>
          </p:nvSpPr>
          <p:spPr bwMode="auto">
            <a:xfrm>
              <a:off x="1538" y="1753"/>
              <a:ext cx="6" cy="3"/>
            </a:xfrm>
            <a:custGeom>
              <a:avLst/>
              <a:gdLst>
                <a:gd name="T0" fmla="*/ 3 w 7"/>
                <a:gd name="T1" fmla="*/ 1 h 3"/>
                <a:gd name="T2" fmla="*/ 3 w 7"/>
                <a:gd name="T3" fmla="*/ 1 h 3"/>
                <a:gd name="T4" fmla="*/ 3 w 7"/>
                <a:gd name="T5" fmla="*/ 1 h 3"/>
                <a:gd name="T6" fmla="*/ 3 w 7"/>
                <a:gd name="T7" fmla="*/ 1 h 3"/>
                <a:gd name="T8" fmla="*/ 3 w 7"/>
                <a:gd name="T9" fmla="*/ 0 h 3"/>
                <a:gd name="T10" fmla="*/ 3 w 7"/>
                <a:gd name="T11" fmla="*/ 1 h 3"/>
                <a:gd name="T12" fmla="*/ 2 w 7"/>
                <a:gd name="T13" fmla="*/ 1 h 3"/>
                <a:gd name="T14" fmla="*/ 2 w 7"/>
                <a:gd name="T15" fmla="*/ 2 h 3"/>
                <a:gd name="T16" fmla="*/ 1 w 7"/>
                <a:gd name="T17" fmla="*/ 2 h 3"/>
                <a:gd name="T18" fmla="*/ 1 w 7"/>
                <a:gd name="T19" fmla="*/ 1 h 3"/>
                <a:gd name="T20" fmla="*/ 1 w 7"/>
                <a:gd name="T21" fmla="*/ 0 h 3"/>
                <a:gd name="T22" fmla="*/ 0 w 7"/>
                <a:gd name="T23" fmla="*/ 0 h 3"/>
                <a:gd name="T24" fmla="*/ 0 w 7"/>
                <a:gd name="T25" fmla="*/ 1 h 3"/>
                <a:gd name="T26" fmla="*/ 0 w 7"/>
                <a:gd name="T27" fmla="*/ 2 h 3"/>
                <a:gd name="T28" fmla="*/ 0 w 7"/>
                <a:gd name="T29" fmla="*/ 3 h 3"/>
                <a:gd name="T30" fmla="*/ 1 w 7"/>
                <a:gd name="T31" fmla="*/ 3 h 3"/>
                <a:gd name="T32" fmla="*/ 1 w 7"/>
                <a:gd name="T33" fmla="*/ 2 h 3"/>
                <a:gd name="T34" fmla="*/ 2 w 7"/>
                <a:gd name="T35" fmla="*/ 2 h 3"/>
                <a:gd name="T36" fmla="*/ 2 w 7"/>
                <a:gd name="T37" fmla="*/ 3 h 3"/>
                <a:gd name="T38" fmla="*/ 3 w 7"/>
                <a:gd name="T39" fmla="*/ 3 h 3"/>
                <a:gd name="T40" fmla="*/ 3 w 7"/>
                <a:gd name="T41" fmla="*/ 2 h 3"/>
                <a:gd name="T42" fmla="*/ 3 w 7"/>
                <a:gd name="T43" fmla="*/ 2 h 3"/>
                <a:gd name="T44" fmla="*/ 3 w 7"/>
                <a:gd name="T45" fmla="*/ 2 h 3"/>
                <a:gd name="T46" fmla="*/ 3 w 7"/>
                <a:gd name="T47" fmla="*/ 2 h 3"/>
                <a:gd name="T48" fmla="*/ 3 w 7"/>
                <a:gd name="T49" fmla="*/ 1 h 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"/>
                <a:gd name="T76" fmla="*/ 0 h 3"/>
                <a:gd name="T77" fmla="*/ 7 w 7"/>
                <a:gd name="T78" fmla="*/ 3 h 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" h="3">
                  <a:moveTo>
                    <a:pt x="7" y="1"/>
                  </a:moveTo>
                  <a:lnTo>
                    <a:pt x="6" y="1"/>
                  </a:lnTo>
                  <a:lnTo>
                    <a:pt x="5" y="1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5" y="2"/>
                  </a:lnTo>
                  <a:lnTo>
                    <a:pt x="6" y="2"/>
                  </a:lnTo>
                  <a:lnTo>
                    <a:pt x="7" y="2"/>
                  </a:lnTo>
                  <a:lnTo>
                    <a:pt x="7" y="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49" name="Freeform 77"/>
            <p:cNvSpPr>
              <a:spLocks/>
            </p:cNvSpPr>
            <p:nvPr/>
          </p:nvSpPr>
          <p:spPr bwMode="auto">
            <a:xfrm>
              <a:off x="1562" y="1747"/>
              <a:ext cx="3" cy="1"/>
            </a:xfrm>
            <a:custGeom>
              <a:avLst/>
              <a:gdLst>
                <a:gd name="T0" fmla="*/ 3 w 3"/>
                <a:gd name="T1" fmla="*/ 0 h 3"/>
                <a:gd name="T2" fmla="*/ 3 w 3"/>
                <a:gd name="T3" fmla="*/ 0 h 3"/>
                <a:gd name="T4" fmla="*/ 2 w 3"/>
                <a:gd name="T5" fmla="*/ 0 h 3"/>
                <a:gd name="T6" fmla="*/ 2 w 3"/>
                <a:gd name="T7" fmla="*/ 0 h 3"/>
                <a:gd name="T8" fmla="*/ 1 w 3"/>
                <a:gd name="T9" fmla="*/ 0 h 3"/>
                <a:gd name="T10" fmla="*/ 1 w 3"/>
                <a:gd name="T11" fmla="*/ 0 h 3"/>
                <a:gd name="T12" fmla="*/ 0 w 3"/>
                <a:gd name="T13" fmla="*/ 0 h 3"/>
                <a:gd name="T14" fmla="*/ 1 w 3"/>
                <a:gd name="T15" fmla="*/ 0 h 3"/>
                <a:gd name="T16" fmla="*/ 1 w 3"/>
                <a:gd name="T17" fmla="*/ 0 h 3"/>
                <a:gd name="T18" fmla="*/ 2 w 3"/>
                <a:gd name="T19" fmla="*/ 0 h 3"/>
                <a:gd name="T20" fmla="*/ 3 w 3"/>
                <a:gd name="T21" fmla="*/ 0 h 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"/>
                <a:gd name="T34" fmla="*/ 0 h 3"/>
                <a:gd name="T35" fmla="*/ 3 w 3"/>
                <a:gd name="T36" fmla="*/ 3 h 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" h="3">
                  <a:moveTo>
                    <a:pt x="3" y="1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1"/>
                  </a:lnTo>
                  <a:lnTo>
                    <a:pt x="2" y="1"/>
                  </a:lnTo>
                  <a:lnTo>
                    <a:pt x="3" y="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50" name="Freeform 78"/>
            <p:cNvSpPr>
              <a:spLocks/>
            </p:cNvSpPr>
            <p:nvPr/>
          </p:nvSpPr>
          <p:spPr bwMode="auto">
            <a:xfrm>
              <a:off x="1559" y="1747"/>
              <a:ext cx="3" cy="1"/>
            </a:xfrm>
            <a:custGeom>
              <a:avLst/>
              <a:gdLst>
                <a:gd name="T0" fmla="*/ 3 w 3"/>
                <a:gd name="T1" fmla="*/ 0 h 3"/>
                <a:gd name="T2" fmla="*/ 2 w 3"/>
                <a:gd name="T3" fmla="*/ 0 h 3"/>
                <a:gd name="T4" fmla="*/ 2 w 3"/>
                <a:gd name="T5" fmla="*/ 0 h 3"/>
                <a:gd name="T6" fmla="*/ 1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1 w 3"/>
                <a:gd name="T13" fmla="*/ 0 h 3"/>
                <a:gd name="T14" fmla="*/ 2 w 3"/>
                <a:gd name="T15" fmla="*/ 0 h 3"/>
                <a:gd name="T16" fmla="*/ 3 w 3"/>
                <a:gd name="T17" fmla="*/ 0 h 3"/>
                <a:gd name="T18" fmla="*/ 3 w 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3"/>
                <a:gd name="T32" fmla="*/ 3 w 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3">
                  <a:moveTo>
                    <a:pt x="3" y="0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51" name="Freeform 79"/>
            <p:cNvSpPr>
              <a:spLocks/>
            </p:cNvSpPr>
            <p:nvPr/>
          </p:nvSpPr>
          <p:spPr bwMode="auto">
            <a:xfrm>
              <a:off x="1791" y="1770"/>
              <a:ext cx="2" cy="1"/>
            </a:xfrm>
            <a:custGeom>
              <a:avLst/>
              <a:gdLst>
                <a:gd name="T0" fmla="*/ 2 w 2"/>
                <a:gd name="T1" fmla="*/ 1 h 2"/>
                <a:gd name="T2" fmla="*/ 2 w 2"/>
                <a:gd name="T3" fmla="*/ 0 h 2"/>
                <a:gd name="T4" fmla="*/ 1 w 2"/>
                <a:gd name="T5" fmla="*/ 0 h 2"/>
                <a:gd name="T6" fmla="*/ 1 w 2"/>
                <a:gd name="T7" fmla="*/ 1 h 2"/>
                <a:gd name="T8" fmla="*/ 0 w 2"/>
                <a:gd name="T9" fmla="*/ 1 h 2"/>
                <a:gd name="T10" fmla="*/ 0 w 2"/>
                <a:gd name="T11" fmla="*/ 1 h 2"/>
                <a:gd name="T12" fmla="*/ 1 w 2"/>
                <a:gd name="T13" fmla="*/ 1 h 2"/>
                <a:gd name="T14" fmla="*/ 1 w 2"/>
                <a:gd name="T15" fmla="*/ 1 h 2"/>
                <a:gd name="T16" fmla="*/ 2 w 2"/>
                <a:gd name="T17" fmla="*/ 1 h 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"/>
                <a:gd name="T28" fmla="*/ 0 h 2"/>
                <a:gd name="T29" fmla="*/ 2 w 2"/>
                <a:gd name="T30" fmla="*/ 2 h 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" h="2">
                  <a:moveTo>
                    <a:pt x="2" y="1"/>
                  </a:moveTo>
                  <a:lnTo>
                    <a:pt x="2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2" y="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52" name="Freeform 80"/>
            <p:cNvSpPr>
              <a:spLocks/>
            </p:cNvSpPr>
            <p:nvPr/>
          </p:nvSpPr>
          <p:spPr bwMode="auto">
            <a:xfrm>
              <a:off x="1797" y="1764"/>
              <a:ext cx="1" cy="1"/>
            </a:xfrm>
            <a:custGeom>
              <a:avLst/>
              <a:gdLst>
                <a:gd name="T0" fmla="*/ 1 w 2"/>
                <a:gd name="T1" fmla="*/ 1 h 2"/>
                <a:gd name="T2" fmla="*/ 1 w 2"/>
                <a:gd name="T3" fmla="*/ 0 h 2"/>
                <a:gd name="T4" fmla="*/ 1 w 2"/>
                <a:gd name="T5" fmla="*/ 0 h 2"/>
                <a:gd name="T6" fmla="*/ 0 w 2"/>
                <a:gd name="T7" fmla="*/ 0 h 2"/>
                <a:gd name="T8" fmla="*/ 0 w 2"/>
                <a:gd name="T9" fmla="*/ 1 h 2"/>
                <a:gd name="T10" fmla="*/ 1 w 2"/>
                <a:gd name="T11" fmla="*/ 1 h 2"/>
                <a:gd name="T12" fmla="*/ 1 w 2"/>
                <a:gd name="T13" fmla="*/ 1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2"/>
                <a:gd name="T23" fmla="*/ 2 w 2"/>
                <a:gd name="T24" fmla="*/ 2 h 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2">
                  <a:moveTo>
                    <a:pt x="2" y="2"/>
                  </a:move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1" y="2"/>
                  </a:lnTo>
                  <a:lnTo>
                    <a:pt x="2" y="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53" name="Freeform 81"/>
            <p:cNvSpPr>
              <a:spLocks/>
            </p:cNvSpPr>
            <p:nvPr/>
          </p:nvSpPr>
          <p:spPr bwMode="auto">
            <a:xfrm>
              <a:off x="1795" y="1768"/>
              <a:ext cx="2" cy="2"/>
            </a:xfrm>
            <a:custGeom>
              <a:avLst/>
              <a:gdLst>
                <a:gd name="T0" fmla="*/ 2 w 2"/>
                <a:gd name="T1" fmla="*/ 0 h 3"/>
                <a:gd name="T2" fmla="*/ 1 w 2"/>
                <a:gd name="T3" fmla="*/ 1 h 3"/>
                <a:gd name="T4" fmla="*/ 0 w 2"/>
                <a:gd name="T5" fmla="*/ 1 h 3"/>
                <a:gd name="T6" fmla="*/ 0 w 2"/>
                <a:gd name="T7" fmla="*/ 1 h 3"/>
                <a:gd name="T8" fmla="*/ 0 w 2"/>
                <a:gd name="T9" fmla="*/ 1 h 3"/>
                <a:gd name="T10" fmla="*/ 0 w 2"/>
                <a:gd name="T11" fmla="*/ 0 h 3"/>
                <a:gd name="T12" fmla="*/ 1 w 2"/>
                <a:gd name="T13" fmla="*/ 0 h 3"/>
                <a:gd name="T14" fmla="*/ 2 w 2"/>
                <a:gd name="T15" fmla="*/ 0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"/>
                <a:gd name="T25" fmla="*/ 0 h 3"/>
                <a:gd name="T26" fmla="*/ 2 w 2"/>
                <a:gd name="T27" fmla="*/ 3 h 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" h="3">
                  <a:moveTo>
                    <a:pt x="2" y="0"/>
                  </a:moveTo>
                  <a:lnTo>
                    <a:pt x="1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  <a:lnTo>
                    <a:pt x="1" y="0"/>
                  </a:lnTo>
                  <a:lnTo>
                    <a:pt x="2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54" name="Rectangle 82"/>
            <p:cNvSpPr>
              <a:spLocks noChangeArrowheads="1"/>
            </p:cNvSpPr>
            <p:nvPr/>
          </p:nvSpPr>
          <p:spPr bwMode="auto">
            <a:xfrm>
              <a:off x="1790" y="1770"/>
              <a:ext cx="0" cy="0"/>
            </a:xfrm>
            <a:prstGeom prst="rect">
              <a:avLst/>
            </a:pr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miter lim="800000"/>
              <a:headEnd/>
              <a:tailEnd/>
            </a:ln>
          </p:spPr>
          <p:txBody>
            <a:bodyPr lIns="91430" tIns="45716" rIns="91430" bIns="45716"/>
            <a:lstStyle/>
            <a:p>
              <a:pPr defTabSz="912813" eaLnBrk="0" hangingPunct="0"/>
              <a:endParaRPr lang="en-US" sz="1400">
                <a:latin typeface="Calibri" pitchFamily="34" charset="0"/>
              </a:endParaRPr>
            </a:p>
          </p:txBody>
        </p:sp>
        <p:sp>
          <p:nvSpPr>
            <p:cNvPr id="7255" name="Rectangle 83"/>
            <p:cNvSpPr>
              <a:spLocks noChangeArrowheads="1"/>
            </p:cNvSpPr>
            <p:nvPr/>
          </p:nvSpPr>
          <p:spPr bwMode="auto">
            <a:xfrm>
              <a:off x="1793" y="1771"/>
              <a:ext cx="0" cy="1"/>
            </a:xfrm>
            <a:prstGeom prst="rect">
              <a:avLst/>
            </a:pr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miter lim="800000"/>
              <a:headEnd/>
              <a:tailEnd/>
            </a:ln>
          </p:spPr>
          <p:txBody>
            <a:bodyPr lIns="91430" tIns="45716" rIns="91430" bIns="45716"/>
            <a:lstStyle/>
            <a:p>
              <a:pPr defTabSz="912813" eaLnBrk="0" hangingPunct="0"/>
              <a:endParaRPr lang="en-US" sz="1400">
                <a:latin typeface="Calibri" pitchFamily="34" charset="0"/>
              </a:endParaRPr>
            </a:p>
          </p:txBody>
        </p:sp>
        <p:sp>
          <p:nvSpPr>
            <p:cNvPr id="7256" name="Freeform 84"/>
            <p:cNvSpPr>
              <a:spLocks/>
            </p:cNvSpPr>
            <p:nvPr/>
          </p:nvSpPr>
          <p:spPr bwMode="auto">
            <a:xfrm>
              <a:off x="1793" y="1772"/>
              <a:ext cx="1" cy="2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0 h 2"/>
                <a:gd name="T4" fmla="*/ 1 w 1"/>
                <a:gd name="T5" fmla="*/ 0 h 2"/>
                <a:gd name="T6" fmla="*/ 0 60000 65536"/>
                <a:gd name="T7" fmla="*/ 0 60000 65536"/>
                <a:gd name="T8" fmla="*/ 0 60000 65536"/>
                <a:gd name="T9" fmla="*/ 0 w 1"/>
                <a:gd name="T10" fmla="*/ 0 h 2"/>
                <a:gd name="T11" fmla="*/ 1 w 1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2">
                  <a:moveTo>
                    <a:pt x="1" y="0"/>
                  </a:move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57" name="Freeform 85"/>
            <p:cNvSpPr>
              <a:spLocks/>
            </p:cNvSpPr>
            <p:nvPr/>
          </p:nvSpPr>
          <p:spPr bwMode="auto">
            <a:xfrm>
              <a:off x="1682" y="1744"/>
              <a:ext cx="54" cy="41"/>
            </a:xfrm>
            <a:custGeom>
              <a:avLst/>
              <a:gdLst>
                <a:gd name="T0" fmla="*/ 1 w 78"/>
                <a:gd name="T1" fmla="*/ 1 h 56"/>
                <a:gd name="T2" fmla="*/ 1 w 78"/>
                <a:gd name="T3" fmla="*/ 1 h 56"/>
                <a:gd name="T4" fmla="*/ 0 w 78"/>
                <a:gd name="T5" fmla="*/ 1 h 56"/>
                <a:gd name="T6" fmla="*/ 1 w 78"/>
                <a:gd name="T7" fmla="*/ 1 h 56"/>
                <a:gd name="T8" fmla="*/ 1 w 78"/>
                <a:gd name="T9" fmla="*/ 1 h 56"/>
                <a:gd name="T10" fmla="*/ 1 w 78"/>
                <a:gd name="T11" fmla="*/ 1 h 56"/>
                <a:gd name="T12" fmla="*/ 1 w 78"/>
                <a:gd name="T13" fmla="*/ 1 h 56"/>
                <a:gd name="T14" fmla="*/ 1 w 78"/>
                <a:gd name="T15" fmla="*/ 1 h 56"/>
                <a:gd name="T16" fmla="*/ 1 w 78"/>
                <a:gd name="T17" fmla="*/ 1 h 56"/>
                <a:gd name="T18" fmla="*/ 1 w 78"/>
                <a:gd name="T19" fmla="*/ 1 h 56"/>
                <a:gd name="T20" fmla="*/ 1 w 78"/>
                <a:gd name="T21" fmla="*/ 1 h 56"/>
                <a:gd name="T22" fmla="*/ 1 w 78"/>
                <a:gd name="T23" fmla="*/ 1 h 56"/>
                <a:gd name="T24" fmla="*/ 1 w 78"/>
                <a:gd name="T25" fmla="*/ 1 h 56"/>
                <a:gd name="T26" fmla="*/ 1 w 78"/>
                <a:gd name="T27" fmla="*/ 0 h 56"/>
                <a:gd name="T28" fmla="*/ 1 w 78"/>
                <a:gd name="T29" fmla="*/ 1 h 5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78"/>
                <a:gd name="T46" fmla="*/ 0 h 56"/>
                <a:gd name="T47" fmla="*/ 78 w 78"/>
                <a:gd name="T48" fmla="*/ 56 h 5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78" h="56">
                  <a:moveTo>
                    <a:pt x="7" y="5"/>
                  </a:moveTo>
                  <a:lnTo>
                    <a:pt x="3" y="21"/>
                  </a:lnTo>
                  <a:lnTo>
                    <a:pt x="0" y="31"/>
                  </a:lnTo>
                  <a:lnTo>
                    <a:pt x="2" y="45"/>
                  </a:lnTo>
                  <a:lnTo>
                    <a:pt x="8" y="56"/>
                  </a:lnTo>
                  <a:lnTo>
                    <a:pt x="18" y="43"/>
                  </a:lnTo>
                  <a:lnTo>
                    <a:pt x="29" y="37"/>
                  </a:lnTo>
                  <a:lnTo>
                    <a:pt x="39" y="38"/>
                  </a:lnTo>
                  <a:lnTo>
                    <a:pt x="67" y="39"/>
                  </a:lnTo>
                  <a:lnTo>
                    <a:pt x="78" y="30"/>
                  </a:lnTo>
                  <a:lnTo>
                    <a:pt x="53" y="19"/>
                  </a:lnTo>
                  <a:lnTo>
                    <a:pt x="57" y="14"/>
                  </a:lnTo>
                  <a:lnTo>
                    <a:pt x="47" y="8"/>
                  </a:lnTo>
                  <a:lnTo>
                    <a:pt x="17" y="0"/>
                  </a:lnTo>
                  <a:lnTo>
                    <a:pt x="7" y="5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58" name="Freeform 86"/>
            <p:cNvSpPr>
              <a:spLocks/>
            </p:cNvSpPr>
            <p:nvPr/>
          </p:nvSpPr>
          <p:spPr bwMode="auto">
            <a:xfrm>
              <a:off x="1642" y="1746"/>
              <a:ext cx="45" cy="31"/>
            </a:xfrm>
            <a:custGeom>
              <a:avLst/>
              <a:gdLst>
                <a:gd name="T0" fmla="*/ 1 w 62"/>
                <a:gd name="T1" fmla="*/ 1 h 44"/>
                <a:gd name="T2" fmla="*/ 1 w 62"/>
                <a:gd name="T3" fmla="*/ 1 h 44"/>
                <a:gd name="T4" fmla="*/ 1 w 62"/>
                <a:gd name="T5" fmla="*/ 1 h 44"/>
                <a:gd name="T6" fmla="*/ 1 w 62"/>
                <a:gd name="T7" fmla="*/ 1 h 44"/>
                <a:gd name="T8" fmla="*/ 1 w 62"/>
                <a:gd name="T9" fmla="*/ 1 h 44"/>
                <a:gd name="T10" fmla="*/ 1 w 62"/>
                <a:gd name="T11" fmla="*/ 1 h 44"/>
                <a:gd name="T12" fmla="*/ 0 w 62"/>
                <a:gd name="T13" fmla="*/ 1 h 44"/>
                <a:gd name="T14" fmla="*/ 1 w 62"/>
                <a:gd name="T15" fmla="*/ 1 h 44"/>
                <a:gd name="T16" fmla="*/ 1 w 62"/>
                <a:gd name="T17" fmla="*/ 1 h 44"/>
                <a:gd name="T18" fmla="*/ 1 w 62"/>
                <a:gd name="T19" fmla="*/ 1 h 44"/>
                <a:gd name="T20" fmla="*/ 1 w 62"/>
                <a:gd name="T21" fmla="*/ 1 h 44"/>
                <a:gd name="T22" fmla="*/ 1 w 62"/>
                <a:gd name="T23" fmla="*/ 1 h 44"/>
                <a:gd name="T24" fmla="*/ 1 w 62"/>
                <a:gd name="T25" fmla="*/ 0 h 44"/>
                <a:gd name="T26" fmla="*/ 1 w 62"/>
                <a:gd name="T27" fmla="*/ 1 h 44"/>
                <a:gd name="T28" fmla="*/ 1 w 62"/>
                <a:gd name="T29" fmla="*/ 1 h 4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62"/>
                <a:gd name="T46" fmla="*/ 0 h 44"/>
                <a:gd name="T47" fmla="*/ 62 w 62"/>
                <a:gd name="T48" fmla="*/ 44 h 4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62" h="44">
                  <a:moveTo>
                    <a:pt x="62" y="4"/>
                  </a:moveTo>
                  <a:lnTo>
                    <a:pt x="58" y="20"/>
                  </a:lnTo>
                  <a:lnTo>
                    <a:pt x="55" y="30"/>
                  </a:lnTo>
                  <a:lnTo>
                    <a:pt x="57" y="44"/>
                  </a:lnTo>
                  <a:lnTo>
                    <a:pt x="34" y="43"/>
                  </a:lnTo>
                  <a:lnTo>
                    <a:pt x="13" y="42"/>
                  </a:lnTo>
                  <a:lnTo>
                    <a:pt x="0" y="35"/>
                  </a:lnTo>
                  <a:lnTo>
                    <a:pt x="10" y="30"/>
                  </a:lnTo>
                  <a:lnTo>
                    <a:pt x="28" y="31"/>
                  </a:lnTo>
                  <a:lnTo>
                    <a:pt x="45" y="32"/>
                  </a:lnTo>
                  <a:lnTo>
                    <a:pt x="38" y="13"/>
                  </a:lnTo>
                  <a:lnTo>
                    <a:pt x="30" y="5"/>
                  </a:lnTo>
                  <a:lnTo>
                    <a:pt x="27" y="0"/>
                  </a:lnTo>
                  <a:lnTo>
                    <a:pt x="49" y="2"/>
                  </a:lnTo>
                  <a:lnTo>
                    <a:pt x="62" y="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259" name="Freeform 87"/>
            <p:cNvSpPr>
              <a:spLocks/>
            </p:cNvSpPr>
            <p:nvPr/>
          </p:nvSpPr>
          <p:spPr bwMode="auto">
            <a:xfrm>
              <a:off x="1682" y="1711"/>
              <a:ext cx="2" cy="1"/>
            </a:xfrm>
            <a:custGeom>
              <a:avLst/>
              <a:gdLst>
                <a:gd name="T0" fmla="*/ 0 w 5"/>
                <a:gd name="T1" fmla="*/ 1 h 2"/>
                <a:gd name="T2" fmla="*/ 0 w 5"/>
                <a:gd name="T3" fmla="*/ 1 h 2"/>
                <a:gd name="T4" fmla="*/ 0 w 5"/>
                <a:gd name="T5" fmla="*/ 0 h 2"/>
                <a:gd name="T6" fmla="*/ 0 w 5"/>
                <a:gd name="T7" fmla="*/ 1 h 2"/>
                <a:gd name="T8" fmla="*/ 0 w 5"/>
                <a:gd name="T9" fmla="*/ 1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3" y="2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5" y="1"/>
                  </a:lnTo>
                  <a:lnTo>
                    <a:pt x="3" y="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60" name="Freeform 88"/>
            <p:cNvSpPr>
              <a:spLocks/>
            </p:cNvSpPr>
            <p:nvPr/>
          </p:nvSpPr>
          <p:spPr bwMode="auto">
            <a:xfrm>
              <a:off x="1689" y="1711"/>
              <a:ext cx="2" cy="1"/>
            </a:xfrm>
            <a:custGeom>
              <a:avLst/>
              <a:gdLst>
                <a:gd name="T0" fmla="*/ 1 w 3"/>
                <a:gd name="T1" fmla="*/ 1 h 1"/>
                <a:gd name="T2" fmla="*/ 1 w 3"/>
                <a:gd name="T3" fmla="*/ 0 h 1"/>
                <a:gd name="T4" fmla="*/ 0 w 3"/>
                <a:gd name="T5" fmla="*/ 0 h 1"/>
                <a:gd name="T6" fmla="*/ 1 w 3"/>
                <a:gd name="T7" fmla="*/ 1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1"/>
                <a:gd name="T14" fmla="*/ 3 w 3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1">
                  <a:moveTo>
                    <a:pt x="3" y="1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61" name="Freeform 89"/>
            <p:cNvSpPr>
              <a:spLocks/>
            </p:cNvSpPr>
            <p:nvPr/>
          </p:nvSpPr>
          <p:spPr bwMode="auto">
            <a:xfrm>
              <a:off x="1457" y="1899"/>
              <a:ext cx="49" cy="52"/>
            </a:xfrm>
            <a:custGeom>
              <a:avLst/>
              <a:gdLst>
                <a:gd name="T0" fmla="*/ 1 w 71"/>
                <a:gd name="T1" fmla="*/ 1 h 76"/>
                <a:gd name="T2" fmla="*/ 0 w 71"/>
                <a:gd name="T3" fmla="*/ 1 h 76"/>
                <a:gd name="T4" fmla="*/ 1 w 71"/>
                <a:gd name="T5" fmla="*/ 1 h 76"/>
                <a:gd name="T6" fmla="*/ 1 w 71"/>
                <a:gd name="T7" fmla="*/ 1 h 76"/>
                <a:gd name="T8" fmla="*/ 1 w 71"/>
                <a:gd name="T9" fmla="*/ 0 h 76"/>
                <a:gd name="T10" fmla="*/ 1 w 71"/>
                <a:gd name="T11" fmla="*/ 1 h 76"/>
                <a:gd name="T12" fmla="*/ 1 w 71"/>
                <a:gd name="T13" fmla="*/ 1 h 76"/>
                <a:gd name="T14" fmla="*/ 1 w 71"/>
                <a:gd name="T15" fmla="*/ 1 h 76"/>
                <a:gd name="T16" fmla="*/ 1 w 71"/>
                <a:gd name="T17" fmla="*/ 1 h 76"/>
                <a:gd name="T18" fmla="*/ 1 w 71"/>
                <a:gd name="T19" fmla="*/ 1 h 76"/>
                <a:gd name="T20" fmla="*/ 1 w 71"/>
                <a:gd name="T21" fmla="*/ 1 h 76"/>
                <a:gd name="T22" fmla="*/ 1 w 71"/>
                <a:gd name="T23" fmla="*/ 1 h 76"/>
                <a:gd name="T24" fmla="*/ 1 w 71"/>
                <a:gd name="T25" fmla="*/ 1 h 76"/>
                <a:gd name="T26" fmla="*/ 1 w 71"/>
                <a:gd name="T27" fmla="*/ 1 h 76"/>
                <a:gd name="T28" fmla="*/ 1 w 71"/>
                <a:gd name="T29" fmla="*/ 1 h 76"/>
                <a:gd name="T30" fmla="*/ 1 w 71"/>
                <a:gd name="T31" fmla="*/ 1 h 76"/>
                <a:gd name="T32" fmla="*/ 1 w 71"/>
                <a:gd name="T33" fmla="*/ 1 h 76"/>
                <a:gd name="T34" fmla="*/ 1 w 71"/>
                <a:gd name="T35" fmla="*/ 1 h 76"/>
                <a:gd name="T36" fmla="*/ 1 w 71"/>
                <a:gd name="T37" fmla="*/ 1 h 76"/>
                <a:gd name="T38" fmla="*/ 1 w 71"/>
                <a:gd name="T39" fmla="*/ 1 h 7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71"/>
                <a:gd name="T61" fmla="*/ 0 h 76"/>
                <a:gd name="T62" fmla="*/ 71 w 71"/>
                <a:gd name="T63" fmla="*/ 76 h 7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71" h="76">
                  <a:moveTo>
                    <a:pt x="15" y="37"/>
                  </a:moveTo>
                  <a:lnTo>
                    <a:pt x="0" y="18"/>
                  </a:lnTo>
                  <a:lnTo>
                    <a:pt x="3" y="7"/>
                  </a:lnTo>
                  <a:lnTo>
                    <a:pt x="3" y="4"/>
                  </a:lnTo>
                  <a:lnTo>
                    <a:pt x="5" y="0"/>
                  </a:lnTo>
                  <a:lnTo>
                    <a:pt x="36" y="6"/>
                  </a:lnTo>
                  <a:lnTo>
                    <a:pt x="50" y="4"/>
                  </a:lnTo>
                  <a:lnTo>
                    <a:pt x="60" y="21"/>
                  </a:lnTo>
                  <a:lnTo>
                    <a:pt x="71" y="37"/>
                  </a:lnTo>
                  <a:lnTo>
                    <a:pt x="63" y="40"/>
                  </a:lnTo>
                  <a:lnTo>
                    <a:pt x="63" y="57"/>
                  </a:lnTo>
                  <a:lnTo>
                    <a:pt x="62" y="76"/>
                  </a:lnTo>
                  <a:lnTo>
                    <a:pt x="51" y="59"/>
                  </a:lnTo>
                  <a:lnTo>
                    <a:pt x="51" y="66"/>
                  </a:lnTo>
                  <a:lnTo>
                    <a:pt x="46" y="58"/>
                  </a:lnTo>
                  <a:lnTo>
                    <a:pt x="41" y="45"/>
                  </a:lnTo>
                  <a:lnTo>
                    <a:pt x="26" y="33"/>
                  </a:lnTo>
                  <a:lnTo>
                    <a:pt x="14" y="21"/>
                  </a:lnTo>
                  <a:lnTo>
                    <a:pt x="18" y="34"/>
                  </a:lnTo>
                  <a:lnTo>
                    <a:pt x="15" y="3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262" name="Freeform 90"/>
            <p:cNvSpPr>
              <a:spLocks/>
            </p:cNvSpPr>
            <p:nvPr/>
          </p:nvSpPr>
          <p:spPr bwMode="auto">
            <a:xfrm>
              <a:off x="1701" y="1871"/>
              <a:ext cx="3" cy="4"/>
            </a:xfrm>
            <a:custGeom>
              <a:avLst/>
              <a:gdLst>
                <a:gd name="T0" fmla="*/ 2 w 4"/>
                <a:gd name="T1" fmla="*/ 0 h 5"/>
                <a:gd name="T2" fmla="*/ 0 w 4"/>
                <a:gd name="T3" fmla="*/ 1 h 5"/>
                <a:gd name="T4" fmla="*/ 2 w 4"/>
                <a:gd name="T5" fmla="*/ 2 h 5"/>
                <a:gd name="T6" fmla="*/ 2 w 4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5"/>
                <a:gd name="T14" fmla="*/ 4 w 4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5">
                  <a:moveTo>
                    <a:pt x="2" y="0"/>
                  </a:moveTo>
                  <a:lnTo>
                    <a:pt x="0" y="1"/>
                  </a:lnTo>
                  <a:lnTo>
                    <a:pt x="4" y="5"/>
                  </a:lnTo>
                  <a:lnTo>
                    <a:pt x="2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63" name="Freeform 91"/>
            <p:cNvSpPr>
              <a:spLocks/>
            </p:cNvSpPr>
            <p:nvPr/>
          </p:nvSpPr>
          <p:spPr bwMode="auto">
            <a:xfrm>
              <a:off x="1396" y="1840"/>
              <a:ext cx="34" cy="22"/>
            </a:xfrm>
            <a:custGeom>
              <a:avLst/>
              <a:gdLst>
                <a:gd name="T0" fmla="*/ 1 w 48"/>
                <a:gd name="T1" fmla="*/ 1 h 33"/>
                <a:gd name="T2" fmla="*/ 1 w 48"/>
                <a:gd name="T3" fmla="*/ 1 h 33"/>
                <a:gd name="T4" fmla="*/ 1 w 48"/>
                <a:gd name="T5" fmla="*/ 1 h 33"/>
                <a:gd name="T6" fmla="*/ 1 w 48"/>
                <a:gd name="T7" fmla="*/ 1 h 33"/>
                <a:gd name="T8" fmla="*/ 0 w 48"/>
                <a:gd name="T9" fmla="*/ 1 h 33"/>
                <a:gd name="T10" fmla="*/ 1 w 48"/>
                <a:gd name="T11" fmla="*/ 0 h 33"/>
                <a:gd name="T12" fmla="*/ 1 w 48"/>
                <a:gd name="T13" fmla="*/ 1 h 33"/>
                <a:gd name="T14" fmla="*/ 1 w 48"/>
                <a:gd name="T15" fmla="*/ 1 h 33"/>
                <a:gd name="T16" fmla="*/ 1 w 48"/>
                <a:gd name="T17" fmla="*/ 1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8"/>
                <a:gd name="T28" fmla="*/ 0 h 33"/>
                <a:gd name="T29" fmla="*/ 48 w 48"/>
                <a:gd name="T30" fmla="*/ 33 h 3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8" h="33">
                  <a:moveTo>
                    <a:pt x="48" y="25"/>
                  </a:moveTo>
                  <a:lnTo>
                    <a:pt x="43" y="33"/>
                  </a:lnTo>
                  <a:lnTo>
                    <a:pt x="31" y="30"/>
                  </a:lnTo>
                  <a:lnTo>
                    <a:pt x="16" y="24"/>
                  </a:lnTo>
                  <a:lnTo>
                    <a:pt x="0" y="18"/>
                  </a:lnTo>
                  <a:lnTo>
                    <a:pt x="17" y="0"/>
                  </a:lnTo>
                  <a:lnTo>
                    <a:pt x="31" y="11"/>
                  </a:lnTo>
                  <a:lnTo>
                    <a:pt x="48" y="15"/>
                  </a:lnTo>
                  <a:lnTo>
                    <a:pt x="48" y="25"/>
                  </a:lnTo>
                  <a:close/>
                </a:path>
              </a:pathLst>
            </a:custGeom>
            <a:gradFill rotWithShape="1">
              <a:gsLst>
                <a:gs pos="0">
                  <a:schemeClr val="accent2"/>
                </a:gs>
                <a:gs pos="100000">
                  <a:srgbClr val="2E1A38"/>
                </a:gs>
              </a:gsLst>
              <a:lin ang="5400000" scaled="1"/>
            </a:gradFill>
            <a:ln w="6350" cap="rnd">
              <a:solidFill>
                <a:srgbClr val="DDDDDD"/>
              </a:solidFill>
              <a:round/>
              <a:headEnd/>
              <a:tailEnd/>
            </a:ln>
          </p:spPr>
          <p:txBody>
            <a:bodyPr lIns="91430" tIns="45716" rIns="91430" bIns="45716"/>
            <a:lstStyle/>
            <a:p>
              <a:endParaRPr lang="en-US"/>
            </a:p>
          </p:txBody>
        </p:sp>
        <p:sp>
          <p:nvSpPr>
            <p:cNvPr id="7264" name="Freeform 92"/>
            <p:cNvSpPr>
              <a:spLocks/>
            </p:cNvSpPr>
            <p:nvPr/>
          </p:nvSpPr>
          <p:spPr bwMode="auto">
            <a:xfrm>
              <a:off x="1407" y="1815"/>
              <a:ext cx="97" cy="50"/>
            </a:xfrm>
            <a:custGeom>
              <a:avLst/>
              <a:gdLst>
                <a:gd name="T0" fmla="*/ 1 w 137"/>
                <a:gd name="T1" fmla="*/ 1 h 72"/>
                <a:gd name="T2" fmla="*/ 1 w 137"/>
                <a:gd name="T3" fmla="*/ 1 h 72"/>
                <a:gd name="T4" fmla="*/ 1 w 137"/>
                <a:gd name="T5" fmla="*/ 1 h 72"/>
                <a:gd name="T6" fmla="*/ 1 w 137"/>
                <a:gd name="T7" fmla="*/ 1 h 72"/>
                <a:gd name="T8" fmla="*/ 1 w 137"/>
                <a:gd name="T9" fmla="*/ 1 h 72"/>
                <a:gd name="T10" fmla="*/ 1 w 137"/>
                <a:gd name="T11" fmla="*/ 1 h 72"/>
                <a:gd name="T12" fmla="*/ 1 w 137"/>
                <a:gd name="T13" fmla="*/ 1 h 72"/>
                <a:gd name="T14" fmla="*/ 1 w 137"/>
                <a:gd name="T15" fmla="*/ 1 h 72"/>
                <a:gd name="T16" fmla="*/ 1 w 137"/>
                <a:gd name="T17" fmla="*/ 1 h 72"/>
                <a:gd name="T18" fmla="*/ 0 w 137"/>
                <a:gd name="T19" fmla="*/ 1 h 72"/>
                <a:gd name="T20" fmla="*/ 1 w 137"/>
                <a:gd name="T21" fmla="*/ 1 h 72"/>
                <a:gd name="T22" fmla="*/ 1 w 137"/>
                <a:gd name="T23" fmla="*/ 1 h 72"/>
                <a:gd name="T24" fmla="*/ 1 w 137"/>
                <a:gd name="T25" fmla="*/ 1 h 72"/>
                <a:gd name="T26" fmla="*/ 1 w 137"/>
                <a:gd name="T27" fmla="*/ 1 h 72"/>
                <a:gd name="T28" fmla="*/ 1 w 137"/>
                <a:gd name="T29" fmla="*/ 0 h 72"/>
                <a:gd name="T30" fmla="*/ 1 w 137"/>
                <a:gd name="T31" fmla="*/ 1 h 72"/>
                <a:gd name="T32" fmla="*/ 1 w 137"/>
                <a:gd name="T33" fmla="*/ 1 h 72"/>
                <a:gd name="T34" fmla="*/ 1 w 137"/>
                <a:gd name="T35" fmla="*/ 1 h 72"/>
                <a:gd name="T36" fmla="*/ 1 w 137"/>
                <a:gd name="T37" fmla="*/ 1 h 72"/>
                <a:gd name="T38" fmla="*/ 1 w 137"/>
                <a:gd name="T39" fmla="*/ 1 h 72"/>
                <a:gd name="T40" fmla="*/ 1 w 137"/>
                <a:gd name="T41" fmla="*/ 1 h 72"/>
                <a:gd name="T42" fmla="*/ 1 w 137"/>
                <a:gd name="T43" fmla="*/ 1 h 72"/>
                <a:gd name="T44" fmla="*/ 1 w 137"/>
                <a:gd name="T45" fmla="*/ 1 h 72"/>
                <a:gd name="T46" fmla="*/ 1 w 137"/>
                <a:gd name="T47" fmla="*/ 1 h 72"/>
                <a:gd name="T48" fmla="*/ 1 w 137"/>
                <a:gd name="T49" fmla="*/ 1 h 7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37"/>
                <a:gd name="T76" fmla="*/ 0 h 72"/>
                <a:gd name="T77" fmla="*/ 137 w 137"/>
                <a:gd name="T78" fmla="*/ 72 h 7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37" h="72">
                  <a:moveTo>
                    <a:pt x="74" y="49"/>
                  </a:moveTo>
                  <a:lnTo>
                    <a:pt x="66" y="53"/>
                  </a:lnTo>
                  <a:lnTo>
                    <a:pt x="55" y="58"/>
                  </a:lnTo>
                  <a:lnTo>
                    <a:pt x="48" y="72"/>
                  </a:lnTo>
                  <a:lnTo>
                    <a:pt x="42" y="72"/>
                  </a:lnTo>
                  <a:lnTo>
                    <a:pt x="40" y="64"/>
                  </a:lnTo>
                  <a:lnTo>
                    <a:pt x="31" y="61"/>
                  </a:lnTo>
                  <a:lnTo>
                    <a:pt x="31" y="51"/>
                  </a:lnTo>
                  <a:lnTo>
                    <a:pt x="14" y="47"/>
                  </a:lnTo>
                  <a:lnTo>
                    <a:pt x="0" y="36"/>
                  </a:lnTo>
                  <a:lnTo>
                    <a:pt x="13" y="17"/>
                  </a:lnTo>
                  <a:lnTo>
                    <a:pt x="29" y="5"/>
                  </a:lnTo>
                  <a:lnTo>
                    <a:pt x="31" y="5"/>
                  </a:lnTo>
                  <a:lnTo>
                    <a:pt x="53" y="3"/>
                  </a:lnTo>
                  <a:lnTo>
                    <a:pt x="73" y="0"/>
                  </a:lnTo>
                  <a:lnTo>
                    <a:pt x="91" y="1"/>
                  </a:lnTo>
                  <a:lnTo>
                    <a:pt x="108" y="1"/>
                  </a:lnTo>
                  <a:lnTo>
                    <a:pt x="122" y="11"/>
                  </a:lnTo>
                  <a:lnTo>
                    <a:pt x="119" y="10"/>
                  </a:lnTo>
                  <a:lnTo>
                    <a:pt x="121" y="15"/>
                  </a:lnTo>
                  <a:lnTo>
                    <a:pt x="128" y="15"/>
                  </a:lnTo>
                  <a:lnTo>
                    <a:pt x="137" y="23"/>
                  </a:lnTo>
                  <a:lnTo>
                    <a:pt x="119" y="25"/>
                  </a:lnTo>
                  <a:lnTo>
                    <a:pt x="101" y="29"/>
                  </a:lnTo>
                  <a:lnTo>
                    <a:pt x="74" y="49"/>
                  </a:lnTo>
                  <a:close/>
                </a:path>
              </a:pathLst>
            </a:custGeom>
            <a:gradFill rotWithShape="1">
              <a:gsLst>
                <a:gs pos="0">
                  <a:schemeClr val="accent2"/>
                </a:gs>
                <a:gs pos="100000">
                  <a:srgbClr val="2E1A38"/>
                </a:gs>
              </a:gsLst>
              <a:lin ang="5400000" scaled="1"/>
            </a:gradFill>
            <a:ln w="6350" cap="rnd">
              <a:solidFill>
                <a:srgbClr val="DDDDDD"/>
              </a:solidFill>
              <a:round/>
              <a:headEnd/>
              <a:tailEnd/>
            </a:ln>
          </p:spPr>
          <p:txBody>
            <a:bodyPr lIns="91430" tIns="45716" rIns="91430" bIns="45716"/>
            <a:lstStyle/>
            <a:p>
              <a:endParaRPr lang="en-US"/>
            </a:p>
          </p:txBody>
        </p:sp>
        <p:sp>
          <p:nvSpPr>
            <p:cNvPr id="7265" name="Freeform 93"/>
            <p:cNvSpPr>
              <a:spLocks/>
            </p:cNvSpPr>
            <p:nvPr/>
          </p:nvSpPr>
          <p:spPr bwMode="auto">
            <a:xfrm>
              <a:off x="1431" y="1830"/>
              <a:ext cx="73" cy="72"/>
            </a:xfrm>
            <a:custGeom>
              <a:avLst/>
              <a:gdLst>
                <a:gd name="T0" fmla="*/ 1 w 103"/>
                <a:gd name="T1" fmla="*/ 1 h 103"/>
                <a:gd name="T2" fmla="*/ 1 w 103"/>
                <a:gd name="T3" fmla="*/ 1 h 103"/>
                <a:gd name="T4" fmla="*/ 1 w 103"/>
                <a:gd name="T5" fmla="*/ 1 h 103"/>
                <a:gd name="T6" fmla="*/ 1 w 103"/>
                <a:gd name="T7" fmla="*/ 1 h 103"/>
                <a:gd name="T8" fmla="*/ 1 w 103"/>
                <a:gd name="T9" fmla="*/ 1 h 103"/>
                <a:gd name="T10" fmla="*/ 0 w 103"/>
                <a:gd name="T11" fmla="*/ 1 h 103"/>
                <a:gd name="T12" fmla="*/ 1 w 103"/>
                <a:gd name="T13" fmla="*/ 1 h 103"/>
                <a:gd name="T14" fmla="*/ 1 w 103"/>
                <a:gd name="T15" fmla="*/ 1 h 103"/>
                <a:gd name="T16" fmla="*/ 1 w 103"/>
                <a:gd name="T17" fmla="*/ 1 h 103"/>
                <a:gd name="T18" fmla="*/ 1 w 103"/>
                <a:gd name="T19" fmla="*/ 1 h 103"/>
                <a:gd name="T20" fmla="*/ 1 w 103"/>
                <a:gd name="T21" fmla="*/ 1 h 103"/>
                <a:gd name="T22" fmla="*/ 1 w 103"/>
                <a:gd name="T23" fmla="*/ 1 h 103"/>
                <a:gd name="T24" fmla="*/ 1 w 103"/>
                <a:gd name="T25" fmla="*/ 1 h 103"/>
                <a:gd name="T26" fmla="*/ 1 w 103"/>
                <a:gd name="T27" fmla="*/ 1 h 103"/>
                <a:gd name="T28" fmla="*/ 1 w 103"/>
                <a:gd name="T29" fmla="*/ 1 h 103"/>
                <a:gd name="T30" fmla="*/ 1 w 103"/>
                <a:gd name="T31" fmla="*/ 1 h 103"/>
                <a:gd name="T32" fmla="*/ 1 w 103"/>
                <a:gd name="T33" fmla="*/ 1 h 103"/>
                <a:gd name="T34" fmla="*/ 1 w 103"/>
                <a:gd name="T35" fmla="*/ 0 h 103"/>
                <a:gd name="T36" fmla="*/ 1 w 103"/>
                <a:gd name="T37" fmla="*/ 1 h 103"/>
                <a:gd name="T38" fmla="*/ 1 w 103"/>
                <a:gd name="T39" fmla="*/ 1 h 103"/>
                <a:gd name="T40" fmla="*/ 1 w 103"/>
                <a:gd name="T41" fmla="*/ 1 h 10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03"/>
                <a:gd name="T64" fmla="*/ 0 h 103"/>
                <a:gd name="T65" fmla="*/ 103 w 103"/>
                <a:gd name="T66" fmla="*/ 103 h 10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03" h="103">
                  <a:moveTo>
                    <a:pt x="40" y="26"/>
                  </a:moveTo>
                  <a:lnTo>
                    <a:pt x="32" y="30"/>
                  </a:lnTo>
                  <a:lnTo>
                    <a:pt x="21" y="35"/>
                  </a:lnTo>
                  <a:lnTo>
                    <a:pt x="14" y="49"/>
                  </a:lnTo>
                  <a:lnTo>
                    <a:pt x="8" y="49"/>
                  </a:lnTo>
                  <a:lnTo>
                    <a:pt x="0" y="52"/>
                  </a:lnTo>
                  <a:lnTo>
                    <a:pt x="20" y="74"/>
                  </a:lnTo>
                  <a:lnTo>
                    <a:pt x="39" y="97"/>
                  </a:lnTo>
                  <a:lnTo>
                    <a:pt x="70" y="103"/>
                  </a:lnTo>
                  <a:lnTo>
                    <a:pt x="84" y="101"/>
                  </a:lnTo>
                  <a:lnTo>
                    <a:pt x="84" y="85"/>
                  </a:lnTo>
                  <a:lnTo>
                    <a:pt x="85" y="72"/>
                  </a:lnTo>
                  <a:lnTo>
                    <a:pt x="88" y="58"/>
                  </a:lnTo>
                  <a:lnTo>
                    <a:pt x="90" y="62"/>
                  </a:lnTo>
                  <a:lnTo>
                    <a:pt x="93" y="43"/>
                  </a:lnTo>
                  <a:lnTo>
                    <a:pt x="97" y="23"/>
                  </a:lnTo>
                  <a:lnTo>
                    <a:pt x="97" y="5"/>
                  </a:lnTo>
                  <a:lnTo>
                    <a:pt x="103" y="0"/>
                  </a:lnTo>
                  <a:lnTo>
                    <a:pt x="85" y="2"/>
                  </a:lnTo>
                  <a:lnTo>
                    <a:pt x="67" y="6"/>
                  </a:lnTo>
                  <a:lnTo>
                    <a:pt x="40" y="26"/>
                  </a:lnTo>
                  <a:close/>
                </a:path>
              </a:pathLst>
            </a:custGeom>
            <a:gradFill rotWithShape="1">
              <a:gsLst>
                <a:gs pos="0">
                  <a:schemeClr val="accent2"/>
                </a:gs>
                <a:gs pos="100000">
                  <a:srgbClr val="2E1A38"/>
                </a:gs>
              </a:gsLst>
              <a:lin ang="5400000" scaled="1"/>
            </a:gradFill>
            <a:ln w="6350" cap="rnd">
              <a:solidFill>
                <a:srgbClr val="DDDDDD"/>
              </a:solidFill>
              <a:round/>
              <a:headEnd/>
              <a:tailEnd/>
            </a:ln>
          </p:spPr>
          <p:txBody>
            <a:bodyPr lIns="91430" tIns="45716" rIns="91430" bIns="45716"/>
            <a:lstStyle/>
            <a:p>
              <a:endParaRPr lang="en-US"/>
            </a:p>
          </p:txBody>
        </p:sp>
        <p:sp>
          <p:nvSpPr>
            <p:cNvPr id="7266" name="Freeform 94"/>
            <p:cNvSpPr>
              <a:spLocks/>
            </p:cNvSpPr>
            <p:nvPr/>
          </p:nvSpPr>
          <p:spPr bwMode="auto">
            <a:xfrm>
              <a:off x="1413" y="1770"/>
              <a:ext cx="21" cy="45"/>
            </a:xfrm>
            <a:custGeom>
              <a:avLst/>
              <a:gdLst>
                <a:gd name="T0" fmla="*/ 1 w 30"/>
                <a:gd name="T1" fmla="*/ 1 h 63"/>
                <a:gd name="T2" fmla="*/ 1 w 30"/>
                <a:gd name="T3" fmla="*/ 1 h 63"/>
                <a:gd name="T4" fmla="*/ 0 w 30"/>
                <a:gd name="T5" fmla="*/ 1 h 63"/>
                <a:gd name="T6" fmla="*/ 1 w 30"/>
                <a:gd name="T7" fmla="*/ 1 h 63"/>
                <a:gd name="T8" fmla="*/ 1 w 30"/>
                <a:gd name="T9" fmla="*/ 1 h 63"/>
                <a:gd name="T10" fmla="*/ 1 w 30"/>
                <a:gd name="T11" fmla="*/ 0 h 63"/>
                <a:gd name="T12" fmla="*/ 1 w 30"/>
                <a:gd name="T13" fmla="*/ 1 h 63"/>
                <a:gd name="T14" fmla="*/ 1 w 30"/>
                <a:gd name="T15" fmla="*/ 1 h 63"/>
                <a:gd name="T16" fmla="*/ 1 w 30"/>
                <a:gd name="T17" fmla="*/ 1 h 6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"/>
                <a:gd name="T28" fmla="*/ 0 h 63"/>
                <a:gd name="T29" fmla="*/ 30 w 30"/>
                <a:gd name="T30" fmla="*/ 63 h 6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" h="63">
                  <a:moveTo>
                    <a:pt x="18" y="51"/>
                  </a:moveTo>
                  <a:lnTo>
                    <a:pt x="7" y="63"/>
                  </a:lnTo>
                  <a:lnTo>
                    <a:pt x="0" y="63"/>
                  </a:lnTo>
                  <a:lnTo>
                    <a:pt x="4" y="39"/>
                  </a:lnTo>
                  <a:lnTo>
                    <a:pt x="9" y="15"/>
                  </a:lnTo>
                  <a:lnTo>
                    <a:pt x="28" y="0"/>
                  </a:lnTo>
                  <a:lnTo>
                    <a:pt x="30" y="3"/>
                  </a:lnTo>
                  <a:lnTo>
                    <a:pt x="24" y="27"/>
                  </a:lnTo>
                  <a:lnTo>
                    <a:pt x="18" y="51"/>
                  </a:lnTo>
                  <a:close/>
                </a:path>
              </a:pathLst>
            </a:custGeom>
            <a:gradFill rotWithShape="1">
              <a:gsLst>
                <a:gs pos="0">
                  <a:schemeClr val="accent2"/>
                </a:gs>
                <a:gs pos="100000">
                  <a:srgbClr val="2E1A38"/>
                </a:gs>
              </a:gsLst>
              <a:lin ang="5400000" scaled="1"/>
            </a:gradFill>
            <a:ln w="6350" cap="rnd">
              <a:solidFill>
                <a:srgbClr val="DDDDDD"/>
              </a:solidFill>
              <a:round/>
              <a:headEnd/>
              <a:tailEnd/>
            </a:ln>
          </p:spPr>
          <p:txBody>
            <a:bodyPr lIns="91430" tIns="45716" rIns="91430" bIns="45716"/>
            <a:lstStyle/>
            <a:p>
              <a:endParaRPr lang="en-US"/>
            </a:p>
          </p:txBody>
        </p:sp>
        <p:sp>
          <p:nvSpPr>
            <p:cNvPr id="7267" name="Freeform 95"/>
            <p:cNvSpPr>
              <a:spLocks/>
            </p:cNvSpPr>
            <p:nvPr/>
          </p:nvSpPr>
          <p:spPr bwMode="auto">
            <a:xfrm>
              <a:off x="1364" y="1781"/>
              <a:ext cx="64" cy="72"/>
            </a:xfrm>
            <a:custGeom>
              <a:avLst/>
              <a:gdLst>
                <a:gd name="T0" fmla="*/ 1 w 91"/>
                <a:gd name="T1" fmla="*/ 1 h 102"/>
                <a:gd name="T2" fmla="*/ 0 w 91"/>
                <a:gd name="T3" fmla="*/ 1 h 102"/>
                <a:gd name="T4" fmla="*/ 1 w 91"/>
                <a:gd name="T5" fmla="*/ 1 h 102"/>
                <a:gd name="T6" fmla="*/ 1 w 91"/>
                <a:gd name="T7" fmla="*/ 1 h 102"/>
                <a:gd name="T8" fmla="*/ 1 w 91"/>
                <a:gd name="T9" fmla="*/ 1 h 102"/>
                <a:gd name="T10" fmla="*/ 1 w 91"/>
                <a:gd name="T11" fmla="*/ 1 h 102"/>
                <a:gd name="T12" fmla="*/ 1 w 91"/>
                <a:gd name="T13" fmla="*/ 1 h 102"/>
                <a:gd name="T14" fmla="*/ 1 w 91"/>
                <a:gd name="T15" fmla="*/ 0 h 102"/>
                <a:gd name="T16" fmla="*/ 1 w 91"/>
                <a:gd name="T17" fmla="*/ 0 h 102"/>
                <a:gd name="T18" fmla="*/ 1 w 91"/>
                <a:gd name="T19" fmla="*/ 0 h 102"/>
                <a:gd name="T20" fmla="*/ 1 w 91"/>
                <a:gd name="T21" fmla="*/ 1 h 102"/>
                <a:gd name="T22" fmla="*/ 1 w 91"/>
                <a:gd name="T23" fmla="*/ 1 h 102"/>
                <a:gd name="T24" fmla="*/ 1 w 91"/>
                <a:gd name="T25" fmla="*/ 1 h 102"/>
                <a:gd name="T26" fmla="*/ 1 w 91"/>
                <a:gd name="T27" fmla="*/ 1 h 102"/>
                <a:gd name="T28" fmla="*/ 1 w 91"/>
                <a:gd name="T29" fmla="*/ 1 h 102"/>
                <a:gd name="T30" fmla="*/ 1 w 91"/>
                <a:gd name="T31" fmla="*/ 1 h 102"/>
                <a:gd name="T32" fmla="*/ 1 w 91"/>
                <a:gd name="T33" fmla="*/ 1 h 102"/>
                <a:gd name="T34" fmla="*/ 1 w 91"/>
                <a:gd name="T35" fmla="*/ 1 h 102"/>
                <a:gd name="T36" fmla="*/ 1 w 91"/>
                <a:gd name="T37" fmla="*/ 1 h 102"/>
                <a:gd name="T38" fmla="*/ 1 w 91"/>
                <a:gd name="T39" fmla="*/ 1 h 10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91"/>
                <a:gd name="T61" fmla="*/ 0 h 102"/>
                <a:gd name="T62" fmla="*/ 91 w 91"/>
                <a:gd name="T63" fmla="*/ 102 h 102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91" h="102">
                  <a:moveTo>
                    <a:pt x="8" y="90"/>
                  </a:moveTo>
                  <a:lnTo>
                    <a:pt x="0" y="82"/>
                  </a:lnTo>
                  <a:lnTo>
                    <a:pt x="2" y="64"/>
                  </a:lnTo>
                  <a:lnTo>
                    <a:pt x="15" y="45"/>
                  </a:lnTo>
                  <a:lnTo>
                    <a:pt x="44" y="40"/>
                  </a:lnTo>
                  <a:lnTo>
                    <a:pt x="28" y="17"/>
                  </a:lnTo>
                  <a:lnTo>
                    <a:pt x="36" y="15"/>
                  </a:lnTo>
                  <a:lnTo>
                    <a:pt x="37" y="0"/>
                  </a:lnTo>
                  <a:lnTo>
                    <a:pt x="57" y="0"/>
                  </a:lnTo>
                  <a:lnTo>
                    <a:pt x="78" y="0"/>
                  </a:lnTo>
                  <a:lnTo>
                    <a:pt x="73" y="24"/>
                  </a:lnTo>
                  <a:lnTo>
                    <a:pt x="69" y="48"/>
                  </a:lnTo>
                  <a:lnTo>
                    <a:pt x="76" y="48"/>
                  </a:lnTo>
                  <a:lnTo>
                    <a:pt x="84" y="49"/>
                  </a:lnTo>
                  <a:lnTo>
                    <a:pt x="91" y="53"/>
                  </a:lnTo>
                  <a:lnTo>
                    <a:pt x="75" y="65"/>
                  </a:lnTo>
                  <a:lnTo>
                    <a:pt x="62" y="84"/>
                  </a:lnTo>
                  <a:lnTo>
                    <a:pt x="45" y="102"/>
                  </a:lnTo>
                  <a:lnTo>
                    <a:pt x="27" y="96"/>
                  </a:lnTo>
                  <a:lnTo>
                    <a:pt x="8" y="90"/>
                  </a:lnTo>
                  <a:close/>
                </a:path>
              </a:pathLst>
            </a:custGeom>
            <a:gradFill rotWithShape="1">
              <a:gsLst>
                <a:gs pos="0">
                  <a:schemeClr val="accent2"/>
                </a:gs>
                <a:gs pos="100000">
                  <a:srgbClr val="2E1A38"/>
                </a:gs>
              </a:gsLst>
              <a:lin ang="5400000" scaled="1"/>
            </a:gradFill>
            <a:ln w="6350" cap="rnd">
              <a:solidFill>
                <a:srgbClr val="DDDDDD"/>
              </a:solidFill>
              <a:round/>
              <a:headEnd/>
              <a:tailEnd/>
            </a:ln>
          </p:spPr>
          <p:txBody>
            <a:bodyPr lIns="91430" tIns="45716" rIns="91430" bIns="45716"/>
            <a:lstStyle/>
            <a:p>
              <a:endParaRPr lang="en-US"/>
            </a:p>
          </p:txBody>
        </p:sp>
        <p:sp>
          <p:nvSpPr>
            <p:cNvPr id="7268" name="Freeform 96"/>
            <p:cNvSpPr>
              <a:spLocks/>
            </p:cNvSpPr>
            <p:nvPr/>
          </p:nvSpPr>
          <p:spPr bwMode="auto">
            <a:xfrm>
              <a:off x="1583" y="1770"/>
              <a:ext cx="32" cy="11"/>
            </a:xfrm>
            <a:custGeom>
              <a:avLst/>
              <a:gdLst>
                <a:gd name="T0" fmla="*/ 1 w 47"/>
                <a:gd name="T1" fmla="*/ 0 h 16"/>
                <a:gd name="T2" fmla="*/ 0 w 47"/>
                <a:gd name="T3" fmla="*/ 1 h 16"/>
                <a:gd name="T4" fmla="*/ 1 w 47"/>
                <a:gd name="T5" fmla="*/ 1 h 16"/>
                <a:gd name="T6" fmla="*/ 1 w 47"/>
                <a:gd name="T7" fmla="*/ 1 h 16"/>
                <a:gd name="T8" fmla="*/ 1 w 47"/>
                <a:gd name="T9" fmla="*/ 0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7"/>
                <a:gd name="T16" fmla="*/ 0 h 16"/>
                <a:gd name="T17" fmla="*/ 47 w 47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7" h="16">
                  <a:moveTo>
                    <a:pt x="18" y="0"/>
                  </a:moveTo>
                  <a:lnTo>
                    <a:pt x="0" y="6"/>
                  </a:lnTo>
                  <a:lnTo>
                    <a:pt x="26" y="16"/>
                  </a:lnTo>
                  <a:lnTo>
                    <a:pt x="47" y="13"/>
                  </a:lnTo>
                  <a:lnTo>
                    <a:pt x="18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69" name="Freeform 97"/>
            <p:cNvSpPr>
              <a:spLocks/>
            </p:cNvSpPr>
            <p:nvPr/>
          </p:nvSpPr>
          <p:spPr bwMode="auto">
            <a:xfrm>
              <a:off x="1753" y="1768"/>
              <a:ext cx="24" cy="10"/>
            </a:xfrm>
            <a:custGeom>
              <a:avLst/>
              <a:gdLst>
                <a:gd name="T0" fmla="*/ 1 w 33"/>
                <a:gd name="T1" fmla="*/ 1 h 14"/>
                <a:gd name="T2" fmla="*/ 1 w 33"/>
                <a:gd name="T3" fmla="*/ 1 h 14"/>
                <a:gd name="T4" fmla="*/ 1 w 33"/>
                <a:gd name="T5" fmla="*/ 1 h 14"/>
                <a:gd name="T6" fmla="*/ 0 w 33"/>
                <a:gd name="T7" fmla="*/ 1 h 14"/>
                <a:gd name="T8" fmla="*/ 1 w 33"/>
                <a:gd name="T9" fmla="*/ 0 h 14"/>
                <a:gd name="T10" fmla="*/ 1 w 33"/>
                <a:gd name="T11" fmla="*/ 1 h 1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3"/>
                <a:gd name="T19" fmla="*/ 0 h 14"/>
                <a:gd name="T20" fmla="*/ 33 w 33"/>
                <a:gd name="T21" fmla="*/ 14 h 1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3" h="14">
                  <a:moveTo>
                    <a:pt x="33" y="8"/>
                  </a:moveTo>
                  <a:lnTo>
                    <a:pt x="31" y="9"/>
                  </a:lnTo>
                  <a:lnTo>
                    <a:pt x="8" y="14"/>
                  </a:lnTo>
                  <a:lnTo>
                    <a:pt x="0" y="11"/>
                  </a:lnTo>
                  <a:lnTo>
                    <a:pt x="2" y="0"/>
                  </a:lnTo>
                  <a:lnTo>
                    <a:pt x="33" y="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70" name="Freeform 98"/>
            <p:cNvSpPr>
              <a:spLocks/>
            </p:cNvSpPr>
            <p:nvPr/>
          </p:nvSpPr>
          <p:spPr bwMode="auto">
            <a:xfrm>
              <a:off x="1787" y="1781"/>
              <a:ext cx="6" cy="1"/>
            </a:xfrm>
            <a:custGeom>
              <a:avLst/>
              <a:gdLst>
                <a:gd name="T0" fmla="*/ 3 w 7"/>
                <a:gd name="T1" fmla="*/ 0 h 3"/>
                <a:gd name="T2" fmla="*/ 2 w 7"/>
                <a:gd name="T3" fmla="*/ 0 h 3"/>
                <a:gd name="T4" fmla="*/ 0 w 7"/>
                <a:gd name="T5" fmla="*/ 0 h 3"/>
                <a:gd name="T6" fmla="*/ 3 w 7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3"/>
                <a:gd name="T14" fmla="*/ 7 w 7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3">
                  <a:moveTo>
                    <a:pt x="7" y="2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7" y="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71" name="Freeform 99"/>
            <p:cNvSpPr>
              <a:spLocks/>
            </p:cNvSpPr>
            <p:nvPr/>
          </p:nvSpPr>
          <p:spPr bwMode="auto">
            <a:xfrm>
              <a:off x="1056" y="1522"/>
              <a:ext cx="406" cy="315"/>
            </a:xfrm>
            <a:custGeom>
              <a:avLst/>
              <a:gdLst>
                <a:gd name="T0" fmla="*/ 1 w 580"/>
                <a:gd name="T1" fmla="*/ 1 h 449"/>
                <a:gd name="T2" fmla="*/ 1 w 580"/>
                <a:gd name="T3" fmla="*/ 1 h 449"/>
                <a:gd name="T4" fmla="*/ 1 w 580"/>
                <a:gd name="T5" fmla="*/ 1 h 449"/>
                <a:gd name="T6" fmla="*/ 1 w 580"/>
                <a:gd name="T7" fmla="*/ 1 h 449"/>
                <a:gd name="T8" fmla="*/ 1 w 580"/>
                <a:gd name="T9" fmla="*/ 1 h 449"/>
                <a:gd name="T10" fmla="*/ 1 w 580"/>
                <a:gd name="T11" fmla="*/ 0 h 449"/>
                <a:gd name="T12" fmla="*/ 1 w 580"/>
                <a:gd name="T13" fmla="*/ 1 h 449"/>
                <a:gd name="T14" fmla="*/ 1 w 580"/>
                <a:gd name="T15" fmla="*/ 1 h 449"/>
                <a:gd name="T16" fmla="*/ 1 w 580"/>
                <a:gd name="T17" fmla="*/ 1 h 449"/>
                <a:gd name="T18" fmla="*/ 2 w 580"/>
                <a:gd name="T19" fmla="*/ 1 h 449"/>
                <a:gd name="T20" fmla="*/ 2 w 580"/>
                <a:gd name="T21" fmla="*/ 1 h 449"/>
                <a:gd name="T22" fmla="*/ 2 w 580"/>
                <a:gd name="T23" fmla="*/ 1 h 449"/>
                <a:gd name="T24" fmla="*/ 2 w 580"/>
                <a:gd name="T25" fmla="*/ 1 h 449"/>
                <a:gd name="T26" fmla="*/ 3 w 580"/>
                <a:gd name="T27" fmla="*/ 2 h 449"/>
                <a:gd name="T28" fmla="*/ 3 w 580"/>
                <a:gd name="T29" fmla="*/ 3 h 449"/>
                <a:gd name="T30" fmla="*/ 3 w 580"/>
                <a:gd name="T31" fmla="*/ 3 h 449"/>
                <a:gd name="T32" fmla="*/ 3 w 580"/>
                <a:gd name="T33" fmla="*/ 3 h 449"/>
                <a:gd name="T34" fmla="*/ 4 w 580"/>
                <a:gd name="T35" fmla="*/ 2 h 449"/>
                <a:gd name="T36" fmla="*/ 4 w 580"/>
                <a:gd name="T37" fmla="*/ 2 h 449"/>
                <a:gd name="T38" fmla="*/ 4 w 580"/>
                <a:gd name="T39" fmla="*/ 2 h 449"/>
                <a:gd name="T40" fmla="*/ 4 w 580"/>
                <a:gd name="T41" fmla="*/ 2 h 449"/>
                <a:gd name="T42" fmla="*/ 4 w 580"/>
                <a:gd name="T43" fmla="*/ 3 h 449"/>
                <a:gd name="T44" fmla="*/ 4 w 580"/>
                <a:gd name="T45" fmla="*/ 3 h 449"/>
                <a:gd name="T46" fmla="*/ 3 w 580"/>
                <a:gd name="T47" fmla="*/ 3 h 449"/>
                <a:gd name="T48" fmla="*/ 3 w 580"/>
                <a:gd name="T49" fmla="*/ 3 h 449"/>
                <a:gd name="T50" fmla="*/ 3 w 580"/>
                <a:gd name="T51" fmla="*/ 3 h 449"/>
                <a:gd name="T52" fmla="*/ 3 w 580"/>
                <a:gd name="T53" fmla="*/ 3 h 449"/>
                <a:gd name="T54" fmla="*/ 2 w 580"/>
                <a:gd name="T55" fmla="*/ 3 h 449"/>
                <a:gd name="T56" fmla="*/ 2 w 580"/>
                <a:gd name="T57" fmla="*/ 3 h 449"/>
                <a:gd name="T58" fmla="*/ 1 w 580"/>
                <a:gd name="T59" fmla="*/ 3 h 449"/>
                <a:gd name="T60" fmla="*/ 1 w 580"/>
                <a:gd name="T61" fmla="*/ 2 h 449"/>
                <a:gd name="T62" fmla="*/ 1 w 580"/>
                <a:gd name="T63" fmla="*/ 2 h 449"/>
                <a:gd name="T64" fmla="*/ 1 w 580"/>
                <a:gd name="T65" fmla="*/ 2 h 449"/>
                <a:gd name="T66" fmla="*/ 1 w 580"/>
                <a:gd name="T67" fmla="*/ 1 h 449"/>
                <a:gd name="T68" fmla="*/ 1 w 580"/>
                <a:gd name="T69" fmla="*/ 1 h 449"/>
                <a:gd name="T70" fmla="*/ 1 w 580"/>
                <a:gd name="T71" fmla="*/ 1 h 449"/>
                <a:gd name="T72" fmla="*/ 1 w 580"/>
                <a:gd name="T73" fmla="*/ 1 h 449"/>
                <a:gd name="T74" fmla="*/ 1 w 580"/>
                <a:gd name="T75" fmla="*/ 1 h 449"/>
                <a:gd name="T76" fmla="*/ 1 w 580"/>
                <a:gd name="T77" fmla="*/ 1 h 449"/>
                <a:gd name="T78" fmla="*/ 1 w 580"/>
                <a:gd name="T79" fmla="*/ 1 h 449"/>
                <a:gd name="T80" fmla="*/ 1 w 580"/>
                <a:gd name="T81" fmla="*/ 1 h 449"/>
                <a:gd name="T82" fmla="*/ 1 w 580"/>
                <a:gd name="T83" fmla="*/ 1 h 449"/>
                <a:gd name="T84" fmla="*/ 1 w 580"/>
                <a:gd name="T85" fmla="*/ 1 h 44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80"/>
                <a:gd name="T130" fmla="*/ 0 h 449"/>
                <a:gd name="T131" fmla="*/ 580 w 580"/>
                <a:gd name="T132" fmla="*/ 449 h 44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80" h="449">
                  <a:moveTo>
                    <a:pt x="101" y="233"/>
                  </a:moveTo>
                  <a:lnTo>
                    <a:pt x="85" y="240"/>
                  </a:lnTo>
                  <a:lnTo>
                    <a:pt x="73" y="216"/>
                  </a:lnTo>
                  <a:lnTo>
                    <a:pt x="53" y="194"/>
                  </a:lnTo>
                  <a:lnTo>
                    <a:pt x="55" y="175"/>
                  </a:lnTo>
                  <a:lnTo>
                    <a:pt x="48" y="156"/>
                  </a:lnTo>
                  <a:lnTo>
                    <a:pt x="41" y="143"/>
                  </a:lnTo>
                  <a:lnTo>
                    <a:pt x="29" y="143"/>
                  </a:lnTo>
                  <a:lnTo>
                    <a:pt x="18" y="131"/>
                  </a:lnTo>
                  <a:lnTo>
                    <a:pt x="9" y="119"/>
                  </a:lnTo>
                  <a:lnTo>
                    <a:pt x="25" y="122"/>
                  </a:lnTo>
                  <a:lnTo>
                    <a:pt x="29" y="97"/>
                  </a:lnTo>
                  <a:lnTo>
                    <a:pt x="18" y="80"/>
                  </a:lnTo>
                  <a:lnTo>
                    <a:pt x="6" y="64"/>
                  </a:lnTo>
                  <a:lnTo>
                    <a:pt x="4" y="34"/>
                  </a:lnTo>
                  <a:lnTo>
                    <a:pt x="0" y="2"/>
                  </a:lnTo>
                  <a:lnTo>
                    <a:pt x="25" y="1"/>
                  </a:lnTo>
                  <a:lnTo>
                    <a:pt x="51" y="0"/>
                  </a:lnTo>
                  <a:lnTo>
                    <a:pt x="67" y="8"/>
                  </a:lnTo>
                  <a:lnTo>
                    <a:pt x="84" y="16"/>
                  </a:lnTo>
                  <a:lnTo>
                    <a:pt x="100" y="24"/>
                  </a:lnTo>
                  <a:lnTo>
                    <a:pt x="117" y="32"/>
                  </a:lnTo>
                  <a:lnTo>
                    <a:pt x="147" y="32"/>
                  </a:lnTo>
                  <a:lnTo>
                    <a:pt x="177" y="32"/>
                  </a:lnTo>
                  <a:lnTo>
                    <a:pt x="180" y="22"/>
                  </a:lnTo>
                  <a:lnTo>
                    <a:pt x="215" y="22"/>
                  </a:lnTo>
                  <a:lnTo>
                    <a:pt x="233" y="46"/>
                  </a:lnTo>
                  <a:lnTo>
                    <a:pt x="240" y="70"/>
                  </a:lnTo>
                  <a:lnTo>
                    <a:pt x="253" y="80"/>
                  </a:lnTo>
                  <a:lnTo>
                    <a:pt x="265" y="91"/>
                  </a:lnTo>
                  <a:lnTo>
                    <a:pt x="281" y="72"/>
                  </a:lnTo>
                  <a:lnTo>
                    <a:pt x="310" y="74"/>
                  </a:lnTo>
                  <a:lnTo>
                    <a:pt x="319" y="97"/>
                  </a:lnTo>
                  <a:lnTo>
                    <a:pt x="329" y="120"/>
                  </a:lnTo>
                  <a:lnTo>
                    <a:pt x="336" y="149"/>
                  </a:lnTo>
                  <a:lnTo>
                    <a:pt x="351" y="161"/>
                  </a:lnTo>
                  <a:lnTo>
                    <a:pt x="376" y="166"/>
                  </a:lnTo>
                  <a:lnTo>
                    <a:pt x="363" y="199"/>
                  </a:lnTo>
                  <a:lnTo>
                    <a:pt x="351" y="232"/>
                  </a:lnTo>
                  <a:lnTo>
                    <a:pt x="347" y="265"/>
                  </a:lnTo>
                  <a:lnTo>
                    <a:pt x="354" y="288"/>
                  </a:lnTo>
                  <a:lnTo>
                    <a:pt x="362" y="312"/>
                  </a:lnTo>
                  <a:lnTo>
                    <a:pt x="369" y="328"/>
                  </a:lnTo>
                  <a:lnTo>
                    <a:pt x="375" y="343"/>
                  </a:lnTo>
                  <a:lnTo>
                    <a:pt x="377" y="344"/>
                  </a:lnTo>
                  <a:lnTo>
                    <a:pt x="400" y="356"/>
                  </a:lnTo>
                  <a:lnTo>
                    <a:pt x="419" y="354"/>
                  </a:lnTo>
                  <a:lnTo>
                    <a:pt x="443" y="349"/>
                  </a:lnTo>
                  <a:lnTo>
                    <a:pt x="458" y="349"/>
                  </a:lnTo>
                  <a:lnTo>
                    <a:pt x="467" y="352"/>
                  </a:lnTo>
                  <a:lnTo>
                    <a:pt x="474" y="346"/>
                  </a:lnTo>
                  <a:lnTo>
                    <a:pt x="472" y="341"/>
                  </a:lnTo>
                  <a:lnTo>
                    <a:pt x="489" y="323"/>
                  </a:lnTo>
                  <a:lnTo>
                    <a:pt x="500" y="293"/>
                  </a:lnTo>
                  <a:lnTo>
                    <a:pt x="522" y="281"/>
                  </a:lnTo>
                  <a:lnTo>
                    <a:pt x="543" y="278"/>
                  </a:lnTo>
                  <a:lnTo>
                    <a:pt x="564" y="276"/>
                  </a:lnTo>
                  <a:lnTo>
                    <a:pt x="569" y="276"/>
                  </a:lnTo>
                  <a:lnTo>
                    <a:pt x="578" y="281"/>
                  </a:lnTo>
                  <a:lnTo>
                    <a:pt x="580" y="286"/>
                  </a:lnTo>
                  <a:lnTo>
                    <a:pt x="560" y="316"/>
                  </a:lnTo>
                  <a:lnTo>
                    <a:pt x="556" y="325"/>
                  </a:lnTo>
                  <a:lnTo>
                    <a:pt x="556" y="328"/>
                  </a:lnTo>
                  <a:lnTo>
                    <a:pt x="556" y="330"/>
                  </a:lnTo>
                  <a:lnTo>
                    <a:pt x="545" y="354"/>
                  </a:lnTo>
                  <a:lnTo>
                    <a:pt x="542" y="346"/>
                  </a:lnTo>
                  <a:lnTo>
                    <a:pt x="537" y="352"/>
                  </a:lnTo>
                  <a:lnTo>
                    <a:pt x="518" y="367"/>
                  </a:lnTo>
                  <a:lnTo>
                    <a:pt x="497" y="367"/>
                  </a:lnTo>
                  <a:lnTo>
                    <a:pt x="477" y="367"/>
                  </a:lnTo>
                  <a:lnTo>
                    <a:pt x="476" y="382"/>
                  </a:lnTo>
                  <a:lnTo>
                    <a:pt x="468" y="384"/>
                  </a:lnTo>
                  <a:lnTo>
                    <a:pt x="484" y="407"/>
                  </a:lnTo>
                  <a:lnTo>
                    <a:pt x="455" y="412"/>
                  </a:lnTo>
                  <a:lnTo>
                    <a:pt x="442" y="431"/>
                  </a:lnTo>
                  <a:lnTo>
                    <a:pt x="440" y="449"/>
                  </a:lnTo>
                  <a:lnTo>
                    <a:pt x="419" y="427"/>
                  </a:lnTo>
                  <a:lnTo>
                    <a:pt x="398" y="406"/>
                  </a:lnTo>
                  <a:lnTo>
                    <a:pt x="407" y="413"/>
                  </a:lnTo>
                  <a:lnTo>
                    <a:pt x="394" y="406"/>
                  </a:lnTo>
                  <a:lnTo>
                    <a:pt x="384" y="407"/>
                  </a:lnTo>
                  <a:lnTo>
                    <a:pt x="388" y="408"/>
                  </a:lnTo>
                  <a:lnTo>
                    <a:pt x="368" y="414"/>
                  </a:lnTo>
                  <a:lnTo>
                    <a:pt x="346" y="420"/>
                  </a:lnTo>
                  <a:lnTo>
                    <a:pt x="322" y="409"/>
                  </a:lnTo>
                  <a:lnTo>
                    <a:pt x="298" y="397"/>
                  </a:lnTo>
                  <a:lnTo>
                    <a:pt x="274" y="386"/>
                  </a:lnTo>
                  <a:lnTo>
                    <a:pt x="250" y="374"/>
                  </a:lnTo>
                  <a:lnTo>
                    <a:pt x="235" y="365"/>
                  </a:lnTo>
                  <a:lnTo>
                    <a:pt x="220" y="358"/>
                  </a:lnTo>
                  <a:lnTo>
                    <a:pt x="204" y="349"/>
                  </a:lnTo>
                  <a:lnTo>
                    <a:pt x="190" y="334"/>
                  </a:lnTo>
                  <a:lnTo>
                    <a:pt x="174" y="319"/>
                  </a:lnTo>
                  <a:lnTo>
                    <a:pt x="172" y="301"/>
                  </a:lnTo>
                  <a:lnTo>
                    <a:pt x="179" y="298"/>
                  </a:lnTo>
                  <a:lnTo>
                    <a:pt x="177" y="292"/>
                  </a:lnTo>
                  <a:lnTo>
                    <a:pt x="183" y="276"/>
                  </a:lnTo>
                  <a:lnTo>
                    <a:pt x="174" y="257"/>
                  </a:lnTo>
                  <a:lnTo>
                    <a:pt x="167" y="238"/>
                  </a:lnTo>
                  <a:lnTo>
                    <a:pt x="155" y="220"/>
                  </a:lnTo>
                  <a:lnTo>
                    <a:pt x="142" y="203"/>
                  </a:lnTo>
                  <a:lnTo>
                    <a:pt x="148" y="205"/>
                  </a:lnTo>
                  <a:lnTo>
                    <a:pt x="138" y="192"/>
                  </a:lnTo>
                  <a:lnTo>
                    <a:pt x="135" y="188"/>
                  </a:lnTo>
                  <a:lnTo>
                    <a:pt x="137" y="187"/>
                  </a:lnTo>
                  <a:lnTo>
                    <a:pt x="120" y="178"/>
                  </a:lnTo>
                  <a:lnTo>
                    <a:pt x="124" y="172"/>
                  </a:lnTo>
                  <a:lnTo>
                    <a:pt x="115" y="172"/>
                  </a:lnTo>
                  <a:lnTo>
                    <a:pt x="123" y="157"/>
                  </a:lnTo>
                  <a:lnTo>
                    <a:pt x="114" y="148"/>
                  </a:lnTo>
                  <a:lnTo>
                    <a:pt x="100" y="124"/>
                  </a:lnTo>
                  <a:lnTo>
                    <a:pt x="100" y="118"/>
                  </a:lnTo>
                  <a:lnTo>
                    <a:pt x="87" y="107"/>
                  </a:lnTo>
                  <a:lnTo>
                    <a:pt x="78" y="85"/>
                  </a:lnTo>
                  <a:lnTo>
                    <a:pt x="70" y="64"/>
                  </a:lnTo>
                  <a:lnTo>
                    <a:pt x="70" y="35"/>
                  </a:lnTo>
                  <a:lnTo>
                    <a:pt x="57" y="28"/>
                  </a:lnTo>
                  <a:lnTo>
                    <a:pt x="40" y="18"/>
                  </a:lnTo>
                  <a:lnTo>
                    <a:pt x="37" y="44"/>
                  </a:lnTo>
                  <a:lnTo>
                    <a:pt x="35" y="71"/>
                  </a:lnTo>
                  <a:lnTo>
                    <a:pt x="46" y="91"/>
                  </a:lnTo>
                  <a:lnTo>
                    <a:pt x="57" y="112"/>
                  </a:lnTo>
                  <a:lnTo>
                    <a:pt x="63" y="130"/>
                  </a:lnTo>
                  <a:lnTo>
                    <a:pt x="69" y="148"/>
                  </a:lnTo>
                  <a:lnTo>
                    <a:pt x="71" y="144"/>
                  </a:lnTo>
                  <a:lnTo>
                    <a:pt x="75" y="174"/>
                  </a:lnTo>
                  <a:lnTo>
                    <a:pt x="79" y="203"/>
                  </a:lnTo>
                  <a:lnTo>
                    <a:pt x="87" y="208"/>
                  </a:lnTo>
                  <a:lnTo>
                    <a:pt x="97" y="221"/>
                  </a:lnTo>
                  <a:lnTo>
                    <a:pt x="101" y="23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272" name="Freeform 100"/>
            <p:cNvSpPr>
              <a:spLocks/>
            </p:cNvSpPr>
            <p:nvPr/>
          </p:nvSpPr>
          <p:spPr bwMode="auto">
            <a:xfrm>
              <a:off x="1611" y="1622"/>
              <a:ext cx="11" cy="17"/>
            </a:xfrm>
            <a:custGeom>
              <a:avLst/>
              <a:gdLst>
                <a:gd name="T0" fmla="*/ 1 w 16"/>
                <a:gd name="T1" fmla="*/ 1 h 24"/>
                <a:gd name="T2" fmla="*/ 1 w 16"/>
                <a:gd name="T3" fmla="*/ 1 h 24"/>
                <a:gd name="T4" fmla="*/ 0 w 16"/>
                <a:gd name="T5" fmla="*/ 0 h 24"/>
                <a:gd name="T6" fmla="*/ 1 w 16"/>
                <a:gd name="T7" fmla="*/ 1 h 24"/>
                <a:gd name="T8" fmla="*/ 1 w 16"/>
                <a:gd name="T9" fmla="*/ 1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24"/>
                <a:gd name="T17" fmla="*/ 16 w 16"/>
                <a:gd name="T18" fmla="*/ 24 h 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24">
                  <a:moveTo>
                    <a:pt x="7" y="24"/>
                  </a:moveTo>
                  <a:lnTo>
                    <a:pt x="11" y="13"/>
                  </a:lnTo>
                  <a:lnTo>
                    <a:pt x="0" y="0"/>
                  </a:lnTo>
                  <a:lnTo>
                    <a:pt x="16" y="15"/>
                  </a:lnTo>
                  <a:lnTo>
                    <a:pt x="7" y="2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73" name="Freeform 101"/>
            <p:cNvSpPr>
              <a:spLocks/>
            </p:cNvSpPr>
            <p:nvPr/>
          </p:nvSpPr>
          <p:spPr bwMode="auto">
            <a:xfrm>
              <a:off x="1660" y="1719"/>
              <a:ext cx="10" cy="7"/>
            </a:xfrm>
            <a:custGeom>
              <a:avLst/>
              <a:gdLst>
                <a:gd name="T0" fmla="*/ 1 w 14"/>
                <a:gd name="T1" fmla="*/ 0 h 9"/>
                <a:gd name="T2" fmla="*/ 1 w 14"/>
                <a:gd name="T3" fmla="*/ 2 h 9"/>
                <a:gd name="T4" fmla="*/ 0 w 14"/>
                <a:gd name="T5" fmla="*/ 2 h 9"/>
                <a:gd name="T6" fmla="*/ 1 w 14"/>
                <a:gd name="T7" fmla="*/ 0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"/>
                <a:gd name="T13" fmla="*/ 0 h 9"/>
                <a:gd name="T14" fmla="*/ 14 w 14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" h="9">
                  <a:moveTo>
                    <a:pt x="14" y="0"/>
                  </a:moveTo>
                  <a:lnTo>
                    <a:pt x="13" y="3"/>
                  </a:lnTo>
                  <a:lnTo>
                    <a:pt x="0" y="9"/>
                  </a:lnTo>
                  <a:lnTo>
                    <a:pt x="14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74" name="Freeform 102"/>
            <p:cNvSpPr>
              <a:spLocks/>
            </p:cNvSpPr>
            <p:nvPr/>
          </p:nvSpPr>
          <p:spPr bwMode="auto">
            <a:xfrm>
              <a:off x="1655" y="1696"/>
              <a:ext cx="5" cy="6"/>
            </a:xfrm>
            <a:custGeom>
              <a:avLst/>
              <a:gdLst>
                <a:gd name="T0" fmla="*/ 1 w 7"/>
                <a:gd name="T1" fmla="*/ 1 h 9"/>
                <a:gd name="T2" fmla="*/ 1 w 7"/>
                <a:gd name="T3" fmla="*/ 0 h 9"/>
                <a:gd name="T4" fmla="*/ 0 w 7"/>
                <a:gd name="T5" fmla="*/ 1 h 9"/>
                <a:gd name="T6" fmla="*/ 1 w 7"/>
                <a:gd name="T7" fmla="*/ 1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9"/>
                <a:gd name="T14" fmla="*/ 7 w 7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9">
                  <a:moveTo>
                    <a:pt x="7" y="3"/>
                  </a:moveTo>
                  <a:lnTo>
                    <a:pt x="3" y="0"/>
                  </a:lnTo>
                  <a:lnTo>
                    <a:pt x="0" y="9"/>
                  </a:lnTo>
                  <a:lnTo>
                    <a:pt x="7" y="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75" name="Freeform 103"/>
            <p:cNvSpPr>
              <a:spLocks/>
            </p:cNvSpPr>
            <p:nvPr/>
          </p:nvSpPr>
          <p:spPr bwMode="auto">
            <a:xfrm>
              <a:off x="2789" y="2388"/>
              <a:ext cx="207" cy="207"/>
            </a:xfrm>
            <a:custGeom>
              <a:avLst/>
              <a:gdLst>
                <a:gd name="T0" fmla="*/ 1 w 293"/>
                <a:gd name="T1" fmla="*/ 1 h 295"/>
                <a:gd name="T2" fmla="*/ 1 w 293"/>
                <a:gd name="T3" fmla="*/ 1 h 295"/>
                <a:gd name="T4" fmla="*/ 1 w 293"/>
                <a:gd name="T5" fmla="*/ 1 h 295"/>
                <a:gd name="T6" fmla="*/ 1 w 293"/>
                <a:gd name="T7" fmla="*/ 1 h 295"/>
                <a:gd name="T8" fmla="*/ 1 w 293"/>
                <a:gd name="T9" fmla="*/ 1 h 295"/>
                <a:gd name="T10" fmla="*/ 1 w 293"/>
                <a:gd name="T11" fmla="*/ 1 h 295"/>
                <a:gd name="T12" fmla="*/ 1 w 293"/>
                <a:gd name="T13" fmla="*/ 1 h 295"/>
                <a:gd name="T14" fmla="*/ 1 w 293"/>
                <a:gd name="T15" fmla="*/ 1 h 295"/>
                <a:gd name="T16" fmla="*/ 2 w 293"/>
                <a:gd name="T17" fmla="*/ 1 h 295"/>
                <a:gd name="T18" fmla="*/ 2 w 293"/>
                <a:gd name="T19" fmla="*/ 1 h 295"/>
                <a:gd name="T20" fmla="*/ 2 w 293"/>
                <a:gd name="T21" fmla="*/ 1 h 295"/>
                <a:gd name="T22" fmla="*/ 2 w 293"/>
                <a:gd name="T23" fmla="*/ 1 h 295"/>
                <a:gd name="T24" fmla="*/ 2 w 293"/>
                <a:gd name="T25" fmla="*/ 1 h 295"/>
                <a:gd name="T26" fmla="*/ 2 w 293"/>
                <a:gd name="T27" fmla="*/ 1 h 295"/>
                <a:gd name="T28" fmla="*/ 2 w 293"/>
                <a:gd name="T29" fmla="*/ 1 h 295"/>
                <a:gd name="T30" fmla="*/ 2 w 293"/>
                <a:gd name="T31" fmla="*/ 1 h 295"/>
                <a:gd name="T32" fmla="*/ 1 w 293"/>
                <a:gd name="T33" fmla="*/ 1 h 295"/>
                <a:gd name="T34" fmla="*/ 1 w 293"/>
                <a:gd name="T35" fmla="*/ 1 h 295"/>
                <a:gd name="T36" fmla="*/ 1 w 293"/>
                <a:gd name="T37" fmla="*/ 1 h 295"/>
                <a:gd name="T38" fmla="*/ 1 w 293"/>
                <a:gd name="T39" fmla="*/ 1 h 295"/>
                <a:gd name="T40" fmla="*/ 1 w 293"/>
                <a:gd name="T41" fmla="*/ 1 h 295"/>
                <a:gd name="T42" fmla="*/ 1 w 293"/>
                <a:gd name="T43" fmla="*/ 1 h 295"/>
                <a:gd name="T44" fmla="*/ 1 w 293"/>
                <a:gd name="T45" fmla="*/ 1 h 295"/>
                <a:gd name="T46" fmla="*/ 1 w 293"/>
                <a:gd name="T47" fmla="*/ 1 h 295"/>
                <a:gd name="T48" fmla="*/ 1 w 293"/>
                <a:gd name="T49" fmla="*/ 0 h 295"/>
                <a:gd name="T50" fmla="*/ 1 w 293"/>
                <a:gd name="T51" fmla="*/ 1 h 295"/>
                <a:gd name="T52" fmla="*/ 0 w 293"/>
                <a:gd name="T53" fmla="*/ 1 h 295"/>
                <a:gd name="T54" fmla="*/ 1 w 293"/>
                <a:gd name="T55" fmla="*/ 1 h 295"/>
                <a:gd name="T56" fmla="*/ 1 w 293"/>
                <a:gd name="T57" fmla="*/ 1 h 295"/>
                <a:gd name="T58" fmla="*/ 1 w 293"/>
                <a:gd name="T59" fmla="*/ 1 h 295"/>
                <a:gd name="T60" fmla="*/ 1 w 293"/>
                <a:gd name="T61" fmla="*/ 1 h 295"/>
                <a:gd name="T62" fmla="*/ 1 w 293"/>
                <a:gd name="T63" fmla="*/ 1 h 295"/>
                <a:gd name="T64" fmla="*/ 1 w 293"/>
                <a:gd name="T65" fmla="*/ 1 h 295"/>
                <a:gd name="T66" fmla="*/ 1 w 293"/>
                <a:gd name="T67" fmla="*/ 1 h 295"/>
                <a:gd name="T68" fmla="*/ 1 w 293"/>
                <a:gd name="T69" fmla="*/ 1 h 295"/>
                <a:gd name="T70" fmla="*/ 1 w 293"/>
                <a:gd name="T71" fmla="*/ 1 h 295"/>
                <a:gd name="T72" fmla="*/ 1 w 293"/>
                <a:gd name="T73" fmla="*/ 2 h 295"/>
                <a:gd name="T74" fmla="*/ 1 w 293"/>
                <a:gd name="T75" fmla="*/ 2 h 295"/>
                <a:gd name="T76" fmla="*/ 1 w 293"/>
                <a:gd name="T77" fmla="*/ 2 h 295"/>
                <a:gd name="T78" fmla="*/ 1 w 293"/>
                <a:gd name="T79" fmla="*/ 2 h 295"/>
                <a:gd name="T80" fmla="*/ 1 w 293"/>
                <a:gd name="T81" fmla="*/ 2 h 295"/>
                <a:gd name="T82" fmla="*/ 1 w 293"/>
                <a:gd name="T83" fmla="*/ 2 h 295"/>
                <a:gd name="T84" fmla="*/ 1 w 293"/>
                <a:gd name="T85" fmla="*/ 2 h 295"/>
                <a:gd name="T86" fmla="*/ 1 w 293"/>
                <a:gd name="T87" fmla="*/ 2 h 295"/>
                <a:gd name="T88" fmla="*/ 1 w 293"/>
                <a:gd name="T89" fmla="*/ 2 h 295"/>
                <a:gd name="T90" fmla="*/ 1 w 293"/>
                <a:gd name="T91" fmla="*/ 1 h 295"/>
                <a:gd name="T92" fmla="*/ 1 w 293"/>
                <a:gd name="T93" fmla="*/ 1 h 29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93"/>
                <a:gd name="T142" fmla="*/ 0 h 295"/>
                <a:gd name="T143" fmla="*/ 293 w 293"/>
                <a:gd name="T144" fmla="*/ 295 h 295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93" h="295">
                  <a:moveTo>
                    <a:pt x="174" y="193"/>
                  </a:moveTo>
                  <a:lnTo>
                    <a:pt x="176" y="160"/>
                  </a:lnTo>
                  <a:lnTo>
                    <a:pt x="177" y="125"/>
                  </a:lnTo>
                  <a:lnTo>
                    <a:pt x="198" y="125"/>
                  </a:lnTo>
                  <a:lnTo>
                    <a:pt x="198" y="102"/>
                  </a:lnTo>
                  <a:lnTo>
                    <a:pt x="200" y="79"/>
                  </a:lnTo>
                  <a:lnTo>
                    <a:pt x="200" y="57"/>
                  </a:lnTo>
                  <a:lnTo>
                    <a:pt x="201" y="34"/>
                  </a:lnTo>
                  <a:lnTo>
                    <a:pt x="226" y="30"/>
                  </a:lnTo>
                  <a:lnTo>
                    <a:pt x="251" y="28"/>
                  </a:lnTo>
                  <a:lnTo>
                    <a:pt x="260" y="36"/>
                  </a:lnTo>
                  <a:lnTo>
                    <a:pt x="276" y="27"/>
                  </a:lnTo>
                  <a:lnTo>
                    <a:pt x="293" y="21"/>
                  </a:lnTo>
                  <a:lnTo>
                    <a:pt x="269" y="13"/>
                  </a:lnTo>
                  <a:lnTo>
                    <a:pt x="255" y="17"/>
                  </a:lnTo>
                  <a:lnTo>
                    <a:pt x="222" y="21"/>
                  </a:lnTo>
                  <a:lnTo>
                    <a:pt x="190" y="24"/>
                  </a:lnTo>
                  <a:lnTo>
                    <a:pt x="170" y="19"/>
                  </a:lnTo>
                  <a:lnTo>
                    <a:pt x="149" y="16"/>
                  </a:lnTo>
                  <a:lnTo>
                    <a:pt x="145" y="11"/>
                  </a:lnTo>
                  <a:lnTo>
                    <a:pt x="120" y="10"/>
                  </a:lnTo>
                  <a:lnTo>
                    <a:pt x="95" y="9"/>
                  </a:lnTo>
                  <a:lnTo>
                    <a:pt x="70" y="9"/>
                  </a:lnTo>
                  <a:lnTo>
                    <a:pt x="45" y="7"/>
                  </a:lnTo>
                  <a:lnTo>
                    <a:pt x="28" y="0"/>
                  </a:lnTo>
                  <a:lnTo>
                    <a:pt x="1" y="7"/>
                  </a:lnTo>
                  <a:lnTo>
                    <a:pt x="0" y="22"/>
                  </a:lnTo>
                  <a:lnTo>
                    <a:pt x="15" y="52"/>
                  </a:lnTo>
                  <a:lnTo>
                    <a:pt x="30" y="82"/>
                  </a:lnTo>
                  <a:lnTo>
                    <a:pt x="45" y="112"/>
                  </a:lnTo>
                  <a:lnTo>
                    <a:pt x="59" y="142"/>
                  </a:lnTo>
                  <a:lnTo>
                    <a:pt x="61" y="155"/>
                  </a:lnTo>
                  <a:lnTo>
                    <a:pt x="57" y="153"/>
                  </a:lnTo>
                  <a:lnTo>
                    <a:pt x="60" y="179"/>
                  </a:lnTo>
                  <a:lnTo>
                    <a:pt x="64" y="204"/>
                  </a:lnTo>
                  <a:lnTo>
                    <a:pt x="67" y="229"/>
                  </a:lnTo>
                  <a:lnTo>
                    <a:pt x="71" y="255"/>
                  </a:lnTo>
                  <a:lnTo>
                    <a:pt x="83" y="271"/>
                  </a:lnTo>
                  <a:lnTo>
                    <a:pt x="95" y="288"/>
                  </a:lnTo>
                  <a:lnTo>
                    <a:pt x="107" y="275"/>
                  </a:lnTo>
                  <a:lnTo>
                    <a:pt x="114" y="291"/>
                  </a:lnTo>
                  <a:lnTo>
                    <a:pt x="147" y="295"/>
                  </a:lnTo>
                  <a:lnTo>
                    <a:pt x="166" y="286"/>
                  </a:lnTo>
                  <a:lnTo>
                    <a:pt x="168" y="263"/>
                  </a:lnTo>
                  <a:lnTo>
                    <a:pt x="170" y="240"/>
                  </a:lnTo>
                  <a:lnTo>
                    <a:pt x="172" y="217"/>
                  </a:lnTo>
                  <a:lnTo>
                    <a:pt x="174" y="19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76" name="Freeform 104"/>
            <p:cNvSpPr>
              <a:spLocks/>
            </p:cNvSpPr>
            <p:nvPr/>
          </p:nvSpPr>
          <p:spPr bwMode="auto">
            <a:xfrm>
              <a:off x="1707" y="2262"/>
              <a:ext cx="192" cy="228"/>
            </a:xfrm>
            <a:custGeom>
              <a:avLst/>
              <a:gdLst>
                <a:gd name="T0" fmla="*/ 1 w 274"/>
                <a:gd name="T1" fmla="*/ 2 h 324"/>
                <a:gd name="T2" fmla="*/ 1 w 274"/>
                <a:gd name="T3" fmla="*/ 2 h 324"/>
                <a:gd name="T4" fmla="*/ 1 w 274"/>
                <a:gd name="T5" fmla="*/ 2 h 324"/>
                <a:gd name="T6" fmla="*/ 1 w 274"/>
                <a:gd name="T7" fmla="*/ 2 h 324"/>
                <a:gd name="T8" fmla="*/ 1 w 274"/>
                <a:gd name="T9" fmla="*/ 2 h 324"/>
                <a:gd name="T10" fmla="*/ 1 w 274"/>
                <a:gd name="T11" fmla="*/ 2 h 324"/>
                <a:gd name="T12" fmla="*/ 1 w 274"/>
                <a:gd name="T13" fmla="*/ 2 h 324"/>
                <a:gd name="T14" fmla="*/ 1 w 274"/>
                <a:gd name="T15" fmla="*/ 2 h 324"/>
                <a:gd name="T16" fmla="*/ 1 w 274"/>
                <a:gd name="T17" fmla="*/ 2 h 324"/>
                <a:gd name="T18" fmla="*/ 1 w 274"/>
                <a:gd name="T19" fmla="*/ 2 h 324"/>
                <a:gd name="T20" fmla="*/ 1 w 274"/>
                <a:gd name="T21" fmla="*/ 2 h 324"/>
                <a:gd name="T22" fmla="*/ 1 w 274"/>
                <a:gd name="T23" fmla="*/ 2 h 324"/>
                <a:gd name="T24" fmla="*/ 1 w 274"/>
                <a:gd name="T25" fmla="*/ 2 h 324"/>
                <a:gd name="T26" fmla="*/ 1 w 274"/>
                <a:gd name="T27" fmla="*/ 2 h 324"/>
                <a:gd name="T28" fmla="*/ 1 w 274"/>
                <a:gd name="T29" fmla="*/ 2 h 324"/>
                <a:gd name="T30" fmla="*/ 1 w 274"/>
                <a:gd name="T31" fmla="*/ 1 h 324"/>
                <a:gd name="T32" fmla="*/ 1 w 274"/>
                <a:gd name="T33" fmla="*/ 1 h 324"/>
                <a:gd name="T34" fmla="*/ 1 w 274"/>
                <a:gd name="T35" fmla="*/ 1 h 324"/>
                <a:gd name="T36" fmla="*/ 1 w 274"/>
                <a:gd name="T37" fmla="*/ 1 h 324"/>
                <a:gd name="T38" fmla="*/ 1 w 274"/>
                <a:gd name="T39" fmla="*/ 1 h 324"/>
                <a:gd name="T40" fmla="*/ 1 w 274"/>
                <a:gd name="T41" fmla="*/ 1 h 324"/>
                <a:gd name="T42" fmla="*/ 1 w 274"/>
                <a:gd name="T43" fmla="*/ 1 h 324"/>
                <a:gd name="T44" fmla="*/ 1 w 274"/>
                <a:gd name="T45" fmla="*/ 1 h 324"/>
                <a:gd name="T46" fmla="*/ 1 w 274"/>
                <a:gd name="T47" fmla="*/ 1 h 324"/>
                <a:gd name="T48" fmla="*/ 1 w 274"/>
                <a:gd name="T49" fmla="*/ 1 h 324"/>
                <a:gd name="T50" fmla="*/ 1 w 274"/>
                <a:gd name="T51" fmla="*/ 1 h 324"/>
                <a:gd name="T52" fmla="*/ 1 w 274"/>
                <a:gd name="T53" fmla="*/ 1 h 324"/>
                <a:gd name="T54" fmla="*/ 0 w 274"/>
                <a:gd name="T55" fmla="*/ 1 h 324"/>
                <a:gd name="T56" fmla="*/ 1 w 274"/>
                <a:gd name="T57" fmla="*/ 1 h 324"/>
                <a:gd name="T58" fmla="*/ 1 w 274"/>
                <a:gd name="T59" fmla="*/ 1 h 324"/>
                <a:gd name="T60" fmla="*/ 1 w 274"/>
                <a:gd name="T61" fmla="*/ 1 h 324"/>
                <a:gd name="T62" fmla="*/ 1 w 274"/>
                <a:gd name="T63" fmla="*/ 0 h 324"/>
                <a:gd name="T64" fmla="*/ 1 w 274"/>
                <a:gd name="T65" fmla="*/ 1 h 324"/>
                <a:gd name="T66" fmla="*/ 1 w 274"/>
                <a:gd name="T67" fmla="*/ 1 h 324"/>
                <a:gd name="T68" fmla="*/ 1 w 274"/>
                <a:gd name="T69" fmla="*/ 1 h 324"/>
                <a:gd name="T70" fmla="*/ 1 w 274"/>
                <a:gd name="T71" fmla="*/ 1 h 324"/>
                <a:gd name="T72" fmla="*/ 1 w 274"/>
                <a:gd name="T73" fmla="*/ 1 h 324"/>
                <a:gd name="T74" fmla="*/ 1 w 274"/>
                <a:gd name="T75" fmla="*/ 1 h 324"/>
                <a:gd name="T76" fmla="*/ 1 w 274"/>
                <a:gd name="T77" fmla="*/ 1 h 324"/>
                <a:gd name="T78" fmla="*/ 1 w 274"/>
                <a:gd name="T79" fmla="*/ 1 h 324"/>
                <a:gd name="T80" fmla="*/ 1 w 274"/>
                <a:gd name="T81" fmla="*/ 1 h 324"/>
                <a:gd name="T82" fmla="*/ 1 w 274"/>
                <a:gd name="T83" fmla="*/ 1 h 324"/>
                <a:gd name="T84" fmla="*/ 1 w 274"/>
                <a:gd name="T85" fmla="*/ 1 h 324"/>
                <a:gd name="T86" fmla="*/ 1 w 274"/>
                <a:gd name="T87" fmla="*/ 1 h 324"/>
                <a:gd name="T88" fmla="*/ 1 w 274"/>
                <a:gd name="T89" fmla="*/ 1 h 324"/>
                <a:gd name="T90" fmla="*/ 1 w 274"/>
                <a:gd name="T91" fmla="*/ 1 h 324"/>
                <a:gd name="T92" fmla="*/ 2 w 274"/>
                <a:gd name="T93" fmla="*/ 1 h 324"/>
                <a:gd name="T94" fmla="*/ 2 w 274"/>
                <a:gd name="T95" fmla="*/ 1 h 324"/>
                <a:gd name="T96" fmla="*/ 2 w 274"/>
                <a:gd name="T97" fmla="*/ 1 h 324"/>
                <a:gd name="T98" fmla="*/ 2 w 274"/>
                <a:gd name="T99" fmla="*/ 1 h 324"/>
                <a:gd name="T100" fmla="*/ 2 w 274"/>
                <a:gd name="T101" fmla="*/ 1 h 324"/>
                <a:gd name="T102" fmla="*/ 2 w 274"/>
                <a:gd name="T103" fmla="*/ 2 h 324"/>
                <a:gd name="T104" fmla="*/ 2 w 274"/>
                <a:gd name="T105" fmla="*/ 2 h 324"/>
                <a:gd name="T106" fmla="*/ 2 w 274"/>
                <a:gd name="T107" fmla="*/ 2 h 324"/>
                <a:gd name="T108" fmla="*/ 2 w 274"/>
                <a:gd name="T109" fmla="*/ 2 h 324"/>
                <a:gd name="T110" fmla="*/ 2 w 274"/>
                <a:gd name="T111" fmla="*/ 2 h 324"/>
                <a:gd name="T112" fmla="*/ 1 w 274"/>
                <a:gd name="T113" fmla="*/ 2 h 324"/>
                <a:gd name="T114" fmla="*/ 1 w 274"/>
                <a:gd name="T115" fmla="*/ 2 h 324"/>
                <a:gd name="T116" fmla="*/ 1 w 274"/>
                <a:gd name="T117" fmla="*/ 2 h 3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74"/>
                <a:gd name="T178" fmla="*/ 0 h 324"/>
                <a:gd name="T179" fmla="*/ 274 w 274"/>
                <a:gd name="T180" fmla="*/ 324 h 3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74" h="324">
                  <a:moveTo>
                    <a:pt x="183" y="256"/>
                  </a:moveTo>
                  <a:lnTo>
                    <a:pt x="179" y="284"/>
                  </a:lnTo>
                  <a:lnTo>
                    <a:pt x="173" y="310"/>
                  </a:lnTo>
                  <a:lnTo>
                    <a:pt x="169" y="304"/>
                  </a:lnTo>
                  <a:lnTo>
                    <a:pt x="144" y="308"/>
                  </a:lnTo>
                  <a:lnTo>
                    <a:pt x="137" y="322"/>
                  </a:lnTo>
                  <a:lnTo>
                    <a:pt x="126" y="308"/>
                  </a:lnTo>
                  <a:lnTo>
                    <a:pt x="99" y="302"/>
                  </a:lnTo>
                  <a:lnTo>
                    <a:pt x="95" y="299"/>
                  </a:lnTo>
                  <a:lnTo>
                    <a:pt x="77" y="324"/>
                  </a:lnTo>
                  <a:lnTo>
                    <a:pt x="62" y="322"/>
                  </a:lnTo>
                  <a:lnTo>
                    <a:pt x="53" y="299"/>
                  </a:lnTo>
                  <a:lnTo>
                    <a:pt x="44" y="278"/>
                  </a:lnTo>
                  <a:lnTo>
                    <a:pt x="38" y="256"/>
                  </a:lnTo>
                  <a:lnTo>
                    <a:pt x="38" y="238"/>
                  </a:lnTo>
                  <a:lnTo>
                    <a:pt x="26" y="221"/>
                  </a:lnTo>
                  <a:lnTo>
                    <a:pt x="20" y="204"/>
                  </a:lnTo>
                  <a:lnTo>
                    <a:pt x="14" y="192"/>
                  </a:lnTo>
                  <a:lnTo>
                    <a:pt x="14" y="183"/>
                  </a:lnTo>
                  <a:lnTo>
                    <a:pt x="24" y="161"/>
                  </a:lnTo>
                  <a:lnTo>
                    <a:pt x="17" y="159"/>
                  </a:lnTo>
                  <a:lnTo>
                    <a:pt x="14" y="138"/>
                  </a:lnTo>
                  <a:lnTo>
                    <a:pt x="14" y="118"/>
                  </a:lnTo>
                  <a:lnTo>
                    <a:pt x="18" y="105"/>
                  </a:lnTo>
                  <a:lnTo>
                    <a:pt x="18" y="74"/>
                  </a:lnTo>
                  <a:lnTo>
                    <a:pt x="21" y="69"/>
                  </a:lnTo>
                  <a:lnTo>
                    <a:pt x="11" y="50"/>
                  </a:lnTo>
                  <a:lnTo>
                    <a:pt x="0" y="29"/>
                  </a:lnTo>
                  <a:lnTo>
                    <a:pt x="27" y="30"/>
                  </a:lnTo>
                  <a:lnTo>
                    <a:pt x="38" y="23"/>
                  </a:lnTo>
                  <a:lnTo>
                    <a:pt x="56" y="12"/>
                  </a:lnTo>
                  <a:lnTo>
                    <a:pt x="74" y="0"/>
                  </a:lnTo>
                  <a:lnTo>
                    <a:pt x="91" y="3"/>
                  </a:lnTo>
                  <a:lnTo>
                    <a:pt x="93" y="23"/>
                  </a:lnTo>
                  <a:lnTo>
                    <a:pt x="95" y="44"/>
                  </a:lnTo>
                  <a:lnTo>
                    <a:pt x="111" y="62"/>
                  </a:lnTo>
                  <a:lnTo>
                    <a:pt x="128" y="68"/>
                  </a:lnTo>
                  <a:lnTo>
                    <a:pt x="147" y="77"/>
                  </a:lnTo>
                  <a:lnTo>
                    <a:pt x="171" y="94"/>
                  </a:lnTo>
                  <a:lnTo>
                    <a:pt x="197" y="98"/>
                  </a:lnTo>
                  <a:lnTo>
                    <a:pt x="203" y="108"/>
                  </a:lnTo>
                  <a:lnTo>
                    <a:pt x="206" y="132"/>
                  </a:lnTo>
                  <a:lnTo>
                    <a:pt x="201" y="132"/>
                  </a:lnTo>
                  <a:lnTo>
                    <a:pt x="210" y="142"/>
                  </a:lnTo>
                  <a:lnTo>
                    <a:pt x="213" y="161"/>
                  </a:lnTo>
                  <a:lnTo>
                    <a:pt x="233" y="164"/>
                  </a:lnTo>
                  <a:lnTo>
                    <a:pt x="253" y="166"/>
                  </a:lnTo>
                  <a:lnTo>
                    <a:pt x="255" y="188"/>
                  </a:lnTo>
                  <a:lnTo>
                    <a:pt x="269" y="201"/>
                  </a:lnTo>
                  <a:lnTo>
                    <a:pt x="274" y="210"/>
                  </a:lnTo>
                  <a:lnTo>
                    <a:pt x="269" y="230"/>
                  </a:lnTo>
                  <a:lnTo>
                    <a:pt x="264" y="248"/>
                  </a:lnTo>
                  <a:lnTo>
                    <a:pt x="268" y="256"/>
                  </a:lnTo>
                  <a:lnTo>
                    <a:pt x="264" y="258"/>
                  </a:lnTo>
                  <a:lnTo>
                    <a:pt x="265" y="255"/>
                  </a:lnTo>
                  <a:lnTo>
                    <a:pt x="242" y="238"/>
                  </a:lnTo>
                  <a:lnTo>
                    <a:pt x="215" y="242"/>
                  </a:lnTo>
                  <a:lnTo>
                    <a:pt x="186" y="245"/>
                  </a:lnTo>
                  <a:lnTo>
                    <a:pt x="183" y="256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77" name="Freeform 105"/>
            <p:cNvSpPr>
              <a:spLocks/>
            </p:cNvSpPr>
            <p:nvPr/>
          </p:nvSpPr>
          <p:spPr bwMode="auto">
            <a:xfrm>
              <a:off x="2912" y="2403"/>
              <a:ext cx="142" cy="157"/>
            </a:xfrm>
            <a:custGeom>
              <a:avLst/>
              <a:gdLst>
                <a:gd name="T0" fmla="*/ 0 w 202"/>
                <a:gd name="T1" fmla="*/ 1 h 224"/>
                <a:gd name="T2" fmla="*/ 1 w 202"/>
                <a:gd name="T3" fmla="*/ 1 h 224"/>
                <a:gd name="T4" fmla="*/ 1 w 202"/>
                <a:gd name="T5" fmla="*/ 1 h 224"/>
                <a:gd name="T6" fmla="*/ 1 w 202"/>
                <a:gd name="T7" fmla="*/ 1 h 224"/>
                <a:gd name="T8" fmla="*/ 1 w 202"/>
                <a:gd name="T9" fmla="*/ 1 h 224"/>
                <a:gd name="T10" fmla="*/ 1 w 202"/>
                <a:gd name="T11" fmla="*/ 1 h 224"/>
                <a:gd name="T12" fmla="*/ 1 w 202"/>
                <a:gd name="T13" fmla="*/ 1 h 224"/>
                <a:gd name="T14" fmla="*/ 1 w 202"/>
                <a:gd name="T15" fmla="*/ 1 h 224"/>
                <a:gd name="T16" fmla="*/ 1 w 202"/>
                <a:gd name="T17" fmla="*/ 1 h 224"/>
                <a:gd name="T18" fmla="*/ 1 w 202"/>
                <a:gd name="T19" fmla="*/ 1 h 224"/>
                <a:gd name="T20" fmla="*/ 1 w 202"/>
                <a:gd name="T21" fmla="*/ 1 h 224"/>
                <a:gd name="T22" fmla="*/ 1 w 202"/>
                <a:gd name="T23" fmla="*/ 1 h 224"/>
                <a:gd name="T24" fmla="*/ 1 w 202"/>
                <a:gd name="T25" fmla="*/ 0 h 224"/>
                <a:gd name="T26" fmla="*/ 1 w 202"/>
                <a:gd name="T27" fmla="*/ 1 h 224"/>
                <a:gd name="T28" fmla="*/ 1 w 202"/>
                <a:gd name="T29" fmla="*/ 1 h 224"/>
                <a:gd name="T30" fmla="*/ 1 w 202"/>
                <a:gd name="T31" fmla="*/ 1 h 224"/>
                <a:gd name="T32" fmla="*/ 1 w 202"/>
                <a:gd name="T33" fmla="*/ 1 h 224"/>
                <a:gd name="T34" fmla="*/ 1 w 202"/>
                <a:gd name="T35" fmla="*/ 1 h 224"/>
                <a:gd name="T36" fmla="*/ 1 w 202"/>
                <a:gd name="T37" fmla="*/ 1 h 224"/>
                <a:gd name="T38" fmla="*/ 1 w 202"/>
                <a:gd name="T39" fmla="*/ 1 h 224"/>
                <a:gd name="T40" fmla="*/ 1 w 202"/>
                <a:gd name="T41" fmla="*/ 1 h 224"/>
                <a:gd name="T42" fmla="*/ 1 w 202"/>
                <a:gd name="T43" fmla="*/ 1 h 224"/>
                <a:gd name="T44" fmla="*/ 1 w 202"/>
                <a:gd name="T45" fmla="*/ 1 h 224"/>
                <a:gd name="T46" fmla="*/ 1 w 202"/>
                <a:gd name="T47" fmla="*/ 1 h 224"/>
                <a:gd name="T48" fmla="*/ 1 w 202"/>
                <a:gd name="T49" fmla="*/ 1 h 224"/>
                <a:gd name="T50" fmla="*/ 1 w 202"/>
                <a:gd name="T51" fmla="*/ 1 h 224"/>
                <a:gd name="T52" fmla="*/ 1 w 202"/>
                <a:gd name="T53" fmla="*/ 1 h 224"/>
                <a:gd name="T54" fmla="*/ 1 w 202"/>
                <a:gd name="T55" fmla="*/ 1 h 224"/>
                <a:gd name="T56" fmla="*/ 1 w 202"/>
                <a:gd name="T57" fmla="*/ 1 h 224"/>
                <a:gd name="T58" fmla="*/ 1 w 202"/>
                <a:gd name="T59" fmla="*/ 1 h 224"/>
                <a:gd name="T60" fmla="*/ 1 w 202"/>
                <a:gd name="T61" fmla="*/ 1 h 224"/>
                <a:gd name="T62" fmla="*/ 1 w 202"/>
                <a:gd name="T63" fmla="*/ 1 h 224"/>
                <a:gd name="T64" fmla="*/ 1 w 202"/>
                <a:gd name="T65" fmla="*/ 1 h 224"/>
                <a:gd name="T66" fmla="*/ 1 w 202"/>
                <a:gd name="T67" fmla="*/ 1 h 224"/>
                <a:gd name="T68" fmla="*/ 0 w 202"/>
                <a:gd name="T69" fmla="*/ 1 h 2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02"/>
                <a:gd name="T106" fmla="*/ 0 h 224"/>
                <a:gd name="T107" fmla="*/ 202 w 202"/>
                <a:gd name="T108" fmla="*/ 224 h 22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02" h="224">
                  <a:moveTo>
                    <a:pt x="0" y="172"/>
                  </a:moveTo>
                  <a:lnTo>
                    <a:pt x="2" y="139"/>
                  </a:lnTo>
                  <a:lnTo>
                    <a:pt x="3" y="104"/>
                  </a:lnTo>
                  <a:lnTo>
                    <a:pt x="24" y="104"/>
                  </a:lnTo>
                  <a:lnTo>
                    <a:pt x="24" y="81"/>
                  </a:lnTo>
                  <a:lnTo>
                    <a:pt x="26" y="58"/>
                  </a:lnTo>
                  <a:lnTo>
                    <a:pt x="26" y="36"/>
                  </a:lnTo>
                  <a:lnTo>
                    <a:pt x="27" y="13"/>
                  </a:lnTo>
                  <a:lnTo>
                    <a:pt x="52" y="9"/>
                  </a:lnTo>
                  <a:lnTo>
                    <a:pt x="77" y="7"/>
                  </a:lnTo>
                  <a:lnTo>
                    <a:pt x="86" y="15"/>
                  </a:lnTo>
                  <a:lnTo>
                    <a:pt x="102" y="6"/>
                  </a:lnTo>
                  <a:lnTo>
                    <a:pt x="119" y="0"/>
                  </a:lnTo>
                  <a:lnTo>
                    <a:pt x="132" y="24"/>
                  </a:lnTo>
                  <a:lnTo>
                    <a:pt x="144" y="48"/>
                  </a:lnTo>
                  <a:lnTo>
                    <a:pt x="160" y="61"/>
                  </a:lnTo>
                  <a:lnTo>
                    <a:pt x="165" y="66"/>
                  </a:lnTo>
                  <a:lnTo>
                    <a:pt x="170" y="73"/>
                  </a:lnTo>
                  <a:lnTo>
                    <a:pt x="177" y="93"/>
                  </a:lnTo>
                  <a:lnTo>
                    <a:pt x="196" y="103"/>
                  </a:lnTo>
                  <a:lnTo>
                    <a:pt x="202" y="106"/>
                  </a:lnTo>
                  <a:lnTo>
                    <a:pt x="201" y="109"/>
                  </a:lnTo>
                  <a:lnTo>
                    <a:pt x="172" y="128"/>
                  </a:lnTo>
                  <a:lnTo>
                    <a:pt x="150" y="146"/>
                  </a:lnTo>
                  <a:lnTo>
                    <a:pt x="138" y="168"/>
                  </a:lnTo>
                  <a:lnTo>
                    <a:pt x="125" y="176"/>
                  </a:lnTo>
                  <a:lnTo>
                    <a:pt x="113" y="198"/>
                  </a:lnTo>
                  <a:lnTo>
                    <a:pt x="81" y="193"/>
                  </a:lnTo>
                  <a:lnTo>
                    <a:pt x="64" y="187"/>
                  </a:lnTo>
                  <a:lnTo>
                    <a:pt x="52" y="202"/>
                  </a:lnTo>
                  <a:lnTo>
                    <a:pt x="41" y="219"/>
                  </a:lnTo>
                  <a:lnTo>
                    <a:pt x="18" y="224"/>
                  </a:lnTo>
                  <a:lnTo>
                    <a:pt x="11" y="220"/>
                  </a:lnTo>
                  <a:lnTo>
                    <a:pt x="15" y="196"/>
                  </a:lnTo>
                  <a:lnTo>
                    <a:pt x="0" y="17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78" name="Freeform 106"/>
            <p:cNvSpPr>
              <a:spLocks/>
            </p:cNvSpPr>
            <p:nvPr/>
          </p:nvSpPr>
          <p:spPr bwMode="auto">
            <a:xfrm>
              <a:off x="3013" y="2591"/>
              <a:ext cx="34" cy="35"/>
            </a:xfrm>
            <a:custGeom>
              <a:avLst/>
              <a:gdLst>
                <a:gd name="T0" fmla="*/ 1 w 48"/>
                <a:gd name="T1" fmla="*/ 1 h 50"/>
                <a:gd name="T2" fmla="*/ 0 w 48"/>
                <a:gd name="T3" fmla="*/ 1 h 50"/>
                <a:gd name="T4" fmla="*/ 1 w 48"/>
                <a:gd name="T5" fmla="*/ 1 h 50"/>
                <a:gd name="T6" fmla="*/ 1 w 48"/>
                <a:gd name="T7" fmla="*/ 1 h 50"/>
                <a:gd name="T8" fmla="*/ 1 w 48"/>
                <a:gd name="T9" fmla="*/ 1 h 50"/>
                <a:gd name="T10" fmla="*/ 1 w 48"/>
                <a:gd name="T11" fmla="*/ 1 h 50"/>
                <a:gd name="T12" fmla="*/ 1 w 48"/>
                <a:gd name="T13" fmla="*/ 0 h 50"/>
                <a:gd name="T14" fmla="*/ 1 w 48"/>
                <a:gd name="T15" fmla="*/ 1 h 5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8"/>
                <a:gd name="T25" fmla="*/ 0 h 50"/>
                <a:gd name="T26" fmla="*/ 48 w 48"/>
                <a:gd name="T27" fmla="*/ 50 h 5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8" h="50">
                  <a:moveTo>
                    <a:pt x="21" y="6"/>
                  </a:moveTo>
                  <a:lnTo>
                    <a:pt x="0" y="28"/>
                  </a:lnTo>
                  <a:lnTo>
                    <a:pt x="15" y="50"/>
                  </a:lnTo>
                  <a:lnTo>
                    <a:pt x="23" y="42"/>
                  </a:lnTo>
                  <a:lnTo>
                    <a:pt x="44" y="27"/>
                  </a:lnTo>
                  <a:lnTo>
                    <a:pt x="48" y="12"/>
                  </a:lnTo>
                  <a:lnTo>
                    <a:pt x="29" y="0"/>
                  </a:lnTo>
                  <a:lnTo>
                    <a:pt x="21" y="6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79" name="Freeform 107"/>
            <p:cNvSpPr>
              <a:spLocks/>
            </p:cNvSpPr>
            <p:nvPr/>
          </p:nvSpPr>
          <p:spPr bwMode="auto">
            <a:xfrm>
              <a:off x="3265" y="2303"/>
              <a:ext cx="116" cy="235"/>
            </a:xfrm>
            <a:custGeom>
              <a:avLst/>
              <a:gdLst>
                <a:gd name="T0" fmla="*/ 1 w 167"/>
                <a:gd name="T1" fmla="*/ 1 h 334"/>
                <a:gd name="T2" fmla="*/ 1 w 167"/>
                <a:gd name="T3" fmla="*/ 1 h 334"/>
                <a:gd name="T4" fmla="*/ 1 w 167"/>
                <a:gd name="T5" fmla="*/ 1 h 334"/>
                <a:gd name="T6" fmla="*/ 1 w 167"/>
                <a:gd name="T7" fmla="*/ 1 h 334"/>
                <a:gd name="T8" fmla="*/ 1 w 167"/>
                <a:gd name="T9" fmla="*/ 1 h 334"/>
                <a:gd name="T10" fmla="*/ 1 w 167"/>
                <a:gd name="T11" fmla="*/ 1 h 334"/>
                <a:gd name="T12" fmla="*/ 1 w 167"/>
                <a:gd name="T13" fmla="*/ 1 h 334"/>
                <a:gd name="T14" fmla="*/ 1 w 167"/>
                <a:gd name="T15" fmla="*/ 1 h 334"/>
                <a:gd name="T16" fmla="*/ 1 w 167"/>
                <a:gd name="T17" fmla="*/ 1 h 334"/>
                <a:gd name="T18" fmla="*/ 0 w 167"/>
                <a:gd name="T19" fmla="*/ 2 h 334"/>
                <a:gd name="T20" fmla="*/ 1 w 167"/>
                <a:gd name="T21" fmla="*/ 2 h 334"/>
                <a:gd name="T22" fmla="*/ 1 w 167"/>
                <a:gd name="T23" fmla="*/ 2 h 334"/>
                <a:gd name="T24" fmla="*/ 1 w 167"/>
                <a:gd name="T25" fmla="*/ 3 h 334"/>
                <a:gd name="T26" fmla="*/ 1 w 167"/>
                <a:gd name="T27" fmla="*/ 2 h 334"/>
                <a:gd name="T28" fmla="*/ 1 w 167"/>
                <a:gd name="T29" fmla="*/ 2 h 334"/>
                <a:gd name="T30" fmla="*/ 1 w 167"/>
                <a:gd name="T31" fmla="*/ 2 h 334"/>
                <a:gd name="T32" fmla="*/ 1 w 167"/>
                <a:gd name="T33" fmla="*/ 2 h 334"/>
                <a:gd name="T34" fmla="*/ 1 w 167"/>
                <a:gd name="T35" fmla="*/ 2 h 334"/>
                <a:gd name="T36" fmla="*/ 1 w 167"/>
                <a:gd name="T37" fmla="*/ 1 h 334"/>
                <a:gd name="T38" fmla="*/ 1 w 167"/>
                <a:gd name="T39" fmla="*/ 1 h 334"/>
                <a:gd name="T40" fmla="*/ 1 w 167"/>
                <a:gd name="T41" fmla="*/ 1 h 334"/>
                <a:gd name="T42" fmla="*/ 1 w 167"/>
                <a:gd name="T43" fmla="*/ 1 h 334"/>
                <a:gd name="T44" fmla="*/ 1 w 167"/>
                <a:gd name="T45" fmla="*/ 1 h 334"/>
                <a:gd name="T46" fmla="*/ 1 w 167"/>
                <a:gd name="T47" fmla="*/ 1 h 334"/>
                <a:gd name="T48" fmla="*/ 1 w 167"/>
                <a:gd name="T49" fmla="*/ 1 h 334"/>
                <a:gd name="T50" fmla="*/ 1 w 167"/>
                <a:gd name="T51" fmla="*/ 1 h 334"/>
                <a:gd name="T52" fmla="*/ 1 w 167"/>
                <a:gd name="T53" fmla="*/ 1 h 334"/>
                <a:gd name="T54" fmla="*/ 1 w 167"/>
                <a:gd name="T55" fmla="*/ 1 h 334"/>
                <a:gd name="T56" fmla="*/ 1 w 167"/>
                <a:gd name="T57" fmla="*/ 1 h 334"/>
                <a:gd name="T58" fmla="*/ 1 w 167"/>
                <a:gd name="T59" fmla="*/ 1 h 334"/>
                <a:gd name="T60" fmla="*/ 1 w 167"/>
                <a:gd name="T61" fmla="*/ 0 h 334"/>
                <a:gd name="T62" fmla="*/ 1 w 167"/>
                <a:gd name="T63" fmla="*/ 1 h 334"/>
                <a:gd name="T64" fmla="*/ 1 w 167"/>
                <a:gd name="T65" fmla="*/ 1 h 334"/>
                <a:gd name="T66" fmla="*/ 1 w 167"/>
                <a:gd name="T67" fmla="*/ 1 h 334"/>
                <a:gd name="T68" fmla="*/ 1 w 167"/>
                <a:gd name="T69" fmla="*/ 1 h 334"/>
                <a:gd name="T70" fmla="*/ 1 w 167"/>
                <a:gd name="T71" fmla="*/ 1 h 334"/>
                <a:gd name="T72" fmla="*/ 1 w 167"/>
                <a:gd name="T73" fmla="*/ 1 h 334"/>
                <a:gd name="T74" fmla="*/ 1 w 167"/>
                <a:gd name="T75" fmla="*/ 1 h 334"/>
                <a:gd name="T76" fmla="*/ 1 w 167"/>
                <a:gd name="T77" fmla="*/ 1 h 334"/>
                <a:gd name="T78" fmla="*/ 1 w 167"/>
                <a:gd name="T79" fmla="*/ 1 h 334"/>
                <a:gd name="T80" fmla="*/ 1 w 167"/>
                <a:gd name="T81" fmla="*/ 1 h 334"/>
                <a:gd name="T82" fmla="*/ 1 w 167"/>
                <a:gd name="T83" fmla="*/ 1 h 334"/>
                <a:gd name="T84" fmla="*/ 1 w 167"/>
                <a:gd name="T85" fmla="*/ 1 h 334"/>
                <a:gd name="T86" fmla="*/ 1 w 167"/>
                <a:gd name="T87" fmla="*/ 1 h 334"/>
                <a:gd name="T88" fmla="*/ 1 w 167"/>
                <a:gd name="T89" fmla="*/ 1 h 334"/>
                <a:gd name="T90" fmla="*/ 1 w 167"/>
                <a:gd name="T91" fmla="*/ 1 h 33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67"/>
                <a:gd name="T139" fmla="*/ 0 h 334"/>
                <a:gd name="T140" fmla="*/ 167 w 167"/>
                <a:gd name="T141" fmla="*/ 334 h 33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67" h="334">
                  <a:moveTo>
                    <a:pt x="61" y="95"/>
                  </a:moveTo>
                  <a:lnTo>
                    <a:pt x="53" y="96"/>
                  </a:lnTo>
                  <a:lnTo>
                    <a:pt x="34" y="106"/>
                  </a:lnTo>
                  <a:lnTo>
                    <a:pt x="28" y="126"/>
                  </a:lnTo>
                  <a:lnTo>
                    <a:pt x="23" y="145"/>
                  </a:lnTo>
                  <a:lnTo>
                    <a:pt x="26" y="170"/>
                  </a:lnTo>
                  <a:lnTo>
                    <a:pt x="29" y="196"/>
                  </a:lnTo>
                  <a:lnTo>
                    <a:pt x="18" y="212"/>
                  </a:lnTo>
                  <a:lnTo>
                    <a:pt x="6" y="229"/>
                  </a:lnTo>
                  <a:lnTo>
                    <a:pt x="0" y="263"/>
                  </a:lnTo>
                  <a:lnTo>
                    <a:pt x="5" y="290"/>
                  </a:lnTo>
                  <a:lnTo>
                    <a:pt x="13" y="322"/>
                  </a:lnTo>
                  <a:lnTo>
                    <a:pt x="41" y="334"/>
                  </a:lnTo>
                  <a:lnTo>
                    <a:pt x="60" y="324"/>
                  </a:lnTo>
                  <a:lnTo>
                    <a:pt x="79" y="314"/>
                  </a:lnTo>
                  <a:lnTo>
                    <a:pt x="86" y="292"/>
                  </a:lnTo>
                  <a:lnTo>
                    <a:pt x="95" y="270"/>
                  </a:lnTo>
                  <a:lnTo>
                    <a:pt x="102" y="247"/>
                  </a:lnTo>
                  <a:lnTo>
                    <a:pt x="110" y="224"/>
                  </a:lnTo>
                  <a:lnTo>
                    <a:pt x="119" y="202"/>
                  </a:lnTo>
                  <a:lnTo>
                    <a:pt x="126" y="179"/>
                  </a:lnTo>
                  <a:lnTo>
                    <a:pt x="133" y="156"/>
                  </a:lnTo>
                  <a:lnTo>
                    <a:pt x="142" y="134"/>
                  </a:lnTo>
                  <a:lnTo>
                    <a:pt x="150" y="119"/>
                  </a:lnTo>
                  <a:lnTo>
                    <a:pt x="150" y="84"/>
                  </a:lnTo>
                  <a:lnTo>
                    <a:pt x="162" y="94"/>
                  </a:lnTo>
                  <a:lnTo>
                    <a:pt x="167" y="80"/>
                  </a:lnTo>
                  <a:lnTo>
                    <a:pt x="160" y="49"/>
                  </a:lnTo>
                  <a:lnTo>
                    <a:pt x="152" y="18"/>
                  </a:lnTo>
                  <a:lnTo>
                    <a:pt x="146" y="1"/>
                  </a:lnTo>
                  <a:lnTo>
                    <a:pt x="142" y="0"/>
                  </a:lnTo>
                  <a:lnTo>
                    <a:pt x="136" y="8"/>
                  </a:lnTo>
                  <a:lnTo>
                    <a:pt x="131" y="34"/>
                  </a:lnTo>
                  <a:lnTo>
                    <a:pt x="122" y="37"/>
                  </a:lnTo>
                  <a:lnTo>
                    <a:pt x="119" y="41"/>
                  </a:lnTo>
                  <a:lnTo>
                    <a:pt x="113" y="37"/>
                  </a:lnTo>
                  <a:lnTo>
                    <a:pt x="115" y="52"/>
                  </a:lnTo>
                  <a:lnTo>
                    <a:pt x="109" y="61"/>
                  </a:lnTo>
                  <a:lnTo>
                    <a:pt x="112" y="64"/>
                  </a:lnTo>
                  <a:lnTo>
                    <a:pt x="101" y="72"/>
                  </a:lnTo>
                  <a:lnTo>
                    <a:pt x="102" y="64"/>
                  </a:lnTo>
                  <a:lnTo>
                    <a:pt x="95" y="80"/>
                  </a:lnTo>
                  <a:lnTo>
                    <a:pt x="91" y="83"/>
                  </a:lnTo>
                  <a:lnTo>
                    <a:pt x="86" y="80"/>
                  </a:lnTo>
                  <a:lnTo>
                    <a:pt x="78" y="94"/>
                  </a:lnTo>
                  <a:lnTo>
                    <a:pt x="61" y="95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280" name="Freeform 108"/>
            <p:cNvSpPr>
              <a:spLocks/>
            </p:cNvSpPr>
            <p:nvPr/>
          </p:nvSpPr>
          <p:spPr bwMode="auto">
            <a:xfrm>
              <a:off x="3111" y="2255"/>
              <a:ext cx="48" cy="135"/>
            </a:xfrm>
            <a:custGeom>
              <a:avLst/>
              <a:gdLst>
                <a:gd name="T0" fmla="*/ 1 w 67"/>
                <a:gd name="T1" fmla="*/ 1 h 192"/>
                <a:gd name="T2" fmla="*/ 1 w 67"/>
                <a:gd name="T3" fmla="*/ 1 h 192"/>
                <a:gd name="T4" fmla="*/ 1 w 67"/>
                <a:gd name="T5" fmla="*/ 1 h 192"/>
                <a:gd name="T6" fmla="*/ 1 w 67"/>
                <a:gd name="T7" fmla="*/ 1 h 192"/>
                <a:gd name="T8" fmla="*/ 1 w 67"/>
                <a:gd name="T9" fmla="*/ 1 h 192"/>
                <a:gd name="T10" fmla="*/ 1 w 67"/>
                <a:gd name="T11" fmla="*/ 1 h 192"/>
                <a:gd name="T12" fmla="*/ 1 w 67"/>
                <a:gd name="T13" fmla="*/ 1 h 192"/>
                <a:gd name="T14" fmla="*/ 1 w 67"/>
                <a:gd name="T15" fmla="*/ 1 h 192"/>
                <a:gd name="T16" fmla="*/ 1 w 67"/>
                <a:gd name="T17" fmla="*/ 1 h 192"/>
                <a:gd name="T18" fmla="*/ 1 w 67"/>
                <a:gd name="T19" fmla="*/ 1 h 192"/>
                <a:gd name="T20" fmla="*/ 1 w 67"/>
                <a:gd name="T21" fmla="*/ 1 h 192"/>
                <a:gd name="T22" fmla="*/ 1 w 67"/>
                <a:gd name="T23" fmla="*/ 1 h 192"/>
                <a:gd name="T24" fmla="*/ 1 w 67"/>
                <a:gd name="T25" fmla="*/ 1 h 192"/>
                <a:gd name="T26" fmla="*/ 1 w 67"/>
                <a:gd name="T27" fmla="*/ 1 h 192"/>
                <a:gd name="T28" fmla="*/ 1 w 67"/>
                <a:gd name="T29" fmla="*/ 1 h 192"/>
                <a:gd name="T30" fmla="*/ 1 w 67"/>
                <a:gd name="T31" fmla="*/ 1 h 192"/>
                <a:gd name="T32" fmla="*/ 1 w 67"/>
                <a:gd name="T33" fmla="*/ 0 h 192"/>
                <a:gd name="T34" fmla="*/ 1 w 67"/>
                <a:gd name="T35" fmla="*/ 1 h 192"/>
                <a:gd name="T36" fmla="*/ 1 w 67"/>
                <a:gd name="T37" fmla="*/ 1 h 192"/>
                <a:gd name="T38" fmla="*/ 1 w 67"/>
                <a:gd name="T39" fmla="*/ 1 h 192"/>
                <a:gd name="T40" fmla="*/ 1 w 67"/>
                <a:gd name="T41" fmla="*/ 1 h 192"/>
                <a:gd name="T42" fmla="*/ 1 w 67"/>
                <a:gd name="T43" fmla="*/ 1 h 192"/>
                <a:gd name="T44" fmla="*/ 1 w 67"/>
                <a:gd name="T45" fmla="*/ 1 h 192"/>
                <a:gd name="T46" fmla="*/ 0 w 67"/>
                <a:gd name="T47" fmla="*/ 1 h 192"/>
                <a:gd name="T48" fmla="*/ 1 w 67"/>
                <a:gd name="T49" fmla="*/ 1 h 192"/>
                <a:gd name="T50" fmla="*/ 1 w 67"/>
                <a:gd name="T51" fmla="*/ 1 h 192"/>
                <a:gd name="T52" fmla="*/ 1 w 67"/>
                <a:gd name="T53" fmla="*/ 1 h 192"/>
                <a:gd name="T54" fmla="*/ 1 w 67"/>
                <a:gd name="T55" fmla="*/ 1 h 19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67"/>
                <a:gd name="T85" fmla="*/ 0 h 192"/>
                <a:gd name="T86" fmla="*/ 67 w 67"/>
                <a:gd name="T87" fmla="*/ 192 h 19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67" h="192">
                  <a:moveTo>
                    <a:pt x="39" y="134"/>
                  </a:moveTo>
                  <a:lnTo>
                    <a:pt x="31" y="159"/>
                  </a:lnTo>
                  <a:lnTo>
                    <a:pt x="42" y="176"/>
                  </a:lnTo>
                  <a:lnTo>
                    <a:pt x="51" y="192"/>
                  </a:lnTo>
                  <a:lnTo>
                    <a:pt x="49" y="177"/>
                  </a:lnTo>
                  <a:lnTo>
                    <a:pt x="61" y="167"/>
                  </a:lnTo>
                  <a:lnTo>
                    <a:pt x="65" y="149"/>
                  </a:lnTo>
                  <a:lnTo>
                    <a:pt x="67" y="131"/>
                  </a:lnTo>
                  <a:lnTo>
                    <a:pt x="55" y="116"/>
                  </a:lnTo>
                  <a:lnTo>
                    <a:pt x="42" y="102"/>
                  </a:lnTo>
                  <a:lnTo>
                    <a:pt x="38" y="78"/>
                  </a:lnTo>
                  <a:lnTo>
                    <a:pt x="42" y="59"/>
                  </a:lnTo>
                  <a:lnTo>
                    <a:pt x="50" y="54"/>
                  </a:lnTo>
                  <a:lnTo>
                    <a:pt x="44" y="35"/>
                  </a:lnTo>
                  <a:lnTo>
                    <a:pt x="38" y="8"/>
                  </a:lnTo>
                  <a:lnTo>
                    <a:pt x="30" y="3"/>
                  </a:lnTo>
                  <a:lnTo>
                    <a:pt x="7" y="0"/>
                  </a:lnTo>
                  <a:lnTo>
                    <a:pt x="9" y="6"/>
                  </a:lnTo>
                  <a:lnTo>
                    <a:pt x="23" y="26"/>
                  </a:lnTo>
                  <a:lnTo>
                    <a:pt x="17" y="35"/>
                  </a:lnTo>
                  <a:lnTo>
                    <a:pt x="17" y="54"/>
                  </a:lnTo>
                  <a:lnTo>
                    <a:pt x="15" y="73"/>
                  </a:lnTo>
                  <a:lnTo>
                    <a:pt x="12" y="80"/>
                  </a:lnTo>
                  <a:lnTo>
                    <a:pt x="0" y="104"/>
                  </a:lnTo>
                  <a:lnTo>
                    <a:pt x="11" y="115"/>
                  </a:lnTo>
                  <a:lnTo>
                    <a:pt x="17" y="126"/>
                  </a:lnTo>
                  <a:lnTo>
                    <a:pt x="31" y="126"/>
                  </a:lnTo>
                  <a:lnTo>
                    <a:pt x="39" y="13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281" name="Freeform 109"/>
            <p:cNvSpPr>
              <a:spLocks/>
            </p:cNvSpPr>
            <p:nvPr/>
          </p:nvSpPr>
          <p:spPr bwMode="auto">
            <a:xfrm>
              <a:off x="3073" y="2275"/>
              <a:ext cx="161" cy="285"/>
            </a:xfrm>
            <a:custGeom>
              <a:avLst/>
              <a:gdLst>
                <a:gd name="T0" fmla="*/ 1 w 229"/>
                <a:gd name="T1" fmla="*/ 2 h 406"/>
                <a:gd name="T2" fmla="*/ 1 w 229"/>
                <a:gd name="T3" fmla="*/ 1 h 406"/>
                <a:gd name="T4" fmla="*/ 1 w 229"/>
                <a:gd name="T5" fmla="*/ 1 h 406"/>
                <a:gd name="T6" fmla="*/ 1 w 229"/>
                <a:gd name="T7" fmla="*/ 1 h 406"/>
                <a:gd name="T8" fmla="*/ 1 w 229"/>
                <a:gd name="T9" fmla="*/ 1 h 406"/>
                <a:gd name="T10" fmla="*/ 1 w 229"/>
                <a:gd name="T11" fmla="*/ 1 h 406"/>
                <a:gd name="T12" fmla="*/ 1 w 229"/>
                <a:gd name="T13" fmla="*/ 1 h 406"/>
                <a:gd name="T14" fmla="*/ 1 w 229"/>
                <a:gd name="T15" fmla="*/ 0 h 406"/>
                <a:gd name="T16" fmla="*/ 1 w 229"/>
                <a:gd name="T17" fmla="*/ 1 h 406"/>
                <a:gd name="T18" fmla="*/ 1 w 229"/>
                <a:gd name="T19" fmla="*/ 1 h 406"/>
                <a:gd name="T20" fmla="*/ 1 w 229"/>
                <a:gd name="T21" fmla="*/ 1 h 406"/>
                <a:gd name="T22" fmla="*/ 1 w 229"/>
                <a:gd name="T23" fmla="*/ 1 h 406"/>
                <a:gd name="T24" fmla="*/ 1 w 229"/>
                <a:gd name="T25" fmla="*/ 1 h 406"/>
                <a:gd name="T26" fmla="*/ 1 w 229"/>
                <a:gd name="T27" fmla="*/ 1 h 406"/>
                <a:gd name="T28" fmla="*/ 1 w 229"/>
                <a:gd name="T29" fmla="*/ 1 h 406"/>
                <a:gd name="T30" fmla="*/ 1 w 229"/>
                <a:gd name="T31" fmla="*/ 1 h 406"/>
                <a:gd name="T32" fmla="*/ 1 w 229"/>
                <a:gd name="T33" fmla="*/ 1 h 406"/>
                <a:gd name="T34" fmla="*/ 1 w 229"/>
                <a:gd name="T35" fmla="*/ 1 h 406"/>
                <a:gd name="T36" fmla="*/ 1 w 229"/>
                <a:gd name="T37" fmla="*/ 1 h 406"/>
                <a:gd name="T38" fmla="*/ 1 w 229"/>
                <a:gd name="T39" fmla="*/ 1 h 406"/>
                <a:gd name="T40" fmla="*/ 1 w 229"/>
                <a:gd name="T41" fmla="*/ 1 h 406"/>
                <a:gd name="T42" fmla="*/ 1 w 229"/>
                <a:gd name="T43" fmla="*/ 1 h 406"/>
                <a:gd name="T44" fmla="*/ 1 w 229"/>
                <a:gd name="T45" fmla="*/ 1 h 406"/>
                <a:gd name="T46" fmla="*/ 1 w 229"/>
                <a:gd name="T47" fmla="*/ 1 h 406"/>
                <a:gd name="T48" fmla="*/ 1 w 229"/>
                <a:gd name="T49" fmla="*/ 1 h 406"/>
                <a:gd name="T50" fmla="*/ 1 w 229"/>
                <a:gd name="T51" fmla="*/ 2 h 406"/>
                <a:gd name="T52" fmla="*/ 1 w 229"/>
                <a:gd name="T53" fmla="*/ 2 h 406"/>
                <a:gd name="T54" fmla="*/ 1 w 229"/>
                <a:gd name="T55" fmla="*/ 2 h 406"/>
                <a:gd name="T56" fmla="*/ 1 w 229"/>
                <a:gd name="T57" fmla="*/ 3 h 406"/>
                <a:gd name="T58" fmla="*/ 1 w 229"/>
                <a:gd name="T59" fmla="*/ 3 h 406"/>
                <a:gd name="T60" fmla="*/ 1 w 229"/>
                <a:gd name="T61" fmla="*/ 3 h 406"/>
                <a:gd name="T62" fmla="*/ 1 w 229"/>
                <a:gd name="T63" fmla="*/ 3 h 406"/>
                <a:gd name="T64" fmla="*/ 1 w 229"/>
                <a:gd name="T65" fmla="*/ 3 h 406"/>
                <a:gd name="T66" fmla="*/ 1 w 229"/>
                <a:gd name="T67" fmla="*/ 2 h 406"/>
                <a:gd name="T68" fmla="*/ 1 w 229"/>
                <a:gd name="T69" fmla="*/ 2 h 406"/>
                <a:gd name="T70" fmla="*/ 1 w 229"/>
                <a:gd name="T71" fmla="*/ 2 h 40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29"/>
                <a:gd name="T109" fmla="*/ 0 h 406"/>
                <a:gd name="T110" fmla="*/ 229 w 229"/>
                <a:gd name="T111" fmla="*/ 406 h 40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29" h="406">
                  <a:moveTo>
                    <a:pt x="93" y="254"/>
                  </a:moveTo>
                  <a:lnTo>
                    <a:pt x="92" y="237"/>
                  </a:lnTo>
                  <a:lnTo>
                    <a:pt x="91" y="230"/>
                  </a:lnTo>
                  <a:lnTo>
                    <a:pt x="100" y="230"/>
                  </a:lnTo>
                  <a:lnTo>
                    <a:pt x="124" y="209"/>
                  </a:lnTo>
                  <a:lnTo>
                    <a:pt x="140" y="188"/>
                  </a:lnTo>
                  <a:lnTo>
                    <a:pt x="159" y="176"/>
                  </a:lnTo>
                  <a:lnTo>
                    <a:pt x="178" y="165"/>
                  </a:lnTo>
                  <a:lnTo>
                    <a:pt x="206" y="148"/>
                  </a:lnTo>
                  <a:lnTo>
                    <a:pt x="224" y="117"/>
                  </a:lnTo>
                  <a:lnTo>
                    <a:pt x="229" y="98"/>
                  </a:lnTo>
                  <a:lnTo>
                    <a:pt x="226" y="99"/>
                  </a:lnTo>
                  <a:lnTo>
                    <a:pt x="224" y="63"/>
                  </a:lnTo>
                  <a:lnTo>
                    <a:pt x="226" y="51"/>
                  </a:lnTo>
                  <a:lnTo>
                    <a:pt x="226" y="17"/>
                  </a:lnTo>
                  <a:lnTo>
                    <a:pt x="228" y="0"/>
                  </a:lnTo>
                  <a:lnTo>
                    <a:pt x="225" y="0"/>
                  </a:lnTo>
                  <a:lnTo>
                    <a:pt x="202" y="11"/>
                  </a:lnTo>
                  <a:lnTo>
                    <a:pt x="180" y="22"/>
                  </a:lnTo>
                  <a:lnTo>
                    <a:pt x="168" y="23"/>
                  </a:lnTo>
                  <a:lnTo>
                    <a:pt x="152" y="29"/>
                  </a:lnTo>
                  <a:lnTo>
                    <a:pt x="127" y="26"/>
                  </a:lnTo>
                  <a:lnTo>
                    <a:pt x="115" y="27"/>
                  </a:lnTo>
                  <a:lnTo>
                    <a:pt x="105" y="27"/>
                  </a:lnTo>
                  <a:lnTo>
                    <a:pt x="97" y="32"/>
                  </a:lnTo>
                  <a:lnTo>
                    <a:pt x="93" y="51"/>
                  </a:lnTo>
                  <a:lnTo>
                    <a:pt x="97" y="75"/>
                  </a:lnTo>
                  <a:lnTo>
                    <a:pt x="110" y="89"/>
                  </a:lnTo>
                  <a:lnTo>
                    <a:pt x="122" y="104"/>
                  </a:lnTo>
                  <a:lnTo>
                    <a:pt x="120" y="122"/>
                  </a:lnTo>
                  <a:lnTo>
                    <a:pt x="116" y="140"/>
                  </a:lnTo>
                  <a:lnTo>
                    <a:pt x="104" y="150"/>
                  </a:lnTo>
                  <a:lnTo>
                    <a:pt x="106" y="165"/>
                  </a:lnTo>
                  <a:lnTo>
                    <a:pt x="97" y="149"/>
                  </a:lnTo>
                  <a:lnTo>
                    <a:pt x="86" y="132"/>
                  </a:lnTo>
                  <a:lnTo>
                    <a:pt x="94" y="107"/>
                  </a:lnTo>
                  <a:lnTo>
                    <a:pt x="86" y="99"/>
                  </a:lnTo>
                  <a:lnTo>
                    <a:pt x="72" y="99"/>
                  </a:lnTo>
                  <a:lnTo>
                    <a:pt x="66" y="88"/>
                  </a:lnTo>
                  <a:lnTo>
                    <a:pt x="49" y="95"/>
                  </a:lnTo>
                  <a:lnTo>
                    <a:pt x="32" y="101"/>
                  </a:lnTo>
                  <a:lnTo>
                    <a:pt x="15" y="108"/>
                  </a:lnTo>
                  <a:lnTo>
                    <a:pt x="0" y="114"/>
                  </a:lnTo>
                  <a:lnTo>
                    <a:pt x="3" y="128"/>
                  </a:lnTo>
                  <a:lnTo>
                    <a:pt x="2" y="137"/>
                  </a:lnTo>
                  <a:lnTo>
                    <a:pt x="14" y="137"/>
                  </a:lnTo>
                  <a:lnTo>
                    <a:pt x="34" y="146"/>
                  </a:lnTo>
                  <a:lnTo>
                    <a:pt x="56" y="155"/>
                  </a:lnTo>
                  <a:lnTo>
                    <a:pt x="56" y="185"/>
                  </a:lnTo>
                  <a:lnTo>
                    <a:pt x="51" y="206"/>
                  </a:lnTo>
                  <a:lnTo>
                    <a:pt x="54" y="228"/>
                  </a:lnTo>
                  <a:lnTo>
                    <a:pt x="46" y="250"/>
                  </a:lnTo>
                  <a:lnTo>
                    <a:pt x="42" y="270"/>
                  </a:lnTo>
                  <a:lnTo>
                    <a:pt x="28" y="284"/>
                  </a:lnTo>
                  <a:lnTo>
                    <a:pt x="14" y="297"/>
                  </a:lnTo>
                  <a:lnTo>
                    <a:pt x="19" y="314"/>
                  </a:lnTo>
                  <a:lnTo>
                    <a:pt x="22" y="332"/>
                  </a:lnTo>
                  <a:lnTo>
                    <a:pt x="24" y="358"/>
                  </a:lnTo>
                  <a:lnTo>
                    <a:pt x="24" y="384"/>
                  </a:lnTo>
                  <a:lnTo>
                    <a:pt x="26" y="406"/>
                  </a:lnTo>
                  <a:lnTo>
                    <a:pt x="42" y="406"/>
                  </a:lnTo>
                  <a:lnTo>
                    <a:pt x="43" y="390"/>
                  </a:lnTo>
                  <a:lnTo>
                    <a:pt x="37" y="384"/>
                  </a:lnTo>
                  <a:lnTo>
                    <a:pt x="62" y="363"/>
                  </a:lnTo>
                  <a:lnTo>
                    <a:pt x="81" y="353"/>
                  </a:lnTo>
                  <a:lnTo>
                    <a:pt x="99" y="342"/>
                  </a:lnTo>
                  <a:lnTo>
                    <a:pt x="99" y="333"/>
                  </a:lnTo>
                  <a:lnTo>
                    <a:pt x="102" y="310"/>
                  </a:lnTo>
                  <a:lnTo>
                    <a:pt x="105" y="288"/>
                  </a:lnTo>
                  <a:lnTo>
                    <a:pt x="100" y="296"/>
                  </a:lnTo>
                  <a:lnTo>
                    <a:pt x="97" y="275"/>
                  </a:lnTo>
                  <a:lnTo>
                    <a:pt x="93" y="25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82" name="Freeform 110"/>
            <p:cNvSpPr>
              <a:spLocks/>
            </p:cNvSpPr>
            <p:nvPr/>
          </p:nvSpPr>
          <p:spPr bwMode="auto">
            <a:xfrm>
              <a:off x="2857" y="2478"/>
              <a:ext cx="246" cy="220"/>
            </a:xfrm>
            <a:custGeom>
              <a:avLst/>
              <a:gdLst>
                <a:gd name="T0" fmla="*/ 1 w 351"/>
                <a:gd name="T1" fmla="*/ 1 h 312"/>
                <a:gd name="T2" fmla="*/ 1 w 351"/>
                <a:gd name="T3" fmla="*/ 1 h 312"/>
                <a:gd name="T4" fmla="*/ 1 w 351"/>
                <a:gd name="T5" fmla="*/ 1 h 312"/>
                <a:gd name="T6" fmla="*/ 1 w 351"/>
                <a:gd name="T7" fmla="*/ 1 h 312"/>
                <a:gd name="T8" fmla="*/ 1 w 351"/>
                <a:gd name="T9" fmla="*/ 1 h 312"/>
                <a:gd name="T10" fmla="*/ 1 w 351"/>
                <a:gd name="T11" fmla="*/ 2 h 312"/>
                <a:gd name="T12" fmla="*/ 1 w 351"/>
                <a:gd name="T13" fmla="*/ 2 h 312"/>
                <a:gd name="T14" fmla="*/ 1 w 351"/>
                <a:gd name="T15" fmla="*/ 2 h 312"/>
                <a:gd name="T16" fmla="*/ 1 w 351"/>
                <a:gd name="T17" fmla="*/ 2 h 312"/>
                <a:gd name="T18" fmla="*/ 1 w 351"/>
                <a:gd name="T19" fmla="*/ 2 h 312"/>
                <a:gd name="T20" fmla="*/ 1 w 351"/>
                <a:gd name="T21" fmla="*/ 2 h 312"/>
                <a:gd name="T22" fmla="*/ 1 w 351"/>
                <a:gd name="T23" fmla="*/ 2 h 312"/>
                <a:gd name="T24" fmla="*/ 1 w 351"/>
                <a:gd name="T25" fmla="*/ 2 h 312"/>
                <a:gd name="T26" fmla="*/ 2 w 351"/>
                <a:gd name="T27" fmla="*/ 2 h 312"/>
                <a:gd name="T28" fmla="*/ 2 w 351"/>
                <a:gd name="T29" fmla="*/ 1 h 312"/>
                <a:gd name="T30" fmla="*/ 2 w 351"/>
                <a:gd name="T31" fmla="*/ 1 h 312"/>
                <a:gd name="T32" fmla="*/ 3 w 351"/>
                <a:gd name="T33" fmla="*/ 1 h 312"/>
                <a:gd name="T34" fmla="*/ 3 w 351"/>
                <a:gd name="T35" fmla="*/ 1 h 312"/>
                <a:gd name="T36" fmla="*/ 2 w 351"/>
                <a:gd name="T37" fmla="*/ 1 h 312"/>
                <a:gd name="T38" fmla="*/ 2 w 351"/>
                <a:gd name="T39" fmla="*/ 1 h 312"/>
                <a:gd name="T40" fmla="*/ 2 w 351"/>
                <a:gd name="T41" fmla="*/ 1 h 312"/>
                <a:gd name="T42" fmla="*/ 2 w 351"/>
                <a:gd name="T43" fmla="*/ 1 h 312"/>
                <a:gd name="T44" fmla="*/ 2 w 351"/>
                <a:gd name="T45" fmla="*/ 1 h 312"/>
                <a:gd name="T46" fmla="*/ 2 w 351"/>
                <a:gd name="T47" fmla="*/ 0 h 312"/>
                <a:gd name="T48" fmla="*/ 1 w 351"/>
                <a:gd name="T49" fmla="*/ 1 h 312"/>
                <a:gd name="T50" fmla="*/ 1 w 351"/>
                <a:gd name="T51" fmla="*/ 1 h 312"/>
                <a:gd name="T52" fmla="*/ 1 w 351"/>
                <a:gd name="T53" fmla="*/ 1 h 312"/>
                <a:gd name="T54" fmla="*/ 1 w 351"/>
                <a:gd name="T55" fmla="*/ 1 h 312"/>
                <a:gd name="T56" fmla="*/ 1 w 351"/>
                <a:gd name="T57" fmla="*/ 1 h 312"/>
                <a:gd name="T58" fmla="*/ 1 w 351"/>
                <a:gd name="T59" fmla="*/ 1 h 312"/>
                <a:gd name="T60" fmla="*/ 2 w 351"/>
                <a:gd name="T61" fmla="*/ 1 h 312"/>
                <a:gd name="T62" fmla="*/ 2 w 351"/>
                <a:gd name="T63" fmla="*/ 1 h 312"/>
                <a:gd name="T64" fmla="*/ 2 w 351"/>
                <a:gd name="T65" fmla="*/ 1 h 312"/>
                <a:gd name="T66" fmla="*/ 2 w 351"/>
                <a:gd name="T67" fmla="*/ 1 h 312"/>
                <a:gd name="T68" fmla="*/ 1 w 351"/>
                <a:gd name="T69" fmla="*/ 1 h 31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1"/>
                <a:gd name="T106" fmla="*/ 0 h 312"/>
                <a:gd name="T107" fmla="*/ 351 w 351"/>
                <a:gd name="T108" fmla="*/ 312 h 31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1" h="312">
                  <a:moveTo>
                    <a:pt x="79" y="63"/>
                  </a:moveTo>
                  <a:lnTo>
                    <a:pt x="77" y="87"/>
                  </a:lnTo>
                  <a:lnTo>
                    <a:pt x="75" y="110"/>
                  </a:lnTo>
                  <a:lnTo>
                    <a:pt x="73" y="133"/>
                  </a:lnTo>
                  <a:lnTo>
                    <a:pt x="71" y="156"/>
                  </a:lnTo>
                  <a:lnTo>
                    <a:pt x="52" y="165"/>
                  </a:lnTo>
                  <a:lnTo>
                    <a:pt x="19" y="161"/>
                  </a:lnTo>
                  <a:lnTo>
                    <a:pt x="12" y="145"/>
                  </a:lnTo>
                  <a:lnTo>
                    <a:pt x="0" y="158"/>
                  </a:lnTo>
                  <a:lnTo>
                    <a:pt x="10" y="181"/>
                  </a:lnTo>
                  <a:lnTo>
                    <a:pt x="18" y="204"/>
                  </a:lnTo>
                  <a:lnTo>
                    <a:pt x="26" y="228"/>
                  </a:lnTo>
                  <a:lnTo>
                    <a:pt x="35" y="251"/>
                  </a:lnTo>
                  <a:lnTo>
                    <a:pt x="26" y="261"/>
                  </a:lnTo>
                  <a:lnTo>
                    <a:pt x="29" y="273"/>
                  </a:lnTo>
                  <a:lnTo>
                    <a:pt x="35" y="299"/>
                  </a:lnTo>
                  <a:lnTo>
                    <a:pt x="42" y="297"/>
                  </a:lnTo>
                  <a:lnTo>
                    <a:pt x="53" y="305"/>
                  </a:lnTo>
                  <a:lnTo>
                    <a:pt x="67" y="312"/>
                  </a:lnTo>
                  <a:lnTo>
                    <a:pt x="89" y="305"/>
                  </a:lnTo>
                  <a:lnTo>
                    <a:pt x="111" y="296"/>
                  </a:lnTo>
                  <a:lnTo>
                    <a:pt x="133" y="296"/>
                  </a:lnTo>
                  <a:lnTo>
                    <a:pt x="155" y="295"/>
                  </a:lnTo>
                  <a:lnTo>
                    <a:pt x="184" y="291"/>
                  </a:lnTo>
                  <a:lnTo>
                    <a:pt x="198" y="287"/>
                  </a:lnTo>
                  <a:lnTo>
                    <a:pt x="221" y="273"/>
                  </a:lnTo>
                  <a:lnTo>
                    <a:pt x="244" y="260"/>
                  </a:lnTo>
                  <a:lnTo>
                    <a:pt x="257" y="246"/>
                  </a:lnTo>
                  <a:lnTo>
                    <a:pt x="271" y="231"/>
                  </a:lnTo>
                  <a:lnTo>
                    <a:pt x="285" y="217"/>
                  </a:lnTo>
                  <a:lnTo>
                    <a:pt x="299" y="201"/>
                  </a:lnTo>
                  <a:lnTo>
                    <a:pt x="315" y="183"/>
                  </a:lnTo>
                  <a:lnTo>
                    <a:pt x="330" y="164"/>
                  </a:lnTo>
                  <a:lnTo>
                    <a:pt x="341" y="140"/>
                  </a:lnTo>
                  <a:lnTo>
                    <a:pt x="351" y="115"/>
                  </a:lnTo>
                  <a:lnTo>
                    <a:pt x="335" y="115"/>
                  </a:lnTo>
                  <a:lnTo>
                    <a:pt x="330" y="126"/>
                  </a:lnTo>
                  <a:lnTo>
                    <a:pt x="310" y="119"/>
                  </a:lnTo>
                  <a:lnTo>
                    <a:pt x="311" y="101"/>
                  </a:lnTo>
                  <a:lnTo>
                    <a:pt x="322" y="87"/>
                  </a:lnTo>
                  <a:lnTo>
                    <a:pt x="333" y="93"/>
                  </a:lnTo>
                  <a:lnTo>
                    <a:pt x="333" y="67"/>
                  </a:lnTo>
                  <a:lnTo>
                    <a:pt x="331" y="41"/>
                  </a:lnTo>
                  <a:lnTo>
                    <a:pt x="328" y="23"/>
                  </a:lnTo>
                  <a:lnTo>
                    <a:pt x="323" y="6"/>
                  </a:lnTo>
                  <a:lnTo>
                    <a:pt x="303" y="2"/>
                  </a:lnTo>
                  <a:lnTo>
                    <a:pt x="282" y="0"/>
                  </a:lnTo>
                  <a:lnTo>
                    <a:pt x="280" y="0"/>
                  </a:lnTo>
                  <a:lnTo>
                    <a:pt x="251" y="19"/>
                  </a:lnTo>
                  <a:lnTo>
                    <a:pt x="229" y="37"/>
                  </a:lnTo>
                  <a:lnTo>
                    <a:pt x="217" y="59"/>
                  </a:lnTo>
                  <a:lnTo>
                    <a:pt x="204" y="67"/>
                  </a:lnTo>
                  <a:lnTo>
                    <a:pt x="192" y="89"/>
                  </a:lnTo>
                  <a:lnTo>
                    <a:pt x="160" y="84"/>
                  </a:lnTo>
                  <a:lnTo>
                    <a:pt x="143" y="78"/>
                  </a:lnTo>
                  <a:lnTo>
                    <a:pt x="131" y="93"/>
                  </a:lnTo>
                  <a:lnTo>
                    <a:pt x="120" y="110"/>
                  </a:lnTo>
                  <a:lnTo>
                    <a:pt x="97" y="115"/>
                  </a:lnTo>
                  <a:lnTo>
                    <a:pt x="90" y="111"/>
                  </a:lnTo>
                  <a:lnTo>
                    <a:pt x="94" y="87"/>
                  </a:lnTo>
                  <a:lnTo>
                    <a:pt x="79" y="63"/>
                  </a:lnTo>
                  <a:lnTo>
                    <a:pt x="244" y="165"/>
                  </a:lnTo>
                  <a:lnTo>
                    <a:pt x="223" y="187"/>
                  </a:lnTo>
                  <a:lnTo>
                    <a:pt x="238" y="209"/>
                  </a:lnTo>
                  <a:lnTo>
                    <a:pt x="246" y="201"/>
                  </a:lnTo>
                  <a:lnTo>
                    <a:pt x="267" y="186"/>
                  </a:lnTo>
                  <a:lnTo>
                    <a:pt x="271" y="171"/>
                  </a:lnTo>
                  <a:lnTo>
                    <a:pt x="252" y="159"/>
                  </a:lnTo>
                  <a:lnTo>
                    <a:pt x="244" y="165"/>
                  </a:lnTo>
                  <a:lnTo>
                    <a:pt x="79" y="6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83" name="Freeform 111"/>
            <p:cNvSpPr>
              <a:spLocks/>
            </p:cNvSpPr>
            <p:nvPr/>
          </p:nvSpPr>
          <p:spPr bwMode="auto">
            <a:xfrm>
              <a:off x="2857" y="2478"/>
              <a:ext cx="246" cy="220"/>
            </a:xfrm>
            <a:custGeom>
              <a:avLst/>
              <a:gdLst>
                <a:gd name="T0" fmla="*/ 1 w 351"/>
                <a:gd name="T1" fmla="*/ 1 h 312"/>
                <a:gd name="T2" fmla="*/ 1 w 351"/>
                <a:gd name="T3" fmla="*/ 1 h 312"/>
                <a:gd name="T4" fmla="*/ 1 w 351"/>
                <a:gd name="T5" fmla="*/ 1 h 312"/>
                <a:gd name="T6" fmla="*/ 1 w 351"/>
                <a:gd name="T7" fmla="*/ 1 h 312"/>
                <a:gd name="T8" fmla="*/ 1 w 351"/>
                <a:gd name="T9" fmla="*/ 1 h 312"/>
                <a:gd name="T10" fmla="*/ 1 w 351"/>
                <a:gd name="T11" fmla="*/ 1 h 312"/>
                <a:gd name="T12" fmla="*/ 1 w 351"/>
                <a:gd name="T13" fmla="*/ 1 h 312"/>
                <a:gd name="T14" fmla="*/ 1 w 351"/>
                <a:gd name="T15" fmla="*/ 1 h 312"/>
                <a:gd name="T16" fmla="*/ 0 w 351"/>
                <a:gd name="T17" fmla="*/ 1 h 312"/>
                <a:gd name="T18" fmla="*/ 1 w 351"/>
                <a:gd name="T19" fmla="*/ 1 h 312"/>
                <a:gd name="T20" fmla="*/ 1 w 351"/>
                <a:gd name="T21" fmla="*/ 1 h 312"/>
                <a:gd name="T22" fmla="*/ 1 w 351"/>
                <a:gd name="T23" fmla="*/ 2 h 312"/>
                <a:gd name="T24" fmla="*/ 1 w 351"/>
                <a:gd name="T25" fmla="*/ 2 h 312"/>
                <a:gd name="T26" fmla="*/ 1 w 351"/>
                <a:gd name="T27" fmla="*/ 2 h 312"/>
                <a:gd name="T28" fmla="*/ 1 w 351"/>
                <a:gd name="T29" fmla="*/ 2 h 312"/>
                <a:gd name="T30" fmla="*/ 1 w 351"/>
                <a:gd name="T31" fmla="*/ 2 h 312"/>
                <a:gd name="T32" fmla="*/ 1 w 351"/>
                <a:gd name="T33" fmla="*/ 2 h 312"/>
                <a:gd name="T34" fmla="*/ 1 w 351"/>
                <a:gd name="T35" fmla="*/ 2 h 312"/>
                <a:gd name="T36" fmla="*/ 1 w 351"/>
                <a:gd name="T37" fmla="*/ 2 h 312"/>
                <a:gd name="T38" fmla="*/ 1 w 351"/>
                <a:gd name="T39" fmla="*/ 2 h 312"/>
                <a:gd name="T40" fmla="*/ 1 w 351"/>
                <a:gd name="T41" fmla="*/ 2 h 312"/>
                <a:gd name="T42" fmla="*/ 1 w 351"/>
                <a:gd name="T43" fmla="*/ 2 h 312"/>
                <a:gd name="T44" fmla="*/ 1 w 351"/>
                <a:gd name="T45" fmla="*/ 2 h 312"/>
                <a:gd name="T46" fmla="*/ 1 w 351"/>
                <a:gd name="T47" fmla="*/ 2 h 312"/>
                <a:gd name="T48" fmla="*/ 1 w 351"/>
                <a:gd name="T49" fmla="*/ 2 h 312"/>
                <a:gd name="T50" fmla="*/ 1 w 351"/>
                <a:gd name="T51" fmla="*/ 2 h 312"/>
                <a:gd name="T52" fmla="*/ 2 w 351"/>
                <a:gd name="T53" fmla="*/ 2 h 312"/>
                <a:gd name="T54" fmla="*/ 2 w 351"/>
                <a:gd name="T55" fmla="*/ 2 h 312"/>
                <a:gd name="T56" fmla="*/ 2 w 351"/>
                <a:gd name="T57" fmla="*/ 2 h 312"/>
                <a:gd name="T58" fmla="*/ 2 w 351"/>
                <a:gd name="T59" fmla="*/ 1 h 312"/>
                <a:gd name="T60" fmla="*/ 2 w 351"/>
                <a:gd name="T61" fmla="*/ 1 h 312"/>
                <a:gd name="T62" fmla="*/ 2 w 351"/>
                <a:gd name="T63" fmla="*/ 1 h 312"/>
                <a:gd name="T64" fmla="*/ 2 w 351"/>
                <a:gd name="T65" fmla="*/ 1 h 312"/>
                <a:gd name="T66" fmla="*/ 3 w 351"/>
                <a:gd name="T67" fmla="*/ 1 h 312"/>
                <a:gd name="T68" fmla="*/ 3 w 351"/>
                <a:gd name="T69" fmla="*/ 1 h 312"/>
                <a:gd name="T70" fmla="*/ 3 w 351"/>
                <a:gd name="T71" fmla="*/ 1 h 312"/>
                <a:gd name="T72" fmla="*/ 2 w 351"/>
                <a:gd name="T73" fmla="*/ 1 h 312"/>
                <a:gd name="T74" fmla="*/ 2 w 351"/>
                <a:gd name="T75" fmla="*/ 1 h 312"/>
                <a:gd name="T76" fmla="*/ 2 w 351"/>
                <a:gd name="T77" fmla="*/ 1 h 312"/>
                <a:gd name="T78" fmla="*/ 2 w 351"/>
                <a:gd name="T79" fmla="*/ 1 h 312"/>
                <a:gd name="T80" fmla="*/ 2 w 351"/>
                <a:gd name="T81" fmla="*/ 1 h 312"/>
                <a:gd name="T82" fmla="*/ 2 w 351"/>
                <a:gd name="T83" fmla="*/ 1 h 312"/>
                <a:gd name="T84" fmla="*/ 2 w 351"/>
                <a:gd name="T85" fmla="*/ 1 h 312"/>
                <a:gd name="T86" fmla="*/ 2 w 351"/>
                <a:gd name="T87" fmla="*/ 1 h 312"/>
                <a:gd name="T88" fmla="*/ 2 w 351"/>
                <a:gd name="T89" fmla="*/ 1 h 312"/>
                <a:gd name="T90" fmla="*/ 2 w 351"/>
                <a:gd name="T91" fmla="*/ 1 h 312"/>
                <a:gd name="T92" fmla="*/ 2 w 351"/>
                <a:gd name="T93" fmla="*/ 0 h 312"/>
                <a:gd name="T94" fmla="*/ 2 w 351"/>
                <a:gd name="T95" fmla="*/ 0 h 312"/>
                <a:gd name="T96" fmla="*/ 2 w 351"/>
                <a:gd name="T97" fmla="*/ 1 h 312"/>
                <a:gd name="T98" fmla="*/ 1 w 351"/>
                <a:gd name="T99" fmla="*/ 1 h 312"/>
                <a:gd name="T100" fmla="*/ 1 w 351"/>
                <a:gd name="T101" fmla="*/ 1 h 312"/>
                <a:gd name="T102" fmla="*/ 1 w 351"/>
                <a:gd name="T103" fmla="*/ 1 h 312"/>
                <a:gd name="T104" fmla="*/ 1 w 351"/>
                <a:gd name="T105" fmla="*/ 1 h 312"/>
                <a:gd name="T106" fmla="*/ 1 w 351"/>
                <a:gd name="T107" fmla="*/ 1 h 312"/>
                <a:gd name="T108" fmla="*/ 1 w 351"/>
                <a:gd name="T109" fmla="*/ 1 h 312"/>
                <a:gd name="T110" fmla="*/ 1 w 351"/>
                <a:gd name="T111" fmla="*/ 1 h 312"/>
                <a:gd name="T112" fmla="*/ 1 w 351"/>
                <a:gd name="T113" fmla="*/ 1 h 312"/>
                <a:gd name="T114" fmla="*/ 1 w 351"/>
                <a:gd name="T115" fmla="*/ 1 h 312"/>
                <a:gd name="T116" fmla="*/ 1 w 351"/>
                <a:gd name="T117" fmla="*/ 1 h 312"/>
                <a:gd name="T118" fmla="*/ 1 w 351"/>
                <a:gd name="T119" fmla="*/ 1 h 312"/>
                <a:gd name="T120" fmla="*/ 1 w 351"/>
                <a:gd name="T121" fmla="*/ 1 h 31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51"/>
                <a:gd name="T184" fmla="*/ 0 h 312"/>
                <a:gd name="T185" fmla="*/ 351 w 351"/>
                <a:gd name="T186" fmla="*/ 312 h 31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51" h="312">
                  <a:moveTo>
                    <a:pt x="79" y="63"/>
                  </a:moveTo>
                  <a:lnTo>
                    <a:pt x="77" y="87"/>
                  </a:lnTo>
                  <a:lnTo>
                    <a:pt x="75" y="110"/>
                  </a:lnTo>
                  <a:lnTo>
                    <a:pt x="73" y="133"/>
                  </a:lnTo>
                  <a:lnTo>
                    <a:pt x="71" y="156"/>
                  </a:lnTo>
                  <a:lnTo>
                    <a:pt x="52" y="165"/>
                  </a:lnTo>
                  <a:lnTo>
                    <a:pt x="19" y="161"/>
                  </a:lnTo>
                  <a:lnTo>
                    <a:pt x="12" y="145"/>
                  </a:lnTo>
                  <a:lnTo>
                    <a:pt x="0" y="158"/>
                  </a:lnTo>
                  <a:lnTo>
                    <a:pt x="10" y="181"/>
                  </a:lnTo>
                  <a:lnTo>
                    <a:pt x="18" y="204"/>
                  </a:lnTo>
                  <a:lnTo>
                    <a:pt x="26" y="228"/>
                  </a:lnTo>
                  <a:lnTo>
                    <a:pt x="35" y="251"/>
                  </a:lnTo>
                  <a:lnTo>
                    <a:pt x="26" y="261"/>
                  </a:lnTo>
                  <a:lnTo>
                    <a:pt x="29" y="273"/>
                  </a:lnTo>
                  <a:lnTo>
                    <a:pt x="35" y="299"/>
                  </a:lnTo>
                  <a:lnTo>
                    <a:pt x="42" y="297"/>
                  </a:lnTo>
                  <a:lnTo>
                    <a:pt x="53" y="305"/>
                  </a:lnTo>
                  <a:lnTo>
                    <a:pt x="67" y="312"/>
                  </a:lnTo>
                  <a:lnTo>
                    <a:pt x="89" y="305"/>
                  </a:lnTo>
                  <a:lnTo>
                    <a:pt x="111" y="296"/>
                  </a:lnTo>
                  <a:lnTo>
                    <a:pt x="133" y="296"/>
                  </a:lnTo>
                  <a:lnTo>
                    <a:pt x="155" y="295"/>
                  </a:lnTo>
                  <a:lnTo>
                    <a:pt x="184" y="291"/>
                  </a:lnTo>
                  <a:lnTo>
                    <a:pt x="198" y="287"/>
                  </a:lnTo>
                  <a:lnTo>
                    <a:pt x="221" y="273"/>
                  </a:lnTo>
                  <a:lnTo>
                    <a:pt x="244" y="260"/>
                  </a:lnTo>
                  <a:lnTo>
                    <a:pt x="257" y="246"/>
                  </a:lnTo>
                  <a:lnTo>
                    <a:pt x="271" y="231"/>
                  </a:lnTo>
                  <a:lnTo>
                    <a:pt x="285" y="217"/>
                  </a:lnTo>
                  <a:lnTo>
                    <a:pt x="299" y="201"/>
                  </a:lnTo>
                  <a:lnTo>
                    <a:pt x="315" y="183"/>
                  </a:lnTo>
                  <a:lnTo>
                    <a:pt x="330" y="164"/>
                  </a:lnTo>
                  <a:lnTo>
                    <a:pt x="341" y="140"/>
                  </a:lnTo>
                  <a:lnTo>
                    <a:pt x="351" y="115"/>
                  </a:lnTo>
                  <a:lnTo>
                    <a:pt x="335" y="115"/>
                  </a:lnTo>
                  <a:lnTo>
                    <a:pt x="330" y="126"/>
                  </a:lnTo>
                  <a:lnTo>
                    <a:pt x="310" y="119"/>
                  </a:lnTo>
                  <a:lnTo>
                    <a:pt x="311" y="101"/>
                  </a:lnTo>
                  <a:lnTo>
                    <a:pt x="322" y="87"/>
                  </a:lnTo>
                  <a:lnTo>
                    <a:pt x="333" y="93"/>
                  </a:lnTo>
                  <a:lnTo>
                    <a:pt x="333" y="67"/>
                  </a:lnTo>
                  <a:lnTo>
                    <a:pt x="331" y="41"/>
                  </a:lnTo>
                  <a:lnTo>
                    <a:pt x="328" y="23"/>
                  </a:lnTo>
                  <a:lnTo>
                    <a:pt x="323" y="6"/>
                  </a:lnTo>
                  <a:lnTo>
                    <a:pt x="303" y="2"/>
                  </a:lnTo>
                  <a:lnTo>
                    <a:pt x="282" y="0"/>
                  </a:lnTo>
                  <a:lnTo>
                    <a:pt x="280" y="0"/>
                  </a:lnTo>
                  <a:lnTo>
                    <a:pt x="251" y="19"/>
                  </a:lnTo>
                  <a:lnTo>
                    <a:pt x="229" y="37"/>
                  </a:lnTo>
                  <a:lnTo>
                    <a:pt x="217" y="59"/>
                  </a:lnTo>
                  <a:lnTo>
                    <a:pt x="204" y="67"/>
                  </a:lnTo>
                  <a:lnTo>
                    <a:pt x="192" y="89"/>
                  </a:lnTo>
                  <a:lnTo>
                    <a:pt x="160" y="84"/>
                  </a:lnTo>
                  <a:lnTo>
                    <a:pt x="143" y="78"/>
                  </a:lnTo>
                  <a:lnTo>
                    <a:pt x="131" y="93"/>
                  </a:lnTo>
                  <a:lnTo>
                    <a:pt x="120" y="110"/>
                  </a:lnTo>
                  <a:lnTo>
                    <a:pt x="97" y="115"/>
                  </a:lnTo>
                  <a:lnTo>
                    <a:pt x="90" y="111"/>
                  </a:lnTo>
                  <a:lnTo>
                    <a:pt x="94" y="87"/>
                  </a:lnTo>
                  <a:lnTo>
                    <a:pt x="79" y="6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84" name="Freeform 112"/>
            <p:cNvSpPr>
              <a:spLocks/>
            </p:cNvSpPr>
            <p:nvPr/>
          </p:nvSpPr>
          <p:spPr bwMode="auto">
            <a:xfrm>
              <a:off x="3013" y="2591"/>
              <a:ext cx="34" cy="35"/>
            </a:xfrm>
            <a:custGeom>
              <a:avLst/>
              <a:gdLst>
                <a:gd name="T0" fmla="*/ 1 w 48"/>
                <a:gd name="T1" fmla="*/ 1 h 50"/>
                <a:gd name="T2" fmla="*/ 0 w 48"/>
                <a:gd name="T3" fmla="*/ 1 h 50"/>
                <a:gd name="T4" fmla="*/ 1 w 48"/>
                <a:gd name="T5" fmla="*/ 1 h 50"/>
                <a:gd name="T6" fmla="*/ 1 w 48"/>
                <a:gd name="T7" fmla="*/ 1 h 50"/>
                <a:gd name="T8" fmla="*/ 1 w 48"/>
                <a:gd name="T9" fmla="*/ 1 h 50"/>
                <a:gd name="T10" fmla="*/ 1 w 48"/>
                <a:gd name="T11" fmla="*/ 1 h 50"/>
                <a:gd name="T12" fmla="*/ 1 w 48"/>
                <a:gd name="T13" fmla="*/ 0 h 50"/>
                <a:gd name="T14" fmla="*/ 1 w 48"/>
                <a:gd name="T15" fmla="*/ 1 h 5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8"/>
                <a:gd name="T25" fmla="*/ 0 h 50"/>
                <a:gd name="T26" fmla="*/ 48 w 48"/>
                <a:gd name="T27" fmla="*/ 50 h 5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8" h="50">
                  <a:moveTo>
                    <a:pt x="21" y="6"/>
                  </a:moveTo>
                  <a:lnTo>
                    <a:pt x="0" y="28"/>
                  </a:lnTo>
                  <a:lnTo>
                    <a:pt x="15" y="50"/>
                  </a:lnTo>
                  <a:lnTo>
                    <a:pt x="23" y="42"/>
                  </a:lnTo>
                  <a:lnTo>
                    <a:pt x="44" y="27"/>
                  </a:lnTo>
                  <a:lnTo>
                    <a:pt x="48" y="12"/>
                  </a:lnTo>
                  <a:lnTo>
                    <a:pt x="29" y="0"/>
                  </a:lnTo>
                  <a:lnTo>
                    <a:pt x="21" y="6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85" name="Freeform 113"/>
            <p:cNvSpPr>
              <a:spLocks/>
            </p:cNvSpPr>
            <p:nvPr/>
          </p:nvSpPr>
          <p:spPr bwMode="auto">
            <a:xfrm>
              <a:off x="2829" y="2487"/>
              <a:ext cx="4" cy="10"/>
            </a:xfrm>
            <a:custGeom>
              <a:avLst/>
              <a:gdLst>
                <a:gd name="T0" fmla="*/ 4 w 4"/>
                <a:gd name="T1" fmla="*/ 2 h 13"/>
                <a:gd name="T2" fmla="*/ 0 w 4"/>
                <a:gd name="T3" fmla="*/ 2 h 13"/>
                <a:gd name="T4" fmla="*/ 2 w 4"/>
                <a:gd name="T5" fmla="*/ 0 h 13"/>
                <a:gd name="T6" fmla="*/ 4 w 4"/>
                <a:gd name="T7" fmla="*/ 2 h 1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13"/>
                <a:gd name="T14" fmla="*/ 4 w 4"/>
                <a:gd name="T15" fmla="*/ 13 h 1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13">
                  <a:moveTo>
                    <a:pt x="4" y="13"/>
                  </a:moveTo>
                  <a:lnTo>
                    <a:pt x="0" y="11"/>
                  </a:lnTo>
                  <a:lnTo>
                    <a:pt x="2" y="0"/>
                  </a:lnTo>
                  <a:lnTo>
                    <a:pt x="4" y="1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86" name="Freeform 114"/>
            <p:cNvSpPr>
              <a:spLocks/>
            </p:cNvSpPr>
            <p:nvPr/>
          </p:nvSpPr>
          <p:spPr bwMode="auto">
            <a:xfrm>
              <a:off x="3073" y="2540"/>
              <a:ext cx="19" cy="27"/>
            </a:xfrm>
            <a:custGeom>
              <a:avLst/>
              <a:gdLst>
                <a:gd name="T0" fmla="*/ 2 w 25"/>
                <a:gd name="T1" fmla="*/ 0 h 39"/>
                <a:gd name="T2" fmla="*/ 1 w 25"/>
                <a:gd name="T3" fmla="*/ 1 h 39"/>
                <a:gd name="T4" fmla="*/ 0 w 25"/>
                <a:gd name="T5" fmla="*/ 1 h 39"/>
                <a:gd name="T6" fmla="*/ 2 w 25"/>
                <a:gd name="T7" fmla="*/ 1 h 39"/>
                <a:gd name="T8" fmla="*/ 2 w 25"/>
                <a:gd name="T9" fmla="*/ 1 h 39"/>
                <a:gd name="T10" fmla="*/ 2 w 25"/>
                <a:gd name="T11" fmla="*/ 1 h 39"/>
                <a:gd name="T12" fmla="*/ 2 w 25"/>
                <a:gd name="T13" fmla="*/ 0 h 3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5"/>
                <a:gd name="T22" fmla="*/ 0 h 39"/>
                <a:gd name="T23" fmla="*/ 25 w 25"/>
                <a:gd name="T24" fmla="*/ 39 h 3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5" h="39">
                  <a:moveTo>
                    <a:pt x="12" y="0"/>
                  </a:moveTo>
                  <a:lnTo>
                    <a:pt x="1" y="14"/>
                  </a:lnTo>
                  <a:lnTo>
                    <a:pt x="0" y="32"/>
                  </a:lnTo>
                  <a:lnTo>
                    <a:pt x="20" y="39"/>
                  </a:lnTo>
                  <a:lnTo>
                    <a:pt x="25" y="28"/>
                  </a:lnTo>
                  <a:lnTo>
                    <a:pt x="23" y="6"/>
                  </a:lnTo>
                  <a:lnTo>
                    <a:pt x="12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87" name="Freeform 115"/>
            <p:cNvSpPr>
              <a:spLocks/>
            </p:cNvSpPr>
            <p:nvPr/>
          </p:nvSpPr>
          <p:spPr bwMode="auto">
            <a:xfrm>
              <a:off x="2791" y="2194"/>
              <a:ext cx="188" cy="211"/>
            </a:xfrm>
            <a:custGeom>
              <a:avLst/>
              <a:gdLst>
                <a:gd name="T0" fmla="*/ 1 w 269"/>
                <a:gd name="T1" fmla="*/ 1 h 300"/>
                <a:gd name="T2" fmla="*/ 1 w 269"/>
                <a:gd name="T3" fmla="*/ 1 h 300"/>
                <a:gd name="T4" fmla="*/ 1 w 269"/>
                <a:gd name="T5" fmla="*/ 1 h 300"/>
                <a:gd name="T6" fmla="*/ 1 w 269"/>
                <a:gd name="T7" fmla="*/ 1 h 300"/>
                <a:gd name="T8" fmla="*/ 1 w 269"/>
                <a:gd name="T9" fmla="*/ 1 h 300"/>
                <a:gd name="T10" fmla="*/ 1 w 269"/>
                <a:gd name="T11" fmla="*/ 2 h 300"/>
                <a:gd name="T12" fmla="*/ 1 w 269"/>
                <a:gd name="T13" fmla="*/ 2 h 300"/>
                <a:gd name="T14" fmla="*/ 1 w 269"/>
                <a:gd name="T15" fmla="*/ 2 h 300"/>
                <a:gd name="T16" fmla="*/ 1 w 269"/>
                <a:gd name="T17" fmla="*/ 2 h 300"/>
                <a:gd name="T18" fmla="*/ 1 w 269"/>
                <a:gd name="T19" fmla="*/ 2 h 300"/>
                <a:gd name="T20" fmla="*/ 1 w 269"/>
                <a:gd name="T21" fmla="*/ 2 h 300"/>
                <a:gd name="T22" fmla="*/ 1 w 269"/>
                <a:gd name="T23" fmla="*/ 2 h 300"/>
                <a:gd name="T24" fmla="*/ 1 w 269"/>
                <a:gd name="T25" fmla="*/ 2 h 300"/>
                <a:gd name="T26" fmla="*/ 1 w 269"/>
                <a:gd name="T27" fmla="*/ 2 h 300"/>
                <a:gd name="T28" fmla="*/ 1 w 269"/>
                <a:gd name="T29" fmla="*/ 2 h 300"/>
                <a:gd name="T30" fmla="*/ 1 w 269"/>
                <a:gd name="T31" fmla="*/ 2 h 300"/>
                <a:gd name="T32" fmla="*/ 1 w 269"/>
                <a:gd name="T33" fmla="*/ 2 h 300"/>
                <a:gd name="T34" fmla="*/ 1 w 269"/>
                <a:gd name="T35" fmla="*/ 2 h 300"/>
                <a:gd name="T36" fmla="*/ 1 w 269"/>
                <a:gd name="T37" fmla="*/ 2 h 300"/>
                <a:gd name="T38" fmla="*/ 0 w 269"/>
                <a:gd name="T39" fmla="*/ 2 h 300"/>
                <a:gd name="T40" fmla="*/ 1 w 269"/>
                <a:gd name="T41" fmla="*/ 2 h 300"/>
                <a:gd name="T42" fmla="*/ 1 w 269"/>
                <a:gd name="T43" fmla="*/ 2 h 300"/>
                <a:gd name="T44" fmla="*/ 1 w 269"/>
                <a:gd name="T45" fmla="*/ 1 h 300"/>
                <a:gd name="T46" fmla="*/ 1 w 269"/>
                <a:gd name="T47" fmla="*/ 1 h 300"/>
                <a:gd name="T48" fmla="*/ 1 w 269"/>
                <a:gd name="T49" fmla="*/ 1 h 300"/>
                <a:gd name="T50" fmla="*/ 1 w 269"/>
                <a:gd name="T51" fmla="*/ 1 h 300"/>
                <a:gd name="T52" fmla="*/ 1 w 269"/>
                <a:gd name="T53" fmla="*/ 1 h 300"/>
                <a:gd name="T54" fmla="*/ 1 w 269"/>
                <a:gd name="T55" fmla="*/ 1 h 300"/>
                <a:gd name="T56" fmla="*/ 1 w 269"/>
                <a:gd name="T57" fmla="*/ 1 h 300"/>
                <a:gd name="T58" fmla="*/ 1 w 269"/>
                <a:gd name="T59" fmla="*/ 1 h 300"/>
                <a:gd name="T60" fmla="*/ 1 w 269"/>
                <a:gd name="T61" fmla="*/ 1 h 300"/>
                <a:gd name="T62" fmla="*/ 1 w 269"/>
                <a:gd name="T63" fmla="*/ 1 h 300"/>
                <a:gd name="T64" fmla="*/ 1 w 269"/>
                <a:gd name="T65" fmla="*/ 0 h 300"/>
                <a:gd name="T66" fmla="*/ 1 w 269"/>
                <a:gd name="T67" fmla="*/ 1 h 300"/>
                <a:gd name="T68" fmla="*/ 1 w 269"/>
                <a:gd name="T69" fmla="*/ 1 h 300"/>
                <a:gd name="T70" fmla="*/ 1 w 269"/>
                <a:gd name="T71" fmla="*/ 1 h 300"/>
                <a:gd name="T72" fmla="*/ 1 w 269"/>
                <a:gd name="T73" fmla="*/ 1 h 300"/>
                <a:gd name="T74" fmla="*/ 1 w 269"/>
                <a:gd name="T75" fmla="*/ 1 h 300"/>
                <a:gd name="T76" fmla="*/ 1 w 269"/>
                <a:gd name="T77" fmla="*/ 1 h 300"/>
                <a:gd name="T78" fmla="*/ 1 w 269"/>
                <a:gd name="T79" fmla="*/ 1 h 300"/>
                <a:gd name="T80" fmla="*/ 1 w 269"/>
                <a:gd name="T81" fmla="*/ 1 h 300"/>
                <a:gd name="T82" fmla="*/ 1 w 269"/>
                <a:gd name="T83" fmla="*/ 1 h 300"/>
                <a:gd name="T84" fmla="*/ 1 w 269"/>
                <a:gd name="T85" fmla="*/ 1 h 300"/>
                <a:gd name="T86" fmla="*/ 1 w 269"/>
                <a:gd name="T87" fmla="*/ 1 h 300"/>
                <a:gd name="T88" fmla="*/ 1 w 269"/>
                <a:gd name="T89" fmla="*/ 1 h 300"/>
                <a:gd name="T90" fmla="*/ 1 w 269"/>
                <a:gd name="T91" fmla="*/ 1 h 300"/>
                <a:gd name="T92" fmla="*/ 1 w 269"/>
                <a:gd name="T93" fmla="*/ 1 h 300"/>
                <a:gd name="T94" fmla="*/ 1 w 269"/>
                <a:gd name="T95" fmla="*/ 1 h 300"/>
                <a:gd name="T96" fmla="*/ 1 w 269"/>
                <a:gd name="T97" fmla="*/ 1 h 300"/>
                <a:gd name="T98" fmla="*/ 1 w 269"/>
                <a:gd name="T99" fmla="*/ 1 h 300"/>
                <a:gd name="T100" fmla="*/ 1 w 269"/>
                <a:gd name="T101" fmla="*/ 1 h 300"/>
                <a:gd name="T102" fmla="*/ 1 w 269"/>
                <a:gd name="T103" fmla="*/ 1 h 300"/>
                <a:gd name="T104" fmla="*/ 1 w 269"/>
                <a:gd name="T105" fmla="*/ 1 h 30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69"/>
                <a:gd name="T160" fmla="*/ 0 h 300"/>
                <a:gd name="T161" fmla="*/ 269 w 269"/>
                <a:gd name="T162" fmla="*/ 300 h 30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69" h="300">
                  <a:moveTo>
                    <a:pt x="268" y="177"/>
                  </a:moveTo>
                  <a:lnTo>
                    <a:pt x="247" y="177"/>
                  </a:lnTo>
                  <a:lnTo>
                    <a:pt x="225" y="178"/>
                  </a:lnTo>
                  <a:lnTo>
                    <a:pt x="225" y="197"/>
                  </a:lnTo>
                  <a:lnTo>
                    <a:pt x="224" y="217"/>
                  </a:lnTo>
                  <a:lnTo>
                    <a:pt x="224" y="237"/>
                  </a:lnTo>
                  <a:lnTo>
                    <a:pt x="223" y="256"/>
                  </a:lnTo>
                  <a:lnTo>
                    <a:pt x="238" y="275"/>
                  </a:lnTo>
                  <a:lnTo>
                    <a:pt x="254" y="293"/>
                  </a:lnTo>
                  <a:lnTo>
                    <a:pt x="221" y="297"/>
                  </a:lnTo>
                  <a:lnTo>
                    <a:pt x="189" y="300"/>
                  </a:lnTo>
                  <a:lnTo>
                    <a:pt x="169" y="295"/>
                  </a:lnTo>
                  <a:lnTo>
                    <a:pt x="148" y="292"/>
                  </a:lnTo>
                  <a:lnTo>
                    <a:pt x="144" y="287"/>
                  </a:lnTo>
                  <a:lnTo>
                    <a:pt x="119" y="286"/>
                  </a:lnTo>
                  <a:lnTo>
                    <a:pt x="94" y="285"/>
                  </a:lnTo>
                  <a:lnTo>
                    <a:pt x="69" y="285"/>
                  </a:lnTo>
                  <a:lnTo>
                    <a:pt x="44" y="283"/>
                  </a:lnTo>
                  <a:lnTo>
                    <a:pt x="27" y="276"/>
                  </a:lnTo>
                  <a:lnTo>
                    <a:pt x="0" y="283"/>
                  </a:lnTo>
                  <a:lnTo>
                    <a:pt x="3" y="263"/>
                  </a:lnTo>
                  <a:lnTo>
                    <a:pt x="4" y="244"/>
                  </a:lnTo>
                  <a:lnTo>
                    <a:pt x="15" y="213"/>
                  </a:lnTo>
                  <a:lnTo>
                    <a:pt x="24" y="181"/>
                  </a:lnTo>
                  <a:lnTo>
                    <a:pt x="35" y="165"/>
                  </a:lnTo>
                  <a:lnTo>
                    <a:pt x="47" y="148"/>
                  </a:lnTo>
                  <a:lnTo>
                    <a:pt x="42" y="115"/>
                  </a:lnTo>
                  <a:lnTo>
                    <a:pt x="36" y="96"/>
                  </a:lnTo>
                  <a:lnTo>
                    <a:pt x="30" y="77"/>
                  </a:lnTo>
                  <a:lnTo>
                    <a:pt x="39" y="65"/>
                  </a:lnTo>
                  <a:lnTo>
                    <a:pt x="27" y="35"/>
                  </a:lnTo>
                  <a:lnTo>
                    <a:pt x="16" y="6"/>
                  </a:lnTo>
                  <a:lnTo>
                    <a:pt x="34" y="0"/>
                  </a:lnTo>
                  <a:lnTo>
                    <a:pt x="53" y="1"/>
                  </a:lnTo>
                  <a:lnTo>
                    <a:pt x="72" y="3"/>
                  </a:lnTo>
                  <a:lnTo>
                    <a:pt x="90" y="3"/>
                  </a:lnTo>
                  <a:lnTo>
                    <a:pt x="110" y="4"/>
                  </a:lnTo>
                  <a:lnTo>
                    <a:pt x="118" y="27"/>
                  </a:lnTo>
                  <a:lnTo>
                    <a:pt x="126" y="51"/>
                  </a:lnTo>
                  <a:lnTo>
                    <a:pt x="142" y="57"/>
                  </a:lnTo>
                  <a:lnTo>
                    <a:pt x="169" y="51"/>
                  </a:lnTo>
                  <a:lnTo>
                    <a:pt x="173" y="29"/>
                  </a:lnTo>
                  <a:lnTo>
                    <a:pt x="196" y="30"/>
                  </a:lnTo>
                  <a:lnTo>
                    <a:pt x="195" y="36"/>
                  </a:lnTo>
                  <a:lnTo>
                    <a:pt x="224" y="40"/>
                  </a:lnTo>
                  <a:lnTo>
                    <a:pt x="225" y="69"/>
                  </a:lnTo>
                  <a:lnTo>
                    <a:pt x="225" y="97"/>
                  </a:lnTo>
                  <a:lnTo>
                    <a:pt x="232" y="123"/>
                  </a:lnTo>
                  <a:lnTo>
                    <a:pt x="233" y="132"/>
                  </a:lnTo>
                  <a:lnTo>
                    <a:pt x="251" y="129"/>
                  </a:lnTo>
                  <a:lnTo>
                    <a:pt x="269" y="125"/>
                  </a:lnTo>
                  <a:lnTo>
                    <a:pt x="269" y="150"/>
                  </a:lnTo>
                  <a:lnTo>
                    <a:pt x="268" y="17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88" name="Freeform 116"/>
            <p:cNvSpPr>
              <a:spLocks/>
            </p:cNvSpPr>
            <p:nvPr/>
          </p:nvSpPr>
          <p:spPr bwMode="auto">
            <a:xfrm>
              <a:off x="2798" y="2170"/>
              <a:ext cx="15" cy="23"/>
            </a:xfrm>
            <a:custGeom>
              <a:avLst/>
              <a:gdLst>
                <a:gd name="T0" fmla="*/ 1 w 23"/>
                <a:gd name="T1" fmla="*/ 1 h 32"/>
                <a:gd name="T2" fmla="*/ 0 w 23"/>
                <a:gd name="T3" fmla="*/ 1 h 32"/>
                <a:gd name="T4" fmla="*/ 1 w 23"/>
                <a:gd name="T5" fmla="*/ 0 h 32"/>
                <a:gd name="T6" fmla="*/ 1 w 23"/>
                <a:gd name="T7" fmla="*/ 1 h 32"/>
                <a:gd name="T8" fmla="*/ 1 w 23"/>
                <a:gd name="T9" fmla="*/ 1 h 32"/>
                <a:gd name="T10" fmla="*/ 1 w 23"/>
                <a:gd name="T11" fmla="*/ 1 h 32"/>
                <a:gd name="T12" fmla="*/ 1 w 23"/>
                <a:gd name="T13" fmla="*/ 1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3"/>
                <a:gd name="T22" fmla="*/ 0 h 32"/>
                <a:gd name="T23" fmla="*/ 23 w 23"/>
                <a:gd name="T24" fmla="*/ 32 h 3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3" h="32">
                  <a:moveTo>
                    <a:pt x="4" y="32"/>
                  </a:moveTo>
                  <a:lnTo>
                    <a:pt x="0" y="13"/>
                  </a:lnTo>
                  <a:lnTo>
                    <a:pt x="14" y="0"/>
                  </a:lnTo>
                  <a:lnTo>
                    <a:pt x="23" y="3"/>
                  </a:lnTo>
                  <a:lnTo>
                    <a:pt x="12" y="10"/>
                  </a:lnTo>
                  <a:lnTo>
                    <a:pt x="11" y="30"/>
                  </a:lnTo>
                  <a:lnTo>
                    <a:pt x="4" y="3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89" name="Freeform 117"/>
            <p:cNvSpPr>
              <a:spLocks/>
            </p:cNvSpPr>
            <p:nvPr/>
          </p:nvSpPr>
          <p:spPr bwMode="auto">
            <a:xfrm>
              <a:off x="1637" y="2000"/>
              <a:ext cx="601" cy="681"/>
            </a:xfrm>
            <a:custGeom>
              <a:avLst/>
              <a:gdLst>
                <a:gd name="T0" fmla="*/ 4 w 856"/>
                <a:gd name="T1" fmla="*/ 1 h 968"/>
                <a:gd name="T2" fmla="*/ 4 w 856"/>
                <a:gd name="T3" fmla="*/ 1 h 968"/>
                <a:gd name="T4" fmla="*/ 4 w 856"/>
                <a:gd name="T5" fmla="*/ 1 h 968"/>
                <a:gd name="T6" fmla="*/ 4 w 856"/>
                <a:gd name="T7" fmla="*/ 1 h 968"/>
                <a:gd name="T8" fmla="*/ 4 w 856"/>
                <a:gd name="T9" fmla="*/ 1 h 968"/>
                <a:gd name="T10" fmla="*/ 4 w 856"/>
                <a:gd name="T11" fmla="*/ 1 h 968"/>
                <a:gd name="T12" fmla="*/ 3 w 856"/>
                <a:gd name="T13" fmla="*/ 1 h 968"/>
                <a:gd name="T14" fmla="*/ 4 w 856"/>
                <a:gd name="T15" fmla="*/ 1 h 968"/>
                <a:gd name="T16" fmla="*/ 4 w 856"/>
                <a:gd name="T17" fmla="*/ 1 h 968"/>
                <a:gd name="T18" fmla="*/ 4 w 856"/>
                <a:gd name="T19" fmla="*/ 1 h 968"/>
                <a:gd name="T20" fmla="*/ 3 w 856"/>
                <a:gd name="T21" fmla="*/ 1 h 968"/>
                <a:gd name="T22" fmla="*/ 3 w 856"/>
                <a:gd name="T23" fmla="*/ 1 h 968"/>
                <a:gd name="T24" fmla="*/ 3 w 856"/>
                <a:gd name="T25" fmla="*/ 1 h 968"/>
                <a:gd name="T26" fmla="*/ 2 w 856"/>
                <a:gd name="T27" fmla="*/ 1 h 968"/>
                <a:gd name="T28" fmla="*/ 2 w 856"/>
                <a:gd name="T29" fmla="*/ 1 h 968"/>
                <a:gd name="T30" fmla="*/ 2 w 856"/>
                <a:gd name="T31" fmla="*/ 1 h 968"/>
                <a:gd name="T32" fmla="*/ 1 w 856"/>
                <a:gd name="T33" fmla="*/ 1 h 968"/>
                <a:gd name="T34" fmla="*/ 1 w 856"/>
                <a:gd name="T35" fmla="*/ 1 h 968"/>
                <a:gd name="T36" fmla="*/ 1 w 856"/>
                <a:gd name="T37" fmla="*/ 1 h 968"/>
                <a:gd name="T38" fmla="*/ 1 w 856"/>
                <a:gd name="T39" fmla="*/ 1 h 968"/>
                <a:gd name="T40" fmla="*/ 1 w 856"/>
                <a:gd name="T41" fmla="*/ 1 h 968"/>
                <a:gd name="T42" fmla="*/ 1 w 856"/>
                <a:gd name="T43" fmla="*/ 1 h 968"/>
                <a:gd name="T44" fmla="*/ 1 w 856"/>
                <a:gd name="T45" fmla="*/ 2 h 968"/>
                <a:gd name="T46" fmla="*/ 1 w 856"/>
                <a:gd name="T47" fmla="*/ 2 h 968"/>
                <a:gd name="T48" fmla="*/ 1 w 856"/>
                <a:gd name="T49" fmla="*/ 3 h 968"/>
                <a:gd name="T50" fmla="*/ 1 w 856"/>
                <a:gd name="T51" fmla="*/ 3 h 968"/>
                <a:gd name="T52" fmla="*/ 1 w 856"/>
                <a:gd name="T53" fmla="*/ 3 h 968"/>
                <a:gd name="T54" fmla="*/ 1 w 856"/>
                <a:gd name="T55" fmla="*/ 3 h 968"/>
                <a:gd name="T56" fmla="*/ 1 w 856"/>
                <a:gd name="T57" fmla="*/ 3 h 968"/>
                <a:gd name="T58" fmla="*/ 2 w 856"/>
                <a:gd name="T59" fmla="*/ 4 h 968"/>
                <a:gd name="T60" fmla="*/ 2 w 856"/>
                <a:gd name="T61" fmla="*/ 4 h 968"/>
                <a:gd name="T62" fmla="*/ 3 w 856"/>
                <a:gd name="T63" fmla="*/ 4 h 968"/>
                <a:gd name="T64" fmla="*/ 3 w 856"/>
                <a:gd name="T65" fmla="*/ 4 h 968"/>
                <a:gd name="T66" fmla="*/ 3 w 856"/>
                <a:gd name="T67" fmla="*/ 5 h 968"/>
                <a:gd name="T68" fmla="*/ 3 w 856"/>
                <a:gd name="T69" fmla="*/ 6 h 968"/>
                <a:gd name="T70" fmla="*/ 3 w 856"/>
                <a:gd name="T71" fmla="*/ 6 h 968"/>
                <a:gd name="T72" fmla="*/ 3 w 856"/>
                <a:gd name="T73" fmla="*/ 6 h 968"/>
                <a:gd name="T74" fmla="*/ 3 w 856"/>
                <a:gd name="T75" fmla="*/ 6 h 968"/>
                <a:gd name="T76" fmla="*/ 3 w 856"/>
                <a:gd name="T77" fmla="*/ 6 h 968"/>
                <a:gd name="T78" fmla="*/ 4 w 856"/>
                <a:gd name="T79" fmla="*/ 7 h 968"/>
                <a:gd name="T80" fmla="*/ 4 w 856"/>
                <a:gd name="T81" fmla="*/ 6 h 968"/>
                <a:gd name="T82" fmla="*/ 4 w 856"/>
                <a:gd name="T83" fmla="*/ 6 h 968"/>
                <a:gd name="T84" fmla="*/ 4 w 856"/>
                <a:gd name="T85" fmla="*/ 6 h 968"/>
                <a:gd name="T86" fmla="*/ 4 w 856"/>
                <a:gd name="T87" fmla="*/ 6 h 968"/>
                <a:gd name="T88" fmla="*/ 4 w 856"/>
                <a:gd name="T89" fmla="*/ 6 h 968"/>
                <a:gd name="T90" fmla="*/ 4 w 856"/>
                <a:gd name="T91" fmla="*/ 6 h 968"/>
                <a:gd name="T92" fmla="*/ 4 w 856"/>
                <a:gd name="T93" fmla="*/ 6 h 968"/>
                <a:gd name="T94" fmla="*/ 5 w 856"/>
                <a:gd name="T95" fmla="*/ 6 h 968"/>
                <a:gd name="T96" fmla="*/ 5 w 856"/>
                <a:gd name="T97" fmla="*/ 6 h 968"/>
                <a:gd name="T98" fmla="*/ 6 w 856"/>
                <a:gd name="T99" fmla="*/ 4 h 968"/>
                <a:gd name="T100" fmla="*/ 6 w 856"/>
                <a:gd name="T101" fmla="*/ 4 h 968"/>
                <a:gd name="T102" fmla="*/ 6 w 856"/>
                <a:gd name="T103" fmla="*/ 4 h 968"/>
                <a:gd name="T104" fmla="*/ 6 w 856"/>
                <a:gd name="T105" fmla="*/ 3 h 968"/>
                <a:gd name="T106" fmla="*/ 6 w 856"/>
                <a:gd name="T107" fmla="*/ 3 h 968"/>
                <a:gd name="T108" fmla="*/ 6 w 856"/>
                <a:gd name="T109" fmla="*/ 2 h 968"/>
                <a:gd name="T110" fmla="*/ 6 w 856"/>
                <a:gd name="T111" fmla="*/ 1 h 968"/>
                <a:gd name="T112" fmla="*/ 5 w 856"/>
                <a:gd name="T113" fmla="*/ 1 h 96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856"/>
                <a:gd name="T172" fmla="*/ 0 h 968"/>
                <a:gd name="T173" fmla="*/ 856 w 856"/>
                <a:gd name="T174" fmla="*/ 968 h 96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856" h="968">
                  <a:moveTo>
                    <a:pt x="650" y="190"/>
                  </a:moveTo>
                  <a:lnTo>
                    <a:pt x="646" y="192"/>
                  </a:lnTo>
                  <a:lnTo>
                    <a:pt x="638" y="209"/>
                  </a:lnTo>
                  <a:lnTo>
                    <a:pt x="644" y="190"/>
                  </a:lnTo>
                  <a:lnTo>
                    <a:pt x="640" y="185"/>
                  </a:lnTo>
                  <a:lnTo>
                    <a:pt x="638" y="188"/>
                  </a:lnTo>
                  <a:lnTo>
                    <a:pt x="639" y="176"/>
                  </a:lnTo>
                  <a:lnTo>
                    <a:pt x="632" y="168"/>
                  </a:lnTo>
                  <a:lnTo>
                    <a:pt x="623" y="168"/>
                  </a:lnTo>
                  <a:lnTo>
                    <a:pt x="621" y="166"/>
                  </a:lnTo>
                  <a:lnTo>
                    <a:pt x="612" y="161"/>
                  </a:lnTo>
                  <a:lnTo>
                    <a:pt x="604" y="156"/>
                  </a:lnTo>
                  <a:lnTo>
                    <a:pt x="594" y="153"/>
                  </a:lnTo>
                  <a:lnTo>
                    <a:pt x="587" y="152"/>
                  </a:lnTo>
                  <a:lnTo>
                    <a:pt x="576" y="146"/>
                  </a:lnTo>
                  <a:lnTo>
                    <a:pt x="575" y="148"/>
                  </a:lnTo>
                  <a:lnTo>
                    <a:pt x="562" y="152"/>
                  </a:lnTo>
                  <a:lnTo>
                    <a:pt x="554" y="166"/>
                  </a:lnTo>
                  <a:lnTo>
                    <a:pt x="552" y="170"/>
                  </a:lnTo>
                  <a:lnTo>
                    <a:pt x="544" y="173"/>
                  </a:lnTo>
                  <a:lnTo>
                    <a:pt x="530" y="195"/>
                  </a:lnTo>
                  <a:lnTo>
                    <a:pt x="531" y="177"/>
                  </a:lnTo>
                  <a:lnTo>
                    <a:pt x="525" y="182"/>
                  </a:lnTo>
                  <a:lnTo>
                    <a:pt x="518" y="178"/>
                  </a:lnTo>
                  <a:lnTo>
                    <a:pt x="509" y="178"/>
                  </a:lnTo>
                  <a:lnTo>
                    <a:pt x="502" y="154"/>
                  </a:lnTo>
                  <a:lnTo>
                    <a:pt x="488" y="162"/>
                  </a:lnTo>
                  <a:lnTo>
                    <a:pt x="472" y="170"/>
                  </a:lnTo>
                  <a:lnTo>
                    <a:pt x="465" y="168"/>
                  </a:lnTo>
                  <a:lnTo>
                    <a:pt x="480" y="158"/>
                  </a:lnTo>
                  <a:lnTo>
                    <a:pt x="494" y="131"/>
                  </a:lnTo>
                  <a:lnTo>
                    <a:pt x="508" y="116"/>
                  </a:lnTo>
                  <a:lnTo>
                    <a:pt x="522" y="99"/>
                  </a:lnTo>
                  <a:lnTo>
                    <a:pt x="516" y="86"/>
                  </a:lnTo>
                  <a:lnTo>
                    <a:pt x="506" y="77"/>
                  </a:lnTo>
                  <a:lnTo>
                    <a:pt x="501" y="56"/>
                  </a:lnTo>
                  <a:lnTo>
                    <a:pt x="497" y="34"/>
                  </a:lnTo>
                  <a:lnTo>
                    <a:pt x="496" y="36"/>
                  </a:lnTo>
                  <a:lnTo>
                    <a:pt x="488" y="23"/>
                  </a:lnTo>
                  <a:lnTo>
                    <a:pt x="489" y="29"/>
                  </a:lnTo>
                  <a:lnTo>
                    <a:pt x="486" y="29"/>
                  </a:lnTo>
                  <a:lnTo>
                    <a:pt x="485" y="30"/>
                  </a:lnTo>
                  <a:lnTo>
                    <a:pt x="471" y="53"/>
                  </a:lnTo>
                  <a:lnTo>
                    <a:pt x="456" y="76"/>
                  </a:lnTo>
                  <a:lnTo>
                    <a:pt x="435" y="75"/>
                  </a:lnTo>
                  <a:lnTo>
                    <a:pt x="420" y="72"/>
                  </a:lnTo>
                  <a:lnTo>
                    <a:pt x="407" y="68"/>
                  </a:lnTo>
                  <a:lnTo>
                    <a:pt x="388" y="71"/>
                  </a:lnTo>
                  <a:lnTo>
                    <a:pt x="389" y="84"/>
                  </a:lnTo>
                  <a:lnTo>
                    <a:pt x="380" y="82"/>
                  </a:lnTo>
                  <a:lnTo>
                    <a:pt x="357" y="86"/>
                  </a:lnTo>
                  <a:lnTo>
                    <a:pt x="335" y="96"/>
                  </a:lnTo>
                  <a:lnTo>
                    <a:pt x="322" y="96"/>
                  </a:lnTo>
                  <a:lnTo>
                    <a:pt x="307" y="78"/>
                  </a:lnTo>
                  <a:lnTo>
                    <a:pt x="305" y="50"/>
                  </a:lnTo>
                  <a:lnTo>
                    <a:pt x="310" y="27"/>
                  </a:lnTo>
                  <a:lnTo>
                    <a:pt x="301" y="14"/>
                  </a:lnTo>
                  <a:lnTo>
                    <a:pt x="299" y="0"/>
                  </a:lnTo>
                  <a:lnTo>
                    <a:pt x="287" y="0"/>
                  </a:lnTo>
                  <a:lnTo>
                    <a:pt x="288" y="2"/>
                  </a:lnTo>
                  <a:lnTo>
                    <a:pt x="282" y="15"/>
                  </a:lnTo>
                  <a:lnTo>
                    <a:pt x="264" y="22"/>
                  </a:lnTo>
                  <a:lnTo>
                    <a:pt x="246" y="30"/>
                  </a:lnTo>
                  <a:lnTo>
                    <a:pt x="243" y="39"/>
                  </a:lnTo>
                  <a:lnTo>
                    <a:pt x="222" y="32"/>
                  </a:lnTo>
                  <a:lnTo>
                    <a:pt x="201" y="24"/>
                  </a:lnTo>
                  <a:lnTo>
                    <a:pt x="208" y="38"/>
                  </a:lnTo>
                  <a:lnTo>
                    <a:pt x="214" y="65"/>
                  </a:lnTo>
                  <a:lnTo>
                    <a:pt x="228" y="70"/>
                  </a:lnTo>
                  <a:lnTo>
                    <a:pt x="225" y="77"/>
                  </a:lnTo>
                  <a:lnTo>
                    <a:pt x="205" y="94"/>
                  </a:lnTo>
                  <a:lnTo>
                    <a:pt x="183" y="111"/>
                  </a:lnTo>
                  <a:lnTo>
                    <a:pt x="180" y="110"/>
                  </a:lnTo>
                  <a:lnTo>
                    <a:pt x="168" y="111"/>
                  </a:lnTo>
                  <a:lnTo>
                    <a:pt x="150" y="100"/>
                  </a:lnTo>
                  <a:lnTo>
                    <a:pt x="147" y="98"/>
                  </a:lnTo>
                  <a:lnTo>
                    <a:pt x="138" y="77"/>
                  </a:lnTo>
                  <a:lnTo>
                    <a:pt x="126" y="86"/>
                  </a:lnTo>
                  <a:lnTo>
                    <a:pt x="120" y="83"/>
                  </a:lnTo>
                  <a:lnTo>
                    <a:pt x="123" y="87"/>
                  </a:lnTo>
                  <a:lnTo>
                    <a:pt x="105" y="87"/>
                  </a:lnTo>
                  <a:lnTo>
                    <a:pt x="85" y="87"/>
                  </a:lnTo>
                  <a:lnTo>
                    <a:pt x="88" y="104"/>
                  </a:lnTo>
                  <a:lnTo>
                    <a:pt x="100" y="108"/>
                  </a:lnTo>
                  <a:lnTo>
                    <a:pt x="96" y="114"/>
                  </a:lnTo>
                  <a:lnTo>
                    <a:pt x="81" y="116"/>
                  </a:lnTo>
                  <a:lnTo>
                    <a:pt x="85" y="140"/>
                  </a:lnTo>
                  <a:lnTo>
                    <a:pt x="95" y="165"/>
                  </a:lnTo>
                  <a:lnTo>
                    <a:pt x="89" y="200"/>
                  </a:lnTo>
                  <a:lnTo>
                    <a:pt x="84" y="234"/>
                  </a:lnTo>
                  <a:lnTo>
                    <a:pt x="77" y="234"/>
                  </a:lnTo>
                  <a:lnTo>
                    <a:pt x="58" y="239"/>
                  </a:lnTo>
                  <a:lnTo>
                    <a:pt x="41" y="248"/>
                  </a:lnTo>
                  <a:lnTo>
                    <a:pt x="23" y="255"/>
                  </a:lnTo>
                  <a:lnTo>
                    <a:pt x="18" y="274"/>
                  </a:lnTo>
                  <a:lnTo>
                    <a:pt x="12" y="293"/>
                  </a:lnTo>
                  <a:lnTo>
                    <a:pt x="0" y="314"/>
                  </a:lnTo>
                  <a:lnTo>
                    <a:pt x="11" y="332"/>
                  </a:lnTo>
                  <a:lnTo>
                    <a:pt x="21" y="351"/>
                  </a:lnTo>
                  <a:lnTo>
                    <a:pt x="19" y="362"/>
                  </a:lnTo>
                  <a:lnTo>
                    <a:pt x="28" y="364"/>
                  </a:lnTo>
                  <a:lnTo>
                    <a:pt x="41" y="374"/>
                  </a:lnTo>
                  <a:lnTo>
                    <a:pt x="59" y="378"/>
                  </a:lnTo>
                  <a:lnTo>
                    <a:pt x="73" y="366"/>
                  </a:lnTo>
                  <a:lnTo>
                    <a:pt x="75" y="384"/>
                  </a:lnTo>
                  <a:lnTo>
                    <a:pt x="77" y="404"/>
                  </a:lnTo>
                  <a:lnTo>
                    <a:pt x="100" y="401"/>
                  </a:lnTo>
                  <a:lnTo>
                    <a:pt x="127" y="402"/>
                  </a:lnTo>
                  <a:lnTo>
                    <a:pt x="138" y="395"/>
                  </a:lnTo>
                  <a:lnTo>
                    <a:pt x="156" y="384"/>
                  </a:lnTo>
                  <a:lnTo>
                    <a:pt x="174" y="372"/>
                  </a:lnTo>
                  <a:lnTo>
                    <a:pt x="191" y="375"/>
                  </a:lnTo>
                  <a:lnTo>
                    <a:pt x="193" y="395"/>
                  </a:lnTo>
                  <a:lnTo>
                    <a:pt x="195" y="416"/>
                  </a:lnTo>
                  <a:lnTo>
                    <a:pt x="211" y="434"/>
                  </a:lnTo>
                  <a:lnTo>
                    <a:pt x="228" y="440"/>
                  </a:lnTo>
                  <a:lnTo>
                    <a:pt x="247" y="449"/>
                  </a:lnTo>
                  <a:lnTo>
                    <a:pt x="271" y="466"/>
                  </a:lnTo>
                  <a:lnTo>
                    <a:pt x="297" y="470"/>
                  </a:lnTo>
                  <a:lnTo>
                    <a:pt x="303" y="480"/>
                  </a:lnTo>
                  <a:lnTo>
                    <a:pt x="306" y="504"/>
                  </a:lnTo>
                  <a:lnTo>
                    <a:pt x="301" y="504"/>
                  </a:lnTo>
                  <a:lnTo>
                    <a:pt x="310" y="514"/>
                  </a:lnTo>
                  <a:lnTo>
                    <a:pt x="313" y="533"/>
                  </a:lnTo>
                  <a:lnTo>
                    <a:pt x="333" y="536"/>
                  </a:lnTo>
                  <a:lnTo>
                    <a:pt x="353" y="538"/>
                  </a:lnTo>
                  <a:lnTo>
                    <a:pt x="355" y="560"/>
                  </a:lnTo>
                  <a:lnTo>
                    <a:pt x="369" y="573"/>
                  </a:lnTo>
                  <a:lnTo>
                    <a:pt x="374" y="582"/>
                  </a:lnTo>
                  <a:lnTo>
                    <a:pt x="369" y="602"/>
                  </a:lnTo>
                  <a:lnTo>
                    <a:pt x="364" y="620"/>
                  </a:lnTo>
                  <a:lnTo>
                    <a:pt x="368" y="628"/>
                  </a:lnTo>
                  <a:lnTo>
                    <a:pt x="364" y="630"/>
                  </a:lnTo>
                  <a:lnTo>
                    <a:pt x="369" y="641"/>
                  </a:lnTo>
                  <a:lnTo>
                    <a:pt x="372" y="676"/>
                  </a:lnTo>
                  <a:lnTo>
                    <a:pt x="404" y="681"/>
                  </a:lnTo>
                  <a:lnTo>
                    <a:pt x="419" y="683"/>
                  </a:lnTo>
                  <a:lnTo>
                    <a:pt x="425" y="704"/>
                  </a:lnTo>
                  <a:lnTo>
                    <a:pt x="432" y="724"/>
                  </a:lnTo>
                  <a:lnTo>
                    <a:pt x="443" y="724"/>
                  </a:lnTo>
                  <a:lnTo>
                    <a:pt x="455" y="725"/>
                  </a:lnTo>
                  <a:lnTo>
                    <a:pt x="454" y="744"/>
                  </a:lnTo>
                  <a:lnTo>
                    <a:pt x="454" y="765"/>
                  </a:lnTo>
                  <a:lnTo>
                    <a:pt x="467" y="765"/>
                  </a:lnTo>
                  <a:lnTo>
                    <a:pt x="477" y="797"/>
                  </a:lnTo>
                  <a:lnTo>
                    <a:pt x="464" y="809"/>
                  </a:lnTo>
                  <a:lnTo>
                    <a:pt x="450" y="821"/>
                  </a:lnTo>
                  <a:lnTo>
                    <a:pt x="438" y="836"/>
                  </a:lnTo>
                  <a:lnTo>
                    <a:pt x="426" y="850"/>
                  </a:lnTo>
                  <a:lnTo>
                    <a:pt x="416" y="864"/>
                  </a:lnTo>
                  <a:lnTo>
                    <a:pt x="405" y="879"/>
                  </a:lnTo>
                  <a:lnTo>
                    <a:pt x="405" y="880"/>
                  </a:lnTo>
                  <a:lnTo>
                    <a:pt x="416" y="878"/>
                  </a:lnTo>
                  <a:lnTo>
                    <a:pt x="442" y="898"/>
                  </a:lnTo>
                  <a:lnTo>
                    <a:pt x="448" y="898"/>
                  </a:lnTo>
                  <a:lnTo>
                    <a:pt x="461" y="906"/>
                  </a:lnTo>
                  <a:lnTo>
                    <a:pt x="484" y="922"/>
                  </a:lnTo>
                  <a:lnTo>
                    <a:pt x="506" y="939"/>
                  </a:lnTo>
                  <a:lnTo>
                    <a:pt x="503" y="951"/>
                  </a:lnTo>
                  <a:lnTo>
                    <a:pt x="508" y="968"/>
                  </a:lnTo>
                  <a:lnTo>
                    <a:pt x="516" y="952"/>
                  </a:lnTo>
                  <a:lnTo>
                    <a:pt x="525" y="936"/>
                  </a:lnTo>
                  <a:lnTo>
                    <a:pt x="525" y="921"/>
                  </a:lnTo>
                  <a:lnTo>
                    <a:pt x="531" y="906"/>
                  </a:lnTo>
                  <a:lnTo>
                    <a:pt x="540" y="894"/>
                  </a:lnTo>
                  <a:lnTo>
                    <a:pt x="538" y="880"/>
                  </a:lnTo>
                  <a:lnTo>
                    <a:pt x="539" y="879"/>
                  </a:lnTo>
                  <a:lnTo>
                    <a:pt x="549" y="882"/>
                  </a:lnTo>
                  <a:lnTo>
                    <a:pt x="554" y="884"/>
                  </a:lnTo>
                  <a:lnTo>
                    <a:pt x="545" y="902"/>
                  </a:lnTo>
                  <a:lnTo>
                    <a:pt x="536" y="920"/>
                  </a:lnTo>
                  <a:lnTo>
                    <a:pt x="528" y="924"/>
                  </a:lnTo>
                  <a:lnTo>
                    <a:pt x="531" y="927"/>
                  </a:lnTo>
                  <a:lnTo>
                    <a:pt x="545" y="906"/>
                  </a:lnTo>
                  <a:lnTo>
                    <a:pt x="560" y="886"/>
                  </a:lnTo>
                  <a:lnTo>
                    <a:pt x="568" y="866"/>
                  </a:lnTo>
                  <a:lnTo>
                    <a:pt x="578" y="845"/>
                  </a:lnTo>
                  <a:lnTo>
                    <a:pt x="584" y="834"/>
                  </a:lnTo>
                  <a:lnTo>
                    <a:pt x="585" y="834"/>
                  </a:lnTo>
                  <a:lnTo>
                    <a:pt x="585" y="814"/>
                  </a:lnTo>
                  <a:lnTo>
                    <a:pt x="585" y="795"/>
                  </a:lnTo>
                  <a:lnTo>
                    <a:pt x="580" y="780"/>
                  </a:lnTo>
                  <a:lnTo>
                    <a:pt x="580" y="772"/>
                  </a:lnTo>
                  <a:lnTo>
                    <a:pt x="584" y="764"/>
                  </a:lnTo>
                  <a:lnTo>
                    <a:pt x="580" y="761"/>
                  </a:lnTo>
                  <a:lnTo>
                    <a:pt x="588" y="760"/>
                  </a:lnTo>
                  <a:lnTo>
                    <a:pt x="608" y="742"/>
                  </a:lnTo>
                  <a:lnTo>
                    <a:pt x="627" y="724"/>
                  </a:lnTo>
                  <a:lnTo>
                    <a:pt x="645" y="718"/>
                  </a:lnTo>
                  <a:lnTo>
                    <a:pt x="662" y="707"/>
                  </a:lnTo>
                  <a:lnTo>
                    <a:pt x="669" y="701"/>
                  </a:lnTo>
                  <a:lnTo>
                    <a:pt x="683" y="701"/>
                  </a:lnTo>
                  <a:lnTo>
                    <a:pt x="676" y="702"/>
                  </a:lnTo>
                  <a:lnTo>
                    <a:pt x="690" y="698"/>
                  </a:lnTo>
                  <a:lnTo>
                    <a:pt x="694" y="696"/>
                  </a:lnTo>
                  <a:lnTo>
                    <a:pt x="718" y="696"/>
                  </a:lnTo>
                  <a:lnTo>
                    <a:pt x="724" y="682"/>
                  </a:lnTo>
                  <a:lnTo>
                    <a:pt x="737" y="675"/>
                  </a:lnTo>
                  <a:lnTo>
                    <a:pt x="740" y="647"/>
                  </a:lnTo>
                  <a:lnTo>
                    <a:pt x="750" y="628"/>
                  </a:lnTo>
                  <a:lnTo>
                    <a:pt x="761" y="609"/>
                  </a:lnTo>
                  <a:lnTo>
                    <a:pt x="765" y="575"/>
                  </a:lnTo>
                  <a:lnTo>
                    <a:pt x="770" y="563"/>
                  </a:lnTo>
                  <a:lnTo>
                    <a:pt x="771" y="539"/>
                  </a:lnTo>
                  <a:lnTo>
                    <a:pt x="772" y="515"/>
                  </a:lnTo>
                  <a:lnTo>
                    <a:pt x="771" y="497"/>
                  </a:lnTo>
                  <a:lnTo>
                    <a:pt x="771" y="479"/>
                  </a:lnTo>
                  <a:lnTo>
                    <a:pt x="767" y="471"/>
                  </a:lnTo>
                  <a:lnTo>
                    <a:pt x="771" y="448"/>
                  </a:lnTo>
                  <a:lnTo>
                    <a:pt x="778" y="446"/>
                  </a:lnTo>
                  <a:lnTo>
                    <a:pt x="779" y="453"/>
                  </a:lnTo>
                  <a:lnTo>
                    <a:pt x="791" y="434"/>
                  </a:lnTo>
                  <a:lnTo>
                    <a:pt x="802" y="414"/>
                  </a:lnTo>
                  <a:lnTo>
                    <a:pt x="802" y="412"/>
                  </a:lnTo>
                  <a:lnTo>
                    <a:pt x="807" y="406"/>
                  </a:lnTo>
                  <a:lnTo>
                    <a:pt x="820" y="388"/>
                  </a:lnTo>
                  <a:lnTo>
                    <a:pt x="833" y="370"/>
                  </a:lnTo>
                  <a:lnTo>
                    <a:pt x="852" y="342"/>
                  </a:lnTo>
                  <a:lnTo>
                    <a:pt x="856" y="308"/>
                  </a:lnTo>
                  <a:lnTo>
                    <a:pt x="846" y="282"/>
                  </a:lnTo>
                  <a:lnTo>
                    <a:pt x="837" y="257"/>
                  </a:lnTo>
                  <a:lnTo>
                    <a:pt x="820" y="254"/>
                  </a:lnTo>
                  <a:lnTo>
                    <a:pt x="802" y="251"/>
                  </a:lnTo>
                  <a:lnTo>
                    <a:pt x="778" y="230"/>
                  </a:lnTo>
                  <a:lnTo>
                    <a:pt x="755" y="209"/>
                  </a:lnTo>
                  <a:lnTo>
                    <a:pt x="724" y="201"/>
                  </a:lnTo>
                  <a:lnTo>
                    <a:pt x="704" y="201"/>
                  </a:lnTo>
                  <a:lnTo>
                    <a:pt x="684" y="197"/>
                  </a:lnTo>
                  <a:lnTo>
                    <a:pt x="665" y="192"/>
                  </a:lnTo>
                  <a:lnTo>
                    <a:pt x="648" y="197"/>
                  </a:lnTo>
                  <a:lnTo>
                    <a:pt x="650" y="19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90" name="Freeform 118"/>
            <p:cNvSpPr>
              <a:spLocks/>
            </p:cNvSpPr>
            <p:nvPr/>
          </p:nvSpPr>
          <p:spPr bwMode="auto">
            <a:xfrm>
              <a:off x="1991" y="2093"/>
              <a:ext cx="36" cy="31"/>
            </a:xfrm>
            <a:custGeom>
              <a:avLst/>
              <a:gdLst>
                <a:gd name="T0" fmla="*/ 1 w 52"/>
                <a:gd name="T1" fmla="*/ 1 h 44"/>
                <a:gd name="T2" fmla="*/ 1 w 52"/>
                <a:gd name="T3" fmla="*/ 1 h 44"/>
                <a:gd name="T4" fmla="*/ 1 w 52"/>
                <a:gd name="T5" fmla="*/ 1 h 44"/>
                <a:gd name="T6" fmla="*/ 1 w 52"/>
                <a:gd name="T7" fmla="*/ 1 h 44"/>
                <a:gd name="T8" fmla="*/ 0 w 52"/>
                <a:gd name="T9" fmla="*/ 1 h 44"/>
                <a:gd name="T10" fmla="*/ 1 w 52"/>
                <a:gd name="T11" fmla="*/ 1 h 44"/>
                <a:gd name="T12" fmla="*/ 1 w 52"/>
                <a:gd name="T13" fmla="*/ 1 h 44"/>
                <a:gd name="T14" fmla="*/ 1 w 52"/>
                <a:gd name="T15" fmla="*/ 0 h 44"/>
                <a:gd name="T16" fmla="*/ 1 w 52"/>
                <a:gd name="T17" fmla="*/ 1 h 44"/>
                <a:gd name="T18" fmla="*/ 1 w 52"/>
                <a:gd name="T19" fmla="*/ 1 h 44"/>
                <a:gd name="T20" fmla="*/ 1 w 52"/>
                <a:gd name="T21" fmla="*/ 1 h 44"/>
                <a:gd name="T22" fmla="*/ 1 w 52"/>
                <a:gd name="T23" fmla="*/ 1 h 44"/>
                <a:gd name="T24" fmla="*/ 1 w 52"/>
                <a:gd name="T25" fmla="*/ 1 h 44"/>
                <a:gd name="T26" fmla="*/ 1 w 52"/>
                <a:gd name="T27" fmla="*/ 1 h 44"/>
                <a:gd name="T28" fmla="*/ 1 w 52"/>
                <a:gd name="T29" fmla="*/ 1 h 4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2"/>
                <a:gd name="T46" fmla="*/ 0 h 44"/>
                <a:gd name="T47" fmla="*/ 52 w 52"/>
                <a:gd name="T48" fmla="*/ 44 h 4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2" h="44">
                  <a:moveTo>
                    <a:pt x="27" y="40"/>
                  </a:moveTo>
                  <a:lnTo>
                    <a:pt x="23" y="42"/>
                  </a:lnTo>
                  <a:lnTo>
                    <a:pt x="11" y="36"/>
                  </a:lnTo>
                  <a:lnTo>
                    <a:pt x="8" y="44"/>
                  </a:lnTo>
                  <a:lnTo>
                    <a:pt x="0" y="26"/>
                  </a:lnTo>
                  <a:lnTo>
                    <a:pt x="3" y="24"/>
                  </a:lnTo>
                  <a:lnTo>
                    <a:pt x="2" y="14"/>
                  </a:lnTo>
                  <a:lnTo>
                    <a:pt x="9" y="0"/>
                  </a:lnTo>
                  <a:lnTo>
                    <a:pt x="30" y="4"/>
                  </a:lnTo>
                  <a:lnTo>
                    <a:pt x="52" y="8"/>
                  </a:lnTo>
                  <a:lnTo>
                    <a:pt x="42" y="28"/>
                  </a:lnTo>
                  <a:lnTo>
                    <a:pt x="40" y="30"/>
                  </a:lnTo>
                  <a:lnTo>
                    <a:pt x="38" y="36"/>
                  </a:lnTo>
                  <a:lnTo>
                    <a:pt x="34" y="36"/>
                  </a:lnTo>
                  <a:lnTo>
                    <a:pt x="27" y="4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91" name="Freeform 119"/>
            <p:cNvSpPr>
              <a:spLocks/>
            </p:cNvSpPr>
            <p:nvPr/>
          </p:nvSpPr>
          <p:spPr bwMode="auto">
            <a:xfrm>
              <a:off x="2757" y="2051"/>
              <a:ext cx="30" cy="22"/>
            </a:xfrm>
            <a:custGeom>
              <a:avLst/>
              <a:gdLst>
                <a:gd name="T0" fmla="*/ 2 w 40"/>
                <a:gd name="T1" fmla="*/ 1 h 34"/>
                <a:gd name="T2" fmla="*/ 0 w 40"/>
                <a:gd name="T3" fmla="*/ 1 h 34"/>
                <a:gd name="T4" fmla="*/ 2 w 40"/>
                <a:gd name="T5" fmla="*/ 1 h 34"/>
                <a:gd name="T6" fmla="*/ 2 w 40"/>
                <a:gd name="T7" fmla="*/ 0 h 34"/>
                <a:gd name="T8" fmla="*/ 2 w 40"/>
                <a:gd name="T9" fmla="*/ 1 h 34"/>
                <a:gd name="T10" fmla="*/ 2 w 40"/>
                <a:gd name="T11" fmla="*/ 1 h 34"/>
                <a:gd name="T12" fmla="*/ 2 w 40"/>
                <a:gd name="T13" fmla="*/ 1 h 34"/>
                <a:gd name="T14" fmla="*/ 2 w 40"/>
                <a:gd name="T15" fmla="*/ 1 h 34"/>
                <a:gd name="T16" fmla="*/ 2 w 40"/>
                <a:gd name="T17" fmla="*/ 1 h 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0"/>
                <a:gd name="T28" fmla="*/ 0 h 34"/>
                <a:gd name="T29" fmla="*/ 40 w 40"/>
                <a:gd name="T30" fmla="*/ 34 h 3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0" h="34">
                  <a:moveTo>
                    <a:pt x="7" y="34"/>
                  </a:moveTo>
                  <a:lnTo>
                    <a:pt x="0" y="31"/>
                  </a:lnTo>
                  <a:lnTo>
                    <a:pt x="2" y="22"/>
                  </a:lnTo>
                  <a:lnTo>
                    <a:pt x="7" y="0"/>
                  </a:lnTo>
                  <a:lnTo>
                    <a:pt x="24" y="3"/>
                  </a:lnTo>
                  <a:lnTo>
                    <a:pt x="40" y="5"/>
                  </a:lnTo>
                  <a:lnTo>
                    <a:pt x="40" y="34"/>
                  </a:lnTo>
                  <a:lnTo>
                    <a:pt x="24" y="34"/>
                  </a:lnTo>
                  <a:lnTo>
                    <a:pt x="7" y="3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92" name="Freeform 120"/>
            <p:cNvSpPr>
              <a:spLocks/>
            </p:cNvSpPr>
            <p:nvPr/>
          </p:nvSpPr>
          <p:spPr bwMode="auto">
            <a:xfrm>
              <a:off x="2743" y="2026"/>
              <a:ext cx="7" cy="9"/>
            </a:xfrm>
            <a:custGeom>
              <a:avLst/>
              <a:gdLst>
                <a:gd name="T0" fmla="*/ 1 w 11"/>
                <a:gd name="T1" fmla="*/ 1 h 14"/>
                <a:gd name="T2" fmla="*/ 1 w 11"/>
                <a:gd name="T3" fmla="*/ 0 h 14"/>
                <a:gd name="T4" fmla="*/ 0 w 11"/>
                <a:gd name="T5" fmla="*/ 1 h 14"/>
                <a:gd name="T6" fmla="*/ 1 w 11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"/>
                <a:gd name="T13" fmla="*/ 0 h 14"/>
                <a:gd name="T14" fmla="*/ 11 w 11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" h="14">
                  <a:moveTo>
                    <a:pt x="11" y="2"/>
                  </a:moveTo>
                  <a:lnTo>
                    <a:pt x="7" y="0"/>
                  </a:lnTo>
                  <a:lnTo>
                    <a:pt x="0" y="14"/>
                  </a:lnTo>
                  <a:lnTo>
                    <a:pt x="11" y="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93" name="Freeform 121"/>
            <p:cNvSpPr>
              <a:spLocks/>
            </p:cNvSpPr>
            <p:nvPr/>
          </p:nvSpPr>
          <p:spPr bwMode="auto">
            <a:xfrm>
              <a:off x="2747" y="2054"/>
              <a:ext cx="89" cy="107"/>
            </a:xfrm>
            <a:custGeom>
              <a:avLst/>
              <a:gdLst>
                <a:gd name="T0" fmla="*/ 1 w 125"/>
                <a:gd name="T1" fmla="*/ 1 h 152"/>
                <a:gd name="T2" fmla="*/ 1 w 125"/>
                <a:gd name="T3" fmla="*/ 1 h 152"/>
                <a:gd name="T4" fmla="*/ 1 w 125"/>
                <a:gd name="T5" fmla="*/ 1 h 152"/>
                <a:gd name="T6" fmla="*/ 1 w 125"/>
                <a:gd name="T7" fmla="*/ 1 h 152"/>
                <a:gd name="T8" fmla="*/ 1 w 125"/>
                <a:gd name="T9" fmla="*/ 1 h 152"/>
                <a:gd name="T10" fmla="*/ 1 w 125"/>
                <a:gd name="T11" fmla="*/ 1 h 152"/>
                <a:gd name="T12" fmla="*/ 0 w 125"/>
                <a:gd name="T13" fmla="*/ 1 h 152"/>
                <a:gd name="T14" fmla="*/ 1 w 125"/>
                <a:gd name="T15" fmla="*/ 1 h 152"/>
                <a:gd name="T16" fmla="*/ 1 w 125"/>
                <a:gd name="T17" fmla="*/ 1 h 152"/>
                <a:gd name="T18" fmla="*/ 1 w 125"/>
                <a:gd name="T19" fmla="*/ 1 h 152"/>
                <a:gd name="T20" fmla="*/ 1 w 125"/>
                <a:gd name="T21" fmla="*/ 1 h 152"/>
                <a:gd name="T22" fmla="*/ 1 w 125"/>
                <a:gd name="T23" fmla="*/ 1 h 152"/>
                <a:gd name="T24" fmla="*/ 1 w 125"/>
                <a:gd name="T25" fmla="*/ 1 h 152"/>
                <a:gd name="T26" fmla="*/ 1 w 125"/>
                <a:gd name="T27" fmla="*/ 1 h 152"/>
                <a:gd name="T28" fmla="*/ 1 w 125"/>
                <a:gd name="T29" fmla="*/ 1 h 152"/>
                <a:gd name="T30" fmla="*/ 1 w 125"/>
                <a:gd name="T31" fmla="*/ 1 h 152"/>
                <a:gd name="T32" fmla="*/ 1 w 125"/>
                <a:gd name="T33" fmla="*/ 1 h 152"/>
                <a:gd name="T34" fmla="*/ 1 w 125"/>
                <a:gd name="T35" fmla="*/ 1 h 152"/>
                <a:gd name="T36" fmla="*/ 1 w 125"/>
                <a:gd name="T37" fmla="*/ 1 h 152"/>
                <a:gd name="T38" fmla="*/ 1 w 125"/>
                <a:gd name="T39" fmla="*/ 1 h 152"/>
                <a:gd name="T40" fmla="*/ 1 w 125"/>
                <a:gd name="T41" fmla="*/ 1 h 152"/>
                <a:gd name="T42" fmla="*/ 1 w 125"/>
                <a:gd name="T43" fmla="*/ 1 h 152"/>
                <a:gd name="T44" fmla="*/ 1 w 125"/>
                <a:gd name="T45" fmla="*/ 1 h 152"/>
                <a:gd name="T46" fmla="*/ 1 w 125"/>
                <a:gd name="T47" fmla="*/ 1 h 152"/>
                <a:gd name="T48" fmla="*/ 1 w 125"/>
                <a:gd name="T49" fmla="*/ 1 h 152"/>
                <a:gd name="T50" fmla="*/ 1 w 125"/>
                <a:gd name="T51" fmla="*/ 1 h 152"/>
                <a:gd name="T52" fmla="*/ 1 w 125"/>
                <a:gd name="T53" fmla="*/ 1 h 152"/>
                <a:gd name="T54" fmla="*/ 1 w 125"/>
                <a:gd name="T55" fmla="*/ 1 h 152"/>
                <a:gd name="T56" fmla="*/ 1 w 125"/>
                <a:gd name="T57" fmla="*/ 1 h 152"/>
                <a:gd name="T58" fmla="*/ 1 w 125"/>
                <a:gd name="T59" fmla="*/ 1 h 152"/>
                <a:gd name="T60" fmla="*/ 1 w 125"/>
                <a:gd name="T61" fmla="*/ 1 h 152"/>
                <a:gd name="T62" fmla="*/ 1 w 125"/>
                <a:gd name="T63" fmla="*/ 1 h 152"/>
                <a:gd name="T64" fmla="*/ 1 w 125"/>
                <a:gd name="T65" fmla="*/ 1 h 152"/>
                <a:gd name="T66" fmla="*/ 1 w 125"/>
                <a:gd name="T67" fmla="*/ 0 h 152"/>
                <a:gd name="T68" fmla="*/ 1 w 125"/>
                <a:gd name="T69" fmla="*/ 0 h 152"/>
                <a:gd name="T70" fmla="*/ 1 w 125"/>
                <a:gd name="T71" fmla="*/ 0 h 152"/>
                <a:gd name="T72" fmla="*/ 1 w 125"/>
                <a:gd name="T73" fmla="*/ 1 h 152"/>
                <a:gd name="T74" fmla="*/ 1 w 125"/>
                <a:gd name="T75" fmla="*/ 1 h 152"/>
                <a:gd name="T76" fmla="*/ 1 w 125"/>
                <a:gd name="T77" fmla="*/ 1 h 152"/>
                <a:gd name="T78" fmla="*/ 1 w 125"/>
                <a:gd name="T79" fmla="*/ 1 h 15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25"/>
                <a:gd name="T121" fmla="*/ 0 h 152"/>
                <a:gd name="T122" fmla="*/ 125 w 125"/>
                <a:gd name="T123" fmla="*/ 152 h 15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25" h="152">
                  <a:moveTo>
                    <a:pt x="21" y="29"/>
                  </a:moveTo>
                  <a:lnTo>
                    <a:pt x="18" y="38"/>
                  </a:lnTo>
                  <a:lnTo>
                    <a:pt x="11" y="38"/>
                  </a:lnTo>
                  <a:lnTo>
                    <a:pt x="25" y="50"/>
                  </a:lnTo>
                  <a:lnTo>
                    <a:pt x="12" y="49"/>
                  </a:lnTo>
                  <a:lnTo>
                    <a:pt x="5" y="72"/>
                  </a:lnTo>
                  <a:lnTo>
                    <a:pt x="0" y="72"/>
                  </a:lnTo>
                  <a:lnTo>
                    <a:pt x="9" y="89"/>
                  </a:lnTo>
                  <a:lnTo>
                    <a:pt x="13" y="94"/>
                  </a:lnTo>
                  <a:lnTo>
                    <a:pt x="6" y="88"/>
                  </a:lnTo>
                  <a:lnTo>
                    <a:pt x="16" y="102"/>
                  </a:lnTo>
                  <a:lnTo>
                    <a:pt x="12" y="102"/>
                  </a:lnTo>
                  <a:lnTo>
                    <a:pt x="27" y="118"/>
                  </a:lnTo>
                  <a:lnTo>
                    <a:pt x="23" y="116"/>
                  </a:lnTo>
                  <a:lnTo>
                    <a:pt x="37" y="134"/>
                  </a:lnTo>
                  <a:lnTo>
                    <a:pt x="52" y="152"/>
                  </a:lnTo>
                  <a:lnTo>
                    <a:pt x="59" y="142"/>
                  </a:lnTo>
                  <a:lnTo>
                    <a:pt x="64" y="145"/>
                  </a:lnTo>
                  <a:lnTo>
                    <a:pt x="69" y="140"/>
                  </a:lnTo>
                  <a:lnTo>
                    <a:pt x="65" y="130"/>
                  </a:lnTo>
                  <a:lnTo>
                    <a:pt x="61" y="124"/>
                  </a:lnTo>
                  <a:lnTo>
                    <a:pt x="61" y="116"/>
                  </a:lnTo>
                  <a:lnTo>
                    <a:pt x="81" y="114"/>
                  </a:lnTo>
                  <a:lnTo>
                    <a:pt x="83" y="100"/>
                  </a:lnTo>
                  <a:lnTo>
                    <a:pt x="95" y="113"/>
                  </a:lnTo>
                  <a:lnTo>
                    <a:pt x="108" y="108"/>
                  </a:lnTo>
                  <a:lnTo>
                    <a:pt x="112" y="115"/>
                  </a:lnTo>
                  <a:lnTo>
                    <a:pt x="119" y="109"/>
                  </a:lnTo>
                  <a:lnTo>
                    <a:pt x="125" y="74"/>
                  </a:lnTo>
                  <a:lnTo>
                    <a:pt x="112" y="53"/>
                  </a:lnTo>
                  <a:lnTo>
                    <a:pt x="123" y="38"/>
                  </a:lnTo>
                  <a:lnTo>
                    <a:pt x="120" y="22"/>
                  </a:lnTo>
                  <a:lnTo>
                    <a:pt x="96" y="24"/>
                  </a:lnTo>
                  <a:lnTo>
                    <a:pt x="99" y="0"/>
                  </a:lnTo>
                  <a:lnTo>
                    <a:pt x="77" y="0"/>
                  </a:lnTo>
                  <a:lnTo>
                    <a:pt x="55" y="0"/>
                  </a:lnTo>
                  <a:lnTo>
                    <a:pt x="55" y="29"/>
                  </a:lnTo>
                  <a:lnTo>
                    <a:pt x="39" y="29"/>
                  </a:lnTo>
                  <a:lnTo>
                    <a:pt x="22" y="29"/>
                  </a:lnTo>
                  <a:lnTo>
                    <a:pt x="21" y="29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94" name="Freeform 122"/>
            <p:cNvSpPr>
              <a:spLocks/>
            </p:cNvSpPr>
            <p:nvPr/>
          </p:nvSpPr>
          <p:spPr bwMode="auto">
            <a:xfrm>
              <a:off x="1828" y="2429"/>
              <a:ext cx="129" cy="142"/>
            </a:xfrm>
            <a:custGeom>
              <a:avLst/>
              <a:gdLst>
                <a:gd name="T0" fmla="*/ 1 w 182"/>
                <a:gd name="T1" fmla="*/ 1 h 202"/>
                <a:gd name="T2" fmla="*/ 1 w 182"/>
                <a:gd name="T3" fmla="*/ 1 h 202"/>
                <a:gd name="T4" fmla="*/ 0 w 182"/>
                <a:gd name="T5" fmla="*/ 1 h 202"/>
                <a:gd name="T6" fmla="*/ 1 w 182"/>
                <a:gd name="T7" fmla="*/ 1 h 202"/>
                <a:gd name="T8" fmla="*/ 1 w 182"/>
                <a:gd name="T9" fmla="*/ 1 h 202"/>
                <a:gd name="T10" fmla="*/ 1 w 182"/>
                <a:gd name="T11" fmla="*/ 1 h 202"/>
                <a:gd name="T12" fmla="*/ 1 w 182"/>
                <a:gd name="T13" fmla="*/ 1 h 202"/>
                <a:gd name="T14" fmla="*/ 1 w 182"/>
                <a:gd name="T15" fmla="*/ 1 h 202"/>
                <a:gd name="T16" fmla="*/ 1 w 182"/>
                <a:gd name="T17" fmla="*/ 1 h 202"/>
                <a:gd name="T18" fmla="*/ 1 w 182"/>
                <a:gd name="T19" fmla="*/ 1 h 202"/>
                <a:gd name="T20" fmla="*/ 1 w 182"/>
                <a:gd name="T21" fmla="*/ 1 h 202"/>
                <a:gd name="T22" fmla="*/ 1 w 182"/>
                <a:gd name="T23" fmla="*/ 1 h 202"/>
                <a:gd name="T24" fmla="*/ 1 w 182"/>
                <a:gd name="T25" fmla="*/ 1 h 202"/>
                <a:gd name="T26" fmla="*/ 1 w 182"/>
                <a:gd name="T27" fmla="*/ 1 h 202"/>
                <a:gd name="T28" fmla="*/ 1 w 182"/>
                <a:gd name="T29" fmla="*/ 1 h 202"/>
                <a:gd name="T30" fmla="*/ 1 w 182"/>
                <a:gd name="T31" fmla="*/ 1 h 202"/>
                <a:gd name="T32" fmla="*/ 1 w 182"/>
                <a:gd name="T33" fmla="*/ 1 h 202"/>
                <a:gd name="T34" fmla="*/ 1 w 182"/>
                <a:gd name="T35" fmla="*/ 1 h 202"/>
                <a:gd name="T36" fmla="*/ 1 w 182"/>
                <a:gd name="T37" fmla="*/ 1 h 202"/>
                <a:gd name="T38" fmla="*/ 1 w 182"/>
                <a:gd name="T39" fmla="*/ 1 h 202"/>
                <a:gd name="T40" fmla="*/ 1 w 182"/>
                <a:gd name="T41" fmla="*/ 1 h 202"/>
                <a:gd name="T42" fmla="*/ 1 w 182"/>
                <a:gd name="T43" fmla="*/ 1 h 202"/>
                <a:gd name="T44" fmla="*/ 1 w 182"/>
                <a:gd name="T45" fmla="*/ 1 h 202"/>
                <a:gd name="T46" fmla="*/ 1 w 182"/>
                <a:gd name="T47" fmla="*/ 1 h 202"/>
                <a:gd name="T48" fmla="*/ 1 w 182"/>
                <a:gd name="T49" fmla="*/ 1 h 202"/>
                <a:gd name="T50" fmla="*/ 1 w 182"/>
                <a:gd name="T51" fmla="*/ 1 h 202"/>
                <a:gd name="T52" fmla="*/ 1 w 182"/>
                <a:gd name="T53" fmla="*/ 1 h 202"/>
                <a:gd name="T54" fmla="*/ 1 w 182"/>
                <a:gd name="T55" fmla="*/ 0 h 202"/>
                <a:gd name="T56" fmla="*/ 1 w 182"/>
                <a:gd name="T57" fmla="*/ 1 h 202"/>
                <a:gd name="T58" fmla="*/ 1 w 182"/>
                <a:gd name="T59" fmla="*/ 1 h 202"/>
                <a:gd name="T60" fmla="*/ 1 w 182"/>
                <a:gd name="T61" fmla="*/ 1 h 20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82"/>
                <a:gd name="T94" fmla="*/ 0 h 202"/>
                <a:gd name="T95" fmla="*/ 182 w 182"/>
                <a:gd name="T96" fmla="*/ 202 h 20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82" h="202">
                  <a:moveTo>
                    <a:pt x="10" y="18"/>
                  </a:moveTo>
                  <a:lnTo>
                    <a:pt x="6" y="46"/>
                  </a:lnTo>
                  <a:lnTo>
                    <a:pt x="0" y="72"/>
                  </a:lnTo>
                  <a:lnTo>
                    <a:pt x="21" y="92"/>
                  </a:lnTo>
                  <a:lnTo>
                    <a:pt x="43" y="113"/>
                  </a:lnTo>
                  <a:lnTo>
                    <a:pt x="61" y="120"/>
                  </a:lnTo>
                  <a:lnTo>
                    <a:pt x="79" y="128"/>
                  </a:lnTo>
                  <a:lnTo>
                    <a:pt x="98" y="140"/>
                  </a:lnTo>
                  <a:lnTo>
                    <a:pt x="117" y="151"/>
                  </a:lnTo>
                  <a:lnTo>
                    <a:pt x="109" y="175"/>
                  </a:lnTo>
                  <a:lnTo>
                    <a:pt x="101" y="198"/>
                  </a:lnTo>
                  <a:lnTo>
                    <a:pt x="126" y="200"/>
                  </a:lnTo>
                  <a:lnTo>
                    <a:pt x="151" y="202"/>
                  </a:lnTo>
                  <a:lnTo>
                    <a:pt x="165" y="197"/>
                  </a:lnTo>
                  <a:lnTo>
                    <a:pt x="182" y="170"/>
                  </a:lnTo>
                  <a:lnTo>
                    <a:pt x="181" y="155"/>
                  </a:lnTo>
                  <a:lnTo>
                    <a:pt x="181" y="134"/>
                  </a:lnTo>
                  <a:lnTo>
                    <a:pt x="182" y="115"/>
                  </a:lnTo>
                  <a:lnTo>
                    <a:pt x="170" y="114"/>
                  </a:lnTo>
                  <a:lnTo>
                    <a:pt x="159" y="114"/>
                  </a:lnTo>
                  <a:lnTo>
                    <a:pt x="152" y="94"/>
                  </a:lnTo>
                  <a:lnTo>
                    <a:pt x="146" y="73"/>
                  </a:lnTo>
                  <a:lnTo>
                    <a:pt x="131" y="71"/>
                  </a:lnTo>
                  <a:lnTo>
                    <a:pt x="99" y="66"/>
                  </a:lnTo>
                  <a:lnTo>
                    <a:pt x="96" y="31"/>
                  </a:lnTo>
                  <a:lnTo>
                    <a:pt x="91" y="20"/>
                  </a:lnTo>
                  <a:lnTo>
                    <a:pt x="92" y="17"/>
                  </a:lnTo>
                  <a:lnTo>
                    <a:pt x="69" y="0"/>
                  </a:lnTo>
                  <a:lnTo>
                    <a:pt x="42" y="4"/>
                  </a:lnTo>
                  <a:lnTo>
                    <a:pt x="13" y="7"/>
                  </a:lnTo>
                  <a:lnTo>
                    <a:pt x="10" y="1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95" name="Freeform 123"/>
            <p:cNvSpPr>
              <a:spLocks/>
            </p:cNvSpPr>
            <p:nvPr/>
          </p:nvSpPr>
          <p:spPr bwMode="auto">
            <a:xfrm>
              <a:off x="2711" y="2085"/>
              <a:ext cx="5" cy="5"/>
            </a:xfrm>
            <a:custGeom>
              <a:avLst/>
              <a:gdLst>
                <a:gd name="T0" fmla="*/ 1 w 7"/>
                <a:gd name="T1" fmla="*/ 1 h 9"/>
                <a:gd name="T2" fmla="*/ 1 w 7"/>
                <a:gd name="T3" fmla="*/ 1 h 9"/>
                <a:gd name="T4" fmla="*/ 0 w 7"/>
                <a:gd name="T5" fmla="*/ 1 h 9"/>
                <a:gd name="T6" fmla="*/ 1 w 7"/>
                <a:gd name="T7" fmla="*/ 0 h 9"/>
                <a:gd name="T8" fmla="*/ 1 w 7"/>
                <a:gd name="T9" fmla="*/ 1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9"/>
                <a:gd name="T17" fmla="*/ 7 w 7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9">
                  <a:moveTo>
                    <a:pt x="7" y="3"/>
                  </a:moveTo>
                  <a:lnTo>
                    <a:pt x="2" y="9"/>
                  </a:lnTo>
                  <a:lnTo>
                    <a:pt x="0" y="5"/>
                  </a:lnTo>
                  <a:lnTo>
                    <a:pt x="3" y="0"/>
                  </a:lnTo>
                  <a:lnTo>
                    <a:pt x="7" y="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96" name="Freeform 124"/>
            <p:cNvSpPr>
              <a:spLocks/>
            </p:cNvSpPr>
            <p:nvPr/>
          </p:nvSpPr>
          <p:spPr bwMode="auto">
            <a:xfrm>
              <a:off x="2726" y="2062"/>
              <a:ext cx="2" cy="3"/>
            </a:xfrm>
            <a:custGeom>
              <a:avLst/>
              <a:gdLst>
                <a:gd name="T0" fmla="*/ 0 w 1"/>
                <a:gd name="T1" fmla="*/ 2 h 4"/>
                <a:gd name="T2" fmla="*/ 0 w 1"/>
                <a:gd name="T3" fmla="*/ 1 h 4"/>
                <a:gd name="T4" fmla="*/ 16384 w 1"/>
                <a:gd name="T5" fmla="*/ 0 h 4"/>
                <a:gd name="T6" fmla="*/ 0 w 1"/>
                <a:gd name="T7" fmla="*/ 2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4"/>
                <a:gd name="T14" fmla="*/ 1 w 1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4">
                  <a:moveTo>
                    <a:pt x="0" y="4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0" y="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97" name="Freeform 125"/>
            <p:cNvSpPr>
              <a:spLocks/>
            </p:cNvSpPr>
            <p:nvPr/>
          </p:nvSpPr>
          <p:spPr bwMode="auto">
            <a:xfrm>
              <a:off x="3065" y="2110"/>
              <a:ext cx="167" cy="186"/>
            </a:xfrm>
            <a:custGeom>
              <a:avLst/>
              <a:gdLst>
                <a:gd name="T0" fmla="*/ 1 w 237"/>
                <a:gd name="T1" fmla="*/ 1 h 264"/>
                <a:gd name="T2" fmla="*/ 1 w 237"/>
                <a:gd name="T3" fmla="*/ 1 h 264"/>
                <a:gd name="T4" fmla="*/ 1 w 237"/>
                <a:gd name="T5" fmla="*/ 1 h 264"/>
                <a:gd name="T6" fmla="*/ 1 w 237"/>
                <a:gd name="T7" fmla="*/ 1 h 264"/>
                <a:gd name="T8" fmla="*/ 1 w 237"/>
                <a:gd name="T9" fmla="*/ 1 h 264"/>
                <a:gd name="T10" fmla="*/ 1 w 237"/>
                <a:gd name="T11" fmla="*/ 0 h 264"/>
                <a:gd name="T12" fmla="*/ 1 w 237"/>
                <a:gd name="T13" fmla="*/ 0 h 264"/>
                <a:gd name="T14" fmla="*/ 1 w 237"/>
                <a:gd name="T15" fmla="*/ 0 h 264"/>
                <a:gd name="T16" fmla="*/ 1 w 237"/>
                <a:gd name="T17" fmla="*/ 1 h 264"/>
                <a:gd name="T18" fmla="*/ 1 w 237"/>
                <a:gd name="T19" fmla="*/ 1 h 264"/>
                <a:gd name="T20" fmla="*/ 1 w 237"/>
                <a:gd name="T21" fmla="*/ 1 h 264"/>
                <a:gd name="T22" fmla="*/ 1 w 237"/>
                <a:gd name="T23" fmla="*/ 1 h 264"/>
                <a:gd name="T24" fmla="*/ 1 w 237"/>
                <a:gd name="T25" fmla="*/ 1 h 264"/>
                <a:gd name="T26" fmla="*/ 1 w 237"/>
                <a:gd name="T27" fmla="*/ 1 h 264"/>
                <a:gd name="T28" fmla="*/ 1 w 237"/>
                <a:gd name="T29" fmla="*/ 1 h 264"/>
                <a:gd name="T30" fmla="*/ 1 w 237"/>
                <a:gd name="T31" fmla="*/ 1 h 264"/>
                <a:gd name="T32" fmla="*/ 0 w 237"/>
                <a:gd name="T33" fmla="*/ 1 h 264"/>
                <a:gd name="T34" fmla="*/ 1 w 237"/>
                <a:gd name="T35" fmla="*/ 1 h 264"/>
                <a:gd name="T36" fmla="*/ 1 w 237"/>
                <a:gd name="T37" fmla="*/ 1 h 264"/>
                <a:gd name="T38" fmla="*/ 1 w 237"/>
                <a:gd name="T39" fmla="*/ 1 h 264"/>
                <a:gd name="T40" fmla="*/ 1 w 237"/>
                <a:gd name="T41" fmla="*/ 1 h 264"/>
                <a:gd name="T42" fmla="*/ 1 w 237"/>
                <a:gd name="T43" fmla="*/ 1 h 264"/>
                <a:gd name="T44" fmla="*/ 1 w 237"/>
                <a:gd name="T45" fmla="*/ 1 h 264"/>
                <a:gd name="T46" fmla="*/ 1 w 237"/>
                <a:gd name="T47" fmla="*/ 1 h 264"/>
                <a:gd name="T48" fmla="*/ 1 w 237"/>
                <a:gd name="T49" fmla="*/ 1 h 264"/>
                <a:gd name="T50" fmla="*/ 1 w 237"/>
                <a:gd name="T51" fmla="*/ 1 h 264"/>
                <a:gd name="T52" fmla="*/ 1 w 237"/>
                <a:gd name="T53" fmla="*/ 1 h 264"/>
                <a:gd name="T54" fmla="*/ 1 w 237"/>
                <a:gd name="T55" fmla="*/ 2 h 264"/>
                <a:gd name="T56" fmla="*/ 1 w 237"/>
                <a:gd name="T57" fmla="*/ 2 h 264"/>
                <a:gd name="T58" fmla="*/ 1 w 237"/>
                <a:gd name="T59" fmla="*/ 2 h 264"/>
                <a:gd name="T60" fmla="*/ 1 w 237"/>
                <a:gd name="T61" fmla="*/ 2 h 264"/>
                <a:gd name="T62" fmla="*/ 1 w 237"/>
                <a:gd name="T63" fmla="*/ 2 h 264"/>
                <a:gd name="T64" fmla="*/ 1 w 237"/>
                <a:gd name="T65" fmla="*/ 2 h 264"/>
                <a:gd name="T66" fmla="*/ 1 w 237"/>
                <a:gd name="T67" fmla="*/ 2 h 264"/>
                <a:gd name="T68" fmla="*/ 1 w 237"/>
                <a:gd name="T69" fmla="*/ 2 h 264"/>
                <a:gd name="T70" fmla="*/ 2 w 237"/>
                <a:gd name="T71" fmla="*/ 2 h 264"/>
                <a:gd name="T72" fmla="*/ 1 w 237"/>
                <a:gd name="T73" fmla="*/ 1 h 264"/>
                <a:gd name="T74" fmla="*/ 1 w 237"/>
                <a:gd name="T75" fmla="*/ 1 h 264"/>
                <a:gd name="T76" fmla="*/ 1 w 237"/>
                <a:gd name="T77" fmla="*/ 1 h 264"/>
                <a:gd name="T78" fmla="*/ 1 w 237"/>
                <a:gd name="T79" fmla="*/ 1 h 264"/>
                <a:gd name="T80" fmla="*/ 1 w 237"/>
                <a:gd name="T81" fmla="*/ 1 h 264"/>
                <a:gd name="T82" fmla="*/ 1 w 237"/>
                <a:gd name="T83" fmla="*/ 1 h 264"/>
                <a:gd name="T84" fmla="*/ 1 w 237"/>
                <a:gd name="T85" fmla="*/ 1 h 264"/>
                <a:gd name="T86" fmla="*/ 1 w 237"/>
                <a:gd name="T87" fmla="*/ 1 h 264"/>
                <a:gd name="T88" fmla="*/ 1 w 237"/>
                <a:gd name="T89" fmla="*/ 1 h 264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37"/>
                <a:gd name="T136" fmla="*/ 0 h 264"/>
                <a:gd name="T137" fmla="*/ 237 w 237"/>
                <a:gd name="T138" fmla="*/ 264 h 264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37" h="264">
                  <a:moveTo>
                    <a:pt x="181" y="58"/>
                  </a:moveTo>
                  <a:lnTo>
                    <a:pt x="180" y="49"/>
                  </a:lnTo>
                  <a:lnTo>
                    <a:pt x="159" y="37"/>
                  </a:lnTo>
                  <a:lnTo>
                    <a:pt x="139" y="24"/>
                  </a:lnTo>
                  <a:lnTo>
                    <a:pt x="118" y="12"/>
                  </a:lnTo>
                  <a:lnTo>
                    <a:pt x="99" y="0"/>
                  </a:lnTo>
                  <a:lnTo>
                    <a:pt x="80" y="0"/>
                  </a:lnTo>
                  <a:lnTo>
                    <a:pt x="61" y="0"/>
                  </a:lnTo>
                  <a:lnTo>
                    <a:pt x="43" y="1"/>
                  </a:lnTo>
                  <a:lnTo>
                    <a:pt x="24" y="1"/>
                  </a:lnTo>
                  <a:lnTo>
                    <a:pt x="31" y="33"/>
                  </a:lnTo>
                  <a:lnTo>
                    <a:pt x="25" y="35"/>
                  </a:lnTo>
                  <a:lnTo>
                    <a:pt x="25" y="47"/>
                  </a:lnTo>
                  <a:lnTo>
                    <a:pt x="31" y="55"/>
                  </a:lnTo>
                  <a:lnTo>
                    <a:pt x="18" y="70"/>
                  </a:lnTo>
                  <a:lnTo>
                    <a:pt x="4" y="85"/>
                  </a:lnTo>
                  <a:lnTo>
                    <a:pt x="0" y="85"/>
                  </a:lnTo>
                  <a:lnTo>
                    <a:pt x="1" y="103"/>
                  </a:lnTo>
                  <a:lnTo>
                    <a:pt x="1" y="121"/>
                  </a:lnTo>
                  <a:lnTo>
                    <a:pt x="9" y="143"/>
                  </a:lnTo>
                  <a:lnTo>
                    <a:pt x="19" y="160"/>
                  </a:lnTo>
                  <a:lnTo>
                    <a:pt x="27" y="178"/>
                  </a:lnTo>
                  <a:lnTo>
                    <a:pt x="28" y="183"/>
                  </a:lnTo>
                  <a:lnTo>
                    <a:pt x="51" y="196"/>
                  </a:lnTo>
                  <a:lnTo>
                    <a:pt x="74" y="208"/>
                  </a:lnTo>
                  <a:lnTo>
                    <a:pt x="97" y="211"/>
                  </a:lnTo>
                  <a:lnTo>
                    <a:pt x="105" y="216"/>
                  </a:lnTo>
                  <a:lnTo>
                    <a:pt x="111" y="243"/>
                  </a:lnTo>
                  <a:lnTo>
                    <a:pt x="117" y="262"/>
                  </a:lnTo>
                  <a:lnTo>
                    <a:pt x="127" y="262"/>
                  </a:lnTo>
                  <a:lnTo>
                    <a:pt x="139" y="261"/>
                  </a:lnTo>
                  <a:lnTo>
                    <a:pt x="164" y="264"/>
                  </a:lnTo>
                  <a:lnTo>
                    <a:pt x="180" y="258"/>
                  </a:lnTo>
                  <a:lnTo>
                    <a:pt x="192" y="257"/>
                  </a:lnTo>
                  <a:lnTo>
                    <a:pt x="214" y="246"/>
                  </a:lnTo>
                  <a:lnTo>
                    <a:pt x="237" y="235"/>
                  </a:lnTo>
                  <a:lnTo>
                    <a:pt x="223" y="220"/>
                  </a:lnTo>
                  <a:lnTo>
                    <a:pt x="218" y="196"/>
                  </a:lnTo>
                  <a:lnTo>
                    <a:pt x="216" y="177"/>
                  </a:lnTo>
                  <a:lnTo>
                    <a:pt x="214" y="169"/>
                  </a:lnTo>
                  <a:lnTo>
                    <a:pt x="218" y="145"/>
                  </a:lnTo>
                  <a:lnTo>
                    <a:pt x="204" y="124"/>
                  </a:lnTo>
                  <a:lnTo>
                    <a:pt x="213" y="91"/>
                  </a:lnTo>
                  <a:lnTo>
                    <a:pt x="198" y="75"/>
                  </a:lnTo>
                  <a:lnTo>
                    <a:pt x="181" y="5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98" name="Freeform 126"/>
            <p:cNvSpPr>
              <a:spLocks/>
            </p:cNvSpPr>
            <p:nvPr/>
          </p:nvSpPr>
          <p:spPr bwMode="auto">
            <a:xfrm>
              <a:off x="3068" y="2019"/>
              <a:ext cx="83" cy="97"/>
            </a:xfrm>
            <a:custGeom>
              <a:avLst/>
              <a:gdLst>
                <a:gd name="T0" fmla="*/ 1 w 118"/>
                <a:gd name="T1" fmla="*/ 1 h 139"/>
                <a:gd name="T2" fmla="*/ 1 w 118"/>
                <a:gd name="T3" fmla="*/ 0 h 139"/>
                <a:gd name="T4" fmla="*/ 1 w 118"/>
                <a:gd name="T5" fmla="*/ 1 h 139"/>
                <a:gd name="T6" fmla="*/ 1 w 118"/>
                <a:gd name="T7" fmla="*/ 1 h 139"/>
                <a:gd name="T8" fmla="*/ 1 w 118"/>
                <a:gd name="T9" fmla="*/ 1 h 139"/>
                <a:gd name="T10" fmla="*/ 1 w 118"/>
                <a:gd name="T11" fmla="*/ 1 h 139"/>
                <a:gd name="T12" fmla="*/ 1 w 118"/>
                <a:gd name="T13" fmla="*/ 1 h 139"/>
                <a:gd name="T14" fmla="*/ 1 w 118"/>
                <a:gd name="T15" fmla="*/ 1 h 139"/>
                <a:gd name="T16" fmla="*/ 1 w 118"/>
                <a:gd name="T17" fmla="*/ 1 h 139"/>
                <a:gd name="T18" fmla="*/ 1 w 118"/>
                <a:gd name="T19" fmla="*/ 1 h 139"/>
                <a:gd name="T20" fmla="*/ 1 w 118"/>
                <a:gd name="T21" fmla="*/ 1 h 139"/>
                <a:gd name="T22" fmla="*/ 1 w 118"/>
                <a:gd name="T23" fmla="*/ 1 h 139"/>
                <a:gd name="T24" fmla="*/ 1 w 118"/>
                <a:gd name="T25" fmla="*/ 1 h 139"/>
                <a:gd name="T26" fmla="*/ 0 w 118"/>
                <a:gd name="T27" fmla="*/ 1 h 139"/>
                <a:gd name="T28" fmla="*/ 1 w 118"/>
                <a:gd name="T29" fmla="*/ 1 h 139"/>
                <a:gd name="T30" fmla="*/ 1 w 118"/>
                <a:gd name="T31" fmla="*/ 1 h 139"/>
                <a:gd name="T32" fmla="*/ 1 w 118"/>
                <a:gd name="T33" fmla="*/ 1 h 139"/>
                <a:gd name="T34" fmla="*/ 1 w 118"/>
                <a:gd name="T35" fmla="*/ 1 h 139"/>
                <a:gd name="T36" fmla="*/ 1 w 118"/>
                <a:gd name="T37" fmla="*/ 1 h 139"/>
                <a:gd name="T38" fmla="*/ 1 w 118"/>
                <a:gd name="T39" fmla="*/ 1 h 139"/>
                <a:gd name="T40" fmla="*/ 1 w 118"/>
                <a:gd name="T41" fmla="*/ 1 h 139"/>
                <a:gd name="T42" fmla="*/ 1 w 118"/>
                <a:gd name="T43" fmla="*/ 1 h 139"/>
                <a:gd name="T44" fmla="*/ 1 w 118"/>
                <a:gd name="T45" fmla="*/ 1 h 139"/>
                <a:gd name="T46" fmla="*/ 1 w 118"/>
                <a:gd name="T47" fmla="*/ 1 h 139"/>
                <a:gd name="T48" fmla="*/ 1 w 118"/>
                <a:gd name="T49" fmla="*/ 1 h 13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18"/>
                <a:gd name="T76" fmla="*/ 0 h 139"/>
                <a:gd name="T77" fmla="*/ 118 w 118"/>
                <a:gd name="T78" fmla="*/ 139 h 13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18" h="139">
                  <a:moveTo>
                    <a:pt x="105" y="19"/>
                  </a:moveTo>
                  <a:lnTo>
                    <a:pt x="96" y="0"/>
                  </a:lnTo>
                  <a:lnTo>
                    <a:pt x="86" y="10"/>
                  </a:lnTo>
                  <a:lnTo>
                    <a:pt x="60" y="10"/>
                  </a:lnTo>
                  <a:lnTo>
                    <a:pt x="51" y="15"/>
                  </a:lnTo>
                  <a:lnTo>
                    <a:pt x="46" y="12"/>
                  </a:lnTo>
                  <a:lnTo>
                    <a:pt x="29" y="13"/>
                  </a:lnTo>
                  <a:lnTo>
                    <a:pt x="28" y="18"/>
                  </a:lnTo>
                  <a:lnTo>
                    <a:pt x="26" y="39"/>
                  </a:lnTo>
                  <a:lnTo>
                    <a:pt x="38" y="50"/>
                  </a:lnTo>
                  <a:lnTo>
                    <a:pt x="23" y="67"/>
                  </a:lnTo>
                  <a:lnTo>
                    <a:pt x="9" y="82"/>
                  </a:lnTo>
                  <a:lnTo>
                    <a:pt x="5" y="110"/>
                  </a:lnTo>
                  <a:lnTo>
                    <a:pt x="0" y="139"/>
                  </a:lnTo>
                  <a:lnTo>
                    <a:pt x="6" y="139"/>
                  </a:lnTo>
                  <a:lnTo>
                    <a:pt x="20" y="130"/>
                  </a:lnTo>
                  <a:lnTo>
                    <a:pt x="39" y="130"/>
                  </a:lnTo>
                  <a:lnTo>
                    <a:pt x="57" y="129"/>
                  </a:lnTo>
                  <a:lnTo>
                    <a:pt x="76" y="129"/>
                  </a:lnTo>
                  <a:lnTo>
                    <a:pt x="95" y="129"/>
                  </a:lnTo>
                  <a:lnTo>
                    <a:pt x="94" y="102"/>
                  </a:lnTo>
                  <a:lnTo>
                    <a:pt x="110" y="76"/>
                  </a:lnTo>
                  <a:lnTo>
                    <a:pt x="118" y="57"/>
                  </a:lnTo>
                  <a:lnTo>
                    <a:pt x="112" y="38"/>
                  </a:lnTo>
                  <a:lnTo>
                    <a:pt x="105" y="19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99" name="Freeform 127"/>
            <p:cNvSpPr>
              <a:spLocks/>
            </p:cNvSpPr>
            <p:nvPr/>
          </p:nvSpPr>
          <p:spPr bwMode="auto">
            <a:xfrm>
              <a:off x="2799" y="2000"/>
              <a:ext cx="296" cy="327"/>
            </a:xfrm>
            <a:custGeom>
              <a:avLst/>
              <a:gdLst>
                <a:gd name="T0" fmla="*/ 3 w 419"/>
                <a:gd name="T1" fmla="*/ 1 h 465"/>
                <a:gd name="T2" fmla="*/ 3 w 419"/>
                <a:gd name="T3" fmla="*/ 1 h 465"/>
                <a:gd name="T4" fmla="*/ 3 w 419"/>
                <a:gd name="T5" fmla="*/ 1 h 465"/>
                <a:gd name="T6" fmla="*/ 3 w 419"/>
                <a:gd name="T7" fmla="*/ 2 h 465"/>
                <a:gd name="T8" fmla="*/ 3 w 419"/>
                <a:gd name="T9" fmla="*/ 2 h 465"/>
                <a:gd name="T10" fmla="*/ 3 w 419"/>
                <a:gd name="T11" fmla="*/ 2 h 465"/>
                <a:gd name="T12" fmla="*/ 3 w 419"/>
                <a:gd name="T13" fmla="*/ 3 h 465"/>
                <a:gd name="T14" fmla="*/ 3 w 419"/>
                <a:gd name="T15" fmla="*/ 3 h 465"/>
                <a:gd name="T16" fmla="*/ 3 w 419"/>
                <a:gd name="T17" fmla="*/ 3 h 465"/>
                <a:gd name="T18" fmla="*/ 3 w 419"/>
                <a:gd name="T19" fmla="*/ 3 h 465"/>
                <a:gd name="T20" fmla="*/ 3 w 419"/>
                <a:gd name="T21" fmla="*/ 3 h 465"/>
                <a:gd name="T22" fmla="*/ 3 w 419"/>
                <a:gd name="T23" fmla="*/ 3 h 465"/>
                <a:gd name="T24" fmla="*/ 3 w 419"/>
                <a:gd name="T25" fmla="*/ 3 h 465"/>
                <a:gd name="T26" fmla="*/ 3 w 419"/>
                <a:gd name="T27" fmla="*/ 3 h 465"/>
                <a:gd name="T28" fmla="*/ 2 w 419"/>
                <a:gd name="T29" fmla="*/ 3 h 465"/>
                <a:gd name="T30" fmla="*/ 2 w 419"/>
                <a:gd name="T31" fmla="*/ 3 h 465"/>
                <a:gd name="T32" fmla="*/ 1 w 419"/>
                <a:gd name="T33" fmla="*/ 3 h 465"/>
                <a:gd name="T34" fmla="*/ 1 w 419"/>
                <a:gd name="T35" fmla="*/ 3 h 465"/>
                <a:gd name="T36" fmla="*/ 1 w 419"/>
                <a:gd name="T37" fmla="*/ 2 h 465"/>
                <a:gd name="T38" fmla="*/ 1 w 419"/>
                <a:gd name="T39" fmla="*/ 2 h 465"/>
                <a:gd name="T40" fmla="*/ 1 w 419"/>
                <a:gd name="T41" fmla="*/ 2 h 465"/>
                <a:gd name="T42" fmla="*/ 1 w 419"/>
                <a:gd name="T43" fmla="*/ 2 h 465"/>
                <a:gd name="T44" fmla="*/ 1 w 419"/>
                <a:gd name="T45" fmla="*/ 2 h 465"/>
                <a:gd name="T46" fmla="*/ 1 w 419"/>
                <a:gd name="T47" fmla="*/ 2 h 465"/>
                <a:gd name="T48" fmla="*/ 1 w 419"/>
                <a:gd name="T49" fmla="*/ 2 h 465"/>
                <a:gd name="T50" fmla="*/ 0 w 419"/>
                <a:gd name="T51" fmla="*/ 2 h 465"/>
                <a:gd name="T52" fmla="*/ 1 w 419"/>
                <a:gd name="T53" fmla="*/ 2 h 465"/>
                <a:gd name="T54" fmla="*/ 1 w 419"/>
                <a:gd name="T55" fmla="*/ 2 h 465"/>
                <a:gd name="T56" fmla="*/ 1 w 419"/>
                <a:gd name="T57" fmla="*/ 2 h 465"/>
                <a:gd name="T58" fmla="*/ 1 w 419"/>
                <a:gd name="T59" fmla="*/ 2 h 465"/>
                <a:gd name="T60" fmla="*/ 1 w 419"/>
                <a:gd name="T61" fmla="*/ 1 h 465"/>
                <a:gd name="T62" fmla="*/ 1 w 419"/>
                <a:gd name="T63" fmla="*/ 1 h 465"/>
                <a:gd name="T64" fmla="*/ 1 w 419"/>
                <a:gd name="T65" fmla="*/ 1 h 465"/>
                <a:gd name="T66" fmla="*/ 1 w 419"/>
                <a:gd name="T67" fmla="*/ 1 h 465"/>
                <a:gd name="T68" fmla="*/ 1 w 419"/>
                <a:gd name="T69" fmla="*/ 1 h 465"/>
                <a:gd name="T70" fmla="*/ 1 w 419"/>
                <a:gd name="T71" fmla="*/ 1 h 465"/>
                <a:gd name="T72" fmla="*/ 1 w 419"/>
                <a:gd name="T73" fmla="*/ 1 h 465"/>
                <a:gd name="T74" fmla="*/ 2 w 419"/>
                <a:gd name="T75" fmla="*/ 1 h 465"/>
                <a:gd name="T76" fmla="*/ 2 w 419"/>
                <a:gd name="T77" fmla="*/ 1 h 465"/>
                <a:gd name="T78" fmla="*/ 2 w 419"/>
                <a:gd name="T79" fmla="*/ 0 h 465"/>
                <a:gd name="T80" fmla="*/ 3 w 419"/>
                <a:gd name="T81" fmla="*/ 1 h 465"/>
                <a:gd name="T82" fmla="*/ 3 w 419"/>
                <a:gd name="T83" fmla="*/ 1 h 465"/>
                <a:gd name="T84" fmla="*/ 3 w 419"/>
                <a:gd name="T85" fmla="*/ 1 h 465"/>
                <a:gd name="T86" fmla="*/ 3 w 419"/>
                <a:gd name="T87" fmla="*/ 1 h 465"/>
                <a:gd name="T88" fmla="*/ 3 w 419"/>
                <a:gd name="T89" fmla="*/ 1 h 465"/>
                <a:gd name="T90" fmla="*/ 3 w 419"/>
                <a:gd name="T91" fmla="*/ 1 h 465"/>
                <a:gd name="T92" fmla="*/ 3 w 419"/>
                <a:gd name="T93" fmla="*/ 1 h 46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19"/>
                <a:gd name="T142" fmla="*/ 0 h 465"/>
                <a:gd name="T143" fmla="*/ 419 w 419"/>
                <a:gd name="T144" fmla="*/ 465 h 465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19" h="465">
                  <a:moveTo>
                    <a:pt x="381" y="166"/>
                  </a:moveTo>
                  <a:lnTo>
                    <a:pt x="372" y="183"/>
                  </a:lnTo>
                  <a:lnTo>
                    <a:pt x="366" y="198"/>
                  </a:lnTo>
                  <a:lnTo>
                    <a:pt x="367" y="198"/>
                  </a:lnTo>
                  <a:lnTo>
                    <a:pt x="368" y="199"/>
                  </a:lnTo>
                  <a:lnTo>
                    <a:pt x="368" y="201"/>
                  </a:lnTo>
                  <a:lnTo>
                    <a:pt x="373" y="221"/>
                  </a:lnTo>
                  <a:lnTo>
                    <a:pt x="377" y="241"/>
                  </a:lnTo>
                  <a:lnTo>
                    <a:pt x="378" y="259"/>
                  </a:lnTo>
                  <a:lnTo>
                    <a:pt x="378" y="277"/>
                  </a:lnTo>
                  <a:lnTo>
                    <a:pt x="386" y="299"/>
                  </a:lnTo>
                  <a:lnTo>
                    <a:pt x="396" y="316"/>
                  </a:lnTo>
                  <a:lnTo>
                    <a:pt x="404" y="334"/>
                  </a:lnTo>
                  <a:lnTo>
                    <a:pt x="385" y="339"/>
                  </a:lnTo>
                  <a:lnTo>
                    <a:pt x="365" y="343"/>
                  </a:lnTo>
                  <a:lnTo>
                    <a:pt x="353" y="361"/>
                  </a:lnTo>
                  <a:lnTo>
                    <a:pt x="356" y="383"/>
                  </a:lnTo>
                  <a:lnTo>
                    <a:pt x="355" y="405"/>
                  </a:lnTo>
                  <a:lnTo>
                    <a:pt x="353" y="425"/>
                  </a:lnTo>
                  <a:lnTo>
                    <a:pt x="374" y="441"/>
                  </a:lnTo>
                  <a:lnTo>
                    <a:pt x="381" y="432"/>
                  </a:lnTo>
                  <a:lnTo>
                    <a:pt x="377" y="465"/>
                  </a:lnTo>
                  <a:lnTo>
                    <a:pt x="372" y="462"/>
                  </a:lnTo>
                  <a:lnTo>
                    <a:pt x="362" y="462"/>
                  </a:lnTo>
                  <a:lnTo>
                    <a:pt x="344" y="438"/>
                  </a:lnTo>
                  <a:lnTo>
                    <a:pt x="331" y="429"/>
                  </a:lnTo>
                  <a:lnTo>
                    <a:pt x="321" y="419"/>
                  </a:lnTo>
                  <a:lnTo>
                    <a:pt x="313" y="429"/>
                  </a:lnTo>
                  <a:lnTo>
                    <a:pt x="284" y="418"/>
                  </a:lnTo>
                  <a:lnTo>
                    <a:pt x="281" y="411"/>
                  </a:lnTo>
                  <a:lnTo>
                    <a:pt x="264" y="413"/>
                  </a:lnTo>
                  <a:lnTo>
                    <a:pt x="255" y="401"/>
                  </a:lnTo>
                  <a:lnTo>
                    <a:pt x="237" y="405"/>
                  </a:lnTo>
                  <a:lnTo>
                    <a:pt x="219" y="408"/>
                  </a:lnTo>
                  <a:lnTo>
                    <a:pt x="218" y="399"/>
                  </a:lnTo>
                  <a:lnTo>
                    <a:pt x="211" y="373"/>
                  </a:lnTo>
                  <a:lnTo>
                    <a:pt x="211" y="345"/>
                  </a:lnTo>
                  <a:lnTo>
                    <a:pt x="210" y="316"/>
                  </a:lnTo>
                  <a:lnTo>
                    <a:pt x="181" y="312"/>
                  </a:lnTo>
                  <a:lnTo>
                    <a:pt x="182" y="306"/>
                  </a:lnTo>
                  <a:lnTo>
                    <a:pt x="159" y="305"/>
                  </a:lnTo>
                  <a:lnTo>
                    <a:pt x="155" y="327"/>
                  </a:lnTo>
                  <a:lnTo>
                    <a:pt x="128" y="333"/>
                  </a:lnTo>
                  <a:lnTo>
                    <a:pt x="112" y="327"/>
                  </a:lnTo>
                  <a:lnTo>
                    <a:pt x="104" y="303"/>
                  </a:lnTo>
                  <a:lnTo>
                    <a:pt x="96" y="280"/>
                  </a:lnTo>
                  <a:lnTo>
                    <a:pt x="76" y="279"/>
                  </a:lnTo>
                  <a:lnTo>
                    <a:pt x="58" y="279"/>
                  </a:lnTo>
                  <a:lnTo>
                    <a:pt x="39" y="277"/>
                  </a:lnTo>
                  <a:lnTo>
                    <a:pt x="20" y="276"/>
                  </a:lnTo>
                  <a:lnTo>
                    <a:pt x="3" y="279"/>
                  </a:lnTo>
                  <a:lnTo>
                    <a:pt x="0" y="275"/>
                  </a:lnTo>
                  <a:lnTo>
                    <a:pt x="7" y="273"/>
                  </a:lnTo>
                  <a:lnTo>
                    <a:pt x="8" y="253"/>
                  </a:lnTo>
                  <a:lnTo>
                    <a:pt x="19" y="246"/>
                  </a:lnTo>
                  <a:lnTo>
                    <a:pt x="30" y="250"/>
                  </a:lnTo>
                  <a:lnTo>
                    <a:pt x="36" y="243"/>
                  </a:lnTo>
                  <a:lnTo>
                    <a:pt x="49" y="241"/>
                  </a:lnTo>
                  <a:lnTo>
                    <a:pt x="51" y="252"/>
                  </a:lnTo>
                  <a:lnTo>
                    <a:pt x="68" y="235"/>
                  </a:lnTo>
                  <a:lnTo>
                    <a:pt x="85" y="220"/>
                  </a:lnTo>
                  <a:lnTo>
                    <a:pt x="87" y="201"/>
                  </a:lnTo>
                  <a:lnTo>
                    <a:pt x="91" y="181"/>
                  </a:lnTo>
                  <a:lnTo>
                    <a:pt x="106" y="161"/>
                  </a:lnTo>
                  <a:lnTo>
                    <a:pt x="121" y="141"/>
                  </a:lnTo>
                  <a:lnTo>
                    <a:pt x="124" y="121"/>
                  </a:lnTo>
                  <a:lnTo>
                    <a:pt x="128" y="103"/>
                  </a:lnTo>
                  <a:lnTo>
                    <a:pt x="130" y="84"/>
                  </a:lnTo>
                  <a:lnTo>
                    <a:pt x="134" y="66"/>
                  </a:lnTo>
                  <a:lnTo>
                    <a:pt x="140" y="45"/>
                  </a:lnTo>
                  <a:lnTo>
                    <a:pt x="139" y="25"/>
                  </a:lnTo>
                  <a:lnTo>
                    <a:pt x="157" y="4"/>
                  </a:lnTo>
                  <a:lnTo>
                    <a:pt x="180" y="17"/>
                  </a:lnTo>
                  <a:lnTo>
                    <a:pt x="200" y="23"/>
                  </a:lnTo>
                  <a:lnTo>
                    <a:pt x="222" y="29"/>
                  </a:lnTo>
                  <a:lnTo>
                    <a:pt x="231" y="13"/>
                  </a:lnTo>
                  <a:lnTo>
                    <a:pt x="241" y="15"/>
                  </a:lnTo>
                  <a:lnTo>
                    <a:pt x="264" y="7"/>
                  </a:lnTo>
                  <a:lnTo>
                    <a:pt x="279" y="7"/>
                  </a:lnTo>
                  <a:lnTo>
                    <a:pt x="288" y="0"/>
                  </a:lnTo>
                  <a:lnTo>
                    <a:pt x="305" y="1"/>
                  </a:lnTo>
                  <a:lnTo>
                    <a:pt x="321" y="4"/>
                  </a:lnTo>
                  <a:lnTo>
                    <a:pt x="333" y="6"/>
                  </a:lnTo>
                  <a:lnTo>
                    <a:pt x="339" y="12"/>
                  </a:lnTo>
                  <a:lnTo>
                    <a:pt x="356" y="23"/>
                  </a:lnTo>
                  <a:lnTo>
                    <a:pt x="369" y="21"/>
                  </a:lnTo>
                  <a:lnTo>
                    <a:pt x="378" y="15"/>
                  </a:lnTo>
                  <a:lnTo>
                    <a:pt x="393" y="30"/>
                  </a:lnTo>
                  <a:lnTo>
                    <a:pt x="409" y="45"/>
                  </a:lnTo>
                  <a:lnTo>
                    <a:pt x="407" y="66"/>
                  </a:lnTo>
                  <a:lnTo>
                    <a:pt x="419" y="77"/>
                  </a:lnTo>
                  <a:lnTo>
                    <a:pt x="404" y="94"/>
                  </a:lnTo>
                  <a:lnTo>
                    <a:pt x="390" y="109"/>
                  </a:lnTo>
                  <a:lnTo>
                    <a:pt x="386" y="137"/>
                  </a:lnTo>
                  <a:lnTo>
                    <a:pt x="381" y="166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300" name="Freeform 128"/>
            <p:cNvSpPr>
              <a:spLocks/>
            </p:cNvSpPr>
            <p:nvPr/>
          </p:nvSpPr>
          <p:spPr bwMode="auto">
            <a:xfrm>
              <a:off x="2947" y="2234"/>
              <a:ext cx="181" cy="173"/>
            </a:xfrm>
            <a:custGeom>
              <a:avLst/>
              <a:gdLst>
                <a:gd name="T0" fmla="*/ 1 w 258"/>
                <a:gd name="T1" fmla="*/ 1 h 246"/>
                <a:gd name="T2" fmla="*/ 1 w 258"/>
                <a:gd name="T3" fmla="*/ 1 h 246"/>
                <a:gd name="T4" fmla="*/ 1 w 258"/>
                <a:gd name="T5" fmla="*/ 1 h 246"/>
                <a:gd name="T6" fmla="*/ 1 w 258"/>
                <a:gd name="T7" fmla="*/ 1 h 246"/>
                <a:gd name="T8" fmla="*/ 1 w 258"/>
                <a:gd name="T9" fmla="*/ 1 h 246"/>
                <a:gd name="T10" fmla="*/ 1 w 258"/>
                <a:gd name="T11" fmla="*/ 1 h 246"/>
                <a:gd name="T12" fmla="*/ 0 w 258"/>
                <a:gd name="T13" fmla="*/ 1 h 246"/>
                <a:gd name="T14" fmla="*/ 1 w 258"/>
                <a:gd name="T15" fmla="*/ 1 h 246"/>
                <a:gd name="T16" fmla="*/ 1 w 258"/>
                <a:gd name="T17" fmla="*/ 2 h 246"/>
                <a:gd name="T18" fmla="*/ 1 w 258"/>
                <a:gd name="T19" fmla="*/ 1 h 246"/>
                <a:gd name="T20" fmla="*/ 1 w 258"/>
                <a:gd name="T21" fmla="*/ 2 h 246"/>
                <a:gd name="T22" fmla="*/ 1 w 258"/>
                <a:gd name="T23" fmla="*/ 2 h 246"/>
                <a:gd name="T24" fmla="*/ 1 w 258"/>
                <a:gd name="T25" fmla="*/ 1 h 246"/>
                <a:gd name="T26" fmla="*/ 1 w 258"/>
                <a:gd name="T27" fmla="*/ 1 h 246"/>
                <a:gd name="T28" fmla="*/ 1 w 258"/>
                <a:gd name="T29" fmla="*/ 1 h 246"/>
                <a:gd name="T30" fmla="*/ 1 w 258"/>
                <a:gd name="T31" fmla="*/ 1 h 246"/>
                <a:gd name="T32" fmla="*/ 1 w 258"/>
                <a:gd name="T33" fmla="*/ 1 h 246"/>
                <a:gd name="T34" fmla="*/ 1 w 258"/>
                <a:gd name="T35" fmla="*/ 1 h 246"/>
                <a:gd name="T36" fmla="*/ 1 w 258"/>
                <a:gd name="T37" fmla="*/ 1 h 246"/>
                <a:gd name="T38" fmla="*/ 1 w 258"/>
                <a:gd name="T39" fmla="*/ 1 h 246"/>
                <a:gd name="T40" fmla="*/ 1 w 258"/>
                <a:gd name="T41" fmla="*/ 1 h 246"/>
                <a:gd name="T42" fmla="*/ 2 w 258"/>
                <a:gd name="T43" fmla="*/ 1 h 246"/>
                <a:gd name="T44" fmla="*/ 2 w 258"/>
                <a:gd name="T45" fmla="*/ 1 h 246"/>
                <a:gd name="T46" fmla="*/ 2 w 258"/>
                <a:gd name="T47" fmla="*/ 1 h 246"/>
                <a:gd name="T48" fmla="*/ 2 w 258"/>
                <a:gd name="T49" fmla="*/ 1 h 246"/>
                <a:gd name="T50" fmla="*/ 2 w 258"/>
                <a:gd name="T51" fmla="*/ 1 h 246"/>
                <a:gd name="T52" fmla="*/ 2 w 258"/>
                <a:gd name="T53" fmla="*/ 1 h 246"/>
                <a:gd name="T54" fmla="*/ 2 w 258"/>
                <a:gd name="T55" fmla="*/ 1 h 246"/>
                <a:gd name="T56" fmla="*/ 2 w 258"/>
                <a:gd name="T57" fmla="*/ 1 h 246"/>
                <a:gd name="T58" fmla="*/ 2 w 258"/>
                <a:gd name="T59" fmla="*/ 1 h 246"/>
                <a:gd name="T60" fmla="*/ 1 w 258"/>
                <a:gd name="T61" fmla="*/ 1 h 246"/>
                <a:gd name="T62" fmla="*/ 1 w 258"/>
                <a:gd name="T63" fmla="*/ 1 h 246"/>
                <a:gd name="T64" fmla="*/ 1 w 258"/>
                <a:gd name="T65" fmla="*/ 0 h 246"/>
                <a:gd name="T66" fmla="*/ 1 w 258"/>
                <a:gd name="T67" fmla="*/ 1 h 246"/>
                <a:gd name="T68" fmla="*/ 1 w 258"/>
                <a:gd name="T69" fmla="*/ 1 h 246"/>
                <a:gd name="T70" fmla="*/ 1 w 258"/>
                <a:gd name="T71" fmla="*/ 1 h 246"/>
                <a:gd name="T72" fmla="*/ 1 w 258"/>
                <a:gd name="T73" fmla="*/ 1 h 246"/>
                <a:gd name="T74" fmla="*/ 1 w 258"/>
                <a:gd name="T75" fmla="*/ 1 h 246"/>
                <a:gd name="T76" fmla="*/ 1 w 258"/>
                <a:gd name="T77" fmla="*/ 1 h 246"/>
                <a:gd name="T78" fmla="*/ 1 w 258"/>
                <a:gd name="T79" fmla="*/ 1 h 246"/>
                <a:gd name="T80" fmla="*/ 1 w 258"/>
                <a:gd name="T81" fmla="*/ 1 h 246"/>
                <a:gd name="T82" fmla="*/ 1 w 258"/>
                <a:gd name="T83" fmla="*/ 1 h 246"/>
                <a:gd name="T84" fmla="*/ 1 w 258"/>
                <a:gd name="T85" fmla="*/ 1 h 246"/>
                <a:gd name="T86" fmla="*/ 1 w 258"/>
                <a:gd name="T87" fmla="*/ 1 h 246"/>
                <a:gd name="T88" fmla="*/ 1 w 258"/>
                <a:gd name="T89" fmla="*/ 1 h 246"/>
                <a:gd name="T90" fmla="*/ 1 w 258"/>
                <a:gd name="T91" fmla="*/ 1 h 246"/>
                <a:gd name="T92" fmla="*/ 1 w 258"/>
                <a:gd name="T93" fmla="*/ 1 h 246"/>
                <a:gd name="T94" fmla="*/ 1 w 258"/>
                <a:gd name="T95" fmla="*/ 1 h 246"/>
                <a:gd name="T96" fmla="*/ 1 w 258"/>
                <a:gd name="T97" fmla="*/ 1 h 246"/>
                <a:gd name="T98" fmla="*/ 1 w 258"/>
                <a:gd name="T99" fmla="*/ 1 h 246"/>
                <a:gd name="T100" fmla="*/ 1 w 258"/>
                <a:gd name="T101" fmla="*/ 1 h 246"/>
                <a:gd name="T102" fmla="*/ 1 w 258"/>
                <a:gd name="T103" fmla="*/ 1 h 246"/>
                <a:gd name="T104" fmla="*/ 1 w 258"/>
                <a:gd name="T105" fmla="*/ 1 h 246"/>
                <a:gd name="T106" fmla="*/ 1 w 258"/>
                <a:gd name="T107" fmla="*/ 1 h 24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58"/>
                <a:gd name="T163" fmla="*/ 0 h 246"/>
                <a:gd name="T164" fmla="*/ 258 w 258"/>
                <a:gd name="T165" fmla="*/ 246 h 24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58" h="246">
                  <a:moveTo>
                    <a:pt x="45" y="119"/>
                  </a:moveTo>
                  <a:lnTo>
                    <a:pt x="24" y="119"/>
                  </a:lnTo>
                  <a:lnTo>
                    <a:pt x="2" y="120"/>
                  </a:lnTo>
                  <a:lnTo>
                    <a:pt x="2" y="139"/>
                  </a:lnTo>
                  <a:lnTo>
                    <a:pt x="1" y="159"/>
                  </a:lnTo>
                  <a:lnTo>
                    <a:pt x="1" y="179"/>
                  </a:lnTo>
                  <a:lnTo>
                    <a:pt x="0" y="198"/>
                  </a:lnTo>
                  <a:lnTo>
                    <a:pt x="15" y="217"/>
                  </a:lnTo>
                  <a:lnTo>
                    <a:pt x="31" y="235"/>
                  </a:lnTo>
                  <a:lnTo>
                    <a:pt x="45" y="231"/>
                  </a:lnTo>
                  <a:lnTo>
                    <a:pt x="69" y="239"/>
                  </a:lnTo>
                  <a:lnTo>
                    <a:pt x="100" y="246"/>
                  </a:lnTo>
                  <a:lnTo>
                    <a:pt x="121" y="228"/>
                  </a:lnTo>
                  <a:lnTo>
                    <a:pt x="144" y="209"/>
                  </a:lnTo>
                  <a:lnTo>
                    <a:pt x="151" y="193"/>
                  </a:lnTo>
                  <a:lnTo>
                    <a:pt x="166" y="189"/>
                  </a:lnTo>
                  <a:lnTo>
                    <a:pt x="183" y="185"/>
                  </a:lnTo>
                  <a:lnTo>
                    <a:pt x="180" y="171"/>
                  </a:lnTo>
                  <a:lnTo>
                    <a:pt x="195" y="165"/>
                  </a:lnTo>
                  <a:lnTo>
                    <a:pt x="212" y="158"/>
                  </a:lnTo>
                  <a:lnTo>
                    <a:pt x="229" y="152"/>
                  </a:lnTo>
                  <a:lnTo>
                    <a:pt x="246" y="145"/>
                  </a:lnTo>
                  <a:lnTo>
                    <a:pt x="235" y="134"/>
                  </a:lnTo>
                  <a:lnTo>
                    <a:pt x="247" y="110"/>
                  </a:lnTo>
                  <a:lnTo>
                    <a:pt x="250" y="103"/>
                  </a:lnTo>
                  <a:lnTo>
                    <a:pt x="252" y="84"/>
                  </a:lnTo>
                  <a:lnTo>
                    <a:pt x="252" y="65"/>
                  </a:lnTo>
                  <a:lnTo>
                    <a:pt x="258" y="56"/>
                  </a:lnTo>
                  <a:lnTo>
                    <a:pt x="244" y="36"/>
                  </a:lnTo>
                  <a:lnTo>
                    <a:pt x="242" y="30"/>
                  </a:lnTo>
                  <a:lnTo>
                    <a:pt x="219" y="18"/>
                  </a:lnTo>
                  <a:lnTo>
                    <a:pt x="196" y="5"/>
                  </a:lnTo>
                  <a:lnTo>
                    <a:pt x="195" y="0"/>
                  </a:lnTo>
                  <a:lnTo>
                    <a:pt x="176" y="5"/>
                  </a:lnTo>
                  <a:lnTo>
                    <a:pt x="156" y="9"/>
                  </a:lnTo>
                  <a:lnTo>
                    <a:pt x="144" y="27"/>
                  </a:lnTo>
                  <a:lnTo>
                    <a:pt x="147" y="49"/>
                  </a:lnTo>
                  <a:lnTo>
                    <a:pt x="146" y="71"/>
                  </a:lnTo>
                  <a:lnTo>
                    <a:pt x="144" y="91"/>
                  </a:lnTo>
                  <a:lnTo>
                    <a:pt x="165" y="107"/>
                  </a:lnTo>
                  <a:lnTo>
                    <a:pt x="172" y="98"/>
                  </a:lnTo>
                  <a:lnTo>
                    <a:pt x="168" y="131"/>
                  </a:lnTo>
                  <a:lnTo>
                    <a:pt x="163" y="128"/>
                  </a:lnTo>
                  <a:lnTo>
                    <a:pt x="153" y="128"/>
                  </a:lnTo>
                  <a:lnTo>
                    <a:pt x="135" y="104"/>
                  </a:lnTo>
                  <a:lnTo>
                    <a:pt x="122" y="95"/>
                  </a:lnTo>
                  <a:lnTo>
                    <a:pt x="112" y="85"/>
                  </a:lnTo>
                  <a:lnTo>
                    <a:pt x="104" y="95"/>
                  </a:lnTo>
                  <a:lnTo>
                    <a:pt x="75" y="84"/>
                  </a:lnTo>
                  <a:lnTo>
                    <a:pt x="72" y="77"/>
                  </a:lnTo>
                  <a:lnTo>
                    <a:pt x="55" y="79"/>
                  </a:lnTo>
                  <a:lnTo>
                    <a:pt x="46" y="67"/>
                  </a:lnTo>
                  <a:lnTo>
                    <a:pt x="46" y="92"/>
                  </a:lnTo>
                  <a:lnTo>
                    <a:pt x="45" y="119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01" name="Freeform 129"/>
            <p:cNvSpPr>
              <a:spLocks/>
            </p:cNvSpPr>
            <p:nvPr/>
          </p:nvSpPr>
          <p:spPr bwMode="auto">
            <a:xfrm>
              <a:off x="2996" y="2365"/>
              <a:ext cx="117" cy="118"/>
            </a:xfrm>
            <a:custGeom>
              <a:avLst/>
              <a:gdLst>
                <a:gd name="T0" fmla="*/ 1 w 167"/>
                <a:gd name="T1" fmla="*/ 1 h 169"/>
                <a:gd name="T2" fmla="*/ 1 w 167"/>
                <a:gd name="T3" fmla="*/ 1 h 169"/>
                <a:gd name="T4" fmla="*/ 1 w 167"/>
                <a:gd name="T5" fmla="*/ 1 h 169"/>
                <a:gd name="T6" fmla="*/ 1 w 167"/>
                <a:gd name="T7" fmla="*/ 1 h 169"/>
                <a:gd name="T8" fmla="*/ 1 w 167"/>
                <a:gd name="T9" fmla="*/ 1 h 169"/>
                <a:gd name="T10" fmla="*/ 1 w 167"/>
                <a:gd name="T11" fmla="*/ 1 h 169"/>
                <a:gd name="T12" fmla="*/ 1 w 167"/>
                <a:gd name="T13" fmla="*/ 1 h 169"/>
                <a:gd name="T14" fmla="*/ 1 w 167"/>
                <a:gd name="T15" fmla="*/ 1 h 169"/>
                <a:gd name="T16" fmla="*/ 0 w 167"/>
                <a:gd name="T17" fmla="*/ 1 h 169"/>
                <a:gd name="T18" fmla="*/ 1 w 167"/>
                <a:gd name="T19" fmla="*/ 1 h 169"/>
                <a:gd name="T20" fmla="*/ 1 w 167"/>
                <a:gd name="T21" fmla="*/ 1 h 169"/>
                <a:gd name="T22" fmla="*/ 1 w 167"/>
                <a:gd name="T23" fmla="*/ 1 h 169"/>
                <a:gd name="T24" fmla="*/ 1 w 167"/>
                <a:gd name="T25" fmla="*/ 1 h 169"/>
                <a:gd name="T26" fmla="*/ 1 w 167"/>
                <a:gd name="T27" fmla="*/ 1 h 169"/>
                <a:gd name="T28" fmla="*/ 1 w 167"/>
                <a:gd name="T29" fmla="*/ 0 h 169"/>
                <a:gd name="T30" fmla="*/ 1 w 167"/>
                <a:gd name="T31" fmla="*/ 1 h 169"/>
                <a:gd name="T32" fmla="*/ 1 w 167"/>
                <a:gd name="T33" fmla="*/ 1 h 169"/>
                <a:gd name="T34" fmla="*/ 1 w 167"/>
                <a:gd name="T35" fmla="*/ 1 h 169"/>
                <a:gd name="T36" fmla="*/ 1 w 167"/>
                <a:gd name="T37" fmla="*/ 1 h 169"/>
                <a:gd name="T38" fmla="*/ 1 w 167"/>
                <a:gd name="T39" fmla="*/ 1 h 169"/>
                <a:gd name="T40" fmla="*/ 1 w 167"/>
                <a:gd name="T41" fmla="*/ 1 h 169"/>
                <a:gd name="T42" fmla="*/ 1 w 167"/>
                <a:gd name="T43" fmla="*/ 1 h 169"/>
                <a:gd name="T44" fmla="*/ 1 w 167"/>
                <a:gd name="T45" fmla="*/ 1 h 169"/>
                <a:gd name="T46" fmla="*/ 1 w 167"/>
                <a:gd name="T47" fmla="*/ 1 h 169"/>
                <a:gd name="T48" fmla="*/ 1 w 167"/>
                <a:gd name="T49" fmla="*/ 1 h 169"/>
                <a:gd name="T50" fmla="*/ 1 w 167"/>
                <a:gd name="T51" fmla="*/ 1 h 169"/>
                <a:gd name="T52" fmla="*/ 1 w 167"/>
                <a:gd name="T53" fmla="*/ 1 h 169"/>
                <a:gd name="T54" fmla="*/ 1 w 167"/>
                <a:gd name="T55" fmla="*/ 1 h 169"/>
                <a:gd name="T56" fmla="*/ 1 w 167"/>
                <a:gd name="T57" fmla="*/ 1 h 16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67"/>
                <a:gd name="T88" fmla="*/ 0 h 169"/>
                <a:gd name="T89" fmla="*/ 167 w 167"/>
                <a:gd name="T90" fmla="*/ 169 h 16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67" h="169">
                  <a:moveTo>
                    <a:pt x="83" y="160"/>
                  </a:moveTo>
                  <a:lnTo>
                    <a:pt x="77" y="157"/>
                  </a:lnTo>
                  <a:lnTo>
                    <a:pt x="58" y="147"/>
                  </a:lnTo>
                  <a:lnTo>
                    <a:pt x="51" y="127"/>
                  </a:lnTo>
                  <a:lnTo>
                    <a:pt x="46" y="120"/>
                  </a:lnTo>
                  <a:lnTo>
                    <a:pt x="41" y="115"/>
                  </a:lnTo>
                  <a:lnTo>
                    <a:pt x="25" y="102"/>
                  </a:lnTo>
                  <a:lnTo>
                    <a:pt x="13" y="78"/>
                  </a:lnTo>
                  <a:lnTo>
                    <a:pt x="0" y="54"/>
                  </a:lnTo>
                  <a:lnTo>
                    <a:pt x="31" y="61"/>
                  </a:lnTo>
                  <a:lnTo>
                    <a:pt x="52" y="43"/>
                  </a:lnTo>
                  <a:lnTo>
                    <a:pt x="75" y="24"/>
                  </a:lnTo>
                  <a:lnTo>
                    <a:pt x="82" y="8"/>
                  </a:lnTo>
                  <a:lnTo>
                    <a:pt x="97" y="4"/>
                  </a:lnTo>
                  <a:lnTo>
                    <a:pt x="114" y="0"/>
                  </a:lnTo>
                  <a:lnTo>
                    <a:pt x="113" y="9"/>
                  </a:lnTo>
                  <a:lnTo>
                    <a:pt x="125" y="9"/>
                  </a:lnTo>
                  <a:lnTo>
                    <a:pt x="145" y="18"/>
                  </a:lnTo>
                  <a:lnTo>
                    <a:pt x="167" y="27"/>
                  </a:lnTo>
                  <a:lnTo>
                    <a:pt x="167" y="57"/>
                  </a:lnTo>
                  <a:lnTo>
                    <a:pt x="162" y="78"/>
                  </a:lnTo>
                  <a:lnTo>
                    <a:pt x="165" y="100"/>
                  </a:lnTo>
                  <a:lnTo>
                    <a:pt x="157" y="122"/>
                  </a:lnTo>
                  <a:lnTo>
                    <a:pt x="153" y="142"/>
                  </a:lnTo>
                  <a:lnTo>
                    <a:pt x="139" y="156"/>
                  </a:lnTo>
                  <a:lnTo>
                    <a:pt x="125" y="169"/>
                  </a:lnTo>
                  <a:lnTo>
                    <a:pt x="105" y="165"/>
                  </a:lnTo>
                  <a:lnTo>
                    <a:pt x="84" y="163"/>
                  </a:lnTo>
                  <a:lnTo>
                    <a:pt x="83" y="16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302" name="Freeform 130"/>
            <p:cNvSpPr>
              <a:spLocks/>
            </p:cNvSpPr>
            <p:nvPr/>
          </p:nvSpPr>
          <p:spPr bwMode="auto">
            <a:xfrm>
              <a:off x="1919" y="2618"/>
              <a:ext cx="75" cy="83"/>
            </a:xfrm>
            <a:custGeom>
              <a:avLst/>
              <a:gdLst>
                <a:gd name="T0" fmla="*/ 1 w 106"/>
                <a:gd name="T1" fmla="*/ 1 h 118"/>
                <a:gd name="T2" fmla="*/ 1 w 106"/>
                <a:gd name="T3" fmla="*/ 1 h 118"/>
                <a:gd name="T4" fmla="*/ 1 w 106"/>
                <a:gd name="T5" fmla="*/ 1 h 118"/>
                <a:gd name="T6" fmla="*/ 1 w 106"/>
                <a:gd name="T7" fmla="*/ 1 h 118"/>
                <a:gd name="T8" fmla="*/ 1 w 106"/>
                <a:gd name="T9" fmla="*/ 1 h 118"/>
                <a:gd name="T10" fmla="*/ 1 w 106"/>
                <a:gd name="T11" fmla="*/ 0 h 118"/>
                <a:gd name="T12" fmla="*/ 1 w 106"/>
                <a:gd name="T13" fmla="*/ 1 h 118"/>
                <a:gd name="T14" fmla="*/ 1 w 106"/>
                <a:gd name="T15" fmla="*/ 1 h 118"/>
                <a:gd name="T16" fmla="*/ 1 w 106"/>
                <a:gd name="T17" fmla="*/ 1 h 118"/>
                <a:gd name="T18" fmla="*/ 0 w 106"/>
                <a:gd name="T19" fmla="*/ 1 h 118"/>
                <a:gd name="T20" fmla="*/ 1 w 106"/>
                <a:gd name="T21" fmla="*/ 1 h 118"/>
                <a:gd name="T22" fmla="*/ 0 w 106"/>
                <a:gd name="T23" fmla="*/ 1 h 118"/>
                <a:gd name="T24" fmla="*/ 1 w 106"/>
                <a:gd name="T25" fmla="*/ 1 h 118"/>
                <a:gd name="T26" fmla="*/ 1 w 106"/>
                <a:gd name="T27" fmla="*/ 1 h 118"/>
                <a:gd name="T28" fmla="*/ 1 w 106"/>
                <a:gd name="T29" fmla="*/ 1 h 118"/>
                <a:gd name="T30" fmla="*/ 1 w 106"/>
                <a:gd name="T31" fmla="*/ 1 h 118"/>
                <a:gd name="T32" fmla="*/ 1 w 106"/>
                <a:gd name="T33" fmla="*/ 1 h 118"/>
                <a:gd name="T34" fmla="*/ 1 w 106"/>
                <a:gd name="T35" fmla="*/ 1 h 118"/>
                <a:gd name="T36" fmla="*/ 1 w 106"/>
                <a:gd name="T37" fmla="*/ 1 h 11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06"/>
                <a:gd name="T58" fmla="*/ 0 h 118"/>
                <a:gd name="T59" fmla="*/ 106 w 106"/>
                <a:gd name="T60" fmla="*/ 118 h 11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06" h="118">
                  <a:moveTo>
                    <a:pt x="104" y="61"/>
                  </a:moveTo>
                  <a:lnTo>
                    <a:pt x="82" y="44"/>
                  </a:lnTo>
                  <a:lnTo>
                    <a:pt x="59" y="28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14" y="0"/>
                  </a:lnTo>
                  <a:lnTo>
                    <a:pt x="3" y="2"/>
                  </a:lnTo>
                  <a:lnTo>
                    <a:pt x="3" y="3"/>
                  </a:lnTo>
                  <a:lnTo>
                    <a:pt x="2" y="31"/>
                  </a:lnTo>
                  <a:lnTo>
                    <a:pt x="0" y="57"/>
                  </a:lnTo>
                  <a:lnTo>
                    <a:pt x="2" y="61"/>
                  </a:lnTo>
                  <a:lnTo>
                    <a:pt x="0" y="81"/>
                  </a:lnTo>
                  <a:lnTo>
                    <a:pt x="11" y="102"/>
                  </a:lnTo>
                  <a:lnTo>
                    <a:pt x="38" y="112"/>
                  </a:lnTo>
                  <a:lnTo>
                    <a:pt x="72" y="118"/>
                  </a:lnTo>
                  <a:lnTo>
                    <a:pt x="92" y="110"/>
                  </a:lnTo>
                  <a:lnTo>
                    <a:pt x="106" y="90"/>
                  </a:lnTo>
                  <a:lnTo>
                    <a:pt x="101" y="73"/>
                  </a:lnTo>
                  <a:lnTo>
                    <a:pt x="104" y="6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03" name="Freeform 131"/>
            <p:cNvSpPr>
              <a:spLocks/>
            </p:cNvSpPr>
            <p:nvPr/>
          </p:nvSpPr>
          <p:spPr bwMode="auto">
            <a:xfrm>
              <a:off x="1735" y="2473"/>
              <a:ext cx="236" cy="527"/>
            </a:xfrm>
            <a:custGeom>
              <a:avLst/>
              <a:gdLst>
                <a:gd name="T0" fmla="*/ 1 w 336"/>
                <a:gd name="T1" fmla="*/ 4 h 751"/>
                <a:gd name="T2" fmla="*/ 1 w 336"/>
                <a:gd name="T3" fmla="*/ 4 h 751"/>
                <a:gd name="T4" fmla="*/ 1 w 336"/>
                <a:gd name="T5" fmla="*/ 4 h 751"/>
                <a:gd name="T6" fmla="*/ 1 w 336"/>
                <a:gd name="T7" fmla="*/ 4 h 751"/>
                <a:gd name="T8" fmla="*/ 1 w 336"/>
                <a:gd name="T9" fmla="*/ 4 h 751"/>
                <a:gd name="T10" fmla="*/ 1 w 336"/>
                <a:gd name="T11" fmla="*/ 4 h 751"/>
                <a:gd name="T12" fmla="*/ 1 w 336"/>
                <a:gd name="T13" fmla="*/ 4 h 751"/>
                <a:gd name="T14" fmla="*/ 1 w 336"/>
                <a:gd name="T15" fmla="*/ 4 h 751"/>
                <a:gd name="T16" fmla="*/ 1 w 336"/>
                <a:gd name="T17" fmla="*/ 4 h 751"/>
                <a:gd name="T18" fmla="*/ 1 w 336"/>
                <a:gd name="T19" fmla="*/ 4 h 751"/>
                <a:gd name="T20" fmla="*/ 1 w 336"/>
                <a:gd name="T21" fmla="*/ 5 h 751"/>
                <a:gd name="T22" fmla="*/ 1 w 336"/>
                <a:gd name="T23" fmla="*/ 5 h 751"/>
                <a:gd name="T24" fmla="*/ 1 w 336"/>
                <a:gd name="T25" fmla="*/ 5 h 751"/>
                <a:gd name="T26" fmla="*/ 1 w 336"/>
                <a:gd name="T27" fmla="*/ 5 h 751"/>
                <a:gd name="T28" fmla="*/ 1 w 336"/>
                <a:gd name="T29" fmla="*/ 6 h 751"/>
                <a:gd name="T30" fmla="*/ 1 w 336"/>
                <a:gd name="T31" fmla="*/ 6 h 751"/>
                <a:gd name="T32" fmla="*/ 1 w 336"/>
                <a:gd name="T33" fmla="*/ 6 h 751"/>
                <a:gd name="T34" fmla="*/ 1 w 336"/>
                <a:gd name="T35" fmla="*/ 5 h 751"/>
                <a:gd name="T36" fmla="*/ 1 w 336"/>
                <a:gd name="T37" fmla="*/ 5 h 751"/>
                <a:gd name="T38" fmla="*/ 1 w 336"/>
                <a:gd name="T39" fmla="*/ 4 h 751"/>
                <a:gd name="T40" fmla="*/ 1 w 336"/>
                <a:gd name="T41" fmla="*/ 4 h 751"/>
                <a:gd name="T42" fmla="*/ 1 w 336"/>
                <a:gd name="T43" fmla="*/ 4 h 751"/>
                <a:gd name="T44" fmla="*/ 1 w 336"/>
                <a:gd name="T45" fmla="*/ 4 h 751"/>
                <a:gd name="T46" fmla="*/ 1 w 336"/>
                <a:gd name="T47" fmla="*/ 4 h 751"/>
                <a:gd name="T48" fmla="*/ 1 w 336"/>
                <a:gd name="T49" fmla="*/ 3 h 751"/>
                <a:gd name="T50" fmla="*/ 1 w 336"/>
                <a:gd name="T51" fmla="*/ 3 h 751"/>
                <a:gd name="T52" fmla="*/ 1 w 336"/>
                <a:gd name="T53" fmla="*/ 3 h 751"/>
                <a:gd name="T54" fmla="*/ 1 w 336"/>
                <a:gd name="T55" fmla="*/ 3 h 751"/>
                <a:gd name="T56" fmla="*/ 1 w 336"/>
                <a:gd name="T57" fmla="*/ 2 h 751"/>
                <a:gd name="T58" fmla="*/ 1 w 336"/>
                <a:gd name="T59" fmla="*/ 2 h 751"/>
                <a:gd name="T60" fmla="*/ 1 w 336"/>
                <a:gd name="T61" fmla="*/ 1 h 751"/>
                <a:gd name="T62" fmla="*/ 1 w 336"/>
                <a:gd name="T63" fmla="*/ 1 h 751"/>
                <a:gd name="T64" fmla="*/ 1 w 336"/>
                <a:gd name="T65" fmla="*/ 1 h 751"/>
                <a:gd name="T66" fmla="*/ 1 w 336"/>
                <a:gd name="T67" fmla="*/ 1 h 751"/>
                <a:gd name="T68" fmla="*/ 1 w 336"/>
                <a:gd name="T69" fmla="*/ 1 h 751"/>
                <a:gd name="T70" fmla="*/ 1 w 336"/>
                <a:gd name="T71" fmla="*/ 1 h 751"/>
                <a:gd name="T72" fmla="*/ 1 w 336"/>
                <a:gd name="T73" fmla="*/ 1 h 751"/>
                <a:gd name="T74" fmla="*/ 1 w 336"/>
                <a:gd name="T75" fmla="*/ 1 h 751"/>
                <a:gd name="T76" fmla="*/ 1 w 336"/>
                <a:gd name="T77" fmla="*/ 1 h 751"/>
                <a:gd name="T78" fmla="*/ 1 w 336"/>
                <a:gd name="T79" fmla="*/ 1 h 751"/>
                <a:gd name="T80" fmla="*/ 1 w 336"/>
                <a:gd name="T81" fmla="*/ 1 h 751"/>
                <a:gd name="T82" fmla="*/ 1 w 336"/>
                <a:gd name="T83" fmla="*/ 1 h 751"/>
                <a:gd name="T84" fmla="*/ 1 w 336"/>
                <a:gd name="T85" fmla="*/ 1 h 751"/>
                <a:gd name="T86" fmla="*/ 2 w 336"/>
                <a:gd name="T87" fmla="*/ 1 h 751"/>
                <a:gd name="T88" fmla="*/ 2 w 336"/>
                <a:gd name="T89" fmla="*/ 1 h 751"/>
                <a:gd name="T90" fmla="*/ 2 w 336"/>
                <a:gd name="T91" fmla="*/ 1 h 751"/>
                <a:gd name="T92" fmla="*/ 2 w 336"/>
                <a:gd name="T93" fmla="*/ 1 h 751"/>
                <a:gd name="T94" fmla="*/ 3 w 336"/>
                <a:gd name="T95" fmla="*/ 1 h 751"/>
                <a:gd name="T96" fmla="*/ 2 w 336"/>
                <a:gd name="T97" fmla="*/ 1 h 751"/>
                <a:gd name="T98" fmla="*/ 2 w 336"/>
                <a:gd name="T99" fmla="*/ 1 h 751"/>
                <a:gd name="T100" fmla="*/ 2 w 336"/>
                <a:gd name="T101" fmla="*/ 1 h 751"/>
                <a:gd name="T102" fmla="*/ 2 w 336"/>
                <a:gd name="T103" fmla="*/ 2 h 751"/>
                <a:gd name="T104" fmla="*/ 2 w 336"/>
                <a:gd name="T105" fmla="*/ 2 h 751"/>
                <a:gd name="T106" fmla="*/ 2 w 336"/>
                <a:gd name="T107" fmla="*/ 2 h 751"/>
                <a:gd name="T108" fmla="*/ 2 w 336"/>
                <a:gd name="T109" fmla="*/ 3 h 751"/>
                <a:gd name="T110" fmla="*/ 2 w 336"/>
                <a:gd name="T111" fmla="*/ 3 h 751"/>
                <a:gd name="T112" fmla="*/ 2 w 336"/>
                <a:gd name="T113" fmla="*/ 3 h 751"/>
                <a:gd name="T114" fmla="*/ 2 w 336"/>
                <a:gd name="T115" fmla="*/ 3 h 751"/>
                <a:gd name="T116" fmla="*/ 1 w 336"/>
                <a:gd name="T117" fmla="*/ 3 h 751"/>
                <a:gd name="T118" fmla="*/ 1 w 336"/>
                <a:gd name="T119" fmla="*/ 3 h 75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36"/>
                <a:gd name="T181" fmla="*/ 0 h 751"/>
                <a:gd name="T182" fmla="*/ 336 w 336"/>
                <a:gd name="T183" fmla="*/ 751 h 751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36" h="751">
                  <a:moveTo>
                    <a:pt x="216" y="477"/>
                  </a:moveTo>
                  <a:lnTo>
                    <a:pt x="187" y="477"/>
                  </a:lnTo>
                  <a:lnTo>
                    <a:pt x="165" y="472"/>
                  </a:lnTo>
                  <a:lnTo>
                    <a:pt x="182" y="505"/>
                  </a:lnTo>
                  <a:lnTo>
                    <a:pt x="188" y="508"/>
                  </a:lnTo>
                  <a:lnTo>
                    <a:pt x="196" y="507"/>
                  </a:lnTo>
                  <a:lnTo>
                    <a:pt x="202" y="503"/>
                  </a:lnTo>
                  <a:lnTo>
                    <a:pt x="208" y="521"/>
                  </a:lnTo>
                  <a:lnTo>
                    <a:pt x="196" y="517"/>
                  </a:lnTo>
                  <a:lnTo>
                    <a:pt x="182" y="517"/>
                  </a:lnTo>
                  <a:lnTo>
                    <a:pt x="198" y="525"/>
                  </a:lnTo>
                  <a:lnTo>
                    <a:pt x="183" y="544"/>
                  </a:lnTo>
                  <a:lnTo>
                    <a:pt x="184" y="564"/>
                  </a:lnTo>
                  <a:lnTo>
                    <a:pt x="182" y="575"/>
                  </a:lnTo>
                  <a:lnTo>
                    <a:pt x="159" y="586"/>
                  </a:lnTo>
                  <a:lnTo>
                    <a:pt x="160" y="609"/>
                  </a:lnTo>
                  <a:lnTo>
                    <a:pt x="192" y="625"/>
                  </a:lnTo>
                  <a:lnTo>
                    <a:pt x="204" y="631"/>
                  </a:lnTo>
                  <a:lnTo>
                    <a:pt x="196" y="643"/>
                  </a:lnTo>
                  <a:lnTo>
                    <a:pt x="204" y="646"/>
                  </a:lnTo>
                  <a:lnTo>
                    <a:pt x="193" y="661"/>
                  </a:lnTo>
                  <a:lnTo>
                    <a:pt x="182" y="677"/>
                  </a:lnTo>
                  <a:lnTo>
                    <a:pt x="181" y="696"/>
                  </a:lnTo>
                  <a:lnTo>
                    <a:pt x="170" y="693"/>
                  </a:lnTo>
                  <a:lnTo>
                    <a:pt x="165" y="695"/>
                  </a:lnTo>
                  <a:lnTo>
                    <a:pt x="176" y="700"/>
                  </a:lnTo>
                  <a:lnTo>
                    <a:pt x="166" y="713"/>
                  </a:lnTo>
                  <a:lnTo>
                    <a:pt x="166" y="719"/>
                  </a:lnTo>
                  <a:lnTo>
                    <a:pt x="176" y="733"/>
                  </a:lnTo>
                  <a:lnTo>
                    <a:pt x="171" y="733"/>
                  </a:lnTo>
                  <a:lnTo>
                    <a:pt x="184" y="739"/>
                  </a:lnTo>
                  <a:lnTo>
                    <a:pt x="196" y="751"/>
                  </a:lnTo>
                  <a:lnTo>
                    <a:pt x="164" y="743"/>
                  </a:lnTo>
                  <a:lnTo>
                    <a:pt x="126" y="739"/>
                  </a:lnTo>
                  <a:lnTo>
                    <a:pt x="114" y="729"/>
                  </a:lnTo>
                  <a:lnTo>
                    <a:pt x="102" y="709"/>
                  </a:lnTo>
                  <a:lnTo>
                    <a:pt x="90" y="711"/>
                  </a:lnTo>
                  <a:lnTo>
                    <a:pt x="72" y="678"/>
                  </a:lnTo>
                  <a:lnTo>
                    <a:pt x="84" y="664"/>
                  </a:lnTo>
                  <a:lnTo>
                    <a:pt x="80" y="631"/>
                  </a:lnTo>
                  <a:lnTo>
                    <a:pt x="76" y="604"/>
                  </a:lnTo>
                  <a:lnTo>
                    <a:pt x="74" y="585"/>
                  </a:lnTo>
                  <a:lnTo>
                    <a:pt x="69" y="574"/>
                  </a:lnTo>
                  <a:lnTo>
                    <a:pt x="61" y="569"/>
                  </a:lnTo>
                  <a:lnTo>
                    <a:pt x="74" y="564"/>
                  </a:lnTo>
                  <a:lnTo>
                    <a:pt x="58" y="555"/>
                  </a:lnTo>
                  <a:lnTo>
                    <a:pt x="49" y="528"/>
                  </a:lnTo>
                  <a:lnTo>
                    <a:pt x="38" y="515"/>
                  </a:lnTo>
                  <a:lnTo>
                    <a:pt x="38" y="495"/>
                  </a:lnTo>
                  <a:lnTo>
                    <a:pt x="30" y="462"/>
                  </a:lnTo>
                  <a:lnTo>
                    <a:pt x="27" y="436"/>
                  </a:lnTo>
                  <a:lnTo>
                    <a:pt x="32" y="420"/>
                  </a:lnTo>
                  <a:lnTo>
                    <a:pt x="28" y="406"/>
                  </a:lnTo>
                  <a:lnTo>
                    <a:pt x="22" y="385"/>
                  </a:lnTo>
                  <a:lnTo>
                    <a:pt x="16" y="364"/>
                  </a:lnTo>
                  <a:lnTo>
                    <a:pt x="27" y="348"/>
                  </a:lnTo>
                  <a:lnTo>
                    <a:pt x="22" y="331"/>
                  </a:lnTo>
                  <a:lnTo>
                    <a:pt x="25" y="300"/>
                  </a:lnTo>
                  <a:lnTo>
                    <a:pt x="20" y="286"/>
                  </a:lnTo>
                  <a:lnTo>
                    <a:pt x="9" y="265"/>
                  </a:lnTo>
                  <a:lnTo>
                    <a:pt x="0" y="245"/>
                  </a:lnTo>
                  <a:lnTo>
                    <a:pt x="1" y="229"/>
                  </a:lnTo>
                  <a:lnTo>
                    <a:pt x="3" y="214"/>
                  </a:lnTo>
                  <a:lnTo>
                    <a:pt x="2" y="196"/>
                  </a:lnTo>
                  <a:lnTo>
                    <a:pt x="2" y="178"/>
                  </a:lnTo>
                  <a:lnTo>
                    <a:pt x="10" y="155"/>
                  </a:lnTo>
                  <a:lnTo>
                    <a:pt x="20" y="133"/>
                  </a:lnTo>
                  <a:lnTo>
                    <a:pt x="26" y="126"/>
                  </a:lnTo>
                  <a:lnTo>
                    <a:pt x="18" y="112"/>
                  </a:lnTo>
                  <a:lnTo>
                    <a:pt x="14" y="77"/>
                  </a:lnTo>
                  <a:lnTo>
                    <a:pt x="18" y="65"/>
                  </a:lnTo>
                  <a:lnTo>
                    <a:pt x="37" y="55"/>
                  </a:lnTo>
                  <a:lnTo>
                    <a:pt x="40" y="30"/>
                  </a:lnTo>
                  <a:lnTo>
                    <a:pt x="36" y="25"/>
                  </a:lnTo>
                  <a:lnTo>
                    <a:pt x="54" y="0"/>
                  </a:lnTo>
                  <a:lnTo>
                    <a:pt x="58" y="3"/>
                  </a:lnTo>
                  <a:lnTo>
                    <a:pt x="85" y="9"/>
                  </a:lnTo>
                  <a:lnTo>
                    <a:pt x="96" y="23"/>
                  </a:lnTo>
                  <a:lnTo>
                    <a:pt x="103" y="9"/>
                  </a:lnTo>
                  <a:lnTo>
                    <a:pt x="128" y="5"/>
                  </a:lnTo>
                  <a:lnTo>
                    <a:pt x="132" y="11"/>
                  </a:lnTo>
                  <a:lnTo>
                    <a:pt x="153" y="31"/>
                  </a:lnTo>
                  <a:lnTo>
                    <a:pt x="175" y="52"/>
                  </a:lnTo>
                  <a:lnTo>
                    <a:pt x="193" y="59"/>
                  </a:lnTo>
                  <a:lnTo>
                    <a:pt x="211" y="67"/>
                  </a:lnTo>
                  <a:lnTo>
                    <a:pt x="230" y="79"/>
                  </a:lnTo>
                  <a:lnTo>
                    <a:pt x="249" y="90"/>
                  </a:lnTo>
                  <a:lnTo>
                    <a:pt x="241" y="114"/>
                  </a:lnTo>
                  <a:lnTo>
                    <a:pt x="233" y="137"/>
                  </a:lnTo>
                  <a:lnTo>
                    <a:pt x="258" y="139"/>
                  </a:lnTo>
                  <a:lnTo>
                    <a:pt x="283" y="141"/>
                  </a:lnTo>
                  <a:lnTo>
                    <a:pt x="297" y="136"/>
                  </a:lnTo>
                  <a:lnTo>
                    <a:pt x="314" y="109"/>
                  </a:lnTo>
                  <a:lnTo>
                    <a:pt x="313" y="94"/>
                  </a:lnTo>
                  <a:lnTo>
                    <a:pt x="326" y="94"/>
                  </a:lnTo>
                  <a:lnTo>
                    <a:pt x="336" y="126"/>
                  </a:lnTo>
                  <a:lnTo>
                    <a:pt x="323" y="138"/>
                  </a:lnTo>
                  <a:lnTo>
                    <a:pt x="309" y="150"/>
                  </a:lnTo>
                  <a:lnTo>
                    <a:pt x="297" y="165"/>
                  </a:lnTo>
                  <a:lnTo>
                    <a:pt x="285" y="179"/>
                  </a:lnTo>
                  <a:lnTo>
                    <a:pt x="275" y="193"/>
                  </a:lnTo>
                  <a:lnTo>
                    <a:pt x="264" y="208"/>
                  </a:lnTo>
                  <a:lnTo>
                    <a:pt x="264" y="210"/>
                  </a:lnTo>
                  <a:lnTo>
                    <a:pt x="263" y="238"/>
                  </a:lnTo>
                  <a:lnTo>
                    <a:pt x="261" y="264"/>
                  </a:lnTo>
                  <a:lnTo>
                    <a:pt x="264" y="281"/>
                  </a:lnTo>
                  <a:lnTo>
                    <a:pt x="259" y="291"/>
                  </a:lnTo>
                  <a:lnTo>
                    <a:pt x="269" y="319"/>
                  </a:lnTo>
                  <a:lnTo>
                    <a:pt x="297" y="340"/>
                  </a:lnTo>
                  <a:lnTo>
                    <a:pt x="299" y="357"/>
                  </a:lnTo>
                  <a:lnTo>
                    <a:pt x="313" y="367"/>
                  </a:lnTo>
                  <a:lnTo>
                    <a:pt x="305" y="388"/>
                  </a:lnTo>
                  <a:lnTo>
                    <a:pt x="296" y="409"/>
                  </a:lnTo>
                  <a:lnTo>
                    <a:pt x="278" y="414"/>
                  </a:lnTo>
                  <a:lnTo>
                    <a:pt x="261" y="419"/>
                  </a:lnTo>
                  <a:lnTo>
                    <a:pt x="243" y="423"/>
                  </a:lnTo>
                  <a:lnTo>
                    <a:pt x="227" y="427"/>
                  </a:lnTo>
                  <a:lnTo>
                    <a:pt x="210" y="425"/>
                  </a:lnTo>
                  <a:lnTo>
                    <a:pt x="214" y="435"/>
                  </a:lnTo>
                  <a:lnTo>
                    <a:pt x="221" y="465"/>
                  </a:lnTo>
                  <a:lnTo>
                    <a:pt x="216" y="47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04" name="Freeform 132"/>
            <p:cNvSpPr>
              <a:spLocks/>
            </p:cNvSpPr>
            <p:nvPr/>
          </p:nvSpPr>
          <p:spPr bwMode="auto">
            <a:xfrm>
              <a:off x="1874" y="3006"/>
              <a:ext cx="58" cy="36"/>
            </a:xfrm>
            <a:custGeom>
              <a:avLst/>
              <a:gdLst>
                <a:gd name="T0" fmla="*/ 1 w 83"/>
                <a:gd name="T1" fmla="*/ 1 h 52"/>
                <a:gd name="T2" fmla="*/ 0 w 83"/>
                <a:gd name="T3" fmla="*/ 0 h 52"/>
                <a:gd name="T4" fmla="*/ 1 w 83"/>
                <a:gd name="T5" fmla="*/ 1 h 52"/>
                <a:gd name="T6" fmla="*/ 1 w 83"/>
                <a:gd name="T7" fmla="*/ 1 h 52"/>
                <a:gd name="T8" fmla="*/ 1 w 83"/>
                <a:gd name="T9" fmla="*/ 1 h 52"/>
                <a:gd name="T10" fmla="*/ 1 w 83"/>
                <a:gd name="T11" fmla="*/ 1 h 52"/>
                <a:gd name="T12" fmla="*/ 1 w 83"/>
                <a:gd name="T13" fmla="*/ 1 h 52"/>
                <a:gd name="T14" fmla="*/ 1 w 83"/>
                <a:gd name="T15" fmla="*/ 1 h 52"/>
                <a:gd name="T16" fmla="*/ 1 w 83"/>
                <a:gd name="T17" fmla="*/ 1 h 5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3"/>
                <a:gd name="T28" fmla="*/ 0 h 52"/>
                <a:gd name="T29" fmla="*/ 83 w 83"/>
                <a:gd name="T30" fmla="*/ 52 h 5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3" h="52">
                  <a:moveTo>
                    <a:pt x="6" y="9"/>
                  </a:moveTo>
                  <a:lnTo>
                    <a:pt x="0" y="0"/>
                  </a:lnTo>
                  <a:lnTo>
                    <a:pt x="11" y="26"/>
                  </a:lnTo>
                  <a:lnTo>
                    <a:pt x="22" y="52"/>
                  </a:lnTo>
                  <a:lnTo>
                    <a:pt x="52" y="52"/>
                  </a:lnTo>
                  <a:lnTo>
                    <a:pt x="83" y="52"/>
                  </a:lnTo>
                  <a:lnTo>
                    <a:pt x="80" y="46"/>
                  </a:lnTo>
                  <a:lnTo>
                    <a:pt x="37" y="32"/>
                  </a:lnTo>
                  <a:lnTo>
                    <a:pt x="6" y="9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05" name="Freeform 133"/>
            <p:cNvSpPr>
              <a:spLocks/>
            </p:cNvSpPr>
            <p:nvPr/>
          </p:nvSpPr>
          <p:spPr bwMode="auto">
            <a:xfrm>
              <a:off x="1704" y="2397"/>
              <a:ext cx="170" cy="629"/>
            </a:xfrm>
            <a:custGeom>
              <a:avLst/>
              <a:gdLst>
                <a:gd name="T0" fmla="*/ 1 w 241"/>
                <a:gd name="T1" fmla="*/ 3 h 894"/>
                <a:gd name="T2" fmla="*/ 1 w 241"/>
                <a:gd name="T3" fmla="*/ 3 h 894"/>
                <a:gd name="T4" fmla="*/ 1 w 241"/>
                <a:gd name="T5" fmla="*/ 4 h 894"/>
                <a:gd name="T6" fmla="*/ 1 w 241"/>
                <a:gd name="T7" fmla="*/ 4 h 894"/>
                <a:gd name="T8" fmla="*/ 1 w 241"/>
                <a:gd name="T9" fmla="*/ 4 h 894"/>
                <a:gd name="T10" fmla="*/ 1 w 241"/>
                <a:gd name="T11" fmla="*/ 4 h 894"/>
                <a:gd name="T12" fmla="*/ 1 w 241"/>
                <a:gd name="T13" fmla="*/ 4 h 894"/>
                <a:gd name="T14" fmla="*/ 1 w 241"/>
                <a:gd name="T15" fmla="*/ 4 h 894"/>
                <a:gd name="T16" fmla="*/ 1 w 241"/>
                <a:gd name="T17" fmla="*/ 5 h 894"/>
                <a:gd name="T18" fmla="*/ 1 w 241"/>
                <a:gd name="T19" fmla="*/ 6 h 894"/>
                <a:gd name="T20" fmla="*/ 1 w 241"/>
                <a:gd name="T21" fmla="*/ 6 h 894"/>
                <a:gd name="T22" fmla="*/ 1 w 241"/>
                <a:gd name="T23" fmla="*/ 6 h 894"/>
                <a:gd name="T24" fmla="*/ 1 w 241"/>
                <a:gd name="T25" fmla="*/ 6 h 894"/>
                <a:gd name="T26" fmla="*/ 1 w 241"/>
                <a:gd name="T27" fmla="*/ 6 h 894"/>
                <a:gd name="T28" fmla="*/ 1 w 241"/>
                <a:gd name="T29" fmla="*/ 6 h 894"/>
                <a:gd name="T30" fmla="*/ 1 w 241"/>
                <a:gd name="T31" fmla="*/ 6 h 894"/>
                <a:gd name="T32" fmla="*/ 1 w 241"/>
                <a:gd name="T33" fmla="*/ 6 h 894"/>
                <a:gd name="T34" fmla="*/ 1 w 241"/>
                <a:gd name="T35" fmla="*/ 6 h 894"/>
                <a:gd name="T36" fmla="*/ 1 w 241"/>
                <a:gd name="T37" fmla="*/ 6 h 894"/>
                <a:gd name="T38" fmla="*/ 1 w 241"/>
                <a:gd name="T39" fmla="*/ 6 h 894"/>
                <a:gd name="T40" fmla="*/ 1 w 241"/>
                <a:gd name="T41" fmla="*/ 6 h 894"/>
                <a:gd name="T42" fmla="*/ 1 w 241"/>
                <a:gd name="T43" fmla="*/ 6 h 894"/>
                <a:gd name="T44" fmla="*/ 1 w 241"/>
                <a:gd name="T45" fmla="*/ 6 h 894"/>
                <a:gd name="T46" fmla="*/ 1 w 241"/>
                <a:gd name="T47" fmla="*/ 6 h 894"/>
                <a:gd name="T48" fmla="*/ 1 w 241"/>
                <a:gd name="T49" fmla="*/ 6 h 894"/>
                <a:gd name="T50" fmla="*/ 1 w 241"/>
                <a:gd name="T51" fmla="*/ 6 h 894"/>
                <a:gd name="T52" fmla="*/ 1 w 241"/>
                <a:gd name="T53" fmla="*/ 6 h 894"/>
                <a:gd name="T54" fmla="*/ 1 w 241"/>
                <a:gd name="T55" fmla="*/ 6 h 894"/>
                <a:gd name="T56" fmla="*/ 1 w 241"/>
                <a:gd name="T57" fmla="*/ 6 h 894"/>
                <a:gd name="T58" fmla="*/ 1 w 241"/>
                <a:gd name="T59" fmla="*/ 5 h 894"/>
                <a:gd name="T60" fmla="*/ 1 w 241"/>
                <a:gd name="T61" fmla="*/ 4 h 894"/>
                <a:gd name="T62" fmla="*/ 1 w 241"/>
                <a:gd name="T63" fmla="*/ 4 h 894"/>
                <a:gd name="T64" fmla="*/ 1 w 241"/>
                <a:gd name="T65" fmla="*/ 4 h 894"/>
                <a:gd name="T66" fmla="*/ 1 w 241"/>
                <a:gd name="T67" fmla="*/ 3 h 894"/>
                <a:gd name="T68" fmla="*/ 1 w 241"/>
                <a:gd name="T69" fmla="*/ 3 h 894"/>
                <a:gd name="T70" fmla="*/ 1 w 241"/>
                <a:gd name="T71" fmla="*/ 2 h 894"/>
                <a:gd name="T72" fmla="*/ 1 w 241"/>
                <a:gd name="T73" fmla="*/ 2 h 894"/>
                <a:gd name="T74" fmla="*/ 1 w 241"/>
                <a:gd name="T75" fmla="*/ 1 h 894"/>
                <a:gd name="T76" fmla="*/ 1 w 241"/>
                <a:gd name="T77" fmla="*/ 1 h 894"/>
                <a:gd name="T78" fmla="*/ 1 w 241"/>
                <a:gd name="T79" fmla="*/ 1 h 894"/>
                <a:gd name="T80" fmla="*/ 1 w 241"/>
                <a:gd name="T81" fmla="*/ 1 h 894"/>
                <a:gd name="T82" fmla="*/ 1 w 241"/>
                <a:gd name="T83" fmla="*/ 1 h 894"/>
                <a:gd name="T84" fmla="*/ 1 w 241"/>
                <a:gd name="T85" fmla="*/ 1 h 894"/>
                <a:gd name="T86" fmla="*/ 1 w 241"/>
                <a:gd name="T87" fmla="*/ 1 h 894"/>
                <a:gd name="T88" fmla="*/ 1 w 241"/>
                <a:gd name="T89" fmla="*/ 1 h 894"/>
                <a:gd name="T90" fmla="*/ 1 w 241"/>
                <a:gd name="T91" fmla="*/ 2 h 894"/>
                <a:gd name="T92" fmla="*/ 1 w 241"/>
                <a:gd name="T93" fmla="*/ 2 h 8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41"/>
                <a:gd name="T142" fmla="*/ 0 h 894"/>
                <a:gd name="T143" fmla="*/ 241 w 241"/>
                <a:gd name="T144" fmla="*/ 894 h 8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41" h="894">
                  <a:moveTo>
                    <a:pt x="16" y="318"/>
                  </a:moveTo>
                  <a:lnTo>
                    <a:pt x="21" y="336"/>
                  </a:lnTo>
                  <a:lnTo>
                    <a:pt x="24" y="354"/>
                  </a:lnTo>
                  <a:lnTo>
                    <a:pt x="28" y="374"/>
                  </a:lnTo>
                  <a:lnTo>
                    <a:pt x="30" y="393"/>
                  </a:lnTo>
                  <a:lnTo>
                    <a:pt x="27" y="414"/>
                  </a:lnTo>
                  <a:lnTo>
                    <a:pt x="24" y="437"/>
                  </a:lnTo>
                  <a:lnTo>
                    <a:pt x="23" y="459"/>
                  </a:lnTo>
                  <a:lnTo>
                    <a:pt x="21" y="480"/>
                  </a:lnTo>
                  <a:lnTo>
                    <a:pt x="16" y="489"/>
                  </a:lnTo>
                  <a:lnTo>
                    <a:pt x="23" y="510"/>
                  </a:lnTo>
                  <a:lnTo>
                    <a:pt x="30" y="531"/>
                  </a:lnTo>
                  <a:lnTo>
                    <a:pt x="36" y="555"/>
                  </a:lnTo>
                  <a:lnTo>
                    <a:pt x="34" y="576"/>
                  </a:lnTo>
                  <a:lnTo>
                    <a:pt x="46" y="598"/>
                  </a:lnTo>
                  <a:lnTo>
                    <a:pt x="48" y="602"/>
                  </a:lnTo>
                  <a:lnTo>
                    <a:pt x="57" y="597"/>
                  </a:lnTo>
                  <a:lnTo>
                    <a:pt x="64" y="598"/>
                  </a:lnTo>
                  <a:lnTo>
                    <a:pt x="70" y="594"/>
                  </a:lnTo>
                  <a:lnTo>
                    <a:pt x="67" y="608"/>
                  </a:lnTo>
                  <a:lnTo>
                    <a:pt x="75" y="615"/>
                  </a:lnTo>
                  <a:lnTo>
                    <a:pt x="71" y="612"/>
                  </a:lnTo>
                  <a:lnTo>
                    <a:pt x="72" y="620"/>
                  </a:lnTo>
                  <a:lnTo>
                    <a:pt x="75" y="634"/>
                  </a:lnTo>
                  <a:lnTo>
                    <a:pt x="76" y="650"/>
                  </a:lnTo>
                  <a:lnTo>
                    <a:pt x="76" y="659"/>
                  </a:lnTo>
                  <a:lnTo>
                    <a:pt x="88" y="669"/>
                  </a:lnTo>
                  <a:lnTo>
                    <a:pt x="82" y="684"/>
                  </a:lnTo>
                  <a:lnTo>
                    <a:pt x="88" y="690"/>
                  </a:lnTo>
                  <a:lnTo>
                    <a:pt x="83" y="690"/>
                  </a:lnTo>
                  <a:lnTo>
                    <a:pt x="83" y="698"/>
                  </a:lnTo>
                  <a:lnTo>
                    <a:pt x="84" y="698"/>
                  </a:lnTo>
                  <a:lnTo>
                    <a:pt x="85" y="711"/>
                  </a:lnTo>
                  <a:lnTo>
                    <a:pt x="87" y="708"/>
                  </a:lnTo>
                  <a:lnTo>
                    <a:pt x="81" y="719"/>
                  </a:lnTo>
                  <a:lnTo>
                    <a:pt x="79" y="712"/>
                  </a:lnTo>
                  <a:lnTo>
                    <a:pt x="71" y="711"/>
                  </a:lnTo>
                  <a:lnTo>
                    <a:pt x="72" y="702"/>
                  </a:lnTo>
                  <a:lnTo>
                    <a:pt x="67" y="704"/>
                  </a:lnTo>
                  <a:lnTo>
                    <a:pt x="61" y="705"/>
                  </a:lnTo>
                  <a:lnTo>
                    <a:pt x="51" y="725"/>
                  </a:lnTo>
                  <a:lnTo>
                    <a:pt x="54" y="724"/>
                  </a:lnTo>
                  <a:lnTo>
                    <a:pt x="61" y="719"/>
                  </a:lnTo>
                  <a:lnTo>
                    <a:pt x="73" y="724"/>
                  </a:lnTo>
                  <a:lnTo>
                    <a:pt x="88" y="736"/>
                  </a:lnTo>
                  <a:lnTo>
                    <a:pt x="82" y="741"/>
                  </a:lnTo>
                  <a:lnTo>
                    <a:pt x="87" y="744"/>
                  </a:lnTo>
                  <a:lnTo>
                    <a:pt x="78" y="748"/>
                  </a:lnTo>
                  <a:lnTo>
                    <a:pt x="95" y="747"/>
                  </a:lnTo>
                  <a:lnTo>
                    <a:pt x="97" y="744"/>
                  </a:lnTo>
                  <a:lnTo>
                    <a:pt x="105" y="754"/>
                  </a:lnTo>
                  <a:lnTo>
                    <a:pt x="105" y="760"/>
                  </a:lnTo>
                  <a:lnTo>
                    <a:pt x="90" y="756"/>
                  </a:lnTo>
                  <a:lnTo>
                    <a:pt x="84" y="755"/>
                  </a:lnTo>
                  <a:lnTo>
                    <a:pt x="94" y="771"/>
                  </a:lnTo>
                  <a:lnTo>
                    <a:pt x="103" y="788"/>
                  </a:lnTo>
                  <a:lnTo>
                    <a:pt x="105" y="796"/>
                  </a:lnTo>
                  <a:lnTo>
                    <a:pt x="108" y="804"/>
                  </a:lnTo>
                  <a:lnTo>
                    <a:pt x="105" y="807"/>
                  </a:lnTo>
                  <a:lnTo>
                    <a:pt x="115" y="814"/>
                  </a:lnTo>
                  <a:lnTo>
                    <a:pt x="123" y="824"/>
                  </a:lnTo>
                  <a:lnTo>
                    <a:pt x="121" y="828"/>
                  </a:lnTo>
                  <a:lnTo>
                    <a:pt x="131" y="834"/>
                  </a:lnTo>
                  <a:lnTo>
                    <a:pt x="136" y="840"/>
                  </a:lnTo>
                  <a:lnTo>
                    <a:pt x="131" y="838"/>
                  </a:lnTo>
                  <a:lnTo>
                    <a:pt x="142" y="848"/>
                  </a:lnTo>
                  <a:lnTo>
                    <a:pt x="142" y="854"/>
                  </a:lnTo>
                  <a:lnTo>
                    <a:pt x="150" y="864"/>
                  </a:lnTo>
                  <a:lnTo>
                    <a:pt x="154" y="869"/>
                  </a:lnTo>
                  <a:lnTo>
                    <a:pt x="163" y="875"/>
                  </a:lnTo>
                  <a:lnTo>
                    <a:pt x="167" y="878"/>
                  </a:lnTo>
                  <a:lnTo>
                    <a:pt x="163" y="880"/>
                  </a:lnTo>
                  <a:lnTo>
                    <a:pt x="175" y="884"/>
                  </a:lnTo>
                  <a:lnTo>
                    <a:pt x="204" y="894"/>
                  </a:lnTo>
                  <a:lnTo>
                    <a:pt x="205" y="866"/>
                  </a:lnTo>
                  <a:lnTo>
                    <a:pt x="221" y="856"/>
                  </a:lnTo>
                  <a:lnTo>
                    <a:pt x="241" y="858"/>
                  </a:lnTo>
                  <a:lnTo>
                    <a:pt x="209" y="850"/>
                  </a:lnTo>
                  <a:lnTo>
                    <a:pt x="171" y="846"/>
                  </a:lnTo>
                  <a:lnTo>
                    <a:pt x="159" y="836"/>
                  </a:lnTo>
                  <a:lnTo>
                    <a:pt x="147" y="816"/>
                  </a:lnTo>
                  <a:lnTo>
                    <a:pt x="135" y="818"/>
                  </a:lnTo>
                  <a:lnTo>
                    <a:pt x="117" y="785"/>
                  </a:lnTo>
                  <a:lnTo>
                    <a:pt x="129" y="771"/>
                  </a:lnTo>
                  <a:lnTo>
                    <a:pt x="125" y="738"/>
                  </a:lnTo>
                  <a:lnTo>
                    <a:pt x="121" y="711"/>
                  </a:lnTo>
                  <a:lnTo>
                    <a:pt x="119" y="692"/>
                  </a:lnTo>
                  <a:lnTo>
                    <a:pt x="114" y="681"/>
                  </a:lnTo>
                  <a:lnTo>
                    <a:pt x="106" y="676"/>
                  </a:lnTo>
                  <a:lnTo>
                    <a:pt x="119" y="671"/>
                  </a:lnTo>
                  <a:lnTo>
                    <a:pt x="103" y="662"/>
                  </a:lnTo>
                  <a:lnTo>
                    <a:pt x="94" y="635"/>
                  </a:lnTo>
                  <a:lnTo>
                    <a:pt x="83" y="622"/>
                  </a:lnTo>
                  <a:lnTo>
                    <a:pt x="83" y="602"/>
                  </a:lnTo>
                  <a:lnTo>
                    <a:pt x="75" y="569"/>
                  </a:lnTo>
                  <a:lnTo>
                    <a:pt x="72" y="543"/>
                  </a:lnTo>
                  <a:lnTo>
                    <a:pt x="77" y="527"/>
                  </a:lnTo>
                  <a:lnTo>
                    <a:pt x="73" y="513"/>
                  </a:lnTo>
                  <a:lnTo>
                    <a:pt x="67" y="492"/>
                  </a:lnTo>
                  <a:lnTo>
                    <a:pt x="61" y="471"/>
                  </a:lnTo>
                  <a:lnTo>
                    <a:pt x="72" y="455"/>
                  </a:lnTo>
                  <a:lnTo>
                    <a:pt x="67" y="438"/>
                  </a:lnTo>
                  <a:lnTo>
                    <a:pt x="70" y="407"/>
                  </a:lnTo>
                  <a:lnTo>
                    <a:pt x="65" y="393"/>
                  </a:lnTo>
                  <a:lnTo>
                    <a:pt x="54" y="372"/>
                  </a:lnTo>
                  <a:lnTo>
                    <a:pt x="45" y="352"/>
                  </a:lnTo>
                  <a:lnTo>
                    <a:pt x="46" y="336"/>
                  </a:lnTo>
                  <a:lnTo>
                    <a:pt x="48" y="321"/>
                  </a:lnTo>
                  <a:lnTo>
                    <a:pt x="47" y="303"/>
                  </a:lnTo>
                  <a:lnTo>
                    <a:pt x="47" y="285"/>
                  </a:lnTo>
                  <a:lnTo>
                    <a:pt x="55" y="262"/>
                  </a:lnTo>
                  <a:lnTo>
                    <a:pt x="65" y="240"/>
                  </a:lnTo>
                  <a:lnTo>
                    <a:pt x="71" y="233"/>
                  </a:lnTo>
                  <a:lnTo>
                    <a:pt x="63" y="219"/>
                  </a:lnTo>
                  <a:lnTo>
                    <a:pt x="59" y="184"/>
                  </a:lnTo>
                  <a:lnTo>
                    <a:pt x="63" y="172"/>
                  </a:lnTo>
                  <a:lnTo>
                    <a:pt x="82" y="162"/>
                  </a:lnTo>
                  <a:lnTo>
                    <a:pt x="85" y="137"/>
                  </a:lnTo>
                  <a:lnTo>
                    <a:pt x="81" y="132"/>
                  </a:lnTo>
                  <a:lnTo>
                    <a:pt x="66" y="130"/>
                  </a:lnTo>
                  <a:lnTo>
                    <a:pt x="57" y="107"/>
                  </a:lnTo>
                  <a:lnTo>
                    <a:pt x="48" y="86"/>
                  </a:lnTo>
                  <a:lnTo>
                    <a:pt x="42" y="64"/>
                  </a:lnTo>
                  <a:lnTo>
                    <a:pt x="42" y="46"/>
                  </a:lnTo>
                  <a:lnTo>
                    <a:pt x="30" y="29"/>
                  </a:lnTo>
                  <a:lnTo>
                    <a:pt x="24" y="12"/>
                  </a:lnTo>
                  <a:lnTo>
                    <a:pt x="18" y="0"/>
                  </a:lnTo>
                  <a:lnTo>
                    <a:pt x="12" y="10"/>
                  </a:lnTo>
                  <a:lnTo>
                    <a:pt x="5" y="21"/>
                  </a:lnTo>
                  <a:lnTo>
                    <a:pt x="0" y="22"/>
                  </a:lnTo>
                  <a:lnTo>
                    <a:pt x="6" y="53"/>
                  </a:lnTo>
                  <a:lnTo>
                    <a:pt x="12" y="84"/>
                  </a:lnTo>
                  <a:lnTo>
                    <a:pt x="12" y="112"/>
                  </a:lnTo>
                  <a:lnTo>
                    <a:pt x="11" y="138"/>
                  </a:lnTo>
                  <a:lnTo>
                    <a:pt x="11" y="149"/>
                  </a:lnTo>
                  <a:lnTo>
                    <a:pt x="15" y="180"/>
                  </a:lnTo>
                  <a:lnTo>
                    <a:pt x="16" y="208"/>
                  </a:lnTo>
                  <a:lnTo>
                    <a:pt x="15" y="243"/>
                  </a:lnTo>
                  <a:lnTo>
                    <a:pt x="15" y="278"/>
                  </a:lnTo>
                  <a:lnTo>
                    <a:pt x="16" y="293"/>
                  </a:lnTo>
                  <a:lnTo>
                    <a:pt x="16" y="31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06" name="Freeform 134"/>
            <p:cNvSpPr>
              <a:spLocks/>
            </p:cNvSpPr>
            <p:nvPr/>
          </p:nvSpPr>
          <p:spPr bwMode="auto">
            <a:xfrm>
              <a:off x="1845" y="3003"/>
              <a:ext cx="45" cy="39"/>
            </a:xfrm>
            <a:custGeom>
              <a:avLst/>
              <a:gdLst>
                <a:gd name="T0" fmla="*/ 1 w 64"/>
                <a:gd name="T1" fmla="*/ 1 h 56"/>
                <a:gd name="T2" fmla="*/ 1 w 64"/>
                <a:gd name="T3" fmla="*/ 1 h 56"/>
                <a:gd name="T4" fmla="*/ 1 w 64"/>
                <a:gd name="T5" fmla="*/ 1 h 56"/>
                <a:gd name="T6" fmla="*/ 1 w 64"/>
                <a:gd name="T7" fmla="*/ 1 h 56"/>
                <a:gd name="T8" fmla="*/ 1 w 64"/>
                <a:gd name="T9" fmla="*/ 1 h 56"/>
                <a:gd name="T10" fmla="*/ 1 w 64"/>
                <a:gd name="T11" fmla="*/ 1 h 56"/>
                <a:gd name="T12" fmla="*/ 1 w 64"/>
                <a:gd name="T13" fmla="*/ 1 h 56"/>
                <a:gd name="T14" fmla="*/ 0 w 64"/>
                <a:gd name="T15" fmla="*/ 1 h 56"/>
                <a:gd name="T16" fmla="*/ 1 w 64"/>
                <a:gd name="T17" fmla="*/ 1 h 56"/>
                <a:gd name="T18" fmla="*/ 1 w 64"/>
                <a:gd name="T19" fmla="*/ 1 h 56"/>
                <a:gd name="T20" fmla="*/ 1 w 64"/>
                <a:gd name="T21" fmla="*/ 1 h 56"/>
                <a:gd name="T22" fmla="*/ 1 w 64"/>
                <a:gd name="T23" fmla="*/ 1 h 56"/>
                <a:gd name="T24" fmla="*/ 1 w 64"/>
                <a:gd name="T25" fmla="*/ 1 h 56"/>
                <a:gd name="T26" fmla="*/ 1 w 64"/>
                <a:gd name="T27" fmla="*/ 1 h 56"/>
                <a:gd name="T28" fmla="*/ 1 w 64"/>
                <a:gd name="T29" fmla="*/ 1 h 56"/>
                <a:gd name="T30" fmla="*/ 1 w 64"/>
                <a:gd name="T31" fmla="*/ 1 h 56"/>
                <a:gd name="T32" fmla="*/ 1 w 64"/>
                <a:gd name="T33" fmla="*/ 1 h 56"/>
                <a:gd name="T34" fmla="*/ 1 w 64"/>
                <a:gd name="T35" fmla="*/ 1 h 56"/>
                <a:gd name="T36" fmla="*/ 1 w 64"/>
                <a:gd name="T37" fmla="*/ 1 h 56"/>
                <a:gd name="T38" fmla="*/ 1 w 64"/>
                <a:gd name="T39" fmla="*/ 1 h 56"/>
                <a:gd name="T40" fmla="*/ 1 w 64"/>
                <a:gd name="T41" fmla="*/ 1 h 56"/>
                <a:gd name="T42" fmla="*/ 1 w 64"/>
                <a:gd name="T43" fmla="*/ 0 h 56"/>
                <a:gd name="T44" fmla="*/ 1 w 64"/>
                <a:gd name="T45" fmla="*/ 1 h 5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4"/>
                <a:gd name="T70" fmla="*/ 0 h 56"/>
                <a:gd name="T71" fmla="*/ 64 w 64"/>
                <a:gd name="T72" fmla="*/ 56 h 5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4" h="56">
                  <a:moveTo>
                    <a:pt x="42" y="4"/>
                  </a:moveTo>
                  <a:lnTo>
                    <a:pt x="53" y="30"/>
                  </a:lnTo>
                  <a:lnTo>
                    <a:pt x="64" y="56"/>
                  </a:lnTo>
                  <a:lnTo>
                    <a:pt x="57" y="54"/>
                  </a:lnTo>
                  <a:lnTo>
                    <a:pt x="48" y="55"/>
                  </a:lnTo>
                  <a:lnTo>
                    <a:pt x="26" y="53"/>
                  </a:lnTo>
                  <a:lnTo>
                    <a:pt x="18" y="52"/>
                  </a:lnTo>
                  <a:lnTo>
                    <a:pt x="0" y="49"/>
                  </a:lnTo>
                  <a:lnTo>
                    <a:pt x="5" y="48"/>
                  </a:lnTo>
                  <a:lnTo>
                    <a:pt x="16" y="43"/>
                  </a:lnTo>
                  <a:lnTo>
                    <a:pt x="22" y="48"/>
                  </a:lnTo>
                  <a:lnTo>
                    <a:pt x="28" y="48"/>
                  </a:lnTo>
                  <a:lnTo>
                    <a:pt x="17" y="42"/>
                  </a:lnTo>
                  <a:lnTo>
                    <a:pt x="30" y="44"/>
                  </a:lnTo>
                  <a:lnTo>
                    <a:pt x="38" y="46"/>
                  </a:lnTo>
                  <a:lnTo>
                    <a:pt x="48" y="48"/>
                  </a:lnTo>
                  <a:lnTo>
                    <a:pt x="51" y="48"/>
                  </a:lnTo>
                  <a:lnTo>
                    <a:pt x="27" y="34"/>
                  </a:lnTo>
                  <a:lnTo>
                    <a:pt x="36" y="23"/>
                  </a:lnTo>
                  <a:lnTo>
                    <a:pt x="21" y="23"/>
                  </a:lnTo>
                  <a:lnTo>
                    <a:pt x="14" y="5"/>
                  </a:lnTo>
                  <a:lnTo>
                    <a:pt x="22" y="0"/>
                  </a:lnTo>
                  <a:lnTo>
                    <a:pt x="42" y="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07" name="Freeform 135"/>
            <p:cNvSpPr>
              <a:spLocks/>
            </p:cNvSpPr>
            <p:nvPr/>
          </p:nvSpPr>
          <p:spPr bwMode="auto">
            <a:xfrm>
              <a:off x="1732" y="2820"/>
              <a:ext cx="11" cy="27"/>
            </a:xfrm>
            <a:custGeom>
              <a:avLst/>
              <a:gdLst>
                <a:gd name="T0" fmla="*/ 1 w 17"/>
                <a:gd name="T1" fmla="*/ 0 h 37"/>
                <a:gd name="T2" fmla="*/ 0 w 17"/>
                <a:gd name="T3" fmla="*/ 1 h 37"/>
                <a:gd name="T4" fmla="*/ 1 w 17"/>
                <a:gd name="T5" fmla="*/ 1 h 37"/>
                <a:gd name="T6" fmla="*/ 1 w 17"/>
                <a:gd name="T7" fmla="*/ 1 h 37"/>
                <a:gd name="T8" fmla="*/ 1 w 17"/>
                <a:gd name="T9" fmla="*/ 1 h 37"/>
                <a:gd name="T10" fmla="*/ 1 w 17"/>
                <a:gd name="T11" fmla="*/ 1 h 37"/>
                <a:gd name="T12" fmla="*/ 1 w 17"/>
                <a:gd name="T13" fmla="*/ 1 h 37"/>
                <a:gd name="T14" fmla="*/ 1 w 17"/>
                <a:gd name="T15" fmla="*/ 0 h 3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7"/>
                <a:gd name="T25" fmla="*/ 0 h 37"/>
                <a:gd name="T26" fmla="*/ 17 w 17"/>
                <a:gd name="T27" fmla="*/ 37 h 3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7" h="37">
                  <a:moveTo>
                    <a:pt x="6" y="0"/>
                  </a:moveTo>
                  <a:lnTo>
                    <a:pt x="0" y="3"/>
                  </a:lnTo>
                  <a:lnTo>
                    <a:pt x="8" y="37"/>
                  </a:lnTo>
                  <a:lnTo>
                    <a:pt x="17" y="33"/>
                  </a:lnTo>
                  <a:lnTo>
                    <a:pt x="17" y="29"/>
                  </a:lnTo>
                  <a:lnTo>
                    <a:pt x="13" y="12"/>
                  </a:lnTo>
                  <a:lnTo>
                    <a:pt x="17" y="11"/>
                  </a:lnTo>
                  <a:lnTo>
                    <a:pt x="6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08" name="Freeform 136"/>
            <p:cNvSpPr>
              <a:spLocks/>
            </p:cNvSpPr>
            <p:nvPr/>
          </p:nvSpPr>
          <p:spPr bwMode="auto">
            <a:xfrm>
              <a:off x="1760" y="2941"/>
              <a:ext cx="13" cy="21"/>
            </a:xfrm>
            <a:custGeom>
              <a:avLst/>
              <a:gdLst>
                <a:gd name="T0" fmla="*/ 1 w 20"/>
                <a:gd name="T1" fmla="*/ 0 h 30"/>
                <a:gd name="T2" fmla="*/ 0 w 20"/>
                <a:gd name="T3" fmla="*/ 1 h 30"/>
                <a:gd name="T4" fmla="*/ 1 w 20"/>
                <a:gd name="T5" fmla="*/ 1 h 30"/>
                <a:gd name="T6" fmla="*/ 1 w 20"/>
                <a:gd name="T7" fmla="*/ 1 h 30"/>
                <a:gd name="T8" fmla="*/ 1 w 20"/>
                <a:gd name="T9" fmla="*/ 1 h 30"/>
                <a:gd name="T10" fmla="*/ 1 w 20"/>
                <a:gd name="T11" fmla="*/ 0 h 3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"/>
                <a:gd name="T19" fmla="*/ 0 h 30"/>
                <a:gd name="T20" fmla="*/ 20 w 20"/>
                <a:gd name="T21" fmla="*/ 30 h 3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" h="30">
                  <a:moveTo>
                    <a:pt x="10" y="0"/>
                  </a:moveTo>
                  <a:lnTo>
                    <a:pt x="0" y="12"/>
                  </a:lnTo>
                  <a:lnTo>
                    <a:pt x="11" y="25"/>
                  </a:lnTo>
                  <a:lnTo>
                    <a:pt x="18" y="30"/>
                  </a:lnTo>
                  <a:lnTo>
                    <a:pt x="20" y="21"/>
                  </a:lnTo>
                  <a:lnTo>
                    <a:pt x="10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09" name="Freeform 137"/>
            <p:cNvSpPr>
              <a:spLocks/>
            </p:cNvSpPr>
            <p:nvPr/>
          </p:nvSpPr>
          <p:spPr bwMode="auto">
            <a:xfrm>
              <a:off x="1525" y="2066"/>
              <a:ext cx="89" cy="113"/>
            </a:xfrm>
            <a:custGeom>
              <a:avLst/>
              <a:gdLst>
                <a:gd name="T0" fmla="*/ 0 w 125"/>
                <a:gd name="T1" fmla="*/ 1 h 160"/>
                <a:gd name="T2" fmla="*/ 1 w 125"/>
                <a:gd name="T3" fmla="*/ 1 h 160"/>
                <a:gd name="T4" fmla="*/ 0 w 125"/>
                <a:gd name="T5" fmla="*/ 1 h 160"/>
                <a:gd name="T6" fmla="*/ 1 w 125"/>
                <a:gd name="T7" fmla="*/ 1 h 160"/>
                <a:gd name="T8" fmla="*/ 1 w 125"/>
                <a:gd name="T9" fmla="*/ 1 h 160"/>
                <a:gd name="T10" fmla="*/ 1 w 125"/>
                <a:gd name="T11" fmla="*/ 1 h 160"/>
                <a:gd name="T12" fmla="*/ 1 w 125"/>
                <a:gd name="T13" fmla="*/ 1 h 160"/>
                <a:gd name="T14" fmla="*/ 1 w 125"/>
                <a:gd name="T15" fmla="*/ 1 h 160"/>
                <a:gd name="T16" fmla="*/ 1 w 125"/>
                <a:gd name="T17" fmla="*/ 1 h 160"/>
                <a:gd name="T18" fmla="*/ 1 w 125"/>
                <a:gd name="T19" fmla="*/ 1 h 160"/>
                <a:gd name="T20" fmla="*/ 1 w 125"/>
                <a:gd name="T21" fmla="*/ 1 h 160"/>
                <a:gd name="T22" fmla="*/ 1 w 125"/>
                <a:gd name="T23" fmla="*/ 1 h 160"/>
                <a:gd name="T24" fmla="*/ 1 w 125"/>
                <a:gd name="T25" fmla="*/ 1 h 160"/>
                <a:gd name="T26" fmla="*/ 1 w 125"/>
                <a:gd name="T27" fmla="*/ 1 h 160"/>
                <a:gd name="T28" fmla="*/ 1 w 125"/>
                <a:gd name="T29" fmla="*/ 1 h 160"/>
                <a:gd name="T30" fmla="*/ 1 w 125"/>
                <a:gd name="T31" fmla="*/ 1 h 160"/>
                <a:gd name="T32" fmla="*/ 1 w 125"/>
                <a:gd name="T33" fmla="*/ 1 h 160"/>
                <a:gd name="T34" fmla="*/ 1 w 125"/>
                <a:gd name="T35" fmla="*/ 1 h 160"/>
                <a:gd name="T36" fmla="*/ 1 w 125"/>
                <a:gd name="T37" fmla="*/ 1 h 160"/>
                <a:gd name="T38" fmla="*/ 1 w 125"/>
                <a:gd name="T39" fmla="*/ 1 h 160"/>
                <a:gd name="T40" fmla="*/ 1 w 125"/>
                <a:gd name="T41" fmla="*/ 1 h 160"/>
                <a:gd name="T42" fmla="*/ 1 w 125"/>
                <a:gd name="T43" fmla="*/ 1 h 160"/>
                <a:gd name="T44" fmla="*/ 1 w 125"/>
                <a:gd name="T45" fmla="*/ 1 h 160"/>
                <a:gd name="T46" fmla="*/ 1 w 125"/>
                <a:gd name="T47" fmla="*/ 1 h 160"/>
                <a:gd name="T48" fmla="*/ 1 w 125"/>
                <a:gd name="T49" fmla="*/ 1 h 160"/>
                <a:gd name="T50" fmla="*/ 1 w 125"/>
                <a:gd name="T51" fmla="*/ 1 h 160"/>
                <a:gd name="T52" fmla="*/ 1 w 125"/>
                <a:gd name="T53" fmla="*/ 1 h 160"/>
                <a:gd name="T54" fmla="*/ 1 w 125"/>
                <a:gd name="T55" fmla="*/ 1 h 160"/>
                <a:gd name="T56" fmla="*/ 1 w 125"/>
                <a:gd name="T57" fmla="*/ 1 h 160"/>
                <a:gd name="T58" fmla="*/ 1 w 125"/>
                <a:gd name="T59" fmla="*/ 1 h 160"/>
                <a:gd name="T60" fmla="*/ 1 w 125"/>
                <a:gd name="T61" fmla="*/ 0 h 160"/>
                <a:gd name="T62" fmla="*/ 1 w 125"/>
                <a:gd name="T63" fmla="*/ 1 h 160"/>
                <a:gd name="T64" fmla="*/ 1 w 125"/>
                <a:gd name="T65" fmla="*/ 1 h 160"/>
                <a:gd name="T66" fmla="*/ 1 w 125"/>
                <a:gd name="T67" fmla="*/ 1 h 160"/>
                <a:gd name="T68" fmla="*/ 1 w 125"/>
                <a:gd name="T69" fmla="*/ 1 h 160"/>
                <a:gd name="T70" fmla="*/ 0 w 125"/>
                <a:gd name="T71" fmla="*/ 1 h 16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25"/>
                <a:gd name="T109" fmla="*/ 0 h 160"/>
                <a:gd name="T110" fmla="*/ 125 w 125"/>
                <a:gd name="T111" fmla="*/ 160 h 16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25" h="160">
                  <a:moveTo>
                    <a:pt x="0" y="64"/>
                  </a:moveTo>
                  <a:lnTo>
                    <a:pt x="4" y="89"/>
                  </a:lnTo>
                  <a:lnTo>
                    <a:pt x="0" y="94"/>
                  </a:lnTo>
                  <a:lnTo>
                    <a:pt x="16" y="101"/>
                  </a:lnTo>
                  <a:lnTo>
                    <a:pt x="20" y="95"/>
                  </a:lnTo>
                  <a:lnTo>
                    <a:pt x="23" y="100"/>
                  </a:lnTo>
                  <a:lnTo>
                    <a:pt x="22" y="115"/>
                  </a:lnTo>
                  <a:lnTo>
                    <a:pt x="13" y="120"/>
                  </a:lnTo>
                  <a:lnTo>
                    <a:pt x="16" y="134"/>
                  </a:lnTo>
                  <a:lnTo>
                    <a:pt x="11" y="145"/>
                  </a:lnTo>
                  <a:lnTo>
                    <a:pt x="18" y="143"/>
                  </a:lnTo>
                  <a:lnTo>
                    <a:pt x="42" y="160"/>
                  </a:lnTo>
                  <a:lnTo>
                    <a:pt x="49" y="151"/>
                  </a:lnTo>
                  <a:lnTo>
                    <a:pt x="52" y="140"/>
                  </a:lnTo>
                  <a:lnTo>
                    <a:pt x="56" y="131"/>
                  </a:lnTo>
                  <a:lnTo>
                    <a:pt x="60" y="116"/>
                  </a:lnTo>
                  <a:lnTo>
                    <a:pt x="62" y="116"/>
                  </a:lnTo>
                  <a:lnTo>
                    <a:pt x="62" y="121"/>
                  </a:lnTo>
                  <a:lnTo>
                    <a:pt x="66" y="120"/>
                  </a:lnTo>
                  <a:lnTo>
                    <a:pt x="65" y="116"/>
                  </a:lnTo>
                  <a:lnTo>
                    <a:pt x="70" y="110"/>
                  </a:lnTo>
                  <a:lnTo>
                    <a:pt x="83" y="104"/>
                  </a:lnTo>
                  <a:lnTo>
                    <a:pt x="107" y="89"/>
                  </a:lnTo>
                  <a:lnTo>
                    <a:pt x="120" y="60"/>
                  </a:lnTo>
                  <a:lnTo>
                    <a:pt x="125" y="60"/>
                  </a:lnTo>
                  <a:lnTo>
                    <a:pt x="116" y="41"/>
                  </a:lnTo>
                  <a:lnTo>
                    <a:pt x="122" y="38"/>
                  </a:lnTo>
                  <a:lnTo>
                    <a:pt x="98" y="26"/>
                  </a:lnTo>
                  <a:lnTo>
                    <a:pt x="77" y="26"/>
                  </a:lnTo>
                  <a:lnTo>
                    <a:pt x="64" y="13"/>
                  </a:lnTo>
                  <a:lnTo>
                    <a:pt x="46" y="0"/>
                  </a:lnTo>
                  <a:lnTo>
                    <a:pt x="37" y="10"/>
                  </a:lnTo>
                  <a:lnTo>
                    <a:pt x="18" y="20"/>
                  </a:lnTo>
                  <a:lnTo>
                    <a:pt x="13" y="40"/>
                  </a:lnTo>
                  <a:lnTo>
                    <a:pt x="11" y="52"/>
                  </a:lnTo>
                  <a:lnTo>
                    <a:pt x="0" y="6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10" name="Freeform 138"/>
            <p:cNvSpPr>
              <a:spLocks/>
            </p:cNvSpPr>
            <p:nvPr/>
          </p:nvSpPr>
          <p:spPr bwMode="auto">
            <a:xfrm>
              <a:off x="1538" y="2140"/>
              <a:ext cx="4" cy="2"/>
            </a:xfrm>
            <a:custGeom>
              <a:avLst/>
              <a:gdLst>
                <a:gd name="T0" fmla="*/ 1 w 6"/>
                <a:gd name="T1" fmla="*/ 0 h 5"/>
                <a:gd name="T2" fmla="*/ 1 w 6"/>
                <a:gd name="T3" fmla="*/ 0 h 5"/>
                <a:gd name="T4" fmla="*/ 0 w 6"/>
                <a:gd name="T5" fmla="*/ 0 h 5"/>
                <a:gd name="T6" fmla="*/ 1 w 6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5"/>
                <a:gd name="T14" fmla="*/ 6 w 6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5">
                  <a:moveTo>
                    <a:pt x="6" y="1"/>
                  </a:moveTo>
                  <a:lnTo>
                    <a:pt x="1" y="5"/>
                  </a:lnTo>
                  <a:lnTo>
                    <a:pt x="0" y="0"/>
                  </a:lnTo>
                  <a:lnTo>
                    <a:pt x="6" y="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11" name="Freeform 139"/>
            <p:cNvSpPr>
              <a:spLocks/>
            </p:cNvSpPr>
            <p:nvPr/>
          </p:nvSpPr>
          <p:spPr bwMode="auto">
            <a:xfrm>
              <a:off x="1521" y="2093"/>
              <a:ext cx="203" cy="319"/>
            </a:xfrm>
            <a:custGeom>
              <a:avLst/>
              <a:gdLst>
                <a:gd name="T0" fmla="*/ 2 w 288"/>
                <a:gd name="T1" fmla="*/ 3 h 455"/>
                <a:gd name="T2" fmla="*/ 2 w 288"/>
                <a:gd name="T3" fmla="*/ 3 h 455"/>
                <a:gd name="T4" fmla="*/ 2 w 288"/>
                <a:gd name="T5" fmla="*/ 3 h 455"/>
                <a:gd name="T6" fmla="*/ 2 w 288"/>
                <a:gd name="T7" fmla="*/ 3 h 455"/>
                <a:gd name="T8" fmla="*/ 2 w 288"/>
                <a:gd name="T9" fmla="*/ 3 h 455"/>
                <a:gd name="T10" fmla="*/ 2 w 288"/>
                <a:gd name="T11" fmla="*/ 3 h 455"/>
                <a:gd name="T12" fmla="*/ 1 w 288"/>
                <a:gd name="T13" fmla="*/ 3 h 455"/>
                <a:gd name="T14" fmla="*/ 1 w 288"/>
                <a:gd name="T15" fmla="*/ 3 h 455"/>
                <a:gd name="T16" fmla="*/ 1 w 288"/>
                <a:gd name="T17" fmla="*/ 3 h 455"/>
                <a:gd name="T18" fmla="*/ 1 w 288"/>
                <a:gd name="T19" fmla="*/ 2 h 455"/>
                <a:gd name="T20" fmla="*/ 1 w 288"/>
                <a:gd name="T21" fmla="*/ 2 h 455"/>
                <a:gd name="T22" fmla="*/ 1 w 288"/>
                <a:gd name="T23" fmla="*/ 1 h 455"/>
                <a:gd name="T24" fmla="*/ 1 w 288"/>
                <a:gd name="T25" fmla="*/ 1 h 455"/>
                <a:gd name="T26" fmla="*/ 1 w 288"/>
                <a:gd name="T27" fmla="*/ 1 h 455"/>
                <a:gd name="T28" fmla="*/ 1 w 288"/>
                <a:gd name="T29" fmla="*/ 1 h 455"/>
                <a:gd name="T30" fmla="*/ 1 w 288"/>
                <a:gd name="T31" fmla="*/ 1 h 455"/>
                <a:gd name="T32" fmla="*/ 1 w 288"/>
                <a:gd name="T33" fmla="*/ 1 h 455"/>
                <a:gd name="T34" fmla="*/ 1 w 288"/>
                <a:gd name="T35" fmla="*/ 1 h 455"/>
                <a:gd name="T36" fmla="*/ 1 w 288"/>
                <a:gd name="T37" fmla="*/ 1 h 455"/>
                <a:gd name="T38" fmla="*/ 1 w 288"/>
                <a:gd name="T39" fmla="*/ 1 h 455"/>
                <a:gd name="T40" fmla="*/ 1 w 288"/>
                <a:gd name="T41" fmla="*/ 1 h 455"/>
                <a:gd name="T42" fmla="*/ 1 w 288"/>
                <a:gd name="T43" fmla="*/ 1 h 455"/>
                <a:gd name="T44" fmla="*/ 1 w 288"/>
                <a:gd name="T45" fmla="*/ 1 h 455"/>
                <a:gd name="T46" fmla="*/ 1 w 288"/>
                <a:gd name="T47" fmla="*/ 1 h 455"/>
                <a:gd name="T48" fmla="*/ 1 w 288"/>
                <a:gd name="T49" fmla="*/ 1 h 455"/>
                <a:gd name="T50" fmla="*/ 1 w 288"/>
                <a:gd name="T51" fmla="*/ 1 h 455"/>
                <a:gd name="T52" fmla="*/ 1 w 288"/>
                <a:gd name="T53" fmla="*/ 1 h 455"/>
                <a:gd name="T54" fmla="*/ 1 w 288"/>
                <a:gd name="T55" fmla="*/ 1 h 455"/>
                <a:gd name="T56" fmla="*/ 1 w 288"/>
                <a:gd name="T57" fmla="*/ 1 h 455"/>
                <a:gd name="T58" fmla="*/ 2 w 288"/>
                <a:gd name="T59" fmla="*/ 1 h 455"/>
                <a:gd name="T60" fmla="*/ 2 w 288"/>
                <a:gd name="T61" fmla="*/ 1 h 455"/>
                <a:gd name="T62" fmla="*/ 1 w 288"/>
                <a:gd name="T63" fmla="*/ 1 h 455"/>
                <a:gd name="T64" fmla="*/ 1 w 288"/>
                <a:gd name="T65" fmla="*/ 1 h 455"/>
                <a:gd name="T66" fmla="*/ 1 w 288"/>
                <a:gd name="T67" fmla="*/ 1 h 455"/>
                <a:gd name="T68" fmla="*/ 1 w 288"/>
                <a:gd name="T69" fmla="*/ 1 h 455"/>
                <a:gd name="T70" fmla="*/ 1 w 288"/>
                <a:gd name="T71" fmla="*/ 1 h 455"/>
                <a:gd name="T72" fmla="*/ 1 w 288"/>
                <a:gd name="T73" fmla="*/ 2 h 455"/>
                <a:gd name="T74" fmla="*/ 2 w 288"/>
                <a:gd name="T75" fmla="*/ 2 h 455"/>
                <a:gd name="T76" fmla="*/ 2 w 288"/>
                <a:gd name="T77" fmla="*/ 2 h 455"/>
                <a:gd name="T78" fmla="*/ 2 w 288"/>
                <a:gd name="T79" fmla="*/ 2 h 455"/>
                <a:gd name="T80" fmla="*/ 2 w 288"/>
                <a:gd name="T81" fmla="*/ 2 h 45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88"/>
                <a:gd name="T124" fmla="*/ 0 h 455"/>
                <a:gd name="T125" fmla="*/ 288 w 288"/>
                <a:gd name="T126" fmla="*/ 455 h 45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88" h="455">
                  <a:moveTo>
                    <a:pt x="282" y="346"/>
                  </a:moveTo>
                  <a:lnTo>
                    <a:pt x="278" y="359"/>
                  </a:lnTo>
                  <a:lnTo>
                    <a:pt x="278" y="379"/>
                  </a:lnTo>
                  <a:lnTo>
                    <a:pt x="281" y="400"/>
                  </a:lnTo>
                  <a:lnTo>
                    <a:pt x="288" y="402"/>
                  </a:lnTo>
                  <a:lnTo>
                    <a:pt x="278" y="424"/>
                  </a:lnTo>
                  <a:lnTo>
                    <a:pt x="278" y="433"/>
                  </a:lnTo>
                  <a:lnTo>
                    <a:pt x="272" y="443"/>
                  </a:lnTo>
                  <a:lnTo>
                    <a:pt x="265" y="454"/>
                  </a:lnTo>
                  <a:lnTo>
                    <a:pt x="260" y="455"/>
                  </a:lnTo>
                  <a:lnTo>
                    <a:pt x="246" y="443"/>
                  </a:lnTo>
                  <a:lnTo>
                    <a:pt x="236" y="431"/>
                  </a:lnTo>
                  <a:lnTo>
                    <a:pt x="218" y="420"/>
                  </a:lnTo>
                  <a:lnTo>
                    <a:pt x="199" y="409"/>
                  </a:lnTo>
                  <a:lnTo>
                    <a:pt x="180" y="399"/>
                  </a:lnTo>
                  <a:lnTo>
                    <a:pt x="162" y="388"/>
                  </a:lnTo>
                  <a:lnTo>
                    <a:pt x="143" y="369"/>
                  </a:lnTo>
                  <a:lnTo>
                    <a:pt x="123" y="351"/>
                  </a:lnTo>
                  <a:lnTo>
                    <a:pt x="123" y="337"/>
                  </a:lnTo>
                  <a:lnTo>
                    <a:pt x="109" y="310"/>
                  </a:lnTo>
                  <a:lnTo>
                    <a:pt x="95" y="283"/>
                  </a:lnTo>
                  <a:lnTo>
                    <a:pt x="84" y="267"/>
                  </a:lnTo>
                  <a:lnTo>
                    <a:pt x="74" y="249"/>
                  </a:lnTo>
                  <a:lnTo>
                    <a:pt x="65" y="231"/>
                  </a:lnTo>
                  <a:lnTo>
                    <a:pt x="56" y="213"/>
                  </a:lnTo>
                  <a:lnTo>
                    <a:pt x="47" y="193"/>
                  </a:lnTo>
                  <a:lnTo>
                    <a:pt x="37" y="175"/>
                  </a:lnTo>
                  <a:lnTo>
                    <a:pt x="21" y="163"/>
                  </a:lnTo>
                  <a:lnTo>
                    <a:pt x="6" y="151"/>
                  </a:lnTo>
                  <a:lnTo>
                    <a:pt x="8" y="144"/>
                  </a:lnTo>
                  <a:lnTo>
                    <a:pt x="0" y="112"/>
                  </a:lnTo>
                  <a:lnTo>
                    <a:pt x="11" y="97"/>
                  </a:lnTo>
                  <a:lnTo>
                    <a:pt x="20" y="83"/>
                  </a:lnTo>
                  <a:lnTo>
                    <a:pt x="23" y="97"/>
                  </a:lnTo>
                  <a:lnTo>
                    <a:pt x="18" y="108"/>
                  </a:lnTo>
                  <a:lnTo>
                    <a:pt x="25" y="106"/>
                  </a:lnTo>
                  <a:lnTo>
                    <a:pt x="49" y="123"/>
                  </a:lnTo>
                  <a:lnTo>
                    <a:pt x="56" y="114"/>
                  </a:lnTo>
                  <a:lnTo>
                    <a:pt x="59" y="103"/>
                  </a:lnTo>
                  <a:lnTo>
                    <a:pt x="63" y="95"/>
                  </a:lnTo>
                  <a:lnTo>
                    <a:pt x="67" y="79"/>
                  </a:lnTo>
                  <a:lnTo>
                    <a:pt x="69" y="79"/>
                  </a:lnTo>
                  <a:lnTo>
                    <a:pt x="69" y="84"/>
                  </a:lnTo>
                  <a:lnTo>
                    <a:pt x="73" y="83"/>
                  </a:lnTo>
                  <a:lnTo>
                    <a:pt x="72" y="79"/>
                  </a:lnTo>
                  <a:lnTo>
                    <a:pt x="77" y="73"/>
                  </a:lnTo>
                  <a:lnTo>
                    <a:pt x="90" y="67"/>
                  </a:lnTo>
                  <a:lnTo>
                    <a:pt x="114" y="52"/>
                  </a:lnTo>
                  <a:lnTo>
                    <a:pt x="127" y="23"/>
                  </a:lnTo>
                  <a:lnTo>
                    <a:pt x="132" y="23"/>
                  </a:lnTo>
                  <a:lnTo>
                    <a:pt x="123" y="4"/>
                  </a:lnTo>
                  <a:lnTo>
                    <a:pt x="129" y="1"/>
                  </a:lnTo>
                  <a:lnTo>
                    <a:pt x="131" y="0"/>
                  </a:lnTo>
                  <a:lnTo>
                    <a:pt x="144" y="12"/>
                  </a:lnTo>
                  <a:lnTo>
                    <a:pt x="156" y="24"/>
                  </a:lnTo>
                  <a:lnTo>
                    <a:pt x="173" y="43"/>
                  </a:lnTo>
                  <a:lnTo>
                    <a:pt x="177" y="55"/>
                  </a:lnTo>
                  <a:lnTo>
                    <a:pt x="204" y="55"/>
                  </a:lnTo>
                  <a:lnTo>
                    <a:pt x="221" y="57"/>
                  </a:lnTo>
                  <a:lnTo>
                    <a:pt x="243" y="64"/>
                  </a:lnTo>
                  <a:lnTo>
                    <a:pt x="235" y="94"/>
                  </a:lnTo>
                  <a:lnTo>
                    <a:pt x="248" y="103"/>
                  </a:lnTo>
                  <a:lnTo>
                    <a:pt x="241" y="103"/>
                  </a:lnTo>
                  <a:lnTo>
                    <a:pt x="222" y="108"/>
                  </a:lnTo>
                  <a:lnTo>
                    <a:pt x="205" y="117"/>
                  </a:lnTo>
                  <a:lnTo>
                    <a:pt x="187" y="124"/>
                  </a:lnTo>
                  <a:lnTo>
                    <a:pt x="182" y="143"/>
                  </a:lnTo>
                  <a:lnTo>
                    <a:pt x="176" y="162"/>
                  </a:lnTo>
                  <a:lnTo>
                    <a:pt x="164" y="183"/>
                  </a:lnTo>
                  <a:lnTo>
                    <a:pt x="175" y="201"/>
                  </a:lnTo>
                  <a:lnTo>
                    <a:pt x="185" y="220"/>
                  </a:lnTo>
                  <a:lnTo>
                    <a:pt x="183" y="231"/>
                  </a:lnTo>
                  <a:lnTo>
                    <a:pt x="192" y="233"/>
                  </a:lnTo>
                  <a:lnTo>
                    <a:pt x="205" y="243"/>
                  </a:lnTo>
                  <a:lnTo>
                    <a:pt x="223" y="247"/>
                  </a:lnTo>
                  <a:lnTo>
                    <a:pt x="237" y="235"/>
                  </a:lnTo>
                  <a:lnTo>
                    <a:pt x="239" y="253"/>
                  </a:lnTo>
                  <a:lnTo>
                    <a:pt x="241" y="273"/>
                  </a:lnTo>
                  <a:lnTo>
                    <a:pt x="264" y="270"/>
                  </a:lnTo>
                  <a:lnTo>
                    <a:pt x="275" y="291"/>
                  </a:lnTo>
                  <a:lnTo>
                    <a:pt x="285" y="310"/>
                  </a:lnTo>
                  <a:lnTo>
                    <a:pt x="282" y="315"/>
                  </a:lnTo>
                  <a:lnTo>
                    <a:pt x="282" y="346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12" name="Freeform 140"/>
            <p:cNvSpPr>
              <a:spLocks/>
            </p:cNvSpPr>
            <p:nvPr/>
          </p:nvSpPr>
          <p:spPr bwMode="auto">
            <a:xfrm>
              <a:off x="3661" y="1166"/>
              <a:ext cx="786" cy="571"/>
            </a:xfrm>
            <a:custGeom>
              <a:avLst/>
              <a:gdLst>
                <a:gd name="T0" fmla="*/ 3 w 1118"/>
                <a:gd name="T1" fmla="*/ 4 h 812"/>
                <a:gd name="T2" fmla="*/ 3 w 1118"/>
                <a:gd name="T3" fmla="*/ 4 h 812"/>
                <a:gd name="T4" fmla="*/ 2 w 1118"/>
                <a:gd name="T5" fmla="*/ 4 h 812"/>
                <a:gd name="T6" fmla="*/ 1 w 1118"/>
                <a:gd name="T7" fmla="*/ 4 h 812"/>
                <a:gd name="T8" fmla="*/ 1 w 1118"/>
                <a:gd name="T9" fmla="*/ 4 h 812"/>
                <a:gd name="T10" fmla="*/ 1 w 1118"/>
                <a:gd name="T11" fmla="*/ 3 h 812"/>
                <a:gd name="T12" fmla="*/ 1 w 1118"/>
                <a:gd name="T13" fmla="*/ 3 h 812"/>
                <a:gd name="T14" fmla="*/ 1 w 1118"/>
                <a:gd name="T15" fmla="*/ 3 h 812"/>
                <a:gd name="T16" fmla="*/ 1 w 1118"/>
                <a:gd name="T17" fmla="*/ 3 h 812"/>
                <a:gd name="T18" fmla="*/ 1 w 1118"/>
                <a:gd name="T19" fmla="*/ 2 h 812"/>
                <a:gd name="T20" fmla="*/ 1 w 1118"/>
                <a:gd name="T21" fmla="*/ 2 h 812"/>
                <a:gd name="T22" fmla="*/ 1 w 1118"/>
                <a:gd name="T23" fmla="*/ 1 h 812"/>
                <a:gd name="T24" fmla="*/ 1 w 1118"/>
                <a:gd name="T25" fmla="*/ 1 h 812"/>
                <a:gd name="T26" fmla="*/ 1 w 1118"/>
                <a:gd name="T27" fmla="*/ 1 h 812"/>
                <a:gd name="T28" fmla="*/ 1 w 1118"/>
                <a:gd name="T29" fmla="*/ 1 h 812"/>
                <a:gd name="T30" fmla="*/ 2 w 1118"/>
                <a:gd name="T31" fmla="*/ 1 h 812"/>
                <a:gd name="T32" fmla="*/ 3 w 1118"/>
                <a:gd name="T33" fmla="*/ 2 h 812"/>
                <a:gd name="T34" fmla="*/ 4 w 1118"/>
                <a:gd name="T35" fmla="*/ 2 h 812"/>
                <a:gd name="T36" fmla="*/ 4 w 1118"/>
                <a:gd name="T37" fmla="*/ 2 h 812"/>
                <a:gd name="T38" fmla="*/ 6 w 1118"/>
                <a:gd name="T39" fmla="*/ 1 h 812"/>
                <a:gd name="T40" fmla="*/ 6 w 1118"/>
                <a:gd name="T41" fmla="*/ 1 h 812"/>
                <a:gd name="T42" fmla="*/ 6 w 1118"/>
                <a:gd name="T43" fmla="*/ 1 h 812"/>
                <a:gd name="T44" fmla="*/ 6 w 1118"/>
                <a:gd name="T45" fmla="*/ 1 h 812"/>
                <a:gd name="T46" fmla="*/ 6 w 1118"/>
                <a:gd name="T47" fmla="*/ 1 h 812"/>
                <a:gd name="T48" fmla="*/ 6 w 1118"/>
                <a:gd name="T49" fmla="*/ 0 h 812"/>
                <a:gd name="T50" fmla="*/ 6 w 1118"/>
                <a:gd name="T51" fmla="*/ 1 h 812"/>
                <a:gd name="T52" fmla="*/ 8 w 1118"/>
                <a:gd name="T53" fmla="*/ 1 h 812"/>
                <a:gd name="T54" fmla="*/ 8 w 1118"/>
                <a:gd name="T55" fmla="*/ 1 h 812"/>
                <a:gd name="T56" fmla="*/ 8 w 1118"/>
                <a:gd name="T57" fmla="*/ 2 h 812"/>
                <a:gd name="T58" fmla="*/ 8 w 1118"/>
                <a:gd name="T59" fmla="*/ 2 h 812"/>
                <a:gd name="T60" fmla="*/ 8 w 1118"/>
                <a:gd name="T61" fmla="*/ 2 h 812"/>
                <a:gd name="T62" fmla="*/ 7 w 1118"/>
                <a:gd name="T63" fmla="*/ 3 h 812"/>
                <a:gd name="T64" fmla="*/ 6 w 1118"/>
                <a:gd name="T65" fmla="*/ 3 h 812"/>
                <a:gd name="T66" fmla="*/ 6 w 1118"/>
                <a:gd name="T67" fmla="*/ 3 h 812"/>
                <a:gd name="T68" fmla="*/ 8 w 1118"/>
                <a:gd name="T69" fmla="*/ 3 h 812"/>
                <a:gd name="T70" fmla="*/ 7 w 1118"/>
                <a:gd name="T71" fmla="*/ 3 h 812"/>
                <a:gd name="T72" fmla="*/ 8 w 1118"/>
                <a:gd name="T73" fmla="*/ 4 h 812"/>
                <a:gd name="T74" fmla="*/ 8 w 1118"/>
                <a:gd name="T75" fmla="*/ 4 h 812"/>
                <a:gd name="T76" fmla="*/ 8 w 1118"/>
                <a:gd name="T77" fmla="*/ 4 h 812"/>
                <a:gd name="T78" fmla="*/ 8 w 1118"/>
                <a:gd name="T79" fmla="*/ 4 h 812"/>
                <a:gd name="T80" fmla="*/ 8 w 1118"/>
                <a:gd name="T81" fmla="*/ 4 h 812"/>
                <a:gd name="T82" fmla="*/ 8 w 1118"/>
                <a:gd name="T83" fmla="*/ 5 h 812"/>
                <a:gd name="T84" fmla="*/ 8 w 1118"/>
                <a:gd name="T85" fmla="*/ 5 h 812"/>
                <a:gd name="T86" fmla="*/ 8 w 1118"/>
                <a:gd name="T87" fmla="*/ 6 h 812"/>
                <a:gd name="T88" fmla="*/ 7 w 1118"/>
                <a:gd name="T89" fmla="*/ 6 h 812"/>
                <a:gd name="T90" fmla="*/ 7 w 1118"/>
                <a:gd name="T91" fmla="*/ 6 h 812"/>
                <a:gd name="T92" fmla="*/ 6 w 1118"/>
                <a:gd name="T93" fmla="*/ 6 h 812"/>
                <a:gd name="T94" fmla="*/ 6 w 1118"/>
                <a:gd name="T95" fmla="*/ 6 h 812"/>
                <a:gd name="T96" fmla="*/ 6 w 1118"/>
                <a:gd name="T97" fmla="*/ 6 h 812"/>
                <a:gd name="T98" fmla="*/ 6 w 1118"/>
                <a:gd name="T99" fmla="*/ 6 h 812"/>
                <a:gd name="T100" fmla="*/ 6 w 1118"/>
                <a:gd name="T101" fmla="*/ 6 h 812"/>
                <a:gd name="T102" fmla="*/ 6 w 1118"/>
                <a:gd name="T103" fmla="*/ 6 h 812"/>
                <a:gd name="T104" fmla="*/ 6 w 1118"/>
                <a:gd name="T105" fmla="*/ 6 h 812"/>
                <a:gd name="T106" fmla="*/ 5 w 1118"/>
                <a:gd name="T107" fmla="*/ 6 h 812"/>
                <a:gd name="T108" fmla="*/ 4 w 1118"/>
                <a:gd name="T109" fmla="*/ 6 h 812"/>
                <a:gd name="T110" fmla="*/ 4 w 1118"/>
                <a:gd name="T111" fmla="*/ 6 h 812"/>
                <a:gd name="T112" fmla="*/ 4 w 1118"/>
                <a:gd name="T113" fmla="*/ 5 h 812"/>
                <a:gd name="T114" fmla="*/ 4 w 1118"/>
                <a:gd name="T115" fmla="*/ 4 h 812"/>
                <a:gd name="T116" fmla="*/ 4 w 1118"/>
                <a:gd name="T117" fmla="*/ 4 h 81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8"/>
                <a:gd name="T178" fmla="*/ 0 h 812"/>
                <a:gd name="T179" fmla="*/ 1118 w 1118"/>
                <a:gd name="T180" fmla="*/ 812 h 81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8" h="812">
                  <a:moveTo>
                    <a:pt x="499" y="591"/>
                  </a:moveTo>
                  <a:lnTo>
                    <a:pt x="484" y="606"/>
                  </a:lnTo>
                  <a:lnTo>
                    <a:pt x="468" y="619"/>
                  </a:lnTo>
                  <a:lnTo>
                    <a:pt x="449" y="627"/>
                  </a:lnTo>
                  <a:lnTo>
                    <a:pt x="438" y="619"/>
                  </a:lnTo>
                  <a:lnTo>
                    <a:pt x="407" y="616"/>
                  </a:lnTo>
                  <a:lnTo>
                    <a:pt x="393" y="638"/>
                  </a:lnTo>
                  <a:lnTo>
                    <a:pt x="383" y="618"/>
                  </a:lnTo>
                  <a:lnTo>
                    <a:pt x="373" y="625"/>
                  </a:lnTo>
                  <a:lnTo>
                    <a:pt x="347" y="622"/>
                  </a:lnTo>
                  <a:lnTo>
                    <a:pt x="329" y="619"/>
                  </a:lnTo>
                  <a:lnTo>
                    <a:pt x="306" y="610"/>
                  </a:lnTo>
                  <a:lnTo>
                    <a:pt x="304" y="606"/>
                  </a:lnTo>
                  <a:lnTo>
                    <a:pt x="283" y="597"/>
                  </a:lnTo>
                  <a:lnTo>
                    <a:pt x="276" y="589"/>
                  </a:lnTo>
                  <a:lnTo>
                    <a:pt x="268" y="592"/>
                  </a:lnTo>
                  <a:lnTo>
                    <a:pt x="240" y="571"/>
                  </a:lnTo>
                  <a:lnTo>
                    <a:pt x="223" y="560"/>
                  </a:lnTo>
                  <a:lnTo>
                    <a:pt x="214" y="568"/>
                  </a:lnTo>
                  <a:lnTo>
                    <a:pt x="213" y="566"/>
                  </a:lnTo>
                  <a:lnTo>
                    <a:pt x="191" y="553"/>
                  </a:lnTo>
                  <a:lnTo>
                    <a:pt x="166" y="538"/>
                  </a:lnTo>
                  <a:lnTo>
                    <a:pt x="156" y="535"/>
                  </a:lnTo>
                  <a:lnTo>
                    <a:pt x="147" y="507"/>
                  </a:lnTo>
                  <a:lnTo>
                    <a:pt x="159" y="510"/>
                  </a:lnTo>
                  <a:lnTo>
                    <a:pt x="162" y="500"/>
                  </a:lnTo>
                  <a:lnTo>
                    <a:pt x="149" y="482"/>
                  </a:lnTo>
                  <a:lnTo>
                    <a:pt x="149" y="472"/>
                  </a:lnTo>
                  <a:lnTo>
                    <a:pt x="147" y="466"/>
                  </a:lnTo>
                  <a:lnTo>
                    <a:pt x="143" y="462"/>
                  </a:lnTo>
                  <a:lnTo>
                    <a:pt x="139" y="456"/>
                  </a:lnTo>
                  <a:lnTo>
                    <a:pt x="138" y="451"/>
                  </a:lnTo>
                  <a:lnTo>
                    <a:pt x="136" y="444"/>
                  </a:lnTo>
                  <a:lnTo>
                    <a:pt x="129" y="441"/>
                  </a:lnTo>
                  <a:lnTo>
                    <a:pt x="119" y="438"/>
                  </a:lnTo>
                  <a:lnTo>
                    <a:pt x="113" y="435"/>
                  </a:lnTo>
                  <a:lnTo>
                    <a:pt x="84" y="427"/>
                  </a:lnTo>
                  <a:lnTo>
                    <a:pt x="69" y="420"/>
                  </a:lnTo>
                  <a:lnTo>
                    <a:pt x="59" y="404"/>
                  </a:lnTo>
                  <a:lnTo>
                    <a:pt x="35" y="397"/>
                  </a:lnTo>
                  <a:lnTo>
                    <a:pt x="34" y="392"/>
                  </a:lnTo>
                  <a:lnTo>
                    <a:pt x="40" y="392"/>
                  </a:lnTo>
                  <a:lnTo>
                    <a:pt x="41" y="392"/>
                  </a:lnTo>
                  <a:lnTo>
                    <a:pt x="43" y="390"/>
                  </a:lnTo>
                  <a:lnTo>
                    <a:pt x="30" y="362"/>
                  </a:lnTo>
                  <a:lnTo>
                    <a:pt x="12" y="360"/>
                  </a:lnTo>
                  <a:lnTo>
                    <a:pt x="0" y="339"/>
                  </a:lnTo>
                  <a:lnTo>
                    <a:pt x="9" y="321"/>
                  </a:lnTo>
                  <a:lnTo>
                    <a:pt x="23" y="312"/>
                  </a:lnTo>
                  <a:lnTo>
                    <a:pt x="33" y="312"/>
                  </a:lnTo>
                  <a:lnTo>
                    <a:pt x="45" y="314"/>
                  </a:lnTo>
                  <a:lnTo>
                    <a:pt x="58" y="298"/>
                  </a:lnTo>
                  <a:lnTo>
                    <a:pt x="78" y="294"/>
                  </a:lnTo>
                  <a:lnTo>
                    <a:pt x="95" y="280"/>
                  </a:lnTo>
                  <a:lnTo>
                    <a:pt x="111" y="268"/>
                  </a:lnTo>
                  <a:lnTo>
                    <a:pt x="105" y="256"/>
                  </a:lnTo>
                  <a:lnTo>
                    <a:pt x="109" y="252"/>
                  </a:lnTo>
                  <a:lnTo>
                    <a:pt x="109" y="247"/>
                  </a:lnTo>
                  <a:lnTo>
                    <a:pt x="100" y="229"/>
                  </a:lnTo>
                  <a:lnTo>
                    <a:pt x="91" y="211"/>
                  </a:lnTo>
                  <a:lnTo>
                    <a:pt x="78" y="204"/>
                  </a:lnTo>
                  <a:lnTo>
                    <a:pt x="101" y="195"/>
                  </a:lnTo>
                  <a:lnTo>
                    <a:pt x="129" y="198"/>
                  </a:lnTo>
                  <a:lnTo>
                    <a:pt x="121" y="189"/>
                  </a:lnTo>
                  <a:lnTo>
                    <a:pt x="119" y="168"/>
                  </a:lnTo>
                  <a:lnTo>
                    <a:pt x="117" y="147"/>
                  </a:lnTo>
                  <a:lnTo>
                    <a:pt x="148" y="153"/>
                  </a:lnTo>
                  <a:lnTo>
                    <a:pt x="166" y="151"/>
                  </a:lnTo>
                  <a:lnTo>
                    <a:pt x="156" y="124"/>
                  </a:lnTo>
                  <a:lnTo>
                    <a:pt x="166" y="118"/>
                  </a:lnTo>
                  <a:lnTo>
                    <a:pt x="173" y="102"/>
                  </a:lnTo>
                  <a:lnTo>
                    <a:pt x="189" y="100"/>
                  </a:lnTo>
                  <a:lnTo>
                    <a:pt x="191" y="104"/>
                  </a:lnTo>
                  <a:lnTo>
                    <a:pt x="198" y="112"/>
                  </a:lnTo>
                  <a:lnTo>
                    <a:pt x="227" y="130"/>
                  </a:lnTo>
                  <a:lnTo>
                    <a:pt x="243" y="133"/>
                  </a:lnTo>
                  <a:lnTo>
                    <a:pt x="271" y="153"/>
                  </a:lnTo>
                  <a:lnTo>
                    <a:pt x="279" y="174"/>
                  </a:lnTo>
                  <a:lnTo>
                    <a:pt x="286" y="193"/>
                  </a:lnTo>
                  <a:lnTo>
                    <a:pt x="310" y="198"/>
                  </a:lnTo>
                  <a:lnTo>
                    <a:pt x="333" y="201"/>
                  </a:lnTo>
                  <a:lnTo>
                    <a:pt x="361" y="210"/>
                  </a:lnTo>
                  <a:lnTo>
                    <a:pt x="390" y="219"/>
                  </a:lnTo>
                  <a:lnTo>
                    <a:pt x="408" y="237"/>
                  </a:lnTo>
                  <a:lnTo>
                    <a:pt x="426" y="256"/>
                  </a:lnTo>
                  <a:lnTo>
                    <a:pt x="454" y="258"/>
                  </a:lnTo>
                  <a:lnTo>
                    <a:pt x="481" y="260"/>
                  </a:lnTo>
                  <a:lnTo>
                    <a:pt x="509" y="261"/>
                  </a:lnTo>
                  <a:lnTo>
                    <a:pt x="538" y="264"/>
                  </a:lnTo>
                  <a:lnTo>
                    <a:pt x="545" y="270"/>
                  </a:lnTo>
                  <a:lnTo>
                    <a:pt x="570" y="274"/>
                  </a:lnTo>
                  <a:lnTo>
                    <a:pt x="594" y="279"/>
                  </a:lnTo>
                  <a:lnTo>
                    <a:pt x="610" y="286"/>
                  </a:lnTo>
                  <a:lnTo>
                    <a:pt x="624" y="277"/>
                  </a:lnTo>
                  <a:lnTo>
                    <a:pt x="640" y="267"/>
                  </a:lnTo>
                  <a:lnTo>
                    <a:pt x="663" y="266"/>
                  </a:lnTo>
                  <a:lnTo>
                    <a:pt x="687" y="264"/>
                  </a:lnTo>
                  <a:lnTo>
                    <a:pt x="706" y="249"/>
                  </a:lnTo>
                  <a:lnTo>
                    <a:pt x="724" y="234"/>
                  </a:lnTo>
                  <a:lnTo>
                    <a:pt x="710" y="220"/>
                  </a:lnTo>
                  <a:lnTo>
                    <a:pt x="707" y="199"/>
                  </a:lnTo>
                  <a:lnTo>
                    <a:pt x="736" y="206"/>
                  </a:lnTo>
                  <a:lnTo>
                    <a:pt x="754" y="195"/>
                  </a:lnTo>
                  <a:lnTo>
                    <a:pt x="776" y="190"/>
                  </a:lnTo>
                  <a:lnTo>
                    <a:pt x="779" y="174"/>
                  </a:lnTo>
                  <a:lnTo>
                    <a:pt x="801" y="162"/>
                  </a:lnTo>
                  <a:lnTo>
                    <a:pt x="836" y="163"/>
                  </a:lnTo>
                  <a:lnTo>
                    <a:pt x="830" y="150"/>
                  </a:lnTo>
                  <a:lnTo>
                    <a:pt x="786" y="128"/>
                  </a:lnTo>
                  <a:lnTo>
                    <a:pt x="776" y="138"/>
                  </a:lnTo>
                  <a:lnTo>
                    <a:pt x="768" y="133"/>
                  </a:lnTo>
                  <a:lnTo>
                    <a:pt x="748" y="134"/>
                  </a:lnTo>
                  <a:lnTo>
                    <a:pt x="731" y="124"/>
                  </a:lnTo>
                  <a:lnTo>
                    <a:pt x="737" y="122"/>
                  </a:lnTo>
                  <a:lnTo>
                    <a:pt x="735" y="103"/>
                  </a:lnTo>
                  <a:lnTo>
                    <a:pt x="731" y="84"/>
                  </a:lnTo>
                  <a:lnTo>
                    <a:pt x="760" y="90"/>
                  </a:lnTo>
                  <a:lnTo>
                    <a:pt x="774" y="74"/>
                  </a:lnTo>
                  <a:lnTo>
                    <a:pt x="768" y="56"/>
                  </a:lnTo>
                  <a:lnTo>
                    <a:pt x="767" y="27"/>
                  </a:lnTo>
                  <a:lnTo>
                    <a:pt x="753" y="18"/>
                  </a:lnTo>
                  <a:lnTo>
                    <a:pt x="744" y="14"/>
                  </a:lnTo>
                  <a:lnTo>
                    <a:pt x="759" y="1"/>
                  </a:lnTo>
                  <a:lnTo>
                    <a:pt x="783" y="0"/>
                  </a:lnTo>
                  <a:lnTo>
                    <a:pt x="807" y="0"/>
                  </a:lnTo>
                  <a:lnTo>
                    <a:pt x="857" y="15"/>
                  </a:lnTo>
                  <a:lnTo>
                    <a:pt x="876" y="32"/>
                  </a:lnTo>
                  <a:lnTo>
                    <a:pt x="897" y="49"/>
                  </a:lnTo>
                  <a:lnTo>
                    <a:pt x="916" y="66"/>
                  </a:lnTo>
                  <a:lnTo>
                    <a:pt x="936" y="82"/>
                  </a:lnTo>
                  <a:lnTo>
                    <a:pt x="958" y="91"/>
                  </a:lnTo>
                  <a:lnTo>
                    <a:pt x="993" y="100"/>
                  </a:lnTo>
                  <a:lnTo>
                    <a:pt x="1013" y="109"/>
                  </a:lnTo>
                  <a:lnTo>
                    <a:pt x="1038" y="135"/>
                  </a:lnTo>
                  <a:lnTo>
                    <a:pt x="1067" y="132"/>
                  </a:lnTo>
                  <a:lnTo>
                    <a:pt x="1098" y="121"/>
                  </a:lnTo>
                  <a:lnTo>
                    <a:pt x="1110" y="142"/>
                  </a:lnTo>
                  <a:lnTo>
                    <a:pt x="1114" y="171"/>
                  </a:lnTo>
                  <a:lnTo>
                    <a:pt x="1118" y="200"/>
                  </a:lnTo>
                  <a:lnTo>
                    <a:pt x="1091" y="195"/>
                  </a:lnTo>
                  <a:lnTo>
                    <a:pt x="1088" y="208"/>
                  </a:lnTo>
                  <a:lnTo>
                    <a:pt x="1101" y="230"/>
                  </a:lnTo>
                  <a:lnTo>
                    <a:pt x="1115" y="252"/>
                  </a:lnTo>
                  <a:lnTo>
                    <a:pt x="1107" y="258"/>
                  </a:lnTo>
                  <a:lnTo>
                    <a:pt x="1112" y="265"/>
                  </a:lnTo>
                  <a:lnTo>
                    <a:pt x="1089" y="250"/>
                  </a:lnTo>
                  <a:lnTo>
                    <a:pt x="1089" y="264"/>
                  </a:lnTo>
                  <a:lnTo>
                    <a:pt x="1076" y="274"/>
                  </a:lnTo>
                  <a:lnTo>
                    <a:pt x="1068" y="277"/>
                  </a:lnTo>
                  <a:lnTo>
                    <a:pt x="1077" y="290"/>
                  </a:lnTo>
                  <a:lnTo>
                    <a:pt x="1052" y="283"/>
                  </a:lnTo>
                  <a:lnTo>
                    <a:pt x="1044" y="286"/>
                  </a:lnTo>
                  <a:lnTo>
                    <a:pt x="1031" y="308"/>
                  </a:lnTo>
                  <a:lnTo>
                    <a:pt x="1019" y="321"/>
                  </a:lnTo>
                  <a:lnTo>
                    <a:pt x="1010" y="327"/>
                  </a:lnTo>
                  <a:lnTo>
                    <a:pt x="996" y="337"/>
                  </a:lnTo>
                  <a:lnTo>
                    <a:pt x="984" y="346"/>
                  </a:lnTo>
                  <a:lnTo>
                    <a:pt x="969" y="352"/>
                  </a:lnTo>
                  <a:lnTo>
                    <a:pt x="977" y="339"/>
                  </a:lnTo>
                  <a:lnTo>
                    <a:pt x="964" y="333"/>
                  </a:lnTo>
                  <a:lnTo>
                    <a:pt x="968" y="309"/>
                  </a:lnTo>
                  <a:lnTo>
                    <a:pt x="957" y="303"/>
                  </a:lnTo>
                  <a:lnTo>
                    <a:pt x="944" y="306"/>
                  </a:lnTo>
                  <a:lnTo>
                    <a:pt x="934" y="321"/>
                  </a:lnTo>
                  <a:lnTo>
                    <a:pt x="923" y="337"/>
                  </a:lnTo>
                  <a:lnTo>
                    <a:pt x="909" y="346"/>
                  </a:lnTo>
                  <a:lnTo>
                    <a:pt x="898" y="348"/>
                  </a:lnTo>
                  <a:lnTo>
                    <a:pt x="905" y="364"/>
                  </a:lnTo>
                  <a:lnTo>
                    <a:pt x="933" y="373"/>
                  </a:lnTo>
                  <a:lnTo>
                    <a:pt x="945" y="392"/>
                  </a:lnTo>
                  <a:lnTo>
                    <a:pt x="959" y="390"/>
                  </a:lnTo>
                  <a:lnTo>
                    <a:pt x="976" y="378"/>
                  </a:lnTo>
                  <a:lnTo>
                    <a:pt x="1002" y="387"/>
                  </a:lnTo>
                  <a:lnTo>
                    <a:pt x="1014" y="390"/>
                  </a:lnTo>
                  <a:lnTo>
                    <a:pt x="1016" y="403"/>
                  </a:lnTo>
                  <a:lnTo>
                    <a:pt x="1004" y="400"/>
                  </a:lnTo>
                  <a:lnTo>
                    <a:pt x="990" y="409"/>
                  </a:lnTo>
                  <a:lnTo>
                    <a:pt x="983" y="421"/>
                  </a:lnTo>
                  <a:lnTo>
                    <a:pt x="978" y="429"/>
                  </a:lnTo>
                  <a:lnTo>
                    <a:pt x="975" y="453"/>
                  </a:lnTo>
                  <a:lnTo>
                    <a:pt x="1005" y="471"/>
                  </a:lnTo>
                  <a:lnTo>
                    <a:pt x="1019" y="490"/>
                  </a:lnTo>
                  <a:lnTo>
                    <a:pt x="1034" y="510"/>
                  </a:lnTo>
                  <a:lnTo>
                    <a:pt x="1056" y="530"/>
                  </a:lnTo>
                  <a:lnTo>
                    <a:pt x="1024" y="519"/>
                  </a:lnTo>
                  <a:lnTo>
                    <a:pt x="1025" y="522"/>
                  </a:lnTo>
                  <a:lnTo>
                    <a:pt x="1044" y="535"/>
                  </a:lnTo>
                  <a:lnTo>
                    <a:pt x="1065" y="548"/>
                  </a:lnTo>
                  <a:lnTo>
                    <a:pt x="1044" y="562"/>
                  </a:lnTo>
                  <a:lnTo>
                    <a:pt x="1038" y="566"/>
                  </a:lnTo>
                  <a:lnTo>
                    <a:pt x="1050" y="568"/>
                  </a:lnTo>
                  <a:lnTo>
                    <a:pt x="1064" y="567"/>
                  </a:lnTo>
                  <a:lnTo>
                    <a:pt x="1078" y="576"/>
                  </a:lnTo>
                  <a:lnTo>
                    <a:pt x="1071" y="584"/>
                  </a:lnTo>
                  <a:lnTo>
                    <a:pt x="1078" y="584"/>
                  </a:lnTo>
                  <a:lnTo>
                    <a:pt x="1077" y="589"/>
                  </a:lnTo>
                  <a:lnTo>
                    <a:pt x="1071" y="594"/>
                  </a:lnTo>
                  <a:lnTo>
                    <a:pt x="1073" y="597"/>
                  </a:lnTo>
                  <a:lnTo>
                    <a:pt x="1074" y="603"/>
                  </a:lnTo>
                  <a:lnTo>
                    <a:pt x="1071" y="603"/>
                  </a:lnTo>
                  <a:lnTo>
                    <a:pt x="1077" y="613"/>
                  </a:lnTo>
                  <a:lnTo>
                    <a:pt x="1072" y="614"/>
                  </a:lnTo>
                  <a:lnTo>
                    <a:pt x="1060" y="620"/>
                  </a:lnTo>
                  <a:lnTo>
                    <a:pt x="1065" y="627"/>
                  </a:lnTo>
                  <a:lnTo>
                    <a:pt x="1061" y="640"/>
                  </a:lnTo>
                  <a:lnTo>
                    <a:pt x="1054" y="657"/>
                  </a:lnTo>
                  <a:lnTo>
                    <a:pt x="1050" y="660"/>
                  </a:lnTo>
                  <a:lnTo>
                    <a:pt x="1055" y="663"/>
                  </a:lnTo>
                  <a:lnTo>
                    <a:pt x="1046" y="669"/>
                  </a:lnTo>
                  <a:lnTo>
                    <a:pt x="1043" y="669"/>
                  </a:lnTo>
                  <a:lnTo>
                    <a:pt x="1054" y="673"/>
                  </a:lnTo>
                  <a:lnTo>
                    <a:pt x="1054" y="685"/>
                  </a:lnTo>
                  <a:lnTo>
                    <a:pt x="1048" y="684"/>
                  </a:lnTo>
                  <a:lnTo>
                    <a:pt x="1048" y="690"/>
                  </a:lnTo>
                  <a:lnTo>
                    <a:pt x="1044" y="694"/>
                  </a:lnTo>
                  <a:lnTo>
                    <a:pt x="1042" y="698"/>
                  </a:lnTo>
                  <a:lnTo>
                    <a:pt x="1040" y="706"/>
                  </a:lnTo>
                  <a:lnTo>
                    <a:pt x="1029" y="708"/>
                  </a:lnTo>
                  <a:lnTo>
                    <a:pt x="1026" y="711"/>
                  </a:lnTo>
                  <a:lnTo>
                    <a:pt x="1028" y="715"/>
                  </a:lnTo>
                  <a:lnTo>
                    <a:pt x="1022" y="723"/>
                  </a:lnTo>
                  <a:lnTo>
                    <a:pt x="1005" y="736"/>
                  </a:lnTo>
                  <a:lnTo>
                    <a:pt x="1005" y="739"/>
                  </a:lnTo>
                  <a:lnTo>
                    <a:pt x="998" y="746"/>
                  </a:lnTo>
                  <a:lnTo>
                    <a:pt x="986" y="748"/>
                  </a:lnTo>
                  <a:lnTo>
                    <a:pt x="983" y="750"/>
                  </a:lnTo>
                  <a:lnTo>
                    <a:pt x="981" y="751"/>
                  </a:lnTo>
                  <a:lnTo>
                    <a:pt x="971" y="753"/>
                  </a:lnTo>
                  <a:lnTo>
                    <a:pt x="966" y="751"/>
                  </a:lnTo>
                  <a:lnTo>
                    <a:pt x="962" y="757"/>
                  </a:lnTo>
                  <a:lnTo>
                    <a:pt x="959" y="759"/>
                  </a:lnTo>
                  <a:lnTo>
                    <a:pt x="952" y="758"/>
                  </a:lnTo>
                  <a:lnTo>
                    <a:pt x="941" y="742"/>
                  </a:lnTo>
                  <a:lnTo>
                    <a:pt x="936" y="748"/>
                  </a:lnTo>
                  <a:lnTo>
                    <a:pt x="941" y="765"/>
                  </a:lnTo>
                  <a:lnTo>
                    <a:pt x="935" y="759"/>
                  </a:lnTo>
                  <a:lnTo>
                    <a:pt x="936" y="769"/>
                  </a:lnTo>
                  <a:lnTo>
                    <a:pt x="932" y="768"/>
                  </a:lnTo>
                  <a:lnTo>
                    <a:pt x="924" y="776"/>
                  </a:lnTo>
                  <a:lnTo>
                    <a:pt x="918" y="770"/>
                  </a:lnTo>
                  <a:lnTo>
                    <a:pt x="916" y="775"/>
                  </a:lnTo>
                  <a:lnTo>
                    <a:pt x="910" y="775"/>
                  </a:lnTo>
                  <a:lnTo>
                    <a:pt x="897" y="782"/>
                  </a:lnTo>
                  <a:lnTo>
                    <a:pt x="885" y="786"/>
                  </a:lnTo>
                  <a:lnTo>
                    <a:pt x="880" y="787"/>
                  </a:lnTo>
                  <a:lnTo>
                    <a:pt x="879" y="799"/>
                  </a:lnTo>
                  <a:lnTo>
                    <a:pt x="884" y="812"/>
                  </a:lnTo>
                  <a:lnTo>
                    <a:pt x="873" y="810"/>
                  </a:lnTo>
                  <a:lnTo>
                    <a:pt x="867" y="786"/>
                  </a:lnTo>
                  <a:lnTo>
                    <a:pt x="861" y="781"/>
                  </a:lnTo>
                  <a:lnTo>
                    <a:pt x="852" y="782"/>
                  </a:lnTo>
                  <a:lnTo>
                    <a:pt x="844" y="778"/>
                  </a:lnTo>
                  <a:lnTo>
                    <a:pt x="837" y="775"/>
                  </a:lnTo>
                  <a:lnTo>
                    <a:pt x="834" y="778"/>
                  </a:lnTo>
                  <a:lnTo>
                    <a:pt x="827" y="781"/>
                  </a:lnTo>
                  <a:lnTo>
                    <a:pt x="806" y="772"/>
                  </a:lnTo>
                  <a:lnTo>
                    <a:pt x="796" y="765"/>
                  </a:lnTo>
                  <a:lnTo>
                    <a:pt x="792" y="748"/>
                  </a:lnTo>
                  <a:lnTo>
                    <a:pt x="766" y="740"/>
                  </a:lnTo>
                  <a:lnTo>
                    <a:pt x="758" y="739"/>
                  </a:lnTo>
                  <a:lnTo>
                    <a:pt x="744" y="753"/>
                  </a:lnTo>
                  <a:lnTo>
                    <a:pt x="737" y="753"/>
                  </a:lnTo>
                  <a:lnTo>
                    <a:pt x="734" y="756"/>
                  </a:lnTo>
                  <a:lnTo>
                    <a:pt x="728" y="754"/>
                  </a:lnTo>
                  <a:lnTo>
                    <a:pt x="719" y="754"/>
                  </a:lnTo>
                  <a:lnTo>
                    <a:pt x="714" y="758"/>
                  </a:lnTo>
                  <a:lnTo>
                    <a:pt x="702" y="754"/>
                  </a:lnTo>
                  <a:lnTo>
                    <a:pt x="698" y="760"/>
                  </a:lnTo>
                  <a:lnTo>
                    <a:pt x="687" y="760"/>
                  </a:lnTo>
                  <a:lnTo>
                    <a:pt x="693" y="790"/>
                  </a:lnTo>
                  <a:lnTo>
                    <a:pt x="683" y="786"/>
                  </a:lnTo>
                  <a:lnTo>
                    <a:pt x="680" y="781"/>
                  </a:lnTo>
                  <a:lnTo>
                    <a:pt x="674" y="778"/>
                  </a:lnTo>
                  <a:lnTo>
                    <a:pt x="658" y="782"/>
                  </a:lnTo>
                  <a:lnTo>
                    <a:pt x="648" y="769"/>
                  </a:lnTo>
                  <a:lnTo>
                    <a:pt x="636" y="763"/>
                  </a:lnTo>
                  <a:lnTo>
                    <a:pt x="639" y="744"/>
                  </a:lnTo>
                  <a:lnTo>
                    <a:pt x="624" y="736"/>
                  </a:lnTo>
                  <a:lnTo>
                    <a:pt x="618" y="721"/>
                  </a:lnTo>
                  <a:lnTo>
                    <a:pt x="617" y="717"/>
                  </a:lnTo>
                  <a:lnTo>
                    <a:pt x="594" y="721"/>
                  </a:lnTo>
                  <a:lnTo>
                    <a:pt x="593" y="710"/>
                  </a:lnTo>
                  <a:lnTo>
                    <a:pt x="592" y="699"/>
                  </a:lnTo>
                  <a:lnTo>
                    <a:pt x="603" y="682"/>
                  </a:lnTo>
                  <a:lnTo>
                    <a:pt x="606" y="670"/>
                  </a:lnTo>
                  <a:lnTo>
                    <a:pt x="602" y="651"/>
                  </a:lnTo>
                  <a:lnTo>
                    <a:pt x="597" y="631"/>
                  </a:lnTo>
                  <a:lnTo>
                    <a:pt x="587" y="626"/>
                  </a:lnTo>
                  <a:lnTo>
                    <a:pt x="569" y="607"/>
                  </a:lnTo>
                  <a:lnTo>
                    <a:pt x="567" y="615"/>
                  </a:lnTo>
                  <a:lnTo>
                    <a:pt x="544" y="607"/>
                  </a:lnTo>
                  <a:lnTo>
                    <a:pt x="544" y="597"/>
                  </a:lnTo>
                  <a:lnTo>
                    <a:pt x="535" y="594"/>
                  </a:lnTo>
                  <a:lnTo>
                    <a:pt x="538" y="590"/>
                  </a:lnTo>
                  <a:lnTo>
                    <a:pt x="528" y="588"/>
                  </a:lnTo>
                  <a:lnTo>
                    <a:pt x="516" y="594"/>
                  </a:lnTo>
                  <a:lnTo>
                    <a:pt x="499" y="59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13" name="Freeform 141"/>
            <p:cNvSpPr>
              <a:spLocks/>
            </p:cNvSpPr>
            <p:nvPr/>
          </p:nvSpPr>
          <p:spPr bwMode="auto">
            <a:xfrm>
              <a:off x="3793" y="1189"/>
              <a:ext cx="456" cy="178"/>
            </a:xfrm>
            <a:custGeom>
              <a:avLst/>
              <a:gdLst>
                <a:gd name="T0" fmla="*/ 3 w 647"/>
                <a:gd name="T1" fmla="*/ 2 h 254"/>
                <a:gd name="T2" fmla="*/ 3 w 647"/>
                <a:gd name="T3" fmla="*/ 1 h 254"/>
                <a:gd name="T4" fmla="*/ 2 w 647"/>
                <a:gd name="T5" fmla="*/ 1 h 254"/>
                <a:gd name="T6" fmla="*/ 2 w 647"/>
                <a:gd name="T7" fmla="*/ 1 h 254"/>
                <a:gd name="T8" fmla="*/ 1 w 647"/>
                <a:gd name="T9" fmla="*/ 1 h 254"/>
                <a:gd name="T10" fmla="*/ 1 w 647"/>
                <a:gd name="T11" fmla="*/ 1 h 254"/>
                <a:gd name="T12" fmla="*/ 1 w 647"/>
                <a:gd name="T13" fmla="*/ 1 h 254"/>
                <a:gd name="T14" fmla="*/ 1 w 647"/>
                <a:gd name="T15" fmla="*/ 1 h 254"/>
                <a:gd name="T16" fmla="*/ 1 w 647"/>
                <a:gd name="T17" fmla="*/ 1 h 254"/>
                <a:gd name="T18" fmla="*/ 1 w 647"/>
                <a:gd name="T19" fmla="*/ 1 h 254"/>
                <a:gd name="T20" fmla="*/ 1 w 647"/>
                <a:gd name="T21" fmla="*/ 1 h 254"/>
                <a:gd name="T22" fmla="*/ 1 w 647"/>
                <a:gd name="T23" fmla="*/ 1 h 254"/>
                <a:gd name="T24" fmla="*/ 1 w 647"/>
                <a:gd name="T25" fmla="*/ 1 h 254"/>
                <a:gd name="T26" fmla="*/ 1 w 647"/>
                <a:gd name="T27" fmla="*/ 1 h 254"/>
                <a:gd name="T28" fmla="*/ 1 w 647"/>
                <a:gd name="T29" fmla="*/ 1 h 254"/>
                <a:gd name="T30" fmla="*/ 1 w 647"/>
                <a:gd name="T31" fmla="*/ 0 h 254"/>
                <a:gd name="T32" fmla="*/ 2 w 647"/>
                <a:gd name="T33" fmla="*/ 1 h 254"/>
                <a:gd name="T34" fmla="*/ 2 w 647"/>
                <a:gd name="T35" fmla="*/ 1 h 254"/>
                <a:gd name="T36" fmla="*/ 3 w 647"/>
                <a:gd name="T37" fmla="*/ 1 h 254"/>
                <a:gd name="T38" fmla="*/ 3 w 647"/>
                <a:gd name="T39" fmla="*/ 1 h 254"/>
                <a:gd name="T40" fmla="*/ 3 w 647"/>
                <a:gd name="T41" fmla="*/ 1 h 254"/>
                <a:gd name="T42" fmla="*/ 4 w 647"/>
                <a:gd name="T43" fmla="*/ 1 h 254"/>
                <a:gd name="T44" fmla="*/ 4 w 647"/>
                <a:gd name="T45" fmla="*/ 1 h 254"/>
                <a:gd name="T46" fmla="*/ 4 w 647"/>
                <a:gd name="T47" fmla="*/ 1 h 254"/>
                <a:gd name="T48" fmla="*/ 4 w 647"/>
                <a:gd name="T49" fmla="*/ 1 h 254"/>
                <a:gd name="T50" fmla="*/ 4 w 647"/>
                <a:gd name="T51" fmla="*/ 1 h 254"/>
                <a:gd name="T52" fmla="*/ 4 w 647"/>
                <a:gd name="T53" fmla="*/ 1 h 254"/>
                <a:gd name="T54" fmla="*/ 4 w 647"/>
                <a:gd name="T55" fmla="*/ 1 h 254"/>
                <a:gd name="T56" fmla="*/ 4 w 647"/>
                <a:gd name="T57" fmla="*/ 1 h 254"/>
                <a:gd name="T58" fmla="*/ 4 w 647"/>
                <a:gd name="T59" fmla="*/ 1 h 254"/>
                <a:gd name="T60" fmla="*/ 4 w 647"/>
                <a:gd name="T61" fmla="*/ 1 h 254"/>
                <a:gd name="T62" fmla="*/ 4 w 647"/>
                <a:gd name="T63" fmla="*/ 1 h 254"/>
                <a:gd name="T64" fmla="*/ 4 w 647"/>
                <a:gd name="T65" fmla="*/ 2 h 254"/>
                <a:gd name="T66" fmla="*/ 3 w 647"/>
                <a:gd name="T67" fmla="*/ 2 h 254"/>
                <a:gd name="T68" fmla="*/ 3 w 647"/>
                <a:gd name="T69" fmla="*/ 2 h 25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647"/>
                <a:gd name="T106" fmla="*/ 0 h 254"/>
                <a:gd name="T107" fmla="*/ 647 w 647"/>
                <a:gd name="T108" fmla="*/ 254 h 25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647" h="254">
                  <a:moveTo>
                    <a:pt x="405" y="247"/>
                  </a:moveTo>
                  <a:lnTo>
                    <a:pt x="381" y="242"/>
                  </a:lnTo>
                  <a:lnTo>
                    <a:pt x="356" y="238"/>
                  </a:lnTo>
                  <a:lnTo>
                    <a:pt x="349" y="232"/>
                  </a:lnTo>
                  <a:lnTo>
                    <a:pt x="320" y="229"/>
                  </a:lnTo>
                  <a:lnTo>
                    <a:pt x="292" y="228"/>
                  </a:lnTo>
                  <a:lnTo>
                    <a:pt x="265" y="226"/>
                  </a:lnTo>
                  <a:lnTo>
                    <a:pt x="237" y="224"/>
                  </a:lnTo>
                  <a:lnTo>
                    <a:pt x="219" y="205"/>
                  </a:lnTo>
                  <a:lnTo>
                    <a:pt x="201" y="187"/>
                  </a:lnTo>
                  <a:lnTo>
                    <a:pt x="172" y="178"/>
                  </a:lnTo>
                  <a:lnTo>
                    <a:pt x="144" y="169"/>
                  </a:lnTo>
                  <a:lnTo>
                    <a:pt x="121" y="166"/>
                  </a:lnTo>
                  <a:lnTo>
                    <a:pt x="97" y="161"/>
                  </a:lnTo>
                  <a:lnTo>
                    <a:pt x="90" y="142"/>
                  </a:lnTo>
                  <a:lnTo>
                    <a:pt x="82" y="121"/>
                  </a:lnTo>
                  <a:lnTo>
                    <a:pt x="54" y="101"/>
                  </a:lnTo>
                  <a:lnTo>
                    <a:pt x="38" y="98"/>
                  </a:lnTo>
                  <a:lnTo>
                    <a:pt x="9" y="80"/>
                  </a:lnTo>
                  <a:lnTo>
                    <a:pt x="2" y="72"/>
                  </a:lnTo>
                  <a:lnTo>
                    <a:pt x="0" y="68"/>
                  </a:lnTo>
                  <a:lnTo>
                    <a:pt x="9" y="60"/>
                  </a:lnTo>
                  <a:lnTo>
                    <a:pt x="27" y="53"/>
                  </a:lnTo>
                  <a:lnTo>
                    <a:pt x="46" y="41"/>
                  </a:lnTo>
                  <a:lnTo>
                    <a:pt x="66" y="30"/>
                  </a:lnTo>
                  <a:lnTo>
                    <a:pt x="105" y="35"/>
                  </a:lnTo>
                  <a:lnTo>
                    <a:pt x="111" y="43"/>
                  </a:lnTo>
                  <a:lnTo>
                    <a:pt x="141" y="48"/>
                  </a:lnTo>
                  <a:lnTo>
                    <a:pt x="170" y="53"/>
                  </a:lnTo>
                  <a:lnTo>
                    <a:pt x="184" y="41"/>
                  </a:lnTo>
                  <a:lnTo>
                    <a:pt x="166" y="24"/>
                  </a:lnTo>
                  <a:lnTo>
                    <a:pt x="171" y="0"/>
                  </a:lnTo>
                  <a:lnTo>
                    <a:pt x="205" y="7"/>
                  </a:lnTo>
                  <a:lnTo>
                    <a:pt x="237" y="14"/>
                  </a:lnTo>
                  <a:lnTo>
                    <a:pt x="252" y="28"/>
                  </a:lnTo>
                  <a:lnTo>
                    <a:pt x="282" y="43"/>
                  </a:lnTo>
                  <a:lnTo>
                    <a:pt x="315" y="37"/>
                  </a:lnTo>
                  <a:lnTo>
                    <a:pt x="342" y="42"/>
                  </a:lnTo>
                  <a:lnTo>
                    <a:pt x="369" y="48"/>
                  </a:lnTo>
                  <a:lnTo>
                    <a:pt x="380" y="58"/>
                  </a:lnTo>
                  <a:lnTo>
                    <a:pt x="421" y="67"/>
                  </a:lnTo>
                  <a:lnTo>
                    <a:pt x="444" y="64"/>
                  </a:lnTo>
                  <a:lnTo>
                    <a:pt x="465" y="59"/>
                  </a:lnTo>
                  <a:lnTo>
                    <a:pt x="488" y="42"/>
                  </a:lnTo>
                  <a:lnTo>
                    <a:pt x="524" y="50"/>
                  </a:lnTo>
                  <a:lnTo>
                    <a:pt x="542" y="52"/>
                  </a:lnTo>
                  <a:lnTo>
                    <a:pt x="546" y="71"/>
                  </a:lnTo>
                  <a:lnTo>
                    <a:pt x="548" y="90"/>
                  </a:lnTo>
                  <a:lnTo>
                    <a:pt x="542" y="92"/>
                  </a:lnTo>
                  <a:lnTo>
                    <a:pt x="559" y="102"/>
                  </a:lnTo>
                  <a:lnTo>
                    <a:pt x="579" y="101"/>
                  </a:lnTo>
                  <a:lnTo>
                    <a:pt x="587" y="106"/>
                  </a:lnTo>
                  <a:lnTo>
                    <a:pt x="597" y="96"/>
                  </a:lnTo>
                  <a:lnTo>
                    <a:pt x="641" y="118"/>
                  </a:lnTo>
                  <a:lnTo>
                    <a:pt x="647" y="131"/>
                  </a:lnTo>
                  <a:lnTo>
                    <a:pt x="612" y="130"/>
                  </a:lnTo>
                  <a:lnTo>
                    <a:pt x="590" y="142"/>
                  </a:lnTo>
                  <a:lnTo>
                    <a:pt x="587" y="158"/>
                  </a:lnTo>
                  <a:lnTo>
                    <a:pt x="565" y="163"/>
                  </a:lnTo>
                  <a:lnTo>
                    <a:pt x="547" y="174"/>
                  </a:lnTo>
                  <a:lnTo>
                    <a:pt x="518" y="167"/>
                  </a:lnTo>
                  <a:lnTo>
                    <a:pt x="521" y="188"/>
                  </a:lnTo>
                  <a:lnTo>
                    <a:pt x="535" y="202"/>
                  </a:lnTo>
                  <a:lnTo>
                    <a:pt x="517" y="217"/>
                  </a:lnTo>
                  <a:lnTo>
                    <a:pt x="498" y="232"/>
                  </a:lnTo>
                  <a:lnTo>
                    <a:pt x="474" y="234"/>
                  </a:lnTo>
                  <a:lnTo>
                    <a:pt x="451" y="235"/>
                  </a:lnTo>
                  <a:lnTo>
                    <a:pt x="435" y="245"/>
                  </a:lnTo>
                  <a:lnTo>
                    <a:pt x="421" y="254"/>
                  </a:lnTo>
                  <a:lnTo>
                    <a:pt x="405" y="24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14" name="Freeform 142"/>
            <p:cNvSpPr>
              <a:spLocks/>
            </p:cNvSpPr>
            <p:nvPr/>
          </p:nvSpPr>
          <p:spPr bwMode="auto">
            <a:xfrm>
              <a:off x="3242" y="1132"/>
              <a:ext cx="540" cy="240"/>
            </a:xfrm>
            <a:custGeom>
              <a:avLst/>
              <a:gdLst>
                <a:gd name="T0" fmla="*/ 1 w 768"/>
                <a:gd name="T1" fmla="*/ 1 h 339"/>
                <a:gd name="T2" fmla="*/ 1 w 768"/>
                <a:gd name="T3" fmla="*/ 1 h 339"/>
                <a:gd name="T4" fmla="*/ 1 w 768"/>
                <a:gd name="T5" fmla="*/ 1 h 339"/>
                <a:gd name="T6" fmla="*/ 1 w 768"/>
                <a:gd name="T7" fmla="*/ 1 h 339"/>
                <a:gd name="T8" fmla="*/ 1 w 768"/>
                <a:gd name="T9" fmla="*/ 1 h 339"/>
                <a:gd name="T10" fmla="*/ 1 w 768"/>
                <a:gd name="T11" fmla="*/ 1 h 339"/>
                <a:gd name="T12" fmla="*/ 1 w 768"/>
                <a:gd name="T13" fmla="*/ 1 h 339"/>
                <a:gd name="T14" fmla="*/ 1 w 768"/>
                <a:gd name="T15" fmla="*/ 1 h 339"/>
                <a:gd name="T16" fmla="*/ 1 w 768"/>
                <a:gd name="T17" fmla="*/ 1 h 339"/>
                <a:gd name="T18" fmla="*/ 2 w 768"/>
                <a:gd name="T19" fmla="*/ 1 h 339"/>
                <a:gd name="T20" fmla="*/ 2 w 768"/>
                <a:gd name="T21" fmla="*/ 1 h 339"/>
                <a:gd name="T22" fmla="*/ 1 w 768"/>
                <a:gd name="T23" fmla="*/ 1 h 339"/>
                <a:gd name="T24" fmla="*/ 2 w 768"/>
                <a:gd name="T25" fmla="*/ 1 h 339"/>
                <a:gd name="T26" fmla="*/ 2 w 768"/>
                <a:gd name="T27" fmla="*/ 1 h 339"/>
                <a:gd name="T28" fmla="*/ 3 w 768"/>
                <a:gd name="T29" fmla="*/ 1 h 339"/>
                <a:gd name="T30" fmla="*/ 3 w 768"/>
                <a:gd name="T31" fmla="*/ 1 h 339"/>
                <a:gd name="T32" fmla="*/ 3 w 768"/>
                <a:gd name="T33" fmla="*/ 1 h 339"/>
                <a:gd name="T34" fmla="*/ 4 w 768"/>
                <a:gd name="T35" fmla="*/ 1 h 339"/>
                <a:gd name="T36" fmla="*/ 4 w 768"/>
                <a:gd name="T37" fmla="*/ 1 h 339"/>
                <a:gd name="T38" fmla="*/ 4 w 768"/>
                <a:gd name="T39" fmla="*/ 1 h 339"/>
                <a:gd name="T40" fmla="*/ 4 w 768"/>
                <a:gd name="T41" fmla="*/ 1 h 339"/>
                <a:gd name="T42" fmla="*/ 4 w 768"/>
                <a:gd name="T43" fmla="*/ 1 h 339"/>
                <a:gd name="T44" fmla="*/ 5 w 768"/>
                <a:gd name="T45" fmla="*/ 1 h 339"/>
                <a:gd name="T46" fmla="*/ 6 w 768"/>
                <a:gd name="T47" fmla="*/ 1 h 339"/>
                <a:gd name="T48" fmla="*/ 6 w 768"/>
                <a:gd name="T49" fmla="*/ 1 h 339"/>
                <a:gd name="T50" fmla="*/ 6 w 768"/>
                <a:gd name="T51" fmla="*/ 1 h 339"/>
                <a:gd name="T52" fmla="*/ 6 w 768"/>
                <a:gd name="T53" fmla="*/ 1 h 339"/>
                <a:gd name="T54" fmla="*/ 6 w 768"/>
                <a:gd name="T55" fmla="*/ 1 h 339"/>
                <a:gd name="T56" fmla="*/ 6 w 768"/>
                <a:gd name="T57" fmla="*/ 2 h 339"/>
                <a:gd name="T58" fmla="*/ 5 w 768"/>
                <a:gd name="T59" fmla="*/ 2 h 339"/>
                <a:gd name="T60" fmla="*/ 5 w 768"/>
                <a:gd name="T61" fmla="*/ 2 h 339"/>
                <a:gd name="T62" fmla="*/ 6 w 768"/>
                <a:gd name="T63" fmla="*/ 2 h 339"/>
                <a:gd name="T64" fmla="*/ 5 w 768"/>
                <a:gd name="T65" fmla="*/ 2 h 339"/>
                <a:gd name="T66" fmla="*/ 4 w 768"/>
                <a:gd name="T67" fmla="*/ 2 h 339"/>
                <a:gd name="T68" fmla="*/ 4 w 768"/>
                <a:gd name="T69" fmla="*/ 2 h 339"/>
                <a:gd name="T70" fmla="*/ 4 w 768"/>
                <a:gd name="T71" fmla="*/ 2 h 339"/>
                <a:gd name="T72" fmla="*/ 4 w 768"/>
                <a:gd name="T73" fmla="*/ 3 h 339"/>
                <a:gd name="T74" fmla="*/ 4 w 768"/>
                <a:gd name="T75" fmla="*/ 3 h 339"/>
                <a:gd name="T76" fmla="*/ 3 w 768"/>
                <a:gd name="T77" fmla="*/ 3 h 339"/>
                <a:gd name="T78" fmla="*/ 3 w 768"/>
                <a:gd name="T79" fmla="*/ 2 h 339"/>
                <a:gd name="T80" fmla="*/ 3 w 768"/>
                <a:gd name="T81" fmla="*/ 2 h 339"/>
                <a:gd name="T82" fmla="*/ 2 w 768"/>
                <a:gd name="T83" fmla="*/ 2 h 339"/>
                <a:gd name="T84" fmla="*/ 2 w 768"/>
                <a:gd name="T85" fmla="*/ 2 h 339"/>
                <a:gd name="T86" fmla="*/ 1 w 768"/>
                <a:gd name="T87" fmla="*/ 2 h 339"/>
                <a:gd name="T88" fmla="*/ 1 w 768"/>
                <a:gd name="T89" fmla="*/ 2 h 339"/>
                <a:gd name="T90" fmla="*/ 1 w 768"/>
                <a:gd name="T91" fmla="*/ 3 h 339"/>
                <a:gd name="T92" fmla="*/ 1 w 768"/>
                <a:gd name="T93" fmla="*/ 3 h 339"/>
                <a:gd name="T94" fmla="*/ 1 w 768"/>
                <a:gd name="T95" fmla="*/ 2 h 339"/>
                <a:gd name="T96" fmla="*/ 1 w 768"/>
                <a:gd name="T97" fmla="*/ 2 h 339"/>
                <a:gd name="T98" fmla="*/ 1 w 768"/>
                <a:gd name="T99" fmla="*/ 2 h 339"/>
                <a:gd name="T100" fmla="*/ 1 w 768"/>
                <a:gd name="T101" fmla="*/ 2 h 339"/>
                <a:gd name="T102" fmla="*/ 1 w 768"/>
                <a:gd name="T103" fmla="*/ 2 h 339"/>
                <a:gd name="T104" fmla="*/ 1 w 768"/>
                <a:gd name="T105" fmla="*/ 2 h 339"/>
                <a:gd name="T106" fmla="*/ 1 w 768"/>
                <a:gd name="T107" fmla="*/ 1 h 33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768"/>
                <a:gd name="T163" fmla="*/ 0 h 339"/>
                <a:gd name="T164" fmla="*/ 768 w 768"/>
                <a:gd name="T165" fmla="*/ 339 h 33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768" h="339">
                  <a:moveTo>
                    <a:pt x="105" y="201"/>
                  </a:moveTo>
                  <a:lnTo>
                    <a:pt x="89" y="200"/>
                  </a:lnTo>
                  <a:lnTo>
                    <a:pt x="63" y="212"/>
                  </a:lnTo>
                  <a:lnTo>
                    <a:pt x="61" y="213"/>
                  </a:lnTo>
                  <a:lnTo>
                    <a:pt x="47" y="189"/>
                  </a:lnTo>
                  <a:lnTo>
                    <a:pt x="23" y="171"/>
                  </a:lnTo>
                  <a:lnTo>
                    <a:pt x="0" y="153"/>
                  </a:lnTo>
                  <a:lnTo>
                    <a:pt x="3" y="126"/>
                  </a:lnTo>
                  <a:lnTo>
                    <a:pt x="6" y="99"/>
                  </a:lnTo>
                  <a:lnTo>
                    <a:pt x="29" y="110"/>
                  </a:lnTo>
                  <a:lnTo>
                    <a:pt x="32" y="99"/>
                  </a:lnTo>
                  <a:lnTo>
                    <a:pt x="47" y="88"/>
                  </a:lnTo>
                  <a:lnTo>
                    <a:pt x="62" y="78"/>
                  </a:lnTo>
                  <a:lnTo>
                    <a:pt x="90" y="78"/>
                  </a:lnTo>
                  <a:lnTo>
                    <a:pt x="115" y="90"/>
                  </a:lnTo>
                  <a:lnTo>
                    <a:pt x="141" y="100"/>
                  </a:lnTo>
                  <a:lnTo>
                    <a:pt x="170" y="99"/>
                  </a:lnTo>
                  <a:lnTo>
                    <a:pt x="207" y="98"/>
                  </a:lnTo>
                  <a:lnTo>
                    <a:pt x="246" y="104"/>
                  </a:lnTo>
                  <a:lnTo>
                    <a:pt x="248" y="98"/>
                  </a:lnTo>
                  <a:lnTo>
                    <a:pt x="228" y="73"/>
                  </a:lnTo>
                  <a:lnTo>
                    <a:pt x="237" y="46"/>
                  </a:lnTo>
                  <a:lnTo>
                    <a:pt x="254" y="46"/>
                  </a:lnTo>
                  <a:lnTo>
                    <a:pt x="231" y="36"/>
                  </a:lnTo>
                  <a:lnTo>
                    <a:pt x="255" y="31"/>
                  </a:lnTo>
                  <a:lnTo>
                    <a:pt x="281" y="27"/>
                  </a:lnTo>
                  <a:lnTo>
                    <a:pt x="303" y="21"/>
                  </a:lnTo>
                  <a:lnTo>
                    <a:pt x="327" y="14"/>
                  </a:lnTo>
                  <a:lnTo>
                    <a:pt x="350" y="8"/>
                  </a:lnTo>
                  <a:lnTo>
                    <a:pt x="373" y="1"/>
                  </a:lnTo>
                  <a:lnTo>
                    <a:pt x="390" y="0"/>
                  </a:lnTo>
                  <a:lnTo>
                    <a:pt x="404" y="14"/>
                  </a:lnTo>
                  <a:lnTo>
                    <a:pt x="442" y="27"/>
                  </a:lnTo>
                  <a:lnTo>
                    <a:pt x="455" y="34"/>
                  </a:lnTo>
                  <a:lnTo>
                    <a:pt x="470" y="37"/>
                  </a:lnTo>
                  <a:lnTo>
                    <a:pt x="494" y="28"/>
                  </a:lnTo>
                  <a:lnTo>
                    <a:pt x="520" y="19"/>
                  </a:lnTo>
                  <a:lnTo>
                    <a:pt x="523" y="22"/>
                  </a:lnTo>
                  <a:lnTo>
                    <a:pt x="520" y="34"/>
                  </a:lnTo>
                  <a:lnTo>
                    <a:pt x="546" y="51"/>
                  </a:lnTo>
                  <a:lnTo>
                    <a:pt x="572" y="69"/>
                  </a:lnTo>
                  <a:lnTo>
                    <a:pt x="599" y="87"/>
                  </a:lnTo>
                  <a:lnTo>
                    <a:pt x="625" y="105"/>
                  </a:lnTo>
                  <a:lnTo>
                    <a:pt x="629" y="99"/>
                  </a:lnTo>
                  <a:lnTo>
                    <a:pt x="643" y="104"/>
                  </a:lnTo>
                  <a:lnTo>
                    <a:pt x="668" y="100"/>
                  </a:lnTo>
                  <a:lnTo>
                    <a:pt x="695" y="116"/>
                  </a:lnTo>
                  <a:lnTo>
                    <a:pt x="721" y="133"/>
                  </a:lnTo>
                  <a:lnTo>
                    <a:pt x="746" y="127"/>
                  </a:lnTo>
                  <a:lnTo>
                    <a:pt x="768" y="150"/>
                  </a:lnTo>
                  <a:lnTo>
                    <a:pt x="761" y="166"/>
                  </a:lnTo>
                  <a:lnTo>
                    <a:pt x="751" y="172"/>
                  </a:lnTo>
                  <a:lnTo>
                    <a:pt x="761" y="199"/>
                  </a:lnTo>
                  <a:lnTo>
                    <a:pt x="743" y="201"/>
                  </a:lnTo>
                  <a:lnTo>
                    <a:pt x="712" y="195"/>
                  </a:lnTo>
                  <a:lnTo>
                    <a:pt x="714" y="216"/>
                  </a:lnTo>
                  <a:lnTo>
                    <a:pt x="716" y="237"/>
                  </a:lnTo>
                  <a:lnTo>
                    <a:pt x="724" y="246"/>
                  </a:lnTo>
                  <a:lnTo>
                    <a:pt x="696" y="243"/>
                  </a:lnTo>
                  <a:lnTo>
                    <a:pt x="673" y="252"/>
                  </a:lnTo>
                  <a:lnTo>
                    <a:pt x="686" y="259"/>
                  </a:lnTo>
                  <a:lnTo>
                    <a:pt x="695" y="277"/>
                  </a:lnTo>
                  <a:lnTo>
                    <a:pt x="704" y="295"/>
                  </a:lnTo>
                  <a:lnTo>
                    <a:pt x="704" y="300"/>
                  </a:lnTo>
                  <a:lnTo>
                    <a:pt x="700" y="304"/>
                  </a:lnTo>
                  <a:lnTo>
                    <a:pt x="673" y="289"/>
                  </a:lnTo>
                  <a:lnTo>
                    <a:pt x="648" y="291"/>
                  </a:lnTo>
                  <a:lnTo>
                    <a:pt x="622" y="295"/>
                  </a:lnTo>
                  <a:lnTo>
                    <a:pt x="593" y="295"/>
                  </a:lnTo>
                  <a:lnTo>
                    <a:pt x="575" y="292"/>
                  </a:lnTo>
                  <a:lnTo>
                    <a:pt x="564" y="307"/>
                  </a:lnTo>
                  <a:lnTo>
                    <a:pt x="542" y="303"/>
                  </a:lnTo>
                  <a:lnTo>
                    <a:pt x="522" y="301"/>
                  </a:lnTo>
                  <a:lnTo>
                    <a:pt x="509" y="312"/>
                  </a:lnTo>
                  <a:lnTo>
                    <a:pt x="490" y="325"/>
                  </a:lnTo>
                  <a:lnTo>
                    <a:pt x="470" y="339"/>
                  </a:lnTo>
                  <a:lnTo>
                    <a:pt x="451" y="330"/>
                  </a:lnTo>
                  <a:lnTo>
                    <a:pt x="432" y="320"/>
                  </a:lnTo>
                  <a:lnTo>
                    <a:pt x="431" y="300"/>
                  </a:lnTo>
                  <a:lnTo>
                    <a:pt x="408" y="284"/>
                  </a:lnTo>
                  <a:lnTo>
                    <a:pt x="388" y="283"/>
                  </a:lnTo>
                  <a:lnTo>
                    <a:pt x="367" y="282"/>
                  </a:lnTo>
                  <a:lnTo>
                    <a:pt x="345" y="280"/>
                  </a:lnTo>
                  <a:lnTo>
                    <a:pt x="325" y="278"/>
                  </a:lnTo>
                  <a:lnTo>
                    <a:pt x="305" y="254"/>
                  </a:lnTo>
                  <a:lnTo>
                    <a:pt x="278" y="241"/>
                  </a:lnTo>
                  <a:lnTo>
                    <a:pt x="252" y="228"/>
                  </a:lnTo>
                  <a:lnTo>
                    <a:pt x="228" y="236"/>
                  </a:lnTo>
                  <a:lnTo>
                    <a:pt x="203" y="246"/>
                  </a:lnTo>
                  <a:lnTo>
                    <a:pt x="209" y="267"/>
                  </a:lnTo>
                  <a:lnTo>
                    <a:pt x="213" y="289"/>
                  </a:lnTo>
                  <a:lnTo>
                    <a:pt x="219" y="312"/>
                  </a:lnTo>
                  <a:lnTo>
                    <a:pt x="225" y="333"/>
                  </a:lnTo>
                  <a:lnTo>
                    <a:pt x="201" y="326"/>
                  </a:lnTo>
                  <a:lnTo>
                    <a:pt x="177" y="319"/>
                  </a:lnTo>
                  <a:lnTo>
                    <a:pt x="181" y="302"/>
                  </a:lnTo>
                  <a:lnTo>
                    <a:pt x="145" y="302"/>
                  </a:lnTo>
                  <a:lnTo>
                    <a:pt x="128" y="296"/>
                  </a:lnTo>
                  <a:lnTo>
                    <a:pt x="121" y="291"/>
                  </a:lnTo>
                  <a:lnTo>
                    <a:pt x="103" y="267"/>
                  </a:lnTo>
                  <a:lnTo>
                    <a:pt x="92" y="260"/>
                  </a:lnTo>
                  <a:lnTo>
                    <a:pt x="115" y="259"/>
                  </a:lnTo>
                  <a:lnTo>
                    <a:pt x="105" y="249"/>
                  </a:lnTo>
                  <a:lnTo>
                    <a:pt x="117" y="240"/>
                  </a:lnTo>
                  <a:lnTo>
                    <a:pt x="143" y="240"/>
                  </a:lnTo>
                  <a:lnTo>
                    <a:pt x="137" y="230"/>
                  </a:lnTo>
                  <a:lnTo>
                    <a:pt x="132" y="202"/>
                  </a:lnTo>
                  <a:lnTo>
                    <a:pt x="105" y="20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15" name="Freeform 143"/>
            <p:cNvSpPr>
              <a:spLocks/>
            </p:cNvSpPr>
            <p:nvPr/>
          </p:nvSpPr>
          <p:spPr bwMode="auto">
            <a:xfrm>
              <a:off x="3158" y="1325"/>
              <a:ext cx="117" cy="44"/>
            </a:xfrm>
            <a:custGeom>
              <a:avLst/>
              <a:gdLst>
                <a:gd name="T0" fmla="*/ 1 w 165"/>
                <a:gd name="T1" fmla="*/ 1 h 64"/>
                <a:gd name="T2" fmla="*/ 0 w 165"/>
                <a:gd name="T3" fmla="*/ 1 h 64"/>
                <a:gd name="T4" fmla="*/ 1 w 165"/>
                <a:gd name="T5" fmla="*/ 0 h 64"/>
                <a:gd name="T6" fmla="*/ 1 w 165"/>
                <a:gd name="T7" fmla="*/ 1 h 64"/>
                <a:gd name="T8" fmla="*/ 1 w 165"/>
                <a:gd name="T9" fmla="*/ 1 h 64"/>
                <a:gd name="T10" fmla="*/ 1 w 165"/>
                <a:gd name="T11" fmla="*/ 1 h 64"/>
                <a:gd name="T12" fmla="*/ 1 w 165"/>
                <a:gd name="T13" fmla="*/ 1 h 64"/>
                <a:gd name="T14" fmla="*/ 1 w 165"/>
                <a:gd name="T15" fmla="*/ 1 h 64"/>
                <a:gd name="T16" fmla="*/ 1 w 165"/>
                <a:gd name="T17" fmla="*/ 1 h 64"/>
                <a:gd name="T18" fmla="*/ 1 w 165"/>
                <a:gd name="T19" fmla="*/ 1 h 64"/>
                <a:gd name="T20" fmla="*/ 1 w 165"/>
                <a:gd name="T21" fmla="*/ 1 h 64"/>
                <a:gd name="T22" fmla="*/ 1 w 165"/>
                <a:gd name="T23" fmla="*/ 1 h 64"/>
                <a:gd name="T24" fmla="*/ 1 w 165"/>
                <a:gd name="T25" fmla="*/ 1 h 64"/>
                <a:gd name="T26" fmla="*/ 1 w 165"/>
                <a:gd name="T27" fmla="*/ 1 h 64"/>
                <a:gd name="T28" fmla="*/ 1 w 165"/>
                <a:gd name="T29" fmla="*/ 1 h 64"/>
                <a:gd name="T30" fmla="*/ 1 w 165"/>
                <a:gd name="T31" fmla="*/ 1 h 6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65"/>
                <a:gd name="T49" fmla="*/ 0 h 64"/>
                <a:gd name="T50" fmla="*/ 165 w 165"/>
                <a:gd name="T51" fmla="*/ 64 h 6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65" h="64">
                  <a:moveTo>
                    <a:pt x="32" y="23"/>
                  </a:moveTo>
                  <a:lnTo>
                    <a:pt x="0" y="3"/>
                  </a:lnTo>
                  <a:lnTo>
                    <a:pt x="1" y="0"/>
                  </a:lnTo>
                  <a:lnTo>
                    <a:pt x="24" y="3"/>
                  </a:lnTo>
                  <a:lnTo>
                    <a:pt x="45" y="4"/>
                  </a:lnTo>
                  <a:lnTo>
                    <a:pt x="75" y="16"/>
                  </a:lnTo>
                  <a:lnTo>
                    <a:pt x="105" y="28"/>
                  </a:lnTo>
                  <a:lnTo>
                    <a:pt x="135" y="40"/>
                  </a:lnTo>
                  <a:lnTo>
                    <a:pt x="165" y="52"/>
                  </a:lnTo>
                  <a:lnTo>
                    <a:pt x="158" y="64"/>
                  </a:lnTo>
                  <a:lnTo>
                    <a:pt x="139" y="60"/>
                  </a:lnTo>
                  <a:lnTo>
                    <a:pt x="110" y="60"/>
                  </a:lnTo>
                  <a:lnTo>
                    <a:pt x="80" y="60"/>
                  </a:lnTo>
                  <a:lnTo>
                    <a:pt x="54" y="61"/>
                  </a:lnTo>
                  <a:lnTo>
                    <a:pt x="53" y="43"/>
                  </a:lnTo>
                  <a:lnTo>
                    <a:pt x="32" y="2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16" name="Freeform 144"/>
            <p:cNvSpPr>
              <a:spLocks/>
            </p:cNvSpPr>
            <p:nvPr/>
          </p:nvSpPr>
          <p:spPr bwMode="auto">
            <a:xfrm>
              <a:off x="3601" y="1335"/>
              <a:ext cx="138" cy="70"/>
            </a:xfrm>
            <a:custGeom>
              <a:avLst/>
              <a:gdLst>
                <a:gd name="T0" fmla="*/ 1 w 197"/>
                <a:gd name="T1" fmla="*/ 1 h 98"/>
                <a:gd name="T2" fmla="*/ 1 w 197"/>
                <a:gd name="T3" fmla="*/ 1 h 98"/>
                <a:gd name="T4" fmla="*/ 1 w 197"/>
                <a:gd name="T5" fmla="*/ 1 h 98"/>
                <a:gd name="T6" fmla="*/ 0 w 197"/>
                <a:gd name="T7" fmla="*/ 1 h 98"/>
                <a:gd name="T8" fmla="*/ 1 w 197"/>
                <a:gd name="T9" fmla="*/ 1 h 98"/>
                <a:gd name="T10" fmla="*/ 1 w 197"/>
                <a:gd name="T11" fmla="*/ 1 h 98"/>
                <a:gd name="T12" fmla="*/ 1 w 197"/>
                <a:gd name="T13" fmla="*/ 1 h 98"/>
                <a:gd name="T14" fmla="*/ 1 w 197"/>
                <a:gd name="T15" fmla="*/ 1 h 98"/>
                <a:gd name="T16" fmla="*/ 1 w 197"/>
                <a:gd name="T17" fmla="*/ 1 h 98"/>
                <a:gd name="T18" fmla="*/ 1 w 197"/>
                <a:gd name="T19" fmla="*/ 1 h 98"/>
                <a:gd name="T20" fmla="*/ 1 w 197"/>
                <a:gd name="T21" fmla="*/ 1 h 98"/>
                <a:gd name="T22" fmla="*/ 1 w 197"/>
                <a:gd name="T23" fmla="*/ 0 h 98"/>
                <a:gd name="T24" fmla="*/ 1 w 197"/>
                <a:gd name="T25" fmla="*/ 1 h 98"/>
                <a:gd name="T26" fmla="*/ 1 w 197"/>
                <a:gd name="T27" fmla="*/ 1 h 98"/>
                <a:gd name="T28" fmla="*/ 1 w 197"/>
                <a:gd name="T29" fmla="*/ 1 h 98"/>
                <a:gd name="T30" fmla="*/ 1 w 197"/>
                <a:gd name="T31" fmla="*/ 1 h 98"/>
                <a:gd name="T32" fmla="*/ 1 w 197"/>
                <a:gd name="T33" fmla="*/ 1 h 98"/>
                <a:gd name="T34" fmla="*/ 1 w 197"/>
                <a:gd name="T35" fmla="*/ 1 h 98"/>
                <a:gd name="T36" fmla="*/ 1 w 197"/>
                <a:gd name="T37" fmla="*/ 1 h 98"/>
                <a:gd name="T38" fmla="*/ 1 w 197"/>
                <a:gd name="T39" fmla="*/ 1 h 98"/>
                <a:gd name="T40" fmla="*/ 1 w 197"/>
                <a:gd name="T41" fmla="*/ 1 h 98"/>
                <a:gd name="T42" fmla="*/ 1 w 197"/>
                <a:gd name="T43" fmla="*/ 1 h 98"/>
                <a:gd name="T44" fmla="*/ 1 w 197"/>
                <a:gd name="T45" fmla="*/ 1 h 98"/>
                <a:gd name="T46" fmla="*/ 1 w 197"/>
                <a:gd name="T47" fmla="*/ 1 h 98"/>
                <a:gd name="T48" fmla="*/ 1 w 197"/>
                <a:gd name="T49" fmla="*/ 1 h 98"/>
                <a:gd name="T50" fmla="*/ 1 w 197"/>
                <a:gd name="T51" fmla="*/ 1 h 98"/>
                <a:gd name="T52" fmla="*/ 1 w 197"/>
                <a:gd name="T53" fmla="*/ 1 h 98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97"/>
                <a:gd name="T82" fmla="*/ 0 h 98"/>
                <a:gd name="T83" fmla="*/ 197 w 197"/>
                <a:gd name="T84" fmla="*/ 98 h 98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97" h="98">
                  <a:moveTo>
                    <a:pt x="65" y="57"/>
                  </a:moveTo>
                  <a:lnTo>
                    <a:pt x="43" y="43"/>
                  </a:lnTo>
                  <a:lnTo>
                    <a:pt x="14" y="41"/>
                  </a:lnTo>
                  <a:lnTo>
                    <a:pt x="0" y="23"/>
                  </a:lnTo>
                  <a:lnTo>
                    <a:pt x="13" y="12"/>
                  </a:lnTo>
                  <a:lnTo>
                    <a:pt x="33" y="14"/>
                  </a:lnTo>
                  <a:lnTo>
                    <a:pt x="55" y="18"/>
                  </a:lnTo>
                  <a:lnTo>
                    <a:pt x="66" y="3"/>
                  </a:lnTo>
                  <a:lnTo>
                    <a:pt x="84" y="6"/>
                  </a:lnTo>
                  <a:lnTo>
                    <a:pt x="113" y="6"/>
                  </a:lnTo>
                  <a:lnTo>
                    <a:pt x="139" y="2"/>
                  </a:lnTo>
                  <a:lnTo>
                    <a:pt x="164" y="0"/>
                  </a:lnTo>
                  <a:lnTo>
                    <a:pt x="191" y="15"/>
                  </a:lnTo>
                  <a:lnTo>
                    <a:pt x="197" y="27"/>
                  </a:lnTo>
                  <a:lnTo>
                    <a:pt x="181" y="39"/>
                  </a:lnTo>
                  <a:lnTo>
                    <a:pt x="164" y="53"/>
                  </a:lnTo>
                  <a:lnTo>
                    <a:pt x="144" y="57"/>
                  </a:lnTo>
                  <a:lnTo>
                    <a:pt x="131" y="73"/>
                  </a:lnTo>
                  <a:lnTo>
                    <a:pt x="119" y="71"/>
                  </a:lnTo>
                  <a:lnTo>
                    <a:pt x="109" y="71"/>
                  </a:lnTo>
                  <a:lnTo>
                    <a:pt x="95" y="80"/>
                  </a:lnTo>
                  <a:lnTo>
                    <a:pt x="86" y="98"/>
                  </a:lnTo>
                  <a:lnTo>
                    <a:pt x="51" y="95"/>
                  </a:lnTo>
                  <a:lnTo>
                    <a:pt x="15" y="90"/>
                  </a:lnTo>
                  <a:lnTo>
                    <a:pt x="14" y="74"/>
                  </a:lnTo>
                  <a:lnTo>
                    <a:pt x="39" y="66"/>
                  </a:lnTo>
                  <a:lnTo>
                    <a:pt x="65" y="5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17" name="Freeform 145"/>
            <p:cNvSpPr>
              <a:spLocks/>
            </p:cNvSpPr>
            <p:nvPr/>
          </p:nvSpPr>
          <p:spPr bwMode="auto">
            <a:xfrm>
              <a:off x="3345" y="1345"/>
              <a:ext cx="211" cy="132"/>
            </a:xfrm>
            <a:custGeom>
              <a:avLst/>
              <a:gdLst>
                <a:gd name="T0" fmla="*/ 2 w 300"/>
                <a:gd name="T1" fmla="*/ 1 h 187"/>
                <a:gd name="T2" fmla="*/ 2 w 300"/>
                <a:gd name="T3" fmla="*/ 1 h 187"/>
                <a:gd name="T4" fmla="*/ 2 w 300"/>
                <a:gd name="T5" fmla="*/ 1 h 187"/>
                <a:gd name="T6" fmla="*/ 2 w 300"/>
                <a:gd name="T7" fmla="*/ 1 h 187"/>
                <a:gd name="T8" fmla="*/ 2 w 300"/>
                <a:gd name="T9" fmla="*/ 1 h 187"/>
                <a:gd name="T10" fmla="*/ 1 w 300"/>
                <a:gd name="T11" fmla="*/ 1 h 187"/>
                <a:gd name="T12" fmla="*/ 1 w 300"/>
                <a:gd name="T13" fmla="*/ 1 h 187"/>
                <a:gd name="T14" fmla="*/ 1 w 300"/>
                <a:gd name="T15" fmla="*/ 1 h 187"/>
                <a:gd name="T16" fmla="*/ 1 w 300"/>
                <a:gd name="T17" fmla="*/ 1 h 187"/>
                <a:gd name="T18" fmla="*/ 1 w 300"/>
                <a:gd name="T19" fmla="*/ 1 h 187"/>
                <a:gd name="T20" fmla="*/ 1 w 300"/>
                <a:gd name="T21" fmla="*/ 1 h 187"/>
                <a:gd name="T22" fmla="*/ 1 w 300"/>
                <a:gd name="T23" fmla="*/ 1 h 187"/>
                <a:gd name="T24" fmla="*/ 1 w 300"/>
                <a:gd name="T25" fmla="*/ 1 h 187"/>
                <a:gd name="T26" fmla="*/ 1 w 300"/>
                <a:gd name="T27" fmla="*/ 1 h 187"/>
                <a:gd name="T28" fmla="*/ 1 w 300"/>
                <a:gd name="T29" fmla="*/ 1 h 187"/>
                <a:gd name="T30" fmla="*/ 1 w 300"/>
                <a:gd name="T31" fmla="*/ 1 h 187"/>
                <a:gd name="T32" fmla="*/ 1 w 300"/>
                <a:gd name="T33" fmla="*/ 1 h 187"/>
                <a:gd name="T34" fmla="*/ 1 w 300"/>
                <a:gd name="T35" fmla="*/ 1 h 187"/>
                <a:gd name="T36" fmla="*/ 1 w 300"/>
                <a:gd name="T37" fmla="*/ 1 h 187"/>
                <a:gd name="T38" fmla="*/ 1 w 300"/>
                <a:gd name="T39" fmla="*/ 1 h 187"/>
                <a:gd name="T40" fmla="*/ 1 w 300"/>
                <a:gd name="T41" fmla="*/ 1 h 187"/>
                <a:gd name="T42" fmla="*/ 1 w 300"/>
                <a:gd name="T43" fmla="*/ 1 h 187"/>
                <a:gd name="T44" fmla="*/ 1 w 300"/>
                <a:gd name="T45" fmla="*/ 1 h 187"/>
                <a:gd name="T46" fmla="*/ 1 w 300"/>
                <a:gd name="T47" fmla="*/ 1 h 187"/>
                <a:gd name="T48" fmla="*/ 1 w 300"/>
                <a:gd name="T49" fmla="*/ 1 h 187"/>
                <a:gd name="T50" fmla="*/ 1 w 300"/>
                <a:gd name="T51" fmla="*/ 1 h 187"/>
                <a:gd name="T52" fmla="*/ 1 w 300"/>
                <a:gd name="T53" fmla="*/ 1 h 187"/>
                <a:gd name="T54" fmla="*/ 1 w 300"/>
                <a:gd name="T55" fmla="*/ 1 h 187"/>
                <a:gd name="T56" fmla="*/ 1 w 300"/>
                <a:gd name="T57" fmla="*/ 1 h 187"/>
                <a:gd name="T58" fmla="*/ 1 w 300"/>
                <a:gd name="T59" fmla="*/ 1 h 187"/>
                <a:gd name="T60" fmla="*/ 1 w 300"/>
                <a:gd name="T61" fmla="*/ 1 h 187"/>
                <a:gd name="T62" fmla="*/ 1 w 300"/>
                <a:gd name="T63" fmla="*/ 1 h 187"/>
                <a:gd name="T64" fmla="*/ 1 w 300"/>
                <a:gd name="T65" fmla="*/ 1 h 187"/>
                <a:gd name="T66" fmla="*/ 1 w 300"/>
                <a:gd name="T67" fmla="*/ 1 h 187"/>
                <a:gd name="T68" fmla="*/ 1 w 300"/>
                <a:gd name="T69" fmla="*/ 1 h 187"/>
                <a:gd name="T70" fmla="*/ 1 w 300"/>
                <a:gd name="T71" fmla="*/ 1 h 187"/>
                <a:gd name="T72" fmla="*/ 1 w 300"/>
                <a:gd name="T73" fmla="*/ 1 h 187"/>
                <a:gd name="T74" fmla="*/ 0 w 300"/>
                <a:gd name="T75" fmla="*/ 0 h 187"/>
                <a:gd name="T76" fmla="*/ 1 w 300"/>
                <a:gd name="T77" fmla="*/ 0 h 187"/>
                <a:gd name="T78" fmla="*/ 1 w 300"/>
                <a:gd name="T79" fmla="*/ 1 h 187"/>
                <a:gd name="T80" fmla="*/ 1 w 300"/>
                <a:gd name="T81" fmla="*/ 1 h 187"/>
                <a:gd name="T82" fmla="*/ 1 w 300"/>
                <a:gd name="T83" fmla="*/ 1 h 187"/>
                <a:gd name="T84" fmla="*/ 1 w 300"/>
                <a:gd name="T85" fmla="*/ 1 h 187"/>
                <a:gd name="T86" fmla="*/ 1 w 300"/>
                <a:gd name="T87" fmla="*/ 1 h 187"/>
                <a:gd name="T88" fmla="*/ 1 w 300"/>
                <a:gd name="T89" fmla="*/ 1 h 187"/>
                <a:gd name="T90" fmla="*/ 1 w 300"/>
                <a:gd name="T91" fmla="*/ 0 h 187"/>
                <a:gd name="T92" fmla="*/ 1 w 300"/>
                <a:gd name="T93" fmla="*/ 1 h 187"/>
                <a:gd name="T94" fmla="*/ 1 w 300"/>
                <a:gd name="T95" fmla="*/ 1 h 187"/>
                <a:gd name="T96" fmla="*/ 1 w 300"/>
                <a:gd name="T97" fmla="*/ 1 h 187"/>
                <a:gd name="T98" fmla="*/ 1 w 300"/>
                <a:gd name="T99" fmla="*/ 1 h 187"/>
                <a:gd name="T100" fmla="*/ 2 w 300"/>
                <a:gd name="T101" fmla="*/ 1 h 187"/>
                <a:gd name="T102" fmla="*/ 2 w 300"/>
                <a:gd name="T103" fmla="*/ 1 h 187"/>
                <a:gd name="T104" fmla="*/ 2 w 300"/>
                <a:gd name="T105" fmla="*/ 1 h 187"/>
                <a:gd name="T106" fmla="*/ 2 w 300"/>
                <a:gd name="T107" fmla="*/ 1 h 187"/>
                <a:gd name="T108" fmla="*/ 2 w 300"/>
                <a:gd name="T109" fmla="*/ 1 h 187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00"/>
                <a:gd name="T166" fmla="*/ 0 h 187"/>
                <a:gd name="T167" fmla="*/ 300 w 300"/>
                <a:gd name="T168" fmla="*/ 187 h 187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00" h="187">
                  <a:moveTo>
                    <a:pt x="286" y="145"/>
                  </a:moveTo>
                  <a:lnTo>
                    <a:pt x="277" y="164"/>
                  </a:lnTo>
                  <a:lnTo>
                    <a:pt x="258" y="174"/>
                  </a:lnTo>
                  <a:lnTo>
                    <a:pt x="252" y="187"/>
                  </a:lnTo>
                  <a:lnTo>
                    <a:pt x="240" y="185"/>
                  </a:lnTo>
                  <a:lnTo>
                    <a:pt x="221" y="179"/>
                  </a:lnTo>
                  <a:lnTo>
                    <a:pt x="212" y="152"/>
                  </a:lnTo>
                  <a:lnTo>
                    <a:pt x="193" y="150"/>
                  </a:lnTo>
                  <a:lnTo>
                    <a:pt x="176" y="139"/>
                  </a:lnTo>
                  <a:lnTo>
                    <a:pt x="158" y="127"/>
                  </a:lnTo>
                  <a:lnTo>
                    <a:pt x="125" y="115"/>
                  </a:lnTo>
                  <a:lnTo>
                    <a:pt x="106" y="118"/>
                  </a:lnTo>
                  <a:lnTo>
                    <a:pt x="82" y="120"/>
                  </a:lnTo>
                  <a:lnTo>
                    <a:pt x="67" y="136"/>
                  </a:lnTo>
                  <a:lnTo>
                    <a:pt x="60" y="136"/>
                  </a:lnTo>
                  <a:lnTo>
                    <a:pt x="54" y="114"/>
                  </a:lnTo>
                  <a:lnTo>
                    <a:pt x="49" y="94"/>
                  </a:lnTo>
                  <a:lnTo>
                    <a:pt x="36" y="85"/>
                  </a:lnTo>
                  <a:lnTo>
                    <a:pt x="35" y="86"/>
                  </a:lnTo>
                  <a:lnTo>
                    <a:pt x="40" y="82"/>
                  </a:lnTo>
                  <a:lnTo>
                    <a:pt x="42" y="79"/>
                  </a:lnTo>
                  <a:lnTo>
                    <a:pt x="36" y="70"/>
                  </a:lnTo>
                  <a:lnTo>
                    <a:pt x="28" y="72"/>
                  </a:lnTo>
                  <a:lnTo>
                    <a:pt x="26" y="73"/>
                  </a:lnTo>
                  <a:lnTo>
                    <a:pt x="20" y="48"/>
                  </a:lnTo>
                  <a:lnTo>
                    <a:pt x="23" y="47"/>
                  </a:lnTo>
                  <a:lnTo>
                    <a:pt x="35" y="48"/>
                  </a:lnTo>
                  <a:lnTo>
                    <a:pt x="46" y="54"/>
                  </a:lnTo>
                  <a:lnTo>
                    <a:pt x="50" y="52"/>
                  </a:lnTo>
                  <a:lnTo>
                    <a:pt x="53" y="49"/>
                  </a:lnTo>
                  <a:lnTo>
                    <a:pt x="54" y="41"/>
                  </a:lnTo>
                  <a:lnTo>
                    <a:pt x="35" y="22"/>
                  </a:lnTo>
                  <a:lnTo>
                    <a:pt x="18" y="19"/>
                  </a:lnTo>
                  <a:lnTo>
                    <a:pt x="18" y="40"/>
                  </a:lnTo>
                  <a:lnTo>
                    <a:pt x="18" y="41"/>
                  </a:lnTo>
                  <a:lnTo>
                    <a:pt x="5" y="16"/>
                  </a:lnTo>
                  <a:lnTo>
                    <a:pt x="6" y="5"/>
                  </a:lnTo>
                  <a:lnTo>
                    <a:pt x="0" y="0"/>
                  </a:lnTo>
                  <a:lnTo>
                    <a:pt x="36" y="0"/>
                  </a:lnTo>
                  <a:lnTo>
                    <a:pt x="32" y="17"/>
                  </a:lnTo>
                  <a:lnTo>
                    <a:pt x="56" y="24"/>
                  </a:lnTo>
                  <a:lnTo>
                    <a:pt x="80" y="31"/>
                  </a:lnTo>
                  <a:lnTo>
                    <a:pt x="108" y="37"/>
                  </a:lnTo>
                  <a:lnTo>
                    <a:pt x="103" y="24"/>
                  </a:lnTo>
                  <a:lnTo>
                    <a:pt x="114" y="18"/>
                  </a:lnTo>
                  <a:lnTo>
                    <a:pt x="131" y="0"/>
                  </a:lnTo>
                  <a:lnTo>
                    <a:pt x="156" y="18"/>
                  </a:lnTo>
                  <a:lnTo>
                    <a:pt x="173" y="43"/>
                  </a:lnTo>
                  <a:lnTo>
                    <a:pt x="200" y="54"/>
                  </a:lnTo>
                  <a:lnTo>
                    <a:pt x="217" y="64"/>
                  </a:lnTo>
                  <a:lnTo>
                    <a:pt x="252" y="85"/>
                  </a:lnTo>
                  <a:lnTo>
                    <a:pt x="287" y="107"/>
                  </a:lnTo>
                  <a:lnTo>
                    <a:pt x="300" y="131"/>
                  </a:lnTo>
                  <a:lnTo>
                    <a:pt x="293" y="138"/>
                  </a:lnTo>
                  <a:lnTo>
                    <a:pt x="286" y="145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18" name="Freeform 146"/>
            <p:cNvSpPr>
              <a:spLocks/>
            </p:cNvSpPr>
            <p:nvPr/>
          </p:nvSpPr>
          <p:spPr bwMode="auto">
            <a:xfrm>
              <a:off x="3495" y="1422"/>
              <a:ext cx="194" cy="156"/>
            </a:xfrm>
            <a:custGeom>
              <a:avLst/>
              <a:gdLst>
                <a:gd name="T0" fmla="*/ 1 w 276"/>
                <a:gd name="T1" fmla="*/ 1 h 223"/>
                <a:gd name="T2" fmla="*/ 0 w 276"/>
                <a:gd name="T3" fmla="*/ 1 h 223"/>
                <a:gd name="T4" fmla="*/ 0 w 276"/>
                <a:gd name="T5" fmla="*/ 1 h 223"/>
                <a:gd name="T6" fmla="*/ 1 w 276"/>
                <a:gd name="T7" fmla="*/ 1 h 223"/>
                <a:gd name="T8" fmla="*/ 1 w 276"/>
                <a:gd name="T9" fmla="*/ 1 h 223"/>
                <a:gd name="T10" fmla="*/ 1 w 276"/>
                <a:gd name="T11" fmla="*/ 1 h 223"/>
                <a:gd name="T12" fmla="*/ 1 w 276"/>
                <a:gd name="T13" fmla="*/ 1 h 223"/>
                <a:gd name="T14" fmla="*/ 1 w 276"/>
                <a:gd name="T15" fmla="*/ 1 h 223"/>
                <a:gd name="T16" fmla="*/ 1 w 276"/>
                <a:gd name="T17" fmla="*/ 1 h 223"/>
                <a:gd name="T18" fmla="*/ 1 w 276"/>
                <a:gd name="T19" fmla="*/ 1 h 223"/>
                <a:gd name="T20" fmla="*/ 1 w 276"/>
                <a:gd name="T21" fmla="*/ 1 h 223"/>
                <a:gd name="T22" fmla="*/ 1 w 276"/>
                <a:gd name="T23" fmla="*/ 1 h 223"/>
                <a:gd name="T24" fmla="*/ 1 w 276"/>
                <a:gd name="T25" fmla="*/ 1 h 223"/>
                <a:gd name="T26" fmla="*/ 1 w 276"/>
                <a:gd name="T27" fmla="*/ 1 h 223"/>
                <a:gd name="T28" fmla="*/ 1 w 276"/>
                <a:gd name="T29" fmla="*/ 1 h 223"/>
                <a:gd name="T30" fmla="*/ 1 w 276"/>
                <a:gd name="T31" fmla="*/ 1 h 223"/>
                <a:gd name="T32" fmla="*/ 1 w 276"/>
                <a:gd name="T33" fmla="*/ 1 h 223"/>
                <a:gd name="T34" fmla="*/ 1 w 276"/>
                <a:gd name="T35" fmla="*/ 1 h 223"/>
                <a:gd name="T36" fmla="*/ 1 w 276"/>
                <a:gd name="T37" fmla="*/ 1 h 223"/>
                <a:gd name="T38" fmla="*/ 1 w 276"/>
                <a:gd name="T39" fmla="*/ 1 h 223"/>
                <a:gd name="T40" fmla="*/ 1 w 276"/>
                <a:gd name="T41" fmla="*/ 1 h 223"/>
                <a:gd name="T42" fmla="*/ 1 w 276"/>
                <a:gd name="T43" fmla="*/ 1 h 223"/>
                <a:gd name="T44" fmla="*/ 1 w 276"/>
                <a:gd name="T45" fmla="*/ 1 h 223"/>
                <a:gd name="T46" fmla="*/ 1 w 276"/>
                <a:gd name="T47" fmla="*/ 1 h 223"/>
                <a:gd name="T48" fmla="*/ 1 w 276"/>
                <a:gd name="T49" fmla="*/ 1 h 223"/>
                <a:gd name="T50" fmla="*/ 1 w 276"/>
                <a:gd name="T51" fmla="*/ 1 h 223"/>
                <a:gd name="T52" fmla="*/ 1 w 276"/>
                <a:gd name="T53" fmla="*/ 1 h 223"/>
                <a:gd name="T54" fmla="*/ 1 w 276"/>
                <a:gd name="T55" fmla="*/ 1 h 223"/>
                <a:gd name="T56" fmla="*/ 2 w 276"/>
                <a:gd name="T57" fmla="*/ 1 h 223"/>
                <a:gd name="T58" fmla="*/ 2 w 276"/>
                <a:gd name="T59" fmla="*/ 1 h 223"/>
                <a:gd name="T60" fmla="*/ 2 w 276"/>
                <a:gd name="T61" fmla="*/ 1 h 223"/>
                <a:gd name="T62" fmla="*/ 2 w 276"/>
                <a:gd name="T63" fmla="*/ 1 h 223"/>
                <a:gd name="T64" fmla="*/ 2 w 276"/>
                <a:gd name="T65" fmla="*/ 1 h 223"/>
                <a:gd name="T66" fmla="*/ 2 w 276"/>
                <a:gd name="T67" fmla="*/ 1 h 223"/>
                <a:gd name="T68" fmla="*/ 2 w 276"/>
                <a:gd name="T69" fmla="*/ 1 h 223"/>
                <a:gd name="T70" fmla="*/ 2 w 276"/>
                <a:gd name="T71" fmla="*/ 1 h 223"/>
                <a:gd name="T72" fmla="*/ 1 w 276"/>
                <a:gd name="T73" fmla="*/ 1 h 223"/>
                <a:gd name="T74" fmla="*/ 1 w 276"/>
                <a:gd name="T75" fmla="*/ 1 h 223"/>
                <a:gd name="T76" fmla="*/ 1 w 276"/>
                <a:gd name="T77" fmla="*/ 1 h 223"/>
                <a:gd name="T78" fmla="*/ 1 w 276"/>
                <a:gd name="T79" fmla="*/ 0 h 223"/>
                <a:gd name="T80" fmla="*/ 1 w 276"/>
                <a:gd name="T81" fmla="*/ 1 h 223"/>
                <a:gd name="T82" fmla="*/ 1 w 276"/>
                <a:gd name="T83" fmla="*/ 1 h 223"/>
                <a:gd name="T84" fmla="*/ 1 w 276"/>
                <a:gd name="T85" fmla="*/ 1 h 223"/>
                <a:gd name="T86" fmla="*/ 1 w 276"/>
                <a:gd name="T87" fmla="*/ 1 h 223"/>
                <a:gd name="T88" fmla="*/ 1 w 276"/>
                <a:gd name="T89" fmla="*/ 1 h 223"/>
                <a:gd name="T90" fmla="*/ 1 w 276"/>
                <a:gd name="T91" fmla="*/ 1 h 223"/>
                <a:gd name="T92" fmla="*/ 1 w 276"/>
                <a:gd name="T93" fmla="*/ 1 h 223"/>
                <a:gd name="T94" fmla="*/ 1 w 276"/>
                <a:gd name="T95" fmla="*/ 1 h 223"/>
                <a:gd name="T96" fmla="*/ 1 w 276"/>
                <a:gd name="T97" fmla="*/ 1 h 223"/>
                <a:gd name="T98" fmla="*/ 1 w 276"/>
                <a:gd name="T99" fmla="*/ 1 h 223"/>
                <a:gd name="T100" fmla="*/ 1 w 276"/>
                <a:gd name="T101" fmla="*/ 1 h 223"/>
                <a:gd name="T102" fmla="*/ 1 w 276"/>
                <a:gd name="T103" fmla="*/ 1 h 223"/>
                <a:gd name="T104" fmla="*/ 1 w 276"/>
                <a:gd name="T105" fmla="*/ 1 h 223"/>
                <a:gd name="T106" fmla="*/ 1 w 276"/>
                <a:gd name="T107" fmla="*/ 1 h 223"/>
                <a:gd name="T108" fmla="*/ 1 w 276"/>
                <a:gd name="T109" fmla="*/ 1 h 223"/>
                <a:gd name="T110" fmla="*/ 1 w 276"/>
                <a:gd name="T111" fmla="*/ 1 h 223"/>
                <a:gd name="T112" fmla="*/ 1 w 276"/>
                <a:gd name="T113" fmla="*/ 1 h 22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76"/>
                <a:gd name="T172" fmla="*/ 0 h 223"/>
                <a:gd name="T173" fmla="*/ 276 w 276"/>
                <a:gd name="T174" fmla="*/ 223 h 22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76" h="223">
                  <a:moveTo>
                    <a:pt x="1" y="97"/>
                  </a:moveTo>
                  <a:lnTo>
                    <a:pt x="0" y="101"/>
                  </a:lnTo>
                  <a:lnTo>
                    <a:pt x="0" y="114"/>
                  </a:lnTo>
                  <a:lnTo>
                    <a:pt x="8" y="120"/>
                  </a:lnTo>
                  <a:lnTo>
                    <a:pt x="6" y="125"/>
                  </a:lnTo>
                  <a:lnTo>
                    <a:pt x="11" y="145"/>
                  </a:lnTo>
                  <a:lnTo>
                    <a:pt x="16" y="167"/>
                  </a:lnTo>
                  <a:lnTo>
                    <a:pt x="35" y="174"/>
                  </a:lnTo>
                  <a:lnTo>
                    <a:pt x="40" y="183"/>
                  </a:lnTo>
                  <a:lnTo>
                    <a:pt x="24" y="211"/>
                  </a:lnTo>
                  <a:lnTo>
                    <a:pt x="42" y="217"/>
                  </a:lnTo>
                  <a:lnTo>
                    <a:pt x="60" y="223"/>
                  </a:lnTo>
                  <a:lnTo>
                    <a:pt x="92" y="222"/>
                  </a:lnTo>
                  <a:lnTo>
                    <a:pt x="115" y="217"/>
                  </a:lnTo>
                  <a:lnTo>
                    <a:pt x="138" y="213"/>
                  </a:lnTo>
                  <a:lnTo>
                    <a:pt x="137" y="201"/>
                  </a:lnTo>
                  <a:lnTo>
                    <a:pt x="140" y="181"/>
                  </a:lnTo>
                  <a:lnTo>
                    <a:pt x="161" y="173"/>
                  </a:lnTo>
                  <a:lnTo>
                    <a:pt x="167" y="166"/>
                  </a:lnTo>
                  <a:lnTo>
                    <a:pt x="187" y="167"/>
                  </a:lnTo>
                  <a:lnTo>
                    <a:pt x="188" y="139"/>
                  </a:lnTo>
                  <a:lnTo>
                    <a:pt x="205" y="126"/>
                  </a:lnTo>
                  <a:lnTo>
                    <a:pt x="193" y="112"/>
                  </a:lnTo>
                  <a:lnTo>
                    <a:pt x="211" y="111"/>
                  </a:lnTo>
                  <a:lnTo>
                    <a:pt x="215" y="100"/>
                  </a:lnTo>
                  <a:lnTo>
                    <a:pt x="221" y="82"/>
                  </a:lnTo>
                  <a:lnTo>
                    <a:pt x="210" y="60"/>
                  </a:lnTo>
                  <a:lnTo>
                    <a:pt x="221" y="45"/>
                  </a:lnTo>
                  <a:lnTo>
                    <a:pt x="245" y="40"/>
                  </a:lnTo>
                  <a:lnTo>
                    <a:pt x="270" y="34"/>
                  </a:lnTo>
                  <a:lnTo>
                    <a:pt x="269" y="29"/>
                  </a:lnTo>
                  <a:lnTo>
                    <a:pt x="275" y="29"/>
                  </a:lnTo>
                  <a:lnTo>
                    <a:pt x="276" y="29"/>
                  </a:lnTo>
                  <a:lnTo>
                    <a:pt x="258" y="27"/>
                  </a:lnTo>
                  <a:lnTo>
                    <a:pt x="252" y="27"/>
                  </a:lnTo>
                  <a:lnTo>
                    <a:pt x="235" y="28"/>
                  </a:lnTo>
                  <a:lnTo>
                    <a:pt x="210" y="41"/>
                  </a:lnTo>
                  <a:lnTo>
                    <a:pt x="202" y="11"/>
                  </a:lnTo>
                  <a:lnTo>
                    <a:pt x="196" y="11"/>
                  </a:lnTo>
                  <a:lnTo>
                    <a:pt x="190" y="0"/>
                  </a:lnTo>
                  <a:lnTo>
                    <a:pt x="180" y="4"/>
                  </a:lnTo>
                  <a:lnTo>
                    <a:pt x="178" y="18"/>
                  </a:lnTo>
                  <a:lnTo>
                    <a:pt x="162" y="27"/>
                  </a:lnTo>
                  <a:lnTo>
                    <a:pt x="157" y="30"/>
                  </a:lnTo>
                  <a:lnTo>
                    <a:pt x="143" y="31"/>
                  </a:lnTo>
                  <a:lnTo>
                    <a:pt x="133" y="33"/>
                  </a:lnTo>
                  <a:lnTo>
                    <a:pt x="126" y="29"/>
                  </a:lnTo>
                  <a:lnTo>
                    <a:pt x="106" y="25"/>
                  </a:lnTo>
                  <a:lnTo>
                    <a:pt x="85" y="22"/>
                  </a:lnTo>
                  <a:lnTo>
                    <a:pt x="78" y="29"/>
                  </a:lnTo>
                  <a:lnTo>
                    <a:pt x="71" y="36"/>
                  </a:lnTo>
                  <a:lnTo>
                    <a:pt x="62" y="55"/>
                  </a:lnTo>
                  <a:lnTo>
                    <a:pt x="43" y="65"/>
                  </a:lnTo>
                  <a:lnTo>
                    <a:pt x="37" y="78"/>
                  </a:lnTo>
                  <a:lnTo>
                    <a:pt x="25" y="76"/>
                  </a:lnTo>
                  <a:lnTo>
                    <a:pt x="6" y="70"/>
                  </a:lnTo>
                  <a:lnTo>
                    <a:pt x="1" y="9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19" name="Freeform 147"/>
            <p:cNvSpPr>
              <a:spLocks/>
            </p:cNvSpPr>
            <p:nvPr/>
          </p:nvSpPr>
          <p:spPr bwMode="auto">
            <a:xfrm>
              <a:off x="3083" y="1469"/>
              <a:ext cx="30" cy="18"/>
            </a:xfrm>
            <a:custGeom>
              <a:avLst/>
              <a:gdLst>
                <a:gd name="T0" fmla="*/ 1 w 42"/>
                <a:gd name="T1" fmla="*/ 0 h 27"/>
                <a:gd name="T2" fmla="*/ 1 w 42"/>
                <a:gd name="T3" fmla="*/ 1 h 27"/>
                <a:gd name="T4" fmla="*/ 0 w 42"/>
                <a:gd name="T5" fmla="*/ 1 h 27"/>
                <a:gd name="T6" fmla="*/ 1 w 42"/>
                <a:gd name="T7" fmla="*/ 1 h 27"/>
                <a:gd name="T8" fmla="*/ 1 w 42"/>
                <a:gd name="T9" fmla="*/ 1 h 27"/>
                <a:gd name="T10" fmla="*/ 1 w 42"/>
                <a:gd name="T11" fmla="*/ 1 h 27"/>
                <a:gd name="T12" fmla="*/ 1 w 42"/>
                <a:gd name="T13" fmla="*/ 0 h 2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2"/>
                <a:gd name="T22" fmla="*/ 0 h 27"/>
                <a:gd name="T23" fmla="*/ 42 w 42"/>
                <a:gd name="T24" fmla="*/ 27 h 2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2" h="27">
                  <a:moveTo>
                    <a:pt x="42" y="0"/>
                  </a:moveTo>
                  <a:lnTo>
                    <a:pt x="16" y="9"/>
                  </a:lnTo>
                  <a:lnTo>
                    <a:pt x="0" y="16"/>
                  </a:lnTo>
                  <a:lnTo>
                    <a:pt x="6" y="27"/>
                  </a:lnTo>
                  <a:lnTo>
                    <a:pt x="30" y="18"/>
                  </a:lnTo>
                  <a:lnTo>
                    <a:pt x="30" y="14"/>
                  </a:lnTo>
                  <a:lnTo>
                    <a:pt x="42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20" name="Line 148"/>
            <p:cNvSpPr>
              <a:spLocks noChangeShapeType="1"/>
            </p:cNvSpPr>
            <p:nvPr/>
          </p:nvSpPr>
          <p:spPr bwMode="auto">
            <a:xfrm>
              <a:off x="3680" y="1448"/>
              <a:ext cx="4" cy="1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21" name="Line 149"/>
            <p:cNvSpPr>
              <a:spLocks noChangeShapeType="1"/>
            </p:cNvSpPr>
            <p:nvPr/>
          </p:nvSpPr>
          <p:spPr bwMode="auto">
            <a:xfrm flipH="1">
              <a:off x="3681" y="1449"/>
              <a:ext cx="1" cy="4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22" name="Line 150"/>
            <p:cNvSpPr>
              <a:spLocks noChangeShapeType="1"/>
            </p:cNvSpPr>
            <p:nvPr/>
          </p:nvSpPr>
          <p:spPr bwMode="auto">
            <a:xfrm flipH="1">
              <a:off x="3678" y="1452"/>
              <a:ext cx="3" cy="3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23" name="Line 151"/>
            <p:cNvSpPr>
              <a:spLocks noChangeShapeType="1"/>
            </p:cNvSpPr>
            <p:nvPr/>
          </p:nvSpPr>
          <p:spPr bwMode="auto">
            <a:xfrm flipH="1">
              <a:off x="3674" y="1453"/>
              <a:ext cx="6" cy="4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24" name="Line 152"/>
            <p:cNvSpPr>
              <a:spLocks noChangeShapeType="1"/>
            </p:cNvSpPr>
            <p:nvPr/>
          </p:nvSpPr>
          <p:spPr bwMode="auto">
            <a:xfrm flipH="1">
              <a:off x="3671" y="1457"/>
              <a:ext cx="4" cy="4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25" name="Line 153"/>
            <p:cNvSpPr>
              <a:spLocks noChangeShapeType="1"/>
            </p:cNvSpPr>
            <p:nvPr/>
          </p:nvSpPr>
          <p:spPr bwMode="auto">
            <a:xfrm flipH="1">
              <a:off x="3668" y="1459"/>
              <a:ext cx="5" cy="4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26" name="Line 154"/>
            <p:cNvSpPr>
              <a:spLocks noChangeShapeType="1"/>
            </p:cNvSpPr>
            <p:nvPr/>
          </p:nvSpPr>
          <p:spPr bwMode="auto">
            <a:xfrm flipH="1">
              <a:off x="3668" y="1462"/>
              <a:ext cx="2" cy="7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27" name="Line 155"/>
            <p:cNvSpPr>
              <a:spLocks noChangeShapeType="1"/>
            </p:cNvSpPr>
            <p:nvPr/>
          </p:nvSpPr>
          <p:spPr bwMode="auto">
            <a:xfrm>
              <a:off x="3668" y="1467"/>
              <a:ext cx="2" cy="6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28" name="Line 156"/>
            <p:cNvSpPr>
              <a:spLocks noChangeShapeType="1"/>
            </p:cNvSpPr>
            <p:nvPr/>
          </p:nvSpPr>
          <p:spPr bwMode="auto">
            <a:xfrm>
              <a:off x="3670" y="1473"/>
              <a:ext cx="3" cy="4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29" name="Line 157"/>
            <p:cNvSpPr>
              <a:spLocks noChangeShapeType="1"/>
            </p:cNvSpPr>
            <p:nvPr/>
          </p:nvSpPr>
          <p:spPr bwMode="auto">
            <a:xfrm>
              <a:off x="3678" y="1495"/>
              <a:ext cx="2" cy="1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30" name="Line 158"/>
            <p:cNvSpPr>
              <a:spLocks noChangeShapeType="1"/>
            </p:cNvSpPr>
            <p:nvPr/>
          </p:nvSpPr>
          <p:spPr bwMode="auto">
            <a:xfrm>
              <a:off x="3678" y="1494"/>
              <a:ext cx="6" cy="6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31" name="Line 159"/>
            <p:cNvSpPr>
              <a:spLocks noChangeShapeType="1"/>
            </p:cNvSpPr>
            <p:nvPr/>
          </p:nvSpPr>
          <p:spPr bwMode="auto">
            <a:xfrm>
              <a:off x="3684" y="1500"/>
              <a:ext cx="5" cy="4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32" name="Line 160"/>
            <p:cNvSpPr>
              <a:spLocks noChangeShapeType="1"/>
            </p:cNvSpPr>
            <p:nvPr/>
          </p:nvSpPr>
          <p:spPr bwMode="auto">
            <a:xfrm>
              <a:off x="3689" y="1502"/>
              <a:ext cx="2" cy="6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33" name="Line 161"/>
            <p:cNvSpPr>
              <a:spLocks noChangeShapeType="1"/>
            </p:cNvSpPr>
            <p:nvPr/>
          </p:nvSpPr>
          <p:spPr bwMode="auto">
            <a:xfrm>
              <a:off x="3689" y="1508"/>
              <a:ext cx="2" cy="4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34" name="Line 162"/>
            <p:cNvSpPr>
              <a:spLocks noChangeShapeType="1"/>
            </p:cNvSpPr>
            <p:nvPr/>
          </p:nvSpPr>
          <p:spPr bwMode="auto">
            <a:xfrm>
              <a:off x="3689" y="1512"/>
              <a:ext cx="7" cy="3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35" name="Line 163"/>
            <p:cNvSpPr>
              <a:spLocks noChangeShapeType="1"/>
            </p:cNvSpPr>
            <p:nvPr/>
          </p:nvSpPr>
          <p:spPr bwMode="auto">
            <a:xfrm>
              <a:off x="3696" y="1515"/>
              <a:ext cx="3" cy="1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36" name="Line 164"/>
            <p:cNvSpPr>
              <a:spLocks noChangeShapeType="1"/>
            </p:cNvSpPr>
            <p:nvPr/>
          </p:nvSpPr>
          <p:spPr bwMode="auto">
            <a:xfrm flipV="1">
              <a:off x="3765" y="1494"/>
              <a:ext cx="7" cy="4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37" name="Line 165"/>
            <p:cNvSpPr>
              <a:spLocks noChangeShapeType="1"/>
            </p:cNvSpPr>
            <p:nvPr/>
          </p:nvSpPr>
          <p:spPr bwMode="auto">
            <a:xfrm flipV="1">
              <a:off x="3772" y="1485"/>
              <a:ext cx="1" cy="10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38" name="Line 166"/>
            <p:cNvSpPr>
              <a:spLocks noChangeShapeType="1"/>
            </p:cNvSpPr>
            <p:nvPr/>
          </p:nvSpPr>
          <p:spPr bwMode="auto">
            <a:xfrm flipV="1">
              <a:off x="3774" y="1471"/>
              <a:ext cx="3" cy="16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39" name="Line 167"/>
            <p:cNvSpPr>
              <a:spLocks noChangeShapeType="1"/>
            </p:cNvSpPr>
            <p:nvPr/>
          </p:nvSpPr>
          <p:spPr bwMode="auto">
            <a:xfrm flipH="1" flipV="1">
              <a:off x="3767" y="1469"/>
              <a:ext cx="9" cy="4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40" name="Line 168"/>
            <p:cNvSpPr>
              <a:spLocks noChangeShapeType="1"/>
            </p:cNvSpPr>
            <p:nvPr/>
          </p:nvSpPr>
          <p:spPr bwMode="auto">
            <a:xfrm flipH="1">
              <a:off x="3740" y="1467"/>
              <a:ext cx="8" cy="6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41" name="Freeform 169"/>
            <p:cNvSpPr>
              <a:spLocks/>
            </p:cNvSpPr>
            <p:nvPr/>
          </p:nvSpPr>
          <p:spPr bwMode="auto">
            <a:xfrm>
              <a:off x="3125" y="1487"/>
              <a:ext cx="19" cy="27"/>
            </a:xfrm>
            <a:custGeom>
              <a:avLst/>
              <a:gdLst>
                <a:gd name="T0" fmla="*/ 1 w 26"/>
                <a:gd name="T1" fmla="*/ 1 h 38"/>
                <a:gd name="T2" fmla="*/ 1 w 26"/>
                <a:gd name="T3" fmla="*/ 1 h 38"/>
                <a:gd name="T4" fmla="*/ 0 w 26"/>
                <a:gd name="T5" fmla="*/ 1 h 38"/>
                <a:gd name="T6" fmla="*/ 1 w 26"/>
                <a:gd name="T7" fmla="*/ 1 h 38"/>
                <a:gd name="T8" fmla="*/ 1 w 26"/>
                <a:gd name="T9" fmla="*/ 0 h 38"/>
                <a:gd name="T10" fmla="*/ 1 w 26"/>
                <a:gd name="T11" fmla="*/ 1 h 38"/>
                <a:gd name="T12" fmla="*/ 1 w 26"/>
                <a:gd name="T13" fmla="*/ 1 h 3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6"/>
                <a:gd name="T22" fmla="*/ 0 h 38"/>
                <a:gd name="T23" fmla="*/ 26 w 26"/>
                <a:gd name="T24" fmla="*/ 38 h 3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6" h="38">
                  <a:moveTo>
                    <a:pt x="24" y="20"/>
                  </a:moveTo>
                  <a:lnTo>
                    <a:pt x="11" y="34"/>
                  </a:lnTo>
                  <a:lnTo>
                    <a:pt x="0" y="38"/>
                  </a:lnTo>
                  <a:lnTo>
                    <a:pt x="7" y="19"/>
                  </a:lnTo>
                  <a:lnTo>
                    <a:pt x="13" y="0"/>
                  </a:lnTo>
                  <a:lnTo>
                    <a:pt x="26" y="6"/>
                  </a:lnTo>
                  <a:lnTo>
                    <a:pt x="24" y="2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42" name="Freeform 170"/>
            <p:cNvSpPr>
              <a:spLocks/>
            </p:cNvSpPr>
            <p:nvPr/>
          </p:nvSpPr>
          <p:spPr bwMode="auto">
            <a:xfrm>
              <a:off x="3131" y="1443"/>
              <a:ext cx="90" cy="85"/>
            </a:xfrm>
            <a:custGeom>
              <a:avLst/>
              <a:gdLst>
                <a:gd name="T0" fmla="*/ 1 w 129"/>
                <a:gd name="T1" fmla="*/ 1 h 121"/>
                <a:gd name="T2" fmla="*/ 1 w 129"/>
                <a:gd name="T3" fmla="*/ 1 h 121"/>
                <a:gd name="T4" fmla="*/ 1 w 129"/>
                <a:gd name="T5" fmla="*/ 1 h 121"/>
                <a:gd name="T6" fmla="*/ 1 w 129"/>
                <a:gd name="T7" fmla="*/ 1 h 121"/>
                <a:gd name="T8" fmla="*/ 1 w 129"/>
                <a:gd name="T9" fmla="*/ 1 h 121"/>
                <a:gd name="T10" fmla="*/ 1 w 129"/>
                <a:gd name="T11" fmla="*/ 1 h 121"/>
                <a:gd name="T12" fmla="*/ 0 w 129"/>
                <a:gd name="T13" fmla="*/ 1 h 121"/>
                <a:gd name="T14" fmla="*/ 1 w 129"/>
                <a:gd name="T15" fmla="*/ 1 h 121"/>
                <a:gd name="T16" fmla="*/ 1 w 129"/>
                <a:gd name="T17" fmla="*/ 1 h 121"/>
                <a:gd name="T18" fmla="*/ 1 w 129"/>
                <a:gd name="T19" fmla="*/ 1 h 121"/>
                <a:gd name="T20" fmla="*/ 1 w 129"/>
                <a:gd name="T21" fmla="*/ 1 h 121"/>
                <a:gd name="T22" fmla="*/ 1 w 129"/>
                <a:gd name="T23" fmla="*/ 1 h 121"/>
                <a:gd name="T24" fmla="*/ 1 w 129"/>
                <a:gd name="T25" fmla="*/ 1 h 121"/>
                <a:gd name="T26" fmla="*/ 1 w 129"/>
                <a:gd name="T27" fmla="*/ 1 h 121"/>
                <a:gd name="T28" fmla="*/ 1 w 129"/>
                <a:gd name="T29" fmla="*/ 1 h 121"/>
                <a:gd name="T30" fmla="*/ 1 w 129"/>
                <a:gd name="T31" fmla="*/ 1 h 121"/>
                <a:gd name="T32" fmla="*/ 1 w 129"/>
                <a:gd name="T33" fmla="*/ 1 h 121"/>
                <a:gd name="T34" fmla="*/ 1 w 129"/>
                <a:gd name="T35" fmla="*/ 1 h 121"/>
                <a:gd name="T36" fmla="*/ 1 w 129"/>
                <a:gd name="T37" fmla="*/ 1 h 121"/>
                <a:gd name="T38" fmla="*/ 1 w 129"/>
                <a:gd name="T39" fmla="*/ 1 h 121"/>
                <a:gd name="T40" fmla="*/ 1 w 129"/>
                <a:gd name="T41" fmla="*/ 0 h 121"/>
                <a:gd name="T42" fmla="*/ 1 w 129"/>
                <a:gd name="T43" fmla="*/ 1 h 121"/>
                <a:gd name="T44" fmla="*/ 1 w 129"/>
                <a:gd name="T45" fmla="*/ 1 h 12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29"/>
                <a:gd name="T70" fmla="*/ 0 h 121"/>
                <a:gd name="T71" fmla="*/ 129 w 129"/>
                <a:gd name="T72" fmla="*/ 121 h 12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29" h="121">
                  <a:moveTo>
                    <a:pt x="81" y="10"/>
                  </a:moveTo>
                  <a:lnTo>
                    <a:pt x="51" y="9"/>
                  </a:lnTo>
                  <a:lnTo>
                    <a:pt x="20" y="11"/>
                  </a:lnTo>
                  <a:lnTo>
                    <a:pt x="12" y="13"/>
                  </a:lnTo>
                  <a:lnTo>
                    <a:pt x="11" y="24"/>
                  </a:lnTo>
                  <a:lnTo>
                    <a:pt x="3" y="33"/>
                  </a:lnTo>
                  <a:lnTo>
                    <a:pt x="0" y="31"/>
                  </a:lnTo>
                  <a:lnTo>
                    <a:pt x="5" y="63"/>
                  </a:lnTo>
                  <a:lnTo>
                    <a:pt x="18" y="69"/>
                  </a:lnTo>
                  <a:lnTo>
                    <a:pt x="16" y="83"/>
                  </a:lnTo>
                  <a:lnTo>
                    <a:pt x="3" y="97"/>
                  </a:lnTo>
                  <a:lnTo>
                    <a:pt x="4" y="111"/>
                  </a:lnTo>
                  <a:lnTo>
                    <a:pt x="30" y="121"/>
                  </a:lnTo>
                  <a:lnTo>
                    <a:pt x="50" y="108"/>
                  </a:lnTo>
                  <a:lnTo>
                    <a:pt x="68" y="95"/>
                  </a:lnTo>
                  <a:lnTo>
                    <a:pt x="89" y="82"/>
                  </a:lnTo>
                  <a:lnTo>
                    <a:pt x="111" y="69"/>
                  </a:lnTo>
                  <a:lnTo>
                    <a:pt x="111" y="45"/>
                  </a:lnTo>
                  <a:lnTo>
                    <a:pt x="110" y="21"/>
                  </a:lnTo>
                  <a:lnTo>
                    <a:pt x="129" y="3"/>
                  </a:lnTo>
                  <a:lnTo>
                    <a:pt x="122" y="0"/>
                  </a:lnTo>
                  <a:lnTo>
                    <a:pt x="101" y="5"/>
                  </a:lnTo>
                  <a:lnTo>
                    <a:pt x="81" y="1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43" name="Freeform 171"/>
            <p:cNvSpPr>
              <a:spLocks/>
            </p:cNvSpPr>
            <p:nvPr/>
          </p:nvSpPr>
          <p:spPr bwMode="auto">
            <a:xfrm>
              <a:off x="3571" y="1365"/>
              <a:ext cx="121" cy="85"/>
            </a:xfrm>
            <a:custGeom>
              <a:avLst/>
              <a:gdLst>
                <a:gd name="T0" fmla="*/ 1 w 171"/>
                <a:gd name="T1" fmla="*/ 1 h 122"/>
                <a:gd name="T2" fmla="*/ 1 w 171"/>
                <a:gd name="T3" fmla="*/ 1 h 122"/>
                <a:gd name="T4" fmla="*/ 1 w 171"/>
                <a:gd name="T5" fmla="*/ 1 h 122"/>
                <a:gd name="T6" fmla="*/ 1 w 171"/>
                <a:gd name="T7" fmla="*/ 1 h 122"/>
                <a:gd name="T8" fmla="*/ 1 w 171"/>
                <a:gd name="T9" fmla="*/ 1 h 122"/>
                <a:gd name="T10" fmla="*/ 1 w 171"/>
                <a:gd name="T11" fmla="*/ 1 h 122"/>
                <a:gd name="T12" fmla="*/ 1 w 171"/>
                <a:gd name="T13" fmla="*/ 1 h 122"/>
                <a:gd name="T14" fmla="*/ 1 w 171"/>
                <a:gd name="T15" fmla="*/ 1 h 122"/>
                <a:gd name="T16" fmla="*/ 1 w 171"/>
                <a:gd name="T17" fmla="*/ 1 h 122"/>
                <a:gd name="T18" fmla="*/ 1 w 171"/>
                <a:gd name="T19" fmla="*/ 1 h 122"/>
                <a:gd name="T20" fmla="*/ 1 w 171"/>
                <a:gd name="T21" fmla="*/ 1 h 122"/>
                <a:gd name="T22" fmla="*/ 1 w 171"/>
                <a:gd name="T23" fmla="*/ 1 h 122"/>
                <a:gd name="T24" fmla="*/ 1 w 171"/>
                <a:gd name="T25" fmla="*/ 1 h 122"/>
                <a:gd name="T26" fmla="*/ 1 w 171"/>
                <a:gd name="T27" fmla="*/ 1 h 122"/>
                <a:gd name="T28" fmla="*/ 1 w 171"/>
                <a:gd name="T29" fmla="*/ 1 h 122"/>
                <a:gd name="T30" fmla="*/ 1 w 171"/>
                <a:gd name="T31" fmla="*/ 1 h 122"/>
                <a:gd name="T32" fmla="*/ 1 w 171"/>
                <a:gd name="T33" fmla="*/ 1 h 122"/>
                <a:gd name="T34" fmla="*/ 0 w 171"/>
                <a:gd name="T35" fmla="*/ 1 h 122"/>
                <a:gd name="T36" fmla="*/ 1 w 171"/>
                <a:gd name="T37" fmla="*/ 1 h 122"/>
                <a:gd name="T38" fmla="*/ 1 w 171"/>
                <a:gd name="T39" fmla="*/ 1 h 122"/>
                <a:gd name="T40" fmla="*/ 1 w 171"/>
                <a:gd name="T41" fmla="*/ 0 h 122"/>
                <a:gd name="T42" fmla="*/ 1 w 171"/>
                <a:gd name="T43" fmla="*/ 1 h 122"/>
                <a:gd name="T44" fmla="*/ 1 w 171"/>
                <a:gd name="T45" fmla="*/ 1 h 122"/>
                <a:gd name="T46" fmla="*/ 1 w 171"/>
                <a:gd name="T47" fmla="*/ 1 h 122"/>
                <a:gd name="T48" fmla="*/ 1 w 171"/>
                <a:gd name="T49" fmla="*/ 1 h 122"/>
                <a:gd name="T50" fmla="*/ 1 w 171"/>
                <a:gd name="T51" fmla="*/ 1 h 122"/>
                <a:gd name="T52" fmla="*/ 1 w 171"/>
                <a:gd name="T53" fmla="*/ 1 h 122"/>
                <a:gd name="T54" fmla="*/ 1 w 171"/>
                <a:gd name="T55" fmla="*/ 1 h 122"/>
                <a:gd name="T56" fmla="*/ 1 w 171"/>
                <a:gd name="T57" fmla="*/ 1 h 122"/>
                <a:gd name="T58" fmla="*/ 1 w 171"/>
                <a:gd name="T59" fmla="*/ 1 h 122"/>
                <a:gd name="T60" fmla="*/ 1 w 171"/>
                <a:gd name="T61" fmla="*/ 1 h 122"/>
                <a:gd name="T62" fmla="*/ 1 w 171"/>
                <a:gd name="T63" fmla="*/ 1 h 122"/>
                <a:gd name="T64" fmla="*/ 1 w 171"/>
                <a:gd name="T65" fmla="*/ 1 h 122"/>
                <a:gd name="T66" fmla="*/ 1 w 171"/>
                <a:gd name="T67" fmla="*/ 1 h 12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71"/>
                <a:gd name="T103" fmla="*/ 0 h 122"/>
                <a:gd name="T104" fmla="*/ 171 w 171"/>
                <a:gd name="T105" fmla="*/ 122 h 12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71" h="122">
                  <a:moveTo>
                    <a:pt x="145" y="108"/>
                  </a:moveTo>
                  <a:lnTo>
                    <a:pt x="128" y="109"/>
                  </a:lnTo>
                  <a:lnTo>
                    <a:pt x="103" y="122"/>
                  </a:lnTo>
                  <a:lnTo>
                    <a:pt x="95" y="92"/>
                  </a:lnTo>
                  <a:lnTo>
                    <a:pt x="89" y="92"/>
                  </a:lnTo>
                  <a:lnTo>
                    <a:pt x="83" y="81"/>
                  </a:lnTo>
                  <a:lnTo>
                    <a:pt x="73" y="85"/>
                  </a:lnTo>
                  <a:lnTo>
                    <a:pt x="71" y="99"/>
                  </a:lnTo>
                  <a:lnTo>
                    <a:pt x="55" y="108"/>
                  </a:lnTo>
                  <a:lnTo>
                    <a:pt x="50" y="111"/>
                  </a:lnTo>
                  <a:lnTo>
                    <a:pt x="36" y="112"/>
                  </a:lnTo>
                  <a:lnTo>
                    <a:pt x="26" y="114"/>
                  </a:lnTo>
                  <a:lnTo>
                    <a:pt x="19" y="110"/>
                  </a:lnTo>
                  <a:lnTo>
                    <a:pt x="24" y="94"/>
                  </a:lnTo>
                  <a:lnTo>
                    <a:pt x="29" y="78"/>
                  </a:lnTo>
                  <a:lnTo>
                    <a:pt x="23" y="68"/>
                  </a:lnTo>
                  <a:lnTo>
                    <a:pt x="8" y="60"/>
                  </a:lnTo>
                  <a:lnTo>
                    <a:pt x="0" y="50"/>
                  </a:lnTo>
                  <a:lnTo>
                    <a:pt x="20" y="31"/>
                  </a:lnTo>
                  <a:lnTo>
                    <a:pt x="42" y="13"/>
                  </a:lnTo>
                  <a:lnTo>
                    <a:pt x="56" y="0"/>
                  </a:lnTo>
                  <a:lnTo>
                    <a:pt x="85" y="2"/>
                  </a:lnTo>
                  <a:lnTo>
                    <a:pt x="107" y="16"/>
                  </a:lnTo>
                  <a:lnTo>
                    <a:pt x="81" y="25"/>
                  </a:lnTo>
                  <a:lnTo>
                    <a:pt x="56" y="33"/>
                  </a:lnTo>
                  <a:lnTo>
                    <a:pt x="57" y="49"/>
                  </a:lnTo>
                  <a:lnTo>
                    <a:pt x="93" y="54"/>
                  </a:lnTo>
                  <a:lnTo>
                    <a:pt x="128" y="57"/>
                  </a:lnTo>
                  <a:lnTo>
                    <a:pt x="140" y="78"/>
                  </a:lnTo>
                  <a:lnTo>
                    <a:pt x="158" y="80"/>
                  </a:lnTo>
                  <a:lnTo>
                    <a:pt x="171" y="108"/>
                  </a:lnTo>
                  <a:lnTo>
                    <a:pt x="169" y="110"/>
                  </a:lnTo>
                  <a:lnTo>
                    <a:pt x="151" y="108"/>
                  </a:lnTo>
                  <a:lnTo>
                    <a:pt x="145" y="10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44" name="Freeform 172"/>
            <p:cNvSpPr>
              <a:spLocks/>
            </p:cNvSpPr>
            <p:nvPr/>
          </p:nvSpPr>
          <p:spPr bwMode="auto">
            <a:xfrm>
              <a:off x="3386" y="1293"/>
              <a:ext cx="225" cy="149"/>
            </a:xfrm>
            <a:custGeom>
              <a:avLst/>
              <a:gdLst>
                <a:gd name="T0" fmla="*/ 1 w 320"/>
                <a:gd name="T1" fmla="*/ 1 h 212"/>
                <a:gd name="T2" fmla="*/ 1 w 320"/>
                <a:gd name="T3" fmla="*/ 1 h 212"/>
                <a:gd name="T4" fmla="*/ 1 w 320"/>
                <a:gd name="T5" fmla="*/ 1 h 212"/>
                <a:gd name="T6" fmla="*/ 1 w 320"/>
                <a:gd name="T7" fmla="*/ 1 h 212"/>
                <a:gd name="T8" fmla="*/ 1 w 320"/>
                <a:gd name="T9" fmla="*/ 1 h 212"/>
                <a:gd name="T10" fmla="*/ 1 w 320"/>
                <a:gd name="T11" fmla="*/ 1 h 212"/>
                <a:gd name="T12" fmla="*/ 1 w 320"/>
                <a:gd name="T13" fmla="*/ 1 h 212"/>
                <a:gd name="T14" fmla="*/ 1 w 320"/>
                <a:gd name="T15" fmla="*/ 1 h 212"/>
                <a:gd name="T16" fmla="*/ 1 w 320"/>
                <a:gd name="T17" fmla="*/ 1 h 212"/>
                <a:gd name="T18" fmla="*/ 1 w 320"/>
                <a:gd name="T19" fmla="*/ 1 h 212"/>
                <a:gd name="T20" fmla="*/ 1 w 320"/>
                <a:gd name="T21" fmla="*/ 1 h 212"/>
                <a:gd name="T22" fmla="*/ 1 w 320"/>
                <a:gd name="T23" fmla="*/ 1 h 212"/>
                <a:gd name="T24" fmla="*/ 1 w 320"/>
                <a:gd name="T25" fmla="*/ 1 h 212"/>
                <a:gd name="T26" fmla="*/ 1 w 320"/>
                <a:gd name="T27" fmla="*/ 1 h 212"/>
                <a:gd name="T28" fmla="*/ 0 w 320"/>
                <a:gd name="T29" fmla="*/ 1 h 212"/>
                <a:gd name="T30" fmla="*/ 1 w 320"/>
                <a:gd name="T31" fmla="*/ 1 h 212"/>
                <a:gd name="T32" fmla="*/ 1 w 320"/>
                <a:gd name="T33" fmla="*/ 0 h 212"/>
                <a:gd name="T34" fmla="*/ 1 w 320"/>
                <a:gd name="T35" fmla="*/ 1 h 212"/>
                <a:gd name="T36" fmla="*/ 1 w 320"/>
                <a:gd name="T37" fmla="*/ 1 h 212"/>
                <a:gd name="T38" fmla="*/ 1 w 320"/>
                <a:gd name="T39" fmla="*/ 1 h 212"/>
                <a:gd name="T40" fmla="*/ 1 w 320"/>
                <a:gd name="T41" fmla="*/ 1 h 212"/>
                <a:gd name="T42" fmla="*/ 1 w 320"/>
                <a:gd name="T43" fmla="*/ 1 h 212"/>
                <a:gd name="T44" fmla="*/ 1 w 320"/>
                <a:gd name="T45" fmla="*/ 1 h 212"/>
                <a:gd name="T46" fmla="*/ 1 w 320"/>
                <a:gd name="T47" fmla="*/ 1 h 212"/>
                <a:gd name="T48" fmla="*/ 1 w 320"/>
                <a:gd name="T49" fmla="*/ 1 h 212"/>
                <a:gd name="T50" fmla="*/ 1 w 320"/>
                <a:gd name="T51" fmla="*/ 1 h 212"/>
                <a:gd name="T52" fmla="*/ 2 w 320"/>
                <a:gd name="T53" fmla="*/ 1 h 212"/>
                <a:gd name="T54" fmla="*/ 2 w 320"/>
                <a:gd name="T55" fmla="*/ 1 h 212"/>
                <a:gd name="T56" fmla="*/ 2 w 320"/>
                <a:gd name="T57" fmla="*/ 1 h 212"/>
                <a:gd name="T58" fmla="*/ 2 w 320"/>
                <a:gd name="T59" fmla="*/ 1 h 212"/>
                <a:gd name="T60" fmla="*/ 2 w 320"/>
                <a:gd name="T61" fmla="*/ 1 h 212"/>
                <a:gd name="T62" fmla="*/ 2 w 320"/>
                <a:gd name="T63" fmla="*/ 1 h 212"/>
                <a:gd name="T64" fmla="*/ 2 w 320"/>
                <a:gd name="T65" fmla="*/ 1 h 212"/>
                <a:gd name="T66" fmla="*/ 2 w 320"/>
                <a:gd name="T67" fmla="*/ 1 h 212"/>
                <a:gd name="T68" fmla="*/ 2 w 320"/>
                <a:gd name="T69" fmla="*/ 1 h 212"/>
                <a:gd name="T70" fmla="*/ 2 w 320"/>
                <a:gd name="T71" fmla="*/ 1 h 212"/>
                <a:gd name="T72" fmla="*/ 2 w 320"/>
                <a:gd name="T73" fmla="*/ 1 h 212"/>
                <a:gd name="T74" fmla="*/ 2 w 320"/>
                <a:gd name="T75" fmla="*/ 1 h 212"/>
                <a:gd name="T76" fmla="*/ 2 w 320"/>
                <a:gd name="T77" fmla="*/ 1 h 212"/>
                <a:gd name="T78" fmla="*/ 2 w 320"/>
                <a:gd name="T79" fmla="*/ 1 h 212"/>
                <a:gd name="T80" fmla="*/ 2 w 320"/>
                <a:gd name="T81" fmla="*/ 1 h 212"/>
                <a:gd name="T82" fmla="*/ 1 w 320"/>
                <a:gd name="T83" fmla="*/ 1 h 21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320"/>
                <a:gd name="T127" fmla="*/ 0 h 212"/>
                <a:gd name="T128" fmla="*/ 320 w 320"/>
                <a:gd name="T129" fmla="*/ 212 h 212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320" h="212">
                  <a:moveTo>
                    <a:pt x="229" y="181"/>
                  </a:moveTo>
                  <a:lnTo>
                    <a:pt x="194" y="159"/>
                  </a:lnTo>
                  <a:lnTo>
                    <a:pt x="159" y="138"/>
                  </a:lnTo>
                  <a:lnTo>
                    <a:pt x="142" y="128"/>
                  </a:lnTo>
                  <a:lnTo>
                    <a:pt x="115" y="117"/>
                  </a:lnTo>
                  <a:lnTo>
                    <a:pt x="98" y="92"/>
                  </a:lnTo>
                  <a:lnTo>
                    <a:pt x="73" y="74"/>
                  </a:lnTo>
                  <a:lnTo>
                    <a:pt x="56" y="92"/>
                  </a:lnTo>
                  <a:lnTo>
                    <a:pt x="45" y="98"/>
                  </a:lnTo>
                  <a:lnTo>
                    <a:pt x="50" y="111"/>
                  </a:lnTo>
                  <a:lnTo>
                    <a:pt x="22" y="105"/>
                  </a:lnTo>
                  <a:lnTo>
                    <a:pt x="16" y="84"/>
                  </a:lnTo>
                  <a:lnTo>
                    <a:pt x="10" y="61"/>
                  </a:lnTo>
                  <a:lnTo>
                    <a:pt x="6" y="39"/>
                  </a:lnTo>
                  <a:lnTo>
                    <a:pt x="0" y="18"/>
                  </a:lnTo>
                  <a:lnTo>
                    <a:pt x="25" y="8"/>
                  </a:lnTo>
                  <a:lnTo>
                    <a:pt x="49" y="0"/>
                  </a:lnTo>
                  <a:lnTo>
                    <a:pt x="75" y="13"/>
                  </a:lnTo>
                  <a:lnTo>
                    <a:pt x="102" y="26"/>
                  </a:lnTo>
                  <a:lnTo>
                    <a:pt x="122" y="50"/>
                  </a:lnTo>
                  <a:lnTo>
                    <a:pt x="142" y="52"/>
                  </a:lnTo>
                  <a:lnTo>
                    <a:pt x="164" y="54"/>
                  </a:lnTo>
                  <a:lnTo>
                    <a:pt x="185" y="55"/>
                  </a:lnTo>
                  <a:lnTo>
                    <a:pt x="205" y="56"/>
                  </a:lnTo>
                  <a:lnTo>
                    <a:pt x="228" y="72"/>
                  </a:lnTo>
                  <a:lnTo>
                    <a:pt x="229" y="92"/>
                  </a:lnTo>
                  <a:lnTo>
                    <a:pt x="248" y="102"/>
                  </a:lnTo>
                  <a:lnTo>
                    <a:pt x="267" y="111"/>
                  </a:lnTo>
                  <a:lnTo>
                    <a:pt x="287" y="97"/>
                  </a:lnTo>
                  <a:lnTo>
                    <a:pt x="306" y="84"/>
                  </a:lnTo>
                  <a:lnTo>
                    <a:pt x="320" y="102"/>
                  </a:lnTo>
                  <a:lnTo>
                    <a:pt x="306" y="115"/>
                  </a:lnTo>
                  <a:lnTo>
                    <a:pt x="284" y="133"/>
                  </a:lnTo>
                  <a:lnTo>
                    <a:pt x="264" y="152"/>
                  </a:lnTo>
                  <a:lnTo>
                    <a:pt x="272" y="162"/>
                  </a:lnTo>
                  <a:lnTo>
                    <a:pt x="287" y="170"/>
                  </a:lnTo>
                  <a:lnTo>
                    <a:pt x="293" y="180"/>
                  </a:lnTo>
                  <a:lnTo>
                    <a:pt x="288" y="196"/>
                  </a:lnTo>
                  <a:lnTo>
                    <a:pt x="283" y="212"/>
                  </a:lnTo>
                  <a:lnTo>
                    <a:pt x="263" y="208"/>
                  </a:lnTo>
                  <a:lnTo>
                    <a:pt x="242" y="205"/>
                  </a:lnTo>
                  <a:lnTo>
                    <a:pt x="229" y="18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45" name="Freeform 173"/>
            <p:cNvSpPr>
              <a:spLocks/>
            </p:cNvSpPr>
            <p:nvPr/>
          </p:nvSpPr>
          <p:spPr bwMode="auto">
            <a:xfrm>
              <a:off x="2899" y="1353"/>
              <a:ext cx="35" cy="27"/>
            </a:xfrm>
            <a:custGeom>
              <a:avLst/>
              <a:gdLst>
                <a:gd name="T0" fmla="*/ 1 w 50"/>
                <a:gd name="T1" fmla="*/ 1 h 37"/>
                <a:gd name="T2" fmla="*/ 0 w 50"/>
                <a:gd name="T3" fmla="*/ 1 h 37"/>
                <a:gd name="T4" fmla="*/ 1 w 50"/>
                <a:gd name="T5" fmla="*/ 1 h 37"/>
                <a:gd name="T6" fmla="*/ 1 w 50"/>
                <a:gd name="T7" fmla="*/ 1 h 37"/>
                <a:gd name="T8" fmla="*/ 1 w 50"/>
                <a:gd name="T9" fmla="*/ 1 h 37"/>
                <a:gd name="T10" fmla="*/ 1 w 50"/>
                <a:gd name="T11" fmla="*/ 1 h 37"/>
                <a:gd name="T12" fmla="*/ 1 w 50"/>
                <a:gd name="T13" fmla="*/ 1 h 37"/>
                <a:gd name="T14" fmla="*/ 1 w 50"/>
                <a:gd name="T15" fmla="*/ 1 h 37"/>
                <a:gd name="T16" fmla="*/ 1 w 50"/>
                <a:gd name="T17" fmla="*/ 1 h 37"/>
                <a:gd name="T18" fmla="*/ 1 w 50"/>
                <a:gd name="T19" fmla="*/ 1 h 37"/>
                <a:gd name="T20" fmla="*/ 1 w 50"/>
                <a:gd name="T21" fmla="*/ 0 h 37"/>
                <a:gd name="T22" fmla="*/ 1 w 50"/>
                <a:gd name="T23" fmla="*/ 1 h 37"/>
                <a:gd name="T24" fmla="*/ 1 w 50"/>
                <a:gd name="T25" fmla="*/ 1 h 37"/>
                <a:gd name="T26" fmla="*/ 1 w 50"/>
                <a:gd name="T27" fmla="*/ 1 h 37"/>
                <a:gd name="T28" fmla="*/ 1 w 50"/>
                <a:gd name="T29" fmla="*/ 1 h 37"/>
                <a:gd name="T30" fmla="*/ 1 w 50"/>
                <a:gd name="T31" fmla="*/ 1 h 3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0"/>
                <a:gd name="T49" fmla="*/ 0 h 37"/>
                <a:gd name="T50" fmla="*/ 50 w 50"/>
                <a:gd name="T51" fmla="*/ 37 h 3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0" h="37">
                  <a:moveTo>
                    <a:pt x="14" y="37"/>
                  </a:moveTo>
                  <a:lnTo>
                    <a:pt x="0" y="11"/>
                  </a:lnTo>
                  <a:lnTo>
                    <a:pt x="4" y="10"/>
                  </a:lnTo>
                  <a:lnTo>
                    <a:pt x="4" y="7"/>
                  </a:lnTo>
                  <a:lnTo>
                    <a:pt x="11" y="5"/>
                  </a:lnTo>
                  <a:lnTo>
                    <a:pt x="16" y="6"/>
                  </a:lnTo>
                  <a:lnTo>
                    <a:pt x="18" y="2"/>
                  </a:lnTo>
                  <a:lnTo>
                    <a:pt x="22" y="2"/>
                  </a:lnTo>
                  <a:lnTo>
                    <a:pt x="26" y="4"/>
                  </a:lnTo>
                  <a:lnTo>
                    <a:pt x="28" y="2"/>
                  </a:lnTo>
                  <a:lnTo>
                    <a:pt x="35" y="0"/>
                  </a:lnTo>
                  <a:lnTo>
                    <a:pt x="40" y="6"/>
                  </a:lnTo>
                  <a:lnTo>
                    <a:pt x="44" y="4"/>
                  </a:lnTo>
                  <a:lnTo>
                    <a:pt x="47" y="7"/>
                  </a:lnTo>
                  <a:lnTo>
                    <a:pt x="50" y="25"/>
                  </a:lnTo>
                  <a:lnTo>
                    <a:pt x="14" y="3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46" name="Freeform 174"/>
            <p:cNvSpPr>
              <a:spLocks/>
            </p:cNvSpPr>
            <p:nvPr/>
          </p:nvSpPr>
          <p:spPr bwMode="auto">
            <a:xfrm>
              <a:off x="2926" y="1321"/>
              <a:ext cx="83" cy="51"/>
            </a:xfrm>
            <a:custGeom>
              <a:avLst/>
              <a:gdLst>
                <a:gd name="T0" fmla="*/ 1 w 118"/>
                <a:gd name="T1" fmla="*/ 1 h 72"/>
                <a:gd name="T2" fmla="*/ 1 w 118"/>
                <a:gd name="T3" fmla="*/ 0 h 72"/>
                <a:gd name="T4" fmla="*/ 0 w 118"/>
                <a:gd name="T5" fmla="*/ 1 h 72"/>
                <a:gd name="T6" fmla="*/ 1 w 118"/>
                <a:gd name="T7" fmla="*/ 1 h 72"/>
                <a:gd name="T8" fmla="*/ 0 w 118"/>
                <a:gd name="T9" fmla="*/ 1 h 72"/>
                <a:gd name="T10" fmla="*/ 1 w 118"/>
                <a:gd name="T11" fmla="*/ 1 h 72"/>
                <a:gd name="T12" fmla="*/ 1 w 118"/>
                <a:gd name="T13" fmla="*/ 1 h 72"/>
                <a:gd name="T14" fmla="*/ 1 w 118"/>
                <a:gd name="T15" fmla="*/ 1 h 72"/>
                <a:gd name="T16" fmla="*/ 1 w 118"/>
                <a:gd name="T17" fmla="*/ 1 h 72"/>
                <a:gd name="T18" fmla="*/ 1 w 118"/>
                <a:gd name="T19" fmla="*/ 1 h 72"/>
                <a:gd name="T20" fmla="*/ 1 w 118"/>
                <a:gd name="T21" fmla="*/ 1 h 72"/>
                <a:gd name="T22" fmla="*/ 1 w 118"/>
                <a:gd name="T23" fmla="*/ 1 h 72"/>
                <a:gd name="T24" fmla="*/ 1 w 118"/>
                <a:gd name="T25" fmla="*/ 1 h 72"/>
                <a:gd name="T26" fmla="*/ 1 w 118"/>
                <a:gd name="T27" fmla="*/ 1 h 72"/>
                <a:gd name="T28" fmla="*/ 1 w 118"/>
                <a:gd name="T29" fmla="*/ 1 h 72"/>
                <a:gd name="T30" fmla="*/ 1 w 118"/>
                <a:gd name="T31" fmla="*/ 1 h 72"/>
                <a:gd name="T32" fmla="*/ 1 w 118"/>
                <a:gd name="T33" fmla="*/ 1 h 72"/>
                <a:gd name="T34" fmla="*/ 1 w 118"/>
                <a:gd name="T35" fmla="*/ 1 h 72"/>
                <a:gd name="T36" fmla="*/ 1 w 118"/>
                <a:gd name="T37" fmla="*/ 1 h 72"/>
                <a:gd name="T38" fmla="*/ 1 w 118"/>
                <a:gd name="T39" fmla="*/ 1 h 72"/>
                <a:gd name="T40" fmla="*/ 1 w 118"/>
                <a:gd name="T41" fmla="*/ 1 h 72"/>
                <a:gd name="T42" fmla="*/ 1 w 118"/>
                <a:gd name="T43" fmla="*/ 1 h 7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18"/>
                <a:gd name="T67" fmla="*/ 0 h 72"/>
                <a:gd name="T68" fmla="*/ 118 w 118"/>
                <a:gd name="T69" fmla="*/ 72 h 72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18" h="72">
                  <a:moveTo>
                    <a:pt x="6" y="7"/>
                  </a:moveTo>
                  <a:lnTo>
                    <a:pt x="1" y="0"/>
                  </a:lnTo>
                  <a:lnTo>
                    <a:pt x="0" y="16"/>
                  </a:lnTo>
                  <a:lnTo>
                    <a:pt x="8" y="30"/>
                  </a:lnTo>
                  <a:lnTo>
                    <a:pt x="0" y="42"/>
                  </a:lnTo>
                  <a:lnTo>
                    <a:pt x="6" y="51"/>
                  </a:lnTo>
                  <a:lnTo>
                    <a:pt x="9" y="54"/>
                  </a:lnTo>
                  <a:lnTo>
                    <a:pt x="12" y="72"/>
                  </a:lnTo>
                  <a:lnTo>
                    <a:pt x="34" y="69"/>
                  </a:lnTo>
                  <a:lnTo>
                    <a:pt x="69" y="72"/>
                  </a:lnTo>
                  <a:lnTo>
                    <a:pt x="78" y="66"/>
                  </a:lnTo>
                  <a:lnTo>
                    <a:pt x="81" y="63"/>
                  </a:lnTo>
                  <a:lnTo>
                    <a:pt x="85" y="57"/>
                  </a:lnTo>
                  <a:lnTo>
                    <a:pt x="114" y="55"/>
                  </a:lnTo>
                  <a:lnTo>
                    <a:pt x="104" y="46"/>
                  </a:lnTo>
                  <a:lnTo>
                    <a:pt x="109" y="36"/>
                  </a:lnTo>
                  <a:lnTo>
                    <a:pt x="114" y="21"/>
                  </a:lnTo>
                  <a:lnTo>
                    <a:pt x="118" y="12"/>
                  </a:lnTo>
                  <a:lnTo>
                    <a:pt x="81" y="5"/>
                  </a:lnTo>
                  <a:lnTo>
                    <a:pt x="50" y="15"/>
                  </a:lnTo>
                  <a:lnTo>
                    <a:pt x="27" y="11"/>
                  </a:lnTo>
                  <a:lnTo>
                    <a:pt x="6" y="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47" name="Freeform 175"/>
            <p:cNvSpPr>
              <a:spLocks/>
            </p:cNvSpPr>
            <p:nvPr/>
          </p:nvSpPr>
          <p:spPr bwMode="auto">
            <a:xfrm>
              <a:off x="2884" y="1350"/>
              <a:ext cx="25" cy="50"/>
            </a:xfrm>
            <a:custGeom>
              <a:avLst/>
              <a:gdLst>
                <a:gd name="T0" fmla="*/ 0 w 35"/>
                <a:gd name="T1" fmla="*/ 1 h 71"/>
                <a:gd name="T2" fmla="*/ 1 w 35"/>
                <a:gd name="T3" fmla="*/ 1 h 71"/>
                <a:gd name="T4" fmla="*/ 1 w 35"/>
                <a:gd name="T5" fmla="*/ 1 h 71"/>
                <a:gd name="T6" fmla="*/ 1 w 35"/>
                <a:gd name="T7" fmla="*/ 1 h 71"/>
                <a:gd name="T8" fmla="*/ 1 w 35"/>
                <a:gd name="T9" fmla="*/ 1 h 71"/>
                <a:gd name="T10" fmla="*/ 1 w 35"/>
                <a:gd name="T11" fmla="*/ 1 h 71"/>
                <a:gd name="T12" fmla="*/ 1 w 35"/>
                <a:gd name="T13" fmla="*/ 1 h 71"/>
                <a:gd name="T14" fmla="*/ 1 w 35"/>
                <a:gd name="T15" fmla="*/ 1 h 71"/>
                <a:gd name="T16" fmla="*/ 1 w 35"/>
                <a:gd name="T17" fmla="*/ 0 h 71"/>
                <a:gd name="T18" fmla="*/ 0 w 35"/>
                <a:gd name="T19" fmla="*/ 1 h 7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5"/>
                <a:gd name="T31" fmla="*/ 0 h 71"/>
                <a:gd name="T32" fmla="*/ 35 w 35"/>
                <a:gd name="T33" fmla="*/ 71 h 7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5" h="71">
                  <a:moveTo>
                    <a:pt x="0" y="17"/>
                  </a:moveTo>
                  <a:lnTo>
                    <a:pt x="4" y="49"/>
                  </a:lnTo>
                  <a:lnTo>
                    <a:pt x="18" y="71"/>
                  </a:lnTo>
                  <a:lnTo>
                    <a:pt x="24" y="64"/>
                  </a:lnTo>
                  <a:lnTo>
                    <a:pt x="35" y="43"/>
                  </a:lnTo>
                  <a:lnTo>
                    <a:pt x="35" y="42"/>
                  </a:lnTo>
                  <a:lnTo>
                    <a:pt x="21" y="16"/>
                  </a:lnTo>
                  <a:lnTo>
                    <a:pt x="15" y="4"/>
                  </a:lnTo>
                  <a:lnTo>
                    <a:pt x="3" y="0"/>
                  </a:lnTo>
                  <a:lnTo>
                    <a:pt x="0" y="1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48" name="Freeform 176"/>
            <p:cNvSpPr>
              <a:spLocks/>
            </p:cNvSpPr>
            <p:nvPr/>
          </p:nvSpPr>
          <p:spPr bwMode="auto">
            <a:xfrm>
              <a:off x="3215" y="1367"/>
              <a:ext cx="65" cy="44"/>
            </a:xfrm>
            <a:custGeom>
              <a:avLst/>
              <a:gdLst>
                <a:gd name="T0" fmla="*/ 1 w 94"/>
                <a:gd name="T1" fmla="*/ 1 h 63"/>
                <a:gd name="T2" fmla="*/ 0 w 94"/>
                <a:gd name="T3" fmla="*/ 0 h 63"/>
                <a:gd name="T4" fmla="*/ 1 w 94"/>
                <a:gd name="T5" fmla="*/ 0 h 63"/>
                <a:gd name="T6" fmla="*/ 1 w 94"/>
                <a:gd name="T7" fmla="*/ 0 h 63"/>
                <a:gd name="T8" fmla="*/ 1 w 94"/>
                <a:gd name="T9" fmla="*/ 1 h 63"/>
                <a:gd name="T10" fmla="*/ 1 w 94"/>
                <a:gd name="T11" fmla="*/ 1 h 63"/>
                <a:gd name="T12" fmla="*/ 1 w 94"/>
                <a:gd name="T13" fmla="*/ 1 h 63"/>
                <a:gd name="T14" fmla="*/ 1 w 94"/>
                <a:gd name="T15" fmla="*/ 1 h 63"/>
                <a:gd name="T16" fmla="*/ 1 w 94"/>
                <a:gd name="T17" fmla="*/ 1 h 63"/>
                <a:gd name="T18" fmla="*/ 1 w 94"/>
                <a:gd name="T19" fmla="*/ 1 h 63"/>
                <a:gd name="T20" fmla="*/ 1 w 94"/>
                <a:gd name="T21" fmla="*/ 1 h 63"/>
                <a:gd name="T22" fmla="*/ 1 w 94"/>
                <a:gd name="T23" fmla="*/ 1 h 63"/>
                <a:gd name="T24" fmla="*/ 1 w 94"/>
                <a:gd name="T25" fmla="*/ 1 h 63"/>
                <a:gd name="T26" fmla="*/ 1 w 94"/>
                <a:gd name="T27" fmla="*/ 1 h 63"/>
                <a:gd name="T28" fmla="*/ 1 w 94"/>
                <a:gd name="T29" fmla="*/ 1 h 63"/>
                <a:gd name="T30" fmla="*/ 1 w 94"/>
                <a:gd name="T31" fmla="*/ 1 h 63"/>
                <a:gd name="T32" fmla="*/ 1 w 94"/>
                <a:gd name="T33" fmla="*/ 1 h 63"/>
                <a:gd name="T34" fmla="*/ 1 w 94"/>
                <a:gd name="T35" fmla="*/ 1 h 63"/>
                <a:gd name="T36" fmla="*/ 1 w 94"/>
                <a:gd name="T37" fmla="*/ 1 h 63"/>
                <a:gd name="T38" fmla="*/ 1 w 94"/>
                <a:gd name="T39" fmla="*/ 1 h 63"/>
                <a:gd name="T40" fmla="*/ 1 w 94"/>
                <a:gd name="T41" fmla="*/ 1 h 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94"/>
                <a:gd name="T64" fmla="*/ 0 h 63"/>
                <a:gd name="T65" fmla="*/ 94 w 94"/>
                <a:gd name="T66" fmla="*/ 63 h 6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94" h="63">
                  <a:moveTo>
                    <a:pt x="13" y="9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59" y="0"/>
                  </a:lnTo>
                  <a:lnTo>
                    <a:pt x="78" y="4"/>
                  </a:lnTo>
                  <a:lnTo>
                    <a:pt x="78" y="25"/>
                  </a:lnTo>
                  <a:lnTo>
                    <a:pt x="87" y="29"/>
                  </a:lnTo>
                  <a:lnTo>
                    <a:pt x="79" y="39"/>
                  </a:lnTo>
                  <a:lnTo>
                    <a:pt x="94" y="59"/>
                  </a:lnTo>
                  <a:lnTo>
                    <a:pt x="85" y="63"/>
                  </a:lnTo>
                  <a:lnTo>
                    <a:pt x="78" y="58"/>
                  </a:lnTo>
                  <a:lnTo>
                    <a:pt x="77" y="55"/>
                  </a:lnTo>
                  <a:lnTo>
                    <a:pt x="72" y="51"/>
                  </a:lnTo>
                  <a:lnTo>
                    <a:pt x="67" y="51"/>
                  </a:lnTo>
                  <a:lnTo>
                    <a:pt x="61" y="49"/>
                  </a:lnTo>
                  <a:lnTo>
                    <a:pt x="55" y="47"/>
                  </a:lnTo>
                  <a:lnTo>
                    <a:pt x="48" y="47"/>
                  </a:lnTo>
                  <a:lnTo>
                    <a:pt x="47" y="46"/>
                  </a:lnTo>
                  <a:lnTo>
                    <a:pt x="30" y="39"/>
                  </a:lnTo>
                  <a:lnTo>
                    <a:pt x="22" y="25"/>
                  </a:lnTo>
                  <a:lnTo>
                    <a:pt x="13" y="9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49" name="Freeform 177"/>
            <p:cNvSpPr>
              <a:spLocks/>
            </p:cNvSpPr>
            <p:nvPr/>
          </p:nvSpPr>
          <p:spPr bwMode="auto">
            <a:xfrm>
              <a:off x="3270" y="1360"/>
              <a:ext cx="57" cy="61"/>
            </a:xfrm>
            <a:custGeom>
              <a:avLst/>
              <a:gdLst>
                <a:gd name="T0" fmla="*/ 1 w 81"/>
                <a:gd name="T1" fmla="*/ 1 h 85"/>
                <a:gd name="T2" fmla="*/ 1 w 81"/>
                <a:gd name="T3" fmla="*/ 1 h 85"/>
                <a:gd name="T4" fmla="*/ 1 w 81"/>
                <a:gd name="T5" fmla="*/ 1 h 85"/>
                <a:gd name="T6" fmla="*/ 0 w 81"/>
                <a:gd name="T7" fmla="*/ 1 h 85"/>
                <a:gd name="T8" fmla="*/ 0 w 81"/>
                <a:gd name="T9" fmla="*/ 1 h 85"/>
                <a:gd name="T10" fmla="*/ 1 w 81"/>
                <a:gd name="T11" fmla="*/ 0 h 85"/>
                <a:gd name="T12" fmla="*/ 1 w 81"/>
                <a:gd name="T13" fmla="*/ 1 h 85"/>
                <a:gd name="T14" fmla="*/ 1 w 81"/>
                <a:gd name="T15" fmla="*/ 1 h 85"/>
                <a:gd name="T16" fmla="*/ 1 w 81"/>
                <a:gd name="T17" fmla="*/ 1 h 85"/>
                <a:gd name="T18" fmla="*/ 1 w 81"/>
                <a:gd name="T19" fmla="*/ 1 h 85"/>
                <a:gd name="T20" fmla="*/ 1 w 81"/>
                <a:gd name="T21" fmla="*/ 1 h 85"/>
                <a:gd name="T22" fmla="*/ 1 w 81"/>
                <a:gd name="T23" fmla="*/ 1 h 85"/>
                <a:gd name="T24" fmla="*/ 1 w 81"/>
                <a:gd name="T25" fmla="*/ 1 h 85"/>
                <a:gd name="T26" fmla="*/ 1 w 81"/>
                <a:gd name="T27" fmla="*/ 1 h 85"/>
                <a:gd name="T28" fmla="*/ 1 w 81"/>
                <a:gd name="T29" fmla="*/ 1 h 85"/>
                <a:gd name="T30" fmla="*/ 1 w 81"/>
                <a:gd name="T31" fmla="*/ 1 h 8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81"/>
                <a:gd name="T49" fmla="*/ 0 h 85"/>
                <a:gd name="T50" fmla="*/ 81 w 81"/>
                <a:gd name="T51" fmla="*/ 85 h 8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81" h="85">
                  <a:moveTo>
                    <a:pt x="16" y="67"/>
                  </a:moveTo>
                  <a:lnTo>
                    <a:pt x="1" y="47"/>
                  </a:lnTo>
                  <a:lnTo>
                    <a:pt x="9" y="37"/>
                  </a:lnTo>
                  <a:lnTo>
                    <a:pt x="0" y="33"/>
                  </a:lnTo>
                  <a:lnTo>
                    <a:pt x="0" y="12"/>
                  </a:lnTo>
                  <a:lnTo>
                    <a:pt x="7" y="0"/>
                  </a:lnTo>
                  <a:lnTo>
                    <a:pt x="41" y="6"/>
                  </a:lnTo>
                  <a:lnTo>
                    <a:pt x="53" y="21"/>
                  </a:lnTo>
                  <a:lnTo>
                    <a:pt x="81" y="38"/>
                  </a:lnTo>
                  <a:lnTo>
                    <a:pt x="67" y="41"/>
                  </a:lnTo>
                  <a:lnTo>
                    <a:pt x="61" y="69"/>
                  </a:lnTo>
                  <a:lnTo>
                    <a:pt x="59" y="85"/>
                  </a:lnTo>
                  <a:lnTo>
                    <a:pt x="40" y="73"/>
                  </a:lnTo>
                  <a:lnTo>
                    <a:pt x="42" y="68"/>
                  </a:lnTo>
                  <a:lnTo>
                    <a:pt x="36" y="55"/>
                  </a:lnTo>
                  <a:lnTo>
                    <a:pt x="16" y="6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50" name="Freeform 178"/>
            <p:cNvSpPr>
              <a:spLocks/>
            </p:cNvSpPr>
            <p:nvPr/>
          </p:nvSpPr>
          <p:spPr bwMode="auto">
            <a:xfrm>
              <a:off x="3249" y="1400"/>
              <a:ext cx="26" cy="14"/>
            </a:xfrm>
            <a:custGeom>
              <a:avLst/>
              <a:gdLst>
                <a:gd name="T0" fmla="*/ 1 w 37"/>
                <a:gd name="T1" fmla="*/ 1 h 19"/>
                <a:gd name="T2" fmla="*/ 1 w 37"/>
                <a:gd name="T3" fmla="*/ 1 h 19"/>
                <a:gd name="T4" fmla="*/ 1 w 37"/>
                <a:gd name="T5" fmla="*/ 1 h 19"/>
                <a:gd name="T6" fmla="*/ 1 w 37"/>
                <a:gd name="T7" fmla="*/ 1 h 19"/>
                <a:gd name="T8" fmla="*/ 0 w 37"/>
                <a:gd name="T9" fmla="*/ 0 h 19"/>
                <a:gd name="T10" fmla="*/ 1 w 37"/>
                <a:gd name="T11" fmla="*/ 0 h 19"/>
                <a:gd name="T12" fmla="*/ 1 w 37"/>
                <a:gd name="T13" fmla="*/ 1 h 19"/>
                <a:gd name="T14" fmla="*/ 1 w 37"/>
                <a:gd name="T15" fmla="*/ 1 h 19"/>
                <a:gd name="T16" fmla="*/ 1 w 37"/>
                <a:gd name="T17" fmla="*/ 1 h 19"/>
                <a:gd name="T18" fmla="*/ 1 w 37"/>
                <a:gd name="T19" fmla="*/ 1 h 19"/>
                <a:gd name="T20" fmla="*/ 1 w 37"/>
                <a:gd name="T21" fmla="*/ 1 h 19"/>
                <a:gd name="T22" fmla="*/ 1 w 37"/>
                <a:gd name="T23" fmla="*/ 1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7"/>
                <a:gd name="T37" fmla="*/ 0 h 19"/>
                <a:gd name="T38" fmla="*/ 37 w 37"/>
                <a:gd name="T39" fmla="*/ 19 h 1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7" h="19">
                  <a:moveTo>
                    <a:pt x="37" y="16"/>
                  </a:moveTo>
                  <a:lnTo>
                    <a:pt x="30" y="19"/>
                  </a:lnTo>
                  <a:lnTo>
                    <a:pt x="5" y="5"/>
                  </a:lnTo>
                  <a:lnTo>
                    <a:pt x="1" y="1"/>
                  </a:lnTo>
                  <a:lnTo>
                    <a:pt x="0" y="0"/>
                  </a:lnTo>
                  <a:lnTo>
                    <a:pt x="7" y="0"/>
                  </a:lnTo>
                  <a:lnTo>
                    <a:pt x="13" y="2"/>
                  </a:lnTo>
                  <a:lnTo>
                    <a:pt x="19" y="4"/>
                  </a:lnTo>
                  <a:lnTo>
                    <a:pt x="24" y="4"/>
                  </a:lnTo>
                  <a:lnTo>
                    <a:pt x="29" y="8"/>
                  </a:lnTo>
                  <a:lnTo>
                    <a:pt x="30" y="11"/>
                  </a:lnTo>
                  <a:lnTo>
                    <a:pt x="37" y="16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51" name="Freeform 179"/>
            <p:cNvSpPr>
              <a:spLocks/>
            </p:cNvSpPr>
            <p:nvPr/>
          </p:nvSpPr>
          <p:spPr bwMode="auto">
            <a:xfrm>
              <a:off x="2896" y="1365"/>
              <a:ext cx="90" cy="90"/>
            </a:xfrm>
            <a:custGeom>
              <a:avLst/>
              <a:gdLst>
                <a:gd name="T0" fmla="*/ 1 w 127"/>
                <a:gd name="T1" fmla="*/ 1 h 128"/>
                <a:gd name="T2" fmla="*/ 1 w 127"/>
                <a:gd name="T3" fmla="*/ 1 h 128"/>
                <a:gd name="T4" fmla="*/ 0 w 127"/>
                <a:gd name="T5" fmla="*/ 1 h 128"/>
                <a:gd name="T6" fmla="*/ 1 w 127"/>
                <a:gd name="T7" fmla="*/ 1 h 128"/>
                <a:gd name="T8" fmla="*/ 1 w 127"/>
                <a:gd name="T9" fmla="*/ 1 h 128"/>
                <a:gd name="T10" fmla="*/ 1 w 127"/>
                <a:gd name="T11" fmla="*/ 1 h 128"/>
                <a:gd name="T12" fmla="*/ 1 w 127"/>
                <a:gd name="T13" fmla="*/ 1 h 128"/>
                <a:gd name="T14" fmla="*/ 1 w 127"/>
                <a:gd name="T15" fmla="*/ 1 h 128"/>
                <a:gd name="T16" fmla="*/ 1 w 127"/>
                <a:gd name="T17" fmla="*/ 1 h 128"/>
                <a:gd name="T18" fmla="*/ 1 w 127"/>
                <a:gd name="T19" fmla="*/ 1 h 128"/>
                <a:gd name="T20" fmla="*/ 1 w 127"/>
                <a:gd name="T21" fmla="*/ 0 h 128"/>
                <a:gd name="T22" fmla="*/ 1 w 127"/>
                <a:gd name="T23" fmla="*/ 1 h 128"/>
                <a:gd name="T24" fmla="*/ 1 w 127"/>
                <a:gd name="T25" fmla="*/ 1 h 128"/>
                <a:gd name="T26" fmla="*/ 1 w 127"/>
                <a:gd name="T27" fmla="*/ 1 h 128"/>
                <a:gd name="T28" fmla="*/ 1 w 127"/>
                <a:gd name="T29" fmla="*/ 1 h 128"/>
                <a:gd name="T30" fmla="*/ 1 w 127"/>
                <a:gd name="T31" fmla="*/ 1 h 128"/>
                <a:gd name="T32" fmla="*/ 1 w 127"/>
                <a:gd name="T33" fmla="*/ 1 h 128"/>
                <a:gd name="T34" fmla="*/ 1 w 127"/>
                <a:gd name="T35" fmla="*/ 1 h 128"/>
                <a:gd name="T36" fmla="*/ 1 w 127"/>
                <a:gd name="T37" fmla="*/ 1 h 128"/>
                <a:gd name="T38" fmla="*/ 1 w 127"/>
                <a:gd name="T39" fmla="*/ 1 h 128"/>
                <a:gd name="T40" fmla="*/ 1 w 127"/>
                <a:gd name="T41" fmla="*/ 1 h 128"/>
                <a:gd name="T42" fmla="*/ 1 w 127"/>
                <a:gd name="T43" fmla="*/ 1 h 128"/>
                <a:gd name="T44" fmla="*/ 1 w 127"/>
                <a:gd name="T45" fmla="*/ 1 h 128"/>
                <a:gd name="T46" fmla="*/ 1 w 127"/>
                <a:gd name="T47" fmla="*/ 1 h 128"/>
                <a:gd name="T48" fmla="*/ 1 w 127"/>
                <a:gd name="T49" fmla="*/ 1 h 128"/>
                <a:gd name="T50" fmla="*/ 1 w 127"/>
                <a:gd name="T51" fmla="*/ 1 h 128"/>
                <a:gd name="T52" fmla="*/ 1 w 127"/>
                <a:gd name="T53" fmla="*/ 1 h 128"/>
                <a:gd name="T54" fmla="*/ 1 w 127"/>
                <a:gd name="T55" fmla="*/ 1 h 128"/>
                <a:gd name="T56" fmla="*/ 1 w 127"/>
                <a:gd name="T57" fmla="*/ 1 h 128"/>
                <a:gd name="T58" fmla="*/ 1 w 127"/>
                <a:gd name="T59" fmla="*/ 1 h 128"/>
                <a:gd name="T60" fmla="*/ 1 w 127"/>
                <a:gd name="T61" fmla="*/ 1 h 128"/>
                <a:gd name="T62" fmla="*/ 1 w 127"/>
                <a:gd name="T63" fmla="*/ 1 h 128"/>
                <a:gd name="T64" fmla="*/ 1 w 127"/>
                <a:gd name="T65" fmla="*/ 1 h 128"/>
                <a:gd name="T66" fmla="*/ 1 w 127"/>
                <a:gd name="T67" fmla="*/ 1 h 128"/>
                <a:gd name="T68" fmla="*/ 1 w 127"/>
                <a:gd name="T69" fmla="*/ 1 h 128"/>
                <a:gd name="T70" fmla="*/ 1 w 127"/>
                <a:gd name="T71" fmla="*/ 1 h 128"/>
                <a:gd name="T72" fmla="*/ 1 w 127"/>
                <a:gd name="T73" fmla="*/ 1 h 128"/>
                <a:gd name="T74" fmla="*/ 1 w 127"/>
                <a:gd name="T75" fmla="*/ 1 h 128"/>
                <a:gd name="T76" fmla="*/ 1 w 127"/>
                <a:gd name="T77" fmla="*/ 1 h 128"/>
                <a:gd name="T78" fmla="*/ 1 w 127"/>
                <a:gd name="T79" fmla="*/ 1 h 128"/>
                <a:gd name="T80" fmla="*/ 1 w 127"/>
                <a:gd name="T81" fmla="*/ 1 h 128"/>
                <a:gd name="T82" fmla="*/ 1 w 127"/>
                <a:gd name="T83" fmla="*/ 1 h 128"/>
                <a:gd name="T84" fmla="*/ 1 w 127"/>
                <a:gd name="T85" fmla="*/ 1 h 128"/>
                <a:gd name="T86" fmla="*/ 1 w 127"/>
                <a:gd name="T87" fmla="*/ 1 h 128"/>
                <a:gd name="T88" fmla="*/ 1 w 127"/>
                <a:gd name="T89" fmla="*/ 1 h 128"/>
                <a:gd name="T90" fmla="*/ 1 w 127"/>
                <a:gd name="T91" fmla="*/ 1 h 128"/>
                <a:gd name="T92" fmla="*/ 1 w 127"/>
                <a:gd name="T93" fmla="*/ 1 h 128"/>
                <a:gd name="T94" fmla="*/ 1 w 127"/>
                <a:gd name="T95" fmla="*/ 1 h 12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27"/>
                <a:gd name="T145" fmla="*/ 0 h 128"/>
                <a:gd name="T146" fmla="*/ 127 w 127"/>
                <a:gd name="T147" fmla="*/ 128 h 12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27" h="128">
                  <a:moveTo>
                    <a:pt x="24" y="67"/>
                  </a:moveTo>
                  <a:lnTo>
                    <a:pt x="9" y="61"/>
                  </a:lnTo>
                  <a:lnTo>
                    <a:pt x="0" y="50"/>
                  </a:lnTo>
                  <a:lnTo>
                    <a:pt x="6" y="43"/>
                  </a:lnTo>
                  <a:lnTo>
                    <a:pt x="17" y="22"/>
                  </a:lnTo>
                  <a:lnTo>
                    <a:pt x="17" y="21"/>
                  </a:lnTo>
                  <a:lnTo>
                    <a:pt x="53" y="9"/>
                  </a:lnTo>
                  <a:lnTo>
                    <a:pt x="75" y="6"/>
                  </a:lnTo>
                  <a:lnTo>
                    <a:pt x="110" y="9"/>
                  </a:lnTo>
                  <a:lnTo>
                    <a:pt x="119" y="3"/>
                  </a:lnTo>
                  <a:lnTo>
                    <a:pt x="122" y="0"/>
                  </a:lnTo>
                  <a:lnTo>
                    <a:pt x="127" y="8"/>
                  </a:lnTo>
                  <a:lnTo>
                    <a:pt x="119" y="24"/>
                  </a:lnTo>
                  <a:lnTo>
                    <a:pt x="95" y="19"/>
                  </a:lnTo>
                  <a:lnTo>
                    <a:pt x="73" y="26"/>
                  </a:lnTo>
                  <a:lnTo>
                    <a:pt x="83" y="37"/>
                  </a:lnTo>
                  <a:lnTo>
                    <a:pt x="74" y="37"/>
                  </a:lnTo>
                  <a:lnTo>
                    <a:pt x="75" y="42"/>
                  </a:lnTo>
                  <a:lnTo>
                    <a:pt x="67" y="38"/>
                  </a:lnTo>
                  <a:lnTo>
                    <a:pt x="72" y="44"/>
                  </a:lnTo>
                  <a:lnTo>
                    <a:pt x="57" y="28"/>
                  </a:lnTo>
                  <a:lnTo>
                    <a:pt x="51" y="33"/>
                  </a:lnTo>
                  <a:lnTo>
                    <a:pt x="60" y="54"/>
                  </a:lnTo>
                  <a:lnTo>
                    <a:pt x="65" y="64"/>
                  </a:lnTo>
                  <a:lnTo>
                    <a:pt x="57" y="60"/>
                  </a:lnTo>
                  <a:lnTo>
                    <a:pt x="60" y="68"/>
                  </a:lnTo>
                  <a:lnTo>
                    <a:pt x="55" y="70"/>
                  </a:lnTo>
                  <a:lnTo>
                    <a:pt x="83" y="88"/>
                  </a:lnTo>
                  <a:lnTo>
                    <a:pt x="83" y="97"/>
                  </a:lnTo>
                  <a:lnTo>
                    <a:pt x="72" y="92"/>
                  </a:lnTo>
                  <a:lnTo>
                    <a:pt x="66" y="94"/>
                  </a:lnTo>
                  <a:lnTo>
                    <a:pt x="72" y="105"/>
                  </a:lnTo>
                  <a:lnTo>
                    <a:pt x="60" y="105"/>
                  </a:lnTo>
                  <a:lnTo>
                    <a:pt x="67" y="128"/>
                  </a:lnTo>
                  <a:lnTo>
                    <a:pt x="56" y="123"/>
                  </a:lnTo>
                  <a:lnTo>
                    <a:pt x="53" y="128"/>
                  </a:lnTo>
                  <a:lnTo>
                    <a:pt x="44" y="116"/>
                  </a:lnTo>
                  <a:lnTo>
                    <a:pt x="41" y="121"/>
                  </a:lnTo>
                  <a:lnTo>
                    <a:pt x="30" y="99"/>
                  </a:lnTo>
                  <a:lnTo>
                    <a:pt x="29" y="91"/>
                  </a:lnTo>
                  <a:lnTo>
                    <a:pt x="45" y="85"/>
                  </a:lnTo>
                  <a:lnTo>
                    <a:pt x="65" y="90"/>
                  </a:lnTo>
                  <a:lnTo>
                    <a:pt x="63" y="86"/>
                  </a:lnTo>
                  <a:lnTo>
                    <a:pt x="51" y="81"/>
                  </a:lnTo>
                  <a:lnTo>
                    <a:pt x="29" y="80"/>
                  </a:lnTo>
                  <a:lnTo>
                    <a:pt x="24" y="80"/>
                  </a:lnTo>
                  <a:lnTo>
                    <a:pt x="19" y="68"/>
                  </a:lnTo>
                  <a:lnTo>
                    <a:pt x="24" y="6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52" name="Freeform 180"/>
            <p:cNvSpPr>
              <a:spLocks/>
            </p:cNvSpPr>
            <p:nvPr/>
          </p:nvSpPr>
          <p:spPr bwMode="auto">
            <a:xfrm>
              <a:off x="2954" y="1471"/>
              <a:ext cx="39" cy="10"/>
            </a:xfrm>
            <a:custGeom>
              <a:avLst/>
              <a:gdLst>
                <a:gd name="T0" fmla="*/ 1 w 57"/>
                <a:gd name="T1" fmla="*/ 2 h 13"/>
                <a:gd name="T2" fmla="*/ 1 w 57"/>
                <a:gd name="T3" fmla="*/ 0 h 13"/>
                <a:gd name="T4" fmla="*/ 1 w 57"/>
                <a:gd name="T5" fmla="*/ 0 h 13"/>
                <a:gd name="T6" fmla="*/ 0 w 57"/>
                <a:gd name="T7" fmla="*/ 2 h 13"/>
                <a:gd name="T8" fmla="*/ 1 w 57"/>
                <a:gd name="T9" fmla="*/ 2 h 13"/>
                <a:gd name="T10" fmla="*/ 1 w 57"/>
                <a:gd name="T11" fmla="*/ 2 h 13"/>
                <a:gd name="T12" fmla="*/ 1 w 57"/>
                <a:gd name="T13" fmla="*/ 2 h 13"/>
                <a:gd name="T14" fmla="*/ 1 w 57"/>
                <a:gd name="T15" fmla="*/ 2 h 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7"/>
                <a:gd name="T25" fmla="*/ 0 h 13"/>
                <a:gd name="T26" fmla="*/ 57 w 57"/>
                <a:gd name="T27" fmla="*/ 13 h 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7" h="13">
                  <a:moveTo>
                    <a:pt x="44" y="7"/>
                  </a:moveTo>
                  <a:lnTo>
                    <a:pt x="12" y="0"/>
                  </a:lnTo>
                  <a:lnTo>
                    <a:pt x="3" y="0"/>
                  </a:lnTo>
                  <a:lnTo>
                    <a:pt x="0" y="7"/>
                  </a:lnTo>
                  <a:lnTo>
                    <a:pt x="21" y="11"/>
                  </a:lnTo>
                  <a:lnTo>
                    <a:pt x="40" y="13"/>
                  </a:lnTo>
                  <a:lnTo>
                    <a:pt x="57" y="8"/>
                  </a:lnTo>
                  <a:lnTo>
                    <a:pt x="44" y="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53" name="Freeform 181"/>
            <p:cNvSpPr>
              <a:spLocks/>
            </p:cNvSpPr>
            <p:nvPr/>
          </p:nvSpPr>
          <p:spPr bwMode="auto">
            <a:xfrm>
              <a:off x="2941" y="1411"/>
              <a:ext cx="23" cy="17"/>
            </a:xfrm>
            <a:custGeom>
              <a:avLst/>
              <a:gdLst>
                <a:gd name="T0" fmla="*/ 1 w 33"/>
                <a:gd name="T1" fmla="*/ 1 h 23"/>
                <a:gd name="T2" fmla="*/ 1 w 33"/>
                <a:gd name="T3" fmla="*/ 1 h 23"/>
                <a:gd name="T4" fmla="*/ 0 w 33"/>
                <a:gd name="T5" fmla="*/ 0 h 23"/>
                <a:gd name="T6" fmla="*/ 1 w 33"/>
                <a:gd name="T7" fmla="*/ 1 h 23"/>
                <a:gd name="T8" fmla="*/ 1 w 33"/>
                <a:gd name="T9" fmla="*/ 1 h 23"/>
                <a:gd name="T10" fmla="*/ 1 w 33"/>
                <a:gd name="T11" fmla="*/ 1 h 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3"/>
                <a:gd name="T19" fmla="*/ 0 h 23"/>
                <a:gd name="T20" fmla="*/ 33 w 33"/>
                <a:gd name="T21" fmla="*/ 23 h 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3" h="23">
                  <a:moveTo>
                    <a:pt x="33" y="21"/>
                  </a:moveTo>
                  <a:lnTo>
                    <a:pt x="16" y="6"/>
                  </a:lnTo>
                  <a:lnTo>
                    <a:pt x="0" y="0"/>
                  </a:lnTo>
                  <a:lnTo>
                    <a:pt x="16" y="11"/>
                  </a:lnTo>
                  <a:lnTo>
                    <a:pt x="33" y="23"/>
                  </a:lnTo>
                  <a:lnTo>
                    <a:pt x="33" y="2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54" name="Freeform 182"/>
            <p:cNvSpPr>
              <a:spLocks/>
            </p:cNvSpPr>
            <p:nvPr/>
          </p:nvSpPr>
          <p:spPr bwMode="auto">
            <a:xfrm>
              <a:off x="2981" y="1405"/>
              <a:ext cx="9" cy="5"/>
            </a:xfrm>
            <a:custGeom>
              <a:avLst/>
              <a:gdLst>
                <a:gd name="T0" fmla="*/ 1 w 13"/>
                <a:gd name="T1" fmla="*/ 3 h 6"/>
                <a:gd name="T2" fmla="*/ 1 w 13"/>
                <a:gd name="T3" fmla="*/ 3 h 6"/>
                <a:gd name="T4" fmla="*/ 0 w 13"/>
                <a:gd name="T5" fmla="*/ 0 h 6"/>
                <a:gd name="T6" fmla="*/ 1 w 13"/>
                <a:gd name="T7" fmla="*/ 3 h 6"/>
                <a:gd name="T8" fmla="*/ 1 w 13"/>
                <a:gd name="T9" fmla="*/ 3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"/>
                <a:gd name="T16" fmla="*/ 0 h 6"/>
                <a:gd name="T17" fmla="*/ 13 w 1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" h="6">
                  <a:moveTo>
                    <a:pt x="13" y="6"/>
                  </a:moveTo>
                  <a:lnTo>
                    <a:pt x="5" y="4"/>
                  </a:lnTo>
                  <a:lnTo>
                    <a:pt x="0" y="0"/>
                  </a:lnTo>
                  <a:lnTo>
                    <a:pt x="12" y="3"/>
                  </a:lnTo>
                  <a:lnTo>
                    <a:pt x="13" y="6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55" name="Freeform 183"/>
            <p:cNvSpPr>
              <a:spLocks/>
            </p:cNvSpPr>
            <p:nvPr/>
          </p:nvSpPr>
          <p:spPr bwMode="auto">
            <a:xfrm>
              <a:off x="2905" y="1422"/>
              <a:ext cx="4" cy="4"/>
            </a:xfrm>
            <a:custGeom>
              <a:avLst/>
              <a:gdLst>
                <a:gd name="T0" fmla="*/ 0 w 8"/>
                <a:gd name="T1" fmla="*/ 0 h 6"/>
                <a:gd name="T2" fmla="*/ 1 w 8"/>
                <a:gd name="T3" fmla="*/ 1 h 6"/>
                <a:gd name="T4" fmla="*/ 1 w 8"/>
                <a:gd name="T5" fmla="*/ 1 h 6"/>
                <a:gd name="T6" fmla="*/ 0 w 8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6"/>
                <a:gd name="T14" fmla="*/ 8 w 8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6">
                  <a:moveTo>
                    <a:pt x="0" y="0"/>
                  </a:moveTo>
                  <a:lnTo>
                    <a:pt x="8" y="6"/>
                  </a:lnTo>
                  <a:lnTo>
                    <a:pt x="2" y="6"/>
                  </a:ln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56" name="Freeform 184"/>
            <p:cNvSpPr>
              <a:spLocks/>
            </p:cNvSpPr>
            <p:nvPr/>
          </p:nvSpPr>
          <p:spPr bwMode="auto">
            <a:xfrm>
              <a:off x="2983" y="1418"/>
              <a:ext cx="2" cy="6"/>
            </a:xfrm>
            <a:custGeom>
              <a:avLst/>
              <a:gdLst>
                <a:gd name="T0" fmla="*/ 1 w 4"/>
                <a:gd name="T1" fmla="*/ 0 h 8"/>
                <a:gd name="T2" fmla="*/ 1 w 4"/>
                <a:gd name="T3" fmla="*/ 2 h 8"/>
                <a:gd name="T4" fmla="*/ 0 w 4"/>
                <a:gd name="T5" fmla="*/ 2 h 8"/>
                <a:gd name="T6" fmla="*/ 1 w 4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8"/>
                <a:gd name="T14" fmla="*/ 4 w 4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8">
                  <a:moveTo>
                    <a:pt x="4" y="0"/>
                  </a:moveTo>
                  <a:lnTo>
                    <a:pt x="4" y="8"/>
                  </a:lnTo>
                  <a:lnTo>
                    <a:pt x="0" y="3"/>
                  </a:lnTo>
                  <a:lnTo>
                    <a:pt x="4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57" name="Freeform 185"/>
            <p:cNvSpPr>
              <a:spLocks/>
            </p:cNvSpPr>
            <p:nvPr/>
          </p:nvSpPr>
          <p:spPr bwMode="auto">
            <a:xfrm>
              <a:off x="2706" y="1275"/>
              <a:ext cx="168" cy="156"/>
            </a:xfrm>
            <a:custGeom>
              <a:avLst/>
              <a:gdLst>
                <a:gd name="T0" fmla="*/ 1 w 238"/>
                <a:gd name="T1" fmla="*/ 1 h 221"/>
                <a:gd name="T2" fmla="*/ 1 w 238"/>
                <a:gd name="T3" fmla="*/ 0 h 221"/>
                <a:gd name="T4" fmla="*/ 1 w 238"/>
                <a:gd name="T5" fmla="*/ 1 h 221"/>
                <a:gd name="T6" fmla="*/ 1 w 238"/>
                <a:gd name="T7" fmla="*/ 1 h 221"/>
                <a:gd name="T8" fmla="*/ 1 w 238"/>
                <a:gd name="T9" fmla="*/ 1 h 221"/>
                <a:gd name="T10" fmla="*/ 1 w 238"/>
                <a:gd name="T11" fmla="*/ 1 h 221"/>
                <a:gd name="T12" fmla="*/ 1 w 238"/>
                <a:gd name="T13" fmla="*/ 1 h 221"/>
                <a:gd name="T14" fmla="*/ 1 w 238"/>
                <a:gd name="T15" fmla="*/ 1 h 221"/>
                <a:gd name="T16" fmla="*/ 1 w 238"/>
                <a:gd name="T17" fmla="*/ 1 h 221"/>
                <a:gd name="T18" fmla="*/ 1 w 238"/>
                <a:gd name="T19" fmla="*/ 1 h 221"/>
                <a:gd name="T20" fmla="*/ 1 w 238"/>
                <a:gd name="T21" fmla="*/ 1 h 221"/>
                <a:gd name="T22" fmla="*/ 1 w 238"/>
                <a:gd name="T23" fmla="*/ 1 h 221"/>
                <a:gd name="T24" fmla="*/ 1 w 238"/>
                <a:gd name="T25" fmla="*/ 1 h 221"/>
                <a:gd name="T26" fmla="*/ 0 w 238"/>
                <a:gd name="T27" fmla="*/ 1 h 221"/>
                <a:gd name="T28" fmla="*/ 0 w 238"/>
                <a:gd name="T29" fmla="*/ 1 h 221"/>
                <a:gd name="T30" fmla="*/ 1 w 238"/>
                <a:gd name="T31" fmla="*/ 1 h 221"/>
                <a:gd name="T32" fmla="*/ 1 w 238"/>
                <a:gd name="T33" fmla="*/ 1 h 221"/>
                <a:gd name="T34" fmla="*/ 1 w 238"/>
                <a:gd name="T35" fmla="*/ 1 h 221"/>
                <a:gd name="T36" fmla="*/ 1 w 238"/>
                <a:gd name="T37" fmla="*/ 1 h 221"/>
                <a:gd name="T38" fmla="*/ 1 w 238"/>
                <a:gd name="T39" fmla="*/ 1 h 221"/>
                <a:gd name="T40" fmla="*/ 1 w 238"/>
                <a:gd name="T41" fmla="*/ 1 h 221"/>
                <a:gd name="T42" fmla="*/ 1 w 238"/>
                <a:gd name="T43" fmla="*/ 1 h 221"/>
                <a:gd name="T44" fmla="*/ 1 w 238"/>
                <a:gd name="T45" fmla="*/ 1 h 221"/>
                <a:gd name="T46" fmla="*/ 1 w 238"/>
                <a:gd name="T47" fmla="*/ 1 h 221"/>
                <a:gd name="T48" fmla="*/ 1 w 238"/>
                <a:gd name="T49" fmla="*/ 1 h 221"/>
                <a:gd name="T50" fmla="*/ 1 w 238"/>
                <a:gd name="T51" fmla="*/ 1 h 221"/>
                <a:gd name="T52" fmla="*/ 1 w 238"/>
                <a:gd name="T53" fmla="*/ 1 h 221"/>
                <a:gd name="T54" fmla="*/ 1 w 238"/>
                <a:gd name="T55" fmla="*/ 1 h 221"/>
                <a:gd name="T56" fmla="*/ 1 w 238"/>
                <a:gd name="T57" fmla="*/ 1 h 221"/>
                <a:gd name="T58" fmla="*/ 1 w 238"/>
                <a:gd name="T59" fmla="*/ 1 h 221"/>
                <a:gd name="T60" fmla="*/ 1 w 238"/>
                <a:gd name="T61" fmla="*/ 1 h 221"/>
                <a:gd name="T62" fmla="*/ 1 w 238"/>
                <a:gd name="T63" fmla="*/ 2 h 221"/>
                <a:gd name="T64" fmla="*/ 1 w 238"/>
                <a:gd name="T65" fmla="*/ 1 h 221"/>
                <a:gd name="T66" fmla="*/ 1 w 238"/>
                <a:gd name="T67" fmla="*/ 1 h 221"/>
                <a:gd name="T68" fmla="*/ 1 w 238"/>
                <a:gd name="T69" fmla="*/ 1 h 221"/>
                <a:gd name="T70" fmla="*/ 1 w 238"/>
                <a:gd name="T71" fmla="*/ 1 h 221"/>
                <a:gd name="T72" fmla="*/ 1 w 238"/>
                <a:gd name="T73" fmla="*/ 1 h 221"/>
                <a:gd name="T74" fmla="*/ 1 w 238"/>
                <a:gd name="T75" fmla="*/ 1 h 221"/>
                <a:gd name="T76" fmla="*/ 2 w 238"/>
                <a:gd name="T77" fmla="*/ 1 h 221"/>
                <a:gd name="T78" fmla="*/ 2 w 238"/>
                <a:gd name="T79" fmla="*/ 1 h 221"/>
                <a:gd name="T80" fmla="*/ 1 w 238"/>
                <a:gd name="T81" fmla="*/ 1 h 221"/>
                <a:gd name="T82" fmla="*/ 1 w 238"/>
                <a:gd name="T83" fmla="*/ 1 h 221"/>
                <a:gd name="T84" fmla="*/ 1 w 238"/>
                <a:gd name="T85" fmla="*/ 1 h 221"/>
                <a:gd name="T86" fmla="*/ 1 w 238"/>
                <a:gd name="T87" fmla="*/ 1 h 221"/>
                <a:gd name="T88" fmla="*/ 1 w 238"/>
                <a:gd name="T89" fmla="*/ 1 h 221"/>
                <a:gd name="T90" fmla="*/ 1 w 238"/>
                <a:gd name="T91" fmla="*/ 1 h 221"/>
                <a:gd name="T92" fmla="*/ 1 w 238"/>
                <a:gd name="T93" fmla="*/ 1 h 221"/>
                <a:gd name="T94" fmla="*/ 1 w 238"/>
                <a:gd name="T95" fmla="*/ 1 h 221"/>
                <a:gd name="T96" fmla="*/ 1 w 238"/>
                <a:gd name="T97" fmla="*/ 1 h 221"/>
                <a:gd name="T98" fmla="*/ 1 w 238"/>
                <a:gd name="T99" fmla="*/ 1 h 221"/>
                <a:gd name="T100" fmla="*/ 1 w 238"/>
                <a:gd name="T101" fmla="*/ 1 h 221"/>
                <a:gd name="T102" fmla="*/ 1 w 238"/>
                <a:gd name="T103" fmla="*/ 1 h 221"/>
                <a:gd name="T104" fmla="*/ 1 w 238"/>
                <a:gd name="T105" fmla="*/ 1 h 221"/>
                <a:gd name="T106" fmla="*/ 1 w 238"/>
                <a:gd name="T107" fmla="*/ 1 h 221"/>
                <a:gd name="T108" fmla="*/ 1 w 238"/>
                <a:gd name="T109" fmla="*/ 1 h 221"/>
                <a:gd name="T110" fmla="*/ 1 w 238"/>
                <a:gd name="T111" fmla="*/ 1 h 221"/>
                <a:gd name="T112" fmla="*/ 1 w 238"/>
                <a:gd name="T113" fmla="*/ 1 h 221"/>
                <a:gd name="T114" fmla="*/ 1 w 238"/>
                <a:gd name="T115" fmla="*/ 1 h 221"/>
                <a:gd name="T116" fmla="*/ 1 w 238"/>
                <a:gd name="T117" fmla="*/ 1 h 221"/>
                <a:gd name="T118" fmla="*/ 1 w 238"/>
                <a:gd name="T119" fmla="*/ 1 h 221"/>
                <a:gd name="T120" fmla="*/ 1 w 238"/>
                <a:gd name="T121" fmla="*/ 1 h 221"/>
                <a:gd name="T122" fmla="*/ 1 w 238"/>
                <a:gd name="T123" fmla="*/ 1 h 22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38"/>
                <a:gd name="T187" fmla="*/ 0 h 221"/>
                <a:gd name="T188" fmla="*/ 238 w 238"/>
                <a:gd name="T189" fmla="*/ 221 h 221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38" h="221">
                  <a:moveTo>
                    <a:pt x="132" y="10"/>
                  </a:moveTo>
                  <a:lnTo>
                    <a:pt x="102" y="0"/>
                  </a:lnTo>
                  <a:lnTo>
                    <a:pt x="81" y="3"/>
                  </a:lnTo>
                  <a:lnTo>
                    <a:pt x="69" y="2"/>
                  </a:lnTo>
                  <a:lnTo>
                    <a:pt x="69" y="3"/>
                  </a:lnTo>
                  <a:lnTo>
                    <a:pt x="65" y="8"/>
                  </a:lnTo>
                  <a:lnTo>
                    <a:pt x="60" y="15"/>
                  </a:lnTo>
                  <a:lnTo>
                    <a:pt x="47" y="15"/>
                  </a:lnTo>
                  <a:lnTo>
                    <a:pt x="40" y="24"/>
                  </a:lnTo>
                  <a:lnTo>
                    <a:pt x="27" y="14"/>
                  </a:lnTo>
                  <a:lnTo>
                    <a:pt x="15" y="23"/>
                  </a:lnTo>
                  <a:lnTo>
                    <a:pt x="3" y="24"/>
                  </a:lnTo>
                  <a:lnTo>
                    <a:pt x="3" y="34"/>
                  </a:lnTo>
                  <a:lnTo>
                    <a:pt x="0" y="44"/>
                  </a:lnTo>
                  <a:lnTo>
                    <a:pt x="0" y="50"/>
                  </a:lnTo>
                  <a:lnTo>
                    <a:pt x="2" y="59"/>
                  </a:lnTo>
                  <a:lnTo>
                    <a:pt x="15" y="68"/>
                  </a:lnTo>
                  <a:lnTo>
                    <a:pt x="15" y="77"/>
                  </a:lnTo>
                  <a:lnTo>
                    <a:pt x="34" y="64"/>
                  </a:lnTo>
                  <a:lnTo>
                    <a:pt x="60" y="69"/>
                  </a:lnTo>
                  <a:lnTo>
                    <a:pt x="75" y="94"/>
                  </a:lnTo>
                  <a:lnTo>
                    <a:pt x="93" y="111"/>
                  </a:lnTo>
                  <a:lnTo>
                    <a:pt x="111" y="128"/>
                  </a:lnTo>
                  <a:lnTo>
                    <a:pt x="117" y="130"/>
                  </a:lnTo>
                  <a:lnTo>
                    <a:pt x="118" y="130"/>
                  </a:lnTo>
                  <a:lnTo>
                    <a:pt x="132" y="137"/>
                  </a:lnTo>
                  <a:lnTo>
                    <a:pt x="158" y="154"/>
                  </a:lnTo>
                  <a:lnTo>
                    <a:pt x="168" y="160"/>
                  </a:lnTo>
                  <a:lnTo>
                    <a:pt x="179" y="168"/>
                  </a:lnTo>
                  <a:lnTo>
                    <a:pt x="192" y="194"/>
                  </a:lnTo>
                  <a:lnTo>
                    <a:pt x="185" y="215"/>
                  </a:lnTo>
                  <a:lnTo>
                    <a:pt x="194" y="221"/>
                  </a:lnTo>
                  <a:lnTo>
                    <a:pt x="203" y="206"/>
                  </a:lnTo>
                  <a:lnTo>
                    <a:pt x="210" y="196"/>
                  </a:lnTo>
                  <a:lnTo>
                    <a:pt x="214" y="190"/>
                  </a:lnTo>
                  <a:lnTo>
                    <a:pt x="203" y="179"/>
                  </a:lnTo>
                  <a:lnTo>
                    <a:pt x="207" y="159"/>
                  </a:lnTo>
                  <a:lnTo>
                    <a:pt x="220" y="162"/>
                  </a:lnTo>
                  <a:lnTo>
                    <a:pt x="234" y="173"/>
                  </a:lnTo>
                  <a:lnTo>
                    <a:pt x="238" y="162"/>
                  </a:lnTo>
                  <a:lnTo>
                    <a:pt x="212" y="148"/>
                  </a:lnTo>
                  <a:lnTo>
                    <a:pt x="186" y="135"/>
                  </a:lnTo>
                  <a:lnTo>
                    <a:pt x="190" y="126"/>
                  </a:lnTo>
                  <a:lnTo>
                    <a:pt x="183" y="123"/>
                  </a:lnTo>
                  <a:lnTo>
                    <a:pt x="156" y="116"/>
                  </a:lnTo>
                  <a:lnTo>
                    <a:pt x="147" y="100"/>
                  </a:lnTo>
                  <a:lnTo>
                    <a:pt x="136" y="83"/>
                  </a:lnTo>
                  <a:lnTo>
                    <a:pt x="117" y="72"/>
                  </a:lnTo>
                  <a:lnTo>
                    <a:pt x="108" y="52"/>
                  </a:lnTo>
                  <a:lnTo>
                    <a:pt x="106" y="40"/>
                  </a:lnTo>
                  <a:lnTo>
                    <a:pt x="123" y="30"/>
                  </a:lnTo>
                  <a:lnTo>
                    <a:pt x="135" y="33"/>
                  </a:lnTo>
                  <a:lnTo>
                    <a:pt x="130" y="17"/>
                  </a:lnTo>
                  <a:lnTo>
                    <a:pt x="132" y="10"/>
                  </a:lnTo>
                  <a:lnTo>
                    <a:pt x="113" y="72"/>
                  </a:lnTo>
                  <a:lnTo>
                    <a:pt x="112" y="72"/>
                  </a:lnTo>
                  <a:lnTo>
                    <a:pt x="111" y="74"/>
                  </a:lnTo>
                  <a:lnTo>
                    <a:pt x="112" y="74"/>
                  </a:lnTo>
                  <a:lnTo>
                    <a:pt x="113" y="72"/>
                  </a:lnTo>
                  <a:lnTo>
                    <a:pt x="132" y="10"/>
                  </a:lnTo>
                  <a:lnTo>
                    <a:pt x="118" y="128"/>
                  </a:lnTo>
                  <a:lnTo>
                    <a:pt x="132" y="1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58" name="Freeform 186"/>
            <p:cNvSpPr>
              <a:spLocks/>
            </p:cNvSpPr>
            <p:nvPr/>
          </p:nvSpPr>
          <p:spPr bwMode="auto">
            <a:xfrm>
              <a:off x="2706" y="1275"/>
              <a:ext cx="168" cy="156"/>
            </a:xfrm>
            <a:custGeom>
              <a:avLst/>
              <a:gdLst>
                <a:gd name="T0" fmla="*/ 1 w 238"/>
                <a:gd name="T1" fmla="*/ 1 h 221"/>
                <a:gd name="T2" fmla="*/ 1 w 238"/>
                <a:gd name="T3" fmla="*/ 0 h 221"/>
                <a:gd name="T4" fmla="*/ 1 w 238"/>
                <a:gd name="T5" fmla="*/ 1 h 221"/>
                <a:gd name="T6" fmla="*/ 1 w 238"/>
                <a:gd name="T7" fmla="*/ 1 h 221"/>
                <a:gd name="T8" fmla="*/ 1 w 238"/>
                <a:gd name="T9" fmla="*/ 1 h 221"/>
                <a:gd name="T10" fmla="*/ 1 w 238"/>
                <a:gd name="T11" fmla="*/ 1 h 221"/>
                <a:gd name="T12" fmla="*/ 1 w 238"/>
                <a:gd name="T13" fmla="*/ 1 h 221"/>
                <a:gd name="T14" fmla="*/ 1 w 238"/>
                <a:gd name="T15" fmla="*/ 1 h 221"/>
                <a:gd name="T16" fmla="*/ 1 w 238"/>
                <a:gd name="T17" fmla="*/ 1 h 221"/>
                <a:gd name="T18" fmla="*/ 1 w 238"/>
                <a:gd name="T19" fmla="*/ 1 h 221"/>
                <a:gd name="T20" fmla="*/ 1 w 238"/>
                <a:gd name="T21" fmla="*/ 1 h 221"/>
                <a:gd name="T22" fmla="*/ 1 w 238"/>
                <a:gd name="T23" fmla="*/ 1 h 221"/>
                <a:gd name="T24" fmla="*/ 1 w 238"/>
                <a:gd name="T25" fmla="*/ 1 h 221"/>
                <a:gd name="T26" fmla="*/ 0 w 238"/>
                <a:gd name="T27" fmla="*/ 1 h 221"/>
                <a:gd name="T28" fmla="*/ 0 w 238"/>
                <a:gd name="T29" fmla="*/ 1 h 221"/>
                <a:gd name="T30" fmla="*/ 1 w 238"/>
                <a:gd name="T31" fmla="*/ 1 h 221"/>
                <a:gd name="T32" fmla="*/ 1 w 238"/>
                <a:gd name="T33" fmla="*/ 1 h 221"/>
                <a:gd name="T34" fmla="*/ 1 w 238"/>
                <a:gd name="T35" fmla="*/ 1 h 221"/>
                <a:gd name="T36" fmla="*/ 1 w 238"/>
                <a:gd name="T37" fmla="*/ 1 h 221"/>
                <a:gd name="T38" fmla="*/ 1 w 238"/>
                <a:gd name="T39" fmla="*/ 1 h 221"/>
                <a:gd name="T40" fmla="*/ 1 w 238"/>
                <a:gd name="T41" fmla="*/ 1 h 221"/>
                <a:gd name="T42" fmla="*/ 1 w 238"/>
                <a:gd name="T43" fmla="*/ 1 h 221"/>
                <a:gd name="T44" fmla="*/ 1 w 238"/>
                <a:gd name="T45" fmla="*/ 1 h 221"/>
                <a:gd name="T46" fmla="*/ 1 w 238"/>
                <a:gd name="T47" fmla="*/ 1 h 221"/>
                <a:gd name="T48" fmla="*/ 1 w 238"/>
                <a:gd name="T49" fmla="*/ 1 h 221"/>
                <a:gd name="T50" fmla="*/ 1 w 238"/>
                <a:gd name="T51" fmla="*/ 1 h 221"/>
                <a:gd name="T52" fmla="*/ 1 w 238"/>
                <a:gd name="T53" fmla="*/ 1 h 221"/>
                <a:gd name="T54" fmla="*/ 1 w 238"/>
                <a:gd name="T55" fmla="*/ 1 h 221"/>
                <a:gd name="T56" fmla="*/ 1 w 238"/>
                <a:gd name="T57" fmla="*/ 1 h 221"/>
                <a:gd name="T58" fmla="*/ 1 w 238"/>
                <a:gd name="T59" fmla="*/ 1 h 221"/>
                <a:gd name="T60" fmla="*/ 1 w 238"/>
                <a:gd name="T61" fmla="*/ 1 h 221"/>
                <a:gd name="T62" fmla="*/ 1 w 238"/>
                <a:gd name="T63" fmla="*/ 2 h 221"/>
                <a:gd name="T64" fmla="*/ 1 w 238"/>
                <a:gd name="T65" fmla="*/ 1 h 221"/>
                <a:gd name="T66" fmla="*/ 1 w 238"/>
                <a:gd name="T67" fmla="*/ 1 h 221"/>
                <a:gd name="T68" fmla="*/ 1 w 238"/>
                <a:gd name="T69" fmla="*/ 1 h 221"/>
                <a:gd name="T70" fmla="*/ 1 w 238"/>
                <a:gd name="T71" fmla="*/ 1 h 221"/>
                <a:gd name="T72" fmla="*/ 1 w 238"/>
                <a:gd name="T73" fmla="*/ 1 h 221"/>
                <a:gd name="T74" fmla="*/ 1 w 238"/>
                <a:gd name="T75" fmla="*/ 1 h 221"/>
                <a:gd name="T76" fmla="*/ 2 w 238"/>
                <a:gd name="T77" fmla="*/ 1 h 221"/>
                <a:gd name="T78" fmla="*/ 2 w 238"/>
                <a:gd name="T79" fmla="*/ 1 h 221"/>
                <a:gd name="T80" fmla="*/ 1 w 238"/>
                <a:gd name="T81" fmla="*/ 1 h 221"/>
                <a:gd name="T82" fmla="*/ 1 w 238"/>
                <a:gd name="T83" fmla="*/ 1 h 221"/>
                <a:gd name="T84" fmla="*/ 1 w 238"/>
                <a:gd name="T85" fmla="*/ 1 h 221"/>
                <a:gd name="T86" fmla="*/ 1 w 238"/>
                <a:gd name="T87" fmla="*/ 1 h 221"/>
                <a:gd name="T88" fmla="*/ 1 w 238"/>
                <a:gd name="T89" fmla="*/ 1 h 221"/>
                <a:gd name="T90" fmla="*/ 1 w 238"/>
                <a:gd name="T91" fmla="*/ 1 h 221"/>
                <a:gd name="T92" fmla="*/ 1 w 238"/>
                <a:gd name="T93" fmla="*/ 1 h 221"/>
                <a:gd name="T94" fmla="*/ 1 w 238"/>
                <a:gd name="T95" fmla="*/ 1 h 221"/>
                <a:gd name="T96" fmla="*/ 1 w 238"/>
                <a:gd name="T97" fmla="*/ 1 h 221"/>
                <a:gd name="T98" fmla="*/ 1 w 238"/>
                <a:gd name="T99" fmla="*/ 1 h 221"/>
                <a:gd name="T100" fmla="*/ 1 w 238"/>
                <a:gd name="T101" fmla="*/ 1 h 221"/>
                <a:gd name="T102" fmla="*/ 1 w 238"/>
                <a:gd name="T103" fmla="*/ 1 h 221"/>
                <a:gd name="T104" fmla="*/ 1 w 238"/>
                <a:gd name="T105" fmla="*/ 1 h 221"/>
                <a:gd name="T106" fmla="*/ 1 w 238"/>
                <a:gd name="T107" fmla="*/ 1 h 22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38"/>
                <a:gd name="T163" fmla="*/ 0 h 221"/>
                <a:gd name="T164" fmla="*/ 238 w 238"/>
                <a:gd name="T165" fmla="*/ 221 h 221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38" h="221">
                  <a:moveTo>
                    <a:pt x="132" y="10"/>
                  </a:moveTo>
                  <a:lnTo>
                    <a:pt x="102" y="0"/>
                  </a:lnTo>
                  <a:lnTo>
                    <a:pt x="81" y="3"/>
                  </a:lnTo>
                  <a:lnTo>
                    <a:pt x="69" y="2"/>
                  </a:lnTo>
                  <a:lnTo>
                    <a:pt x="69" y="3"/>
                  </a:lnTo>
                  <a:lnTo>
                    <a:pt x="65" y="8"/>
                  </a:lnTo>
                  <a:lnTo>
                    <a:pt x="60" y="15"/>
                  </a:lnTo>
                  <a:lnTo>
                    <a:pt x="47" y="15"/>
                  </a:lnTo>
                  <a:lnTo>
                    <a:pt x="40" y="24"/>
                  </a:lnTo>
                  <a:lnTo>
                    <a:pt x="27" y="14"/>
                  </a:lnTo>
                  <a:lnTo>
                    <a:pt x="15" y="23"/>
                  </a:lnTo>
                  <a:lnTo>
                    <a:pt x="3" y="24"/>
                  </a:lnTo>
                  <a:lnTo>
                    <a:pt x="3" y="34"/>
                  </a:lnTo>
                  <a:lnTo>
                    <a:pt x="0" y="44"/>
                  </a:lnTo>
                  <a:lnTo>
                    <a:pt x="0" y="50"/>
                  </a:lnTo>
                  <a:lnTo>
                    <a:pt x="2" y="59"/>
                  </a:lnTo>
                  <a:lnTo>
                    <a:pt x="15" y="68"/>
                  </a:lnTo>
                  <a:lnTo>
                    <a:pt x="15" y="77"/>
                  </a:lnTo>
                  <a:lnTo>
                    <a:pt x="34" y="64"/>
                  </a:lnTo>
                  <a:lnTo>
                    <a:pt x="60" y="69"/>
                  </a:lnTo>
                  <a:lnTo>
                    <a:pt x="75" y="94"/>
                  </a:lnTo>
                  <a:lnTo>
                    <a:pt x="93" y="111"/>
                  </a:lnTo>
                  <a:lnTo>
                    <a:pt x="111" y="128"/>
                  </a:lnTo>
                  <a:lnTo>
                    <a:pt x="117" y="130"/>
                  </a:lnTo>
                  <a:lnTo>
                    <a:pt x="118" y="130"/>
                  </a:lnTo>
                  <a:lnTo>
                    <a:pt x="132" y="137"/>
                  </a:lnTo>
                  <a:lnTo>
                    <a:pt x="158" y="154"/>
                  </a:lnTo>
                  <a:lnTo>
                    <a:pt x="168" y="160"/>
                  </a:lnTo>
                  <a:lnTo>
                    <a:pt x="179" y="168"/>
                  </a:lnTo>
                  <a:lnTo>
                    <a:pt x="192" y="194"/>
                  </a:lnTo>
                  <a:lnTo>
                    <a:pt x="185" y="215"/>
                  </a:lnTo>
                  <a:lnTo>
                    <a:pt x="194" y="221"/>
                  </a:lnTo>
                  <a:lnTo>
                    <a:pt x="203" y="206"/>
                  </a:lnTo>
                  <a:lnTo>
                    <a:pt x="210" y="196"/>
                  </a:lnTo>
                  <a:lnTo>
                    <a:pt x="214" y="190"/>
                  </a:lnTo>
                  <a:lnTo>
                    <a:pt x="203" y="179"/>
                  </a:lnTo>
                  <a:lnTo>
                    <a:pt x="207" y="159"/>
                  </a:lnTo>
                  <a:lnTo>
                    <a:pt x="220" y="162"/>
                  </a:lnTo>
                  <a:lnTo>
                    <a:pt x="234" y="173"/>
                  </a:lnTo>
                  <a:lnTo>
                    <a:pt x="238" y="162"/>
                  </a:lnTo>
                  <a:lnTo>
                    <a:pt x="212" y="148"/>
                  </a:lnTo>
                  <a:lnTo>
                    <a:pt x="186" y="135"/>
                  </a:lnTo>
                  <a:lnTo>
                    <a:pt x="190" y="126"/>
                  </a:lnTo>
                  <a:lnTo>
                    <a:pt x="183" y="123"/>
                  </a:lnTo>
                  <a:lnTo>
                    <a:pt x="156" y="116"/>
                  </a:lnTo>
                  <a:lnTo>
                    <a:pt x="147" y="100"/>
                  </a:lnTo>
                  <a:lnTo>
                    <a:pt x="136" y="83"/>
                  </a:lnTo>
                  <a:lnTo>
                    <a:pt x="117" y="72"/>
                  </a:lnTo>
                  <a:lnTo>
                    <a:pt x="108" y="52"/>
                  </a:lnTo>
                  <a:lnTo>
                    <a:pt x="106" y="40"/>
                  </a:lnTo>
                  <a:lnTo>
                    <a:pt x="123" y="30"/>
                  </a:lnTo>
                  <a:lnTo>
                    <a:pt x="135" y="33"/>
                  </a:lnTo>
                  <a:lnTo>
                    <a:pt x="130" y="17"/>
                  </a:lnTo>
                  <a:lnTo>
                    <a:pt x="132" y="1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59" name="Freeform 187"/>
            <p:cNvSpPr>
              <a:spLocks/>
            </p:cNvSpPr>
            <p:nvPr/>
          </p:nvSpPr>
          <p:spPr bwMode="auto">
            <a:xfrm>
              <a:off x="2784" y="1325"/>
              <a:ext cx="1" cy="2"/>
            </a:xfrm>
            <a:custGeom>
              <a:avLst/>
              <a:gdLst>
                <a:gd name="T0" fmla="*/ 1 w 2"/>
                <a:gd name="T1" fmla="*/ 0 h 2"/>
                <a:gd name="T2" fmla="*/ 1 w 2"/>
                <a:gd name="T3" fmla="*/ 0 h 2"/>
                <a:gd name="T4" fmla="*/ 0 w 2"/>
                <a:gd name="T5" fmla="*/ 2 h 2"/>
                <a:gd name="T6" fmla="*/ 1 w 2"/>
                <a:gd name="T7" fmla="*/ 2 h 2"/>
                <a:gd name="T8" fmla="*/ 1 w 2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0"/>
                  </a:moveTo>
                  <a:lnTo>
                    <a:pt x="1" y="0"/>
                  </a:lnTo>
                  <a:lnTo>
                    <a:pt x="0" y="2"/>
                  </a:lnTo>
                  <a:lnTo>
                    <a:pt x="1" y="2"/>
                  </a:lnTo>
                  <a:lnTo>
                    <a:pt x="2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60" name="Freeform 188"/>
            <p:cNvSpPr>
              <a:spLocks/>
            </p:cNvSpPr>
            <p:nvPr/>
          </p:nvSpPr>
          <p:spPr bwMode="auto">
            <a:xfrm>
              <a:off x="2791" y="1424"/>
              <a:ext cx="45" cy="28"/>
            </a:xfrm>
            <a:custGeom>
              <a:avLst/>
              <a:gdLst>
                <a:gd name="T0" fmla="*/ 1 w 65"/>
                <a:gd name="T1" fmla="*/ 1 h 39"/>
                <a:gd name="T2" fmla="*/ 1 w 65"/>
                <a:gd name="T3" fmla="*/ 1 h 39"/>
                <a:gd name="T4" fmla="*/ 1 w 65"/>
                <a:gd name="T5" fmla="*/ 1 h 39"/>
                <a:gd name="T6" fmla="*/ 1 w 65"/>
                <a:gd name="T7" fmla="*/ 1 h 39"/>
                <a:gd name="T8" fmla="*/ 0 w 65"/>
                <a:gd name="T9" fmla="*/ 1 h 39"/>
                <a:gd name="T10" fmla="*/ 1 w 65"/>
                <a:gd name="T11" fmla="*/ 1 h 39"/>
                <a:gd name="T12" fmla="*/ 1 w 65"/>
                <a:gd name="T13" fmla="*/ 1 h 39"/>
                <a:gd name="T14" fmla="*/ 1 w 65"/>
                <a:gd name="T15" fmla="*/ 0 h 39"/>
                <a:gd name="T16" fmla="*/ 1 w 65"/>
                <a:gd name="T17" fmla="*/ 1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5"/>
                <a:gd name="T28" fmla="*/ 0 h 39"/>
                <a:gd name="T29" fmla="*/ 65 w 65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5" h="39">
                  <a:moveTo>
                    <a:pt x="57" y="24"/>
                  </a:moveTo>
                  <a:lnTo>
                    <a:pt x="57" y="39"/>
                  </a:lnTo>
                  <a:lnTo>
                    <a:pt x="32" y="27"/>
                  </a:lnTo>
                  <a:lnTo>
                    <a:pt x="6" y="17"/>
                  </a:lnTo>
                  <a:lnTo>
                    <a:pt x="0" y="6"/>
                  </a:lnTo>
                  <a:lnTo>
                    <a:pt x="18" y="3"/>
                  </a:lnTo>
                  <a:lnTo>
                    <a:pt x="42" y="1"/>
                  </a:lnTo>
                  <a:lnTo>
                    <a:pt x="65" y="0"/>
                  </a:lnTo>
                  <a:lnTo>
                    <a:pt x="57" y="2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61" name="Freeform 189"/>
            <p:cNvSpPr>
              <a:spLocks/>
            </p:cNvSpPr>
            <p:nvPr/>
          </p:nvSpPr>
          <p:spPr bwMode="auto">
            <a:xfrm>
              <a:off x="2728" y="1372"/>
              <a:ext cx="23" cy="42"/>
            </a:xfrm>
            <a:custGeom>
              <a:avLst/>
              <a:gdLst>
                <a:gd name="T0" fmla="*/ 1 w 32"/>
                <a:gd name="T1" fmla="*/ 1 h 59"/>
                <a:gd name="T2" fmla="*/ 1 w 32"/>
                <a:gd name="T3" fmla="*/ 1 h 59"/>
                <a:gd name="T4" fmla="*/ 1 w 32"/>
                <a:gd name="T5" fmla="*/ 1 h 59"/>
                <a:gd name="T6" fmla="*/ 1 w 32"/>
                <a:gd name="T7" fmla="*/ 1 h 59"/>
                <a:gd name="T8" fmla="*/ 0 w 32"/>
                <a:gd name="T9" fmla="*/ 1 h 59"/>
                <a:gd name="T10" fmla="*/ 1 w 32"/>
                <a:gd name="T11" fmla="*/ 0 h 59"/>
                <a:gd name="T12" fmla="*/ 1 w 32"/>
                <a:gd name="T13" fmla="*/ 1 h 59"/>
                <a:gd name="T14" fmla="*/ 1 w 32"/>
                <a:gd name="T15" fmla="*/ 1 h 59"/>
                <a:gd name="T16" fmla="*/ 1 w 32"/>
                <a:gd name="T17" fmla="*/ 1 h 5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2"/>
                <a:gd name="T28" fmla="*/ 0 h 59"/>
                <a:gd name="T29" fmla="*/ 32 w 32"/>
                <a:gd name="T30" fmla="*/ 59 h 5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2" h="59">
                  <a:moveTo>
                    <a:pt x="18" y="51"/>
                  </a:moveTo>
                  <a:lnTo>
                    <a:pt x="9" y="59"/>
                  </a:lnTo>
                  <a:lnTo>
                    <a:pt x="4" y="46"/>
                  </a:lnTo>
                  <a:lnTo>
                    <a:pt x="2" y="28"/>
                  </a:lnTo>
                  <a:lnTo>
                    <a:pt x="0" y="10"/>
                  </a:lnTo>
                  <a:lnTo>
                    <a:pt x="19" y="0"/>
                  </a:lnTo>
                  <a:lnTo>
                    <a:pt x="32" y="18"/>
                  </a:lnTo>
                  <a:lnTo>
                    <a:pt x="28" y="50"/>
                  </a:lnTo>
                  <a:lnTo>
                    <a:pt x="18" y="5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62" name="Freeform 190"/>
            <p:cNvSpPr>
              <a:spLocks/>
            </p:cNvSpPr>
            <p:nvPr/>
          </p:nvSpPr>
          <p:spPr bwMode="auto">
            <a:xfrm>
              <a:off x="2715" y="1329"/>
              <a:ext cx="1" cy="2"/>
            </a:xfrm>
            <a:custGeom>
              <a:avLst/>
              <a:gdLst>
                <a:gd name="T0" fmla="*/ 1 w 2"/>
                <a:gd name="T1" fmla="*/ 0 h 1"/>
                <a:gd name="T2" fmla="*/ 0 w 2"/>
                <a:gd name="T3" fmla="*/ 0 h 1"/>
                <a:gd name="T4" fmla="*/ 0 w 2"/>
                <a:gd name="T5" fmla="*/ 16384 h 1"/>
                <a:gd name="T6" fmla="*/ 1 w 2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1"/>
                <a:gd name="T14" fmla="*/ 2 w 2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1">
                  <a:moveTo>
                    <a:pt x="2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63" name="Freeform 191"/>
            <p:cNvSpPr>
              <a:spLocks/>
            </p:cNvSpPr>
            <p:nvPr/>
          </p:nvSpPr>
          <p:spPr bwMode="auto">
            <a:xfrm>
              <a:off x="2985" y="1360"/>
              <a:ext cx="271" cy="106"/>
            </a:xfrm>
            <a:custGeom>
              <a:avLst/>
              <a:gdLst>
                <a:gd name="T0" fmla="*/ 2 w 385"/>
                <a:gd name="T1" fmla="*/ 1 h 150"/>
                <a:gd name="T2" fmla="*/ 1 w 385"/>
                <a:gd name="T3" fmla="*/ 1 h 150"/>
                <a:gd name="T4" fmla="*/ 1 w 385"/>
                <a:gd name="T5" fmla="*/ 1 h 150"/>
                <a:gd name="T6" fmla="*/ 1 w 385"/>
                <a:gd name="T7" fmla="*/ 1 h 150"/>
                <a:gd name="T8" fmla="*/ 1 w 385"/>
                <a:gd name="T9" fmla="*/ 1 h 150"/>
                <a:gd name="T10" fmla="*/ 1 w 385"/>
                <a:gd name="T11" fmla="*/ 1 h 150"/>
                <a:gd name="T12" fmla="*/ 1 w 385"/>
                <a:gd name="T13" fmla="*/ 1 h 150"/>
                <a:gd name="T14" fmla="*/ 1 w 385"/>
                <a:gd name="T15" fmla="*/ 1 h 150"/>
                <a:gd name="T16" fmla="*/ 1 w 385"/>
                <a:gd name="T17" fmla="*/ 1 h 150"/>
                <a:gd name="T18" fmla="*/ 1 w 385"/>
                <a:gd name="T19" fmla="*/ 1 h 150"/>
                <a:gd name="T20" fmla="*/ 1 w 385"/>
                <a:gd name="T21" fmla="*/ 1 h 150"/>
                <a:gd name="T22" fmla="*/ 1 w 385"/>
                <a:gd name="T23" fmla="*/ 1 h 150"/>
                <a:gd name="T24" fmla="*/ 1 w 385"/>
                <a:gd name="T25" fmla="*/ 1 h 150"/>
                <a:gd name="T26" fmla="*/ 1 w 385"/>
                <a:gd name="T27" fmla="*/ 1 h 150"/>
                <a:gd name="T28" fmla="*/ 1 w 385"/>
                <a:gd name="T29" fmla="*/ 1 h 150"/>
                <a:gd name="T30" fmla="*/ 1 w 385"/>
                <a:gd name="T31" fmla="*/ 1 h 150"/>
                <a:gd name="T32" fmla="*/ 0 w 385"/>
                <a:gd name="T33" fmla="*/ 1 h 150"/>
                <a:gd name="T34" fmla="*/ 1 w 385"/>
                <a:gd name="T35" fmla="*/ 1 h 150"/>
                <a:gd name="T36" fmla="*/ 1 w 385"/>
                <a:gd name="T37" fmla="*/ 1 h 150"/>
                <a:gd name="T38" fmla="*/ 1 w 385"/>
                <a:gd name="T39" fmla="*/ 1 h 150"/>
                <a:gd name="T40" fmla="*/ 1 w 385"/>
                <a:gd name="T41" fmla="*/ 1 h 150"/>
                <a:gd name="T42" fmla="*/ 1 w 385"/>
                <a:gd name="T43" fmla="*/ 1 h 150"/>
                <a:gd name="T44" fmla="*/ 1 w 385"/>
                <a:gd name="T45" fmla="*/ 1 h 150"/>
                <a:gd name="T46" fmla="*/ 1 w 385"/>
                <a:gd name="T47" fmla="*/ 1 h 150"/>
                <a:gd name="T48" fmla="*/ 2 w 385"/>
                <a:gd name="T49" fmla="*/ 1 h 150"/>
                <a:gd name="T50" fmla="*/ 2 w 385"/>
                <a:gd name="T51" fmla="*/ 1 h 150"/>
                <a:gd name="T52" fmla="*/ 3 w 385"/>
                <a:gd name="T53" fmla="*/ 1 h 150"/>
                <a:gd name="T54" fmla="*/ 3 w 385"/>
                <a:gd name="T55" fmla="*/ 1 h 150"/>
                <a:gd name="T56" fmla="*/ 3 w 385"/>
                <a:gd name="T57" fmla="*/ 1 h 150"/>
                <a:gd name="T58" fmla="*/ 3 w 385"/>
                <a:gd name="T59" fmla="*/ 1 h 150"/>
                <a:gd name="T60" fmla="*/ 3 w 385"/>
                <a:gd name="T61" fmla="*/ 1 h 150"/>
                <a:gd name="T62" fmla="*/ 3 w 385"/>
                <a:gd name="T63" fmla="*/ 1 h 150"/>
                <a:gd name="T64" fmla="*/ 3 w 385"/>
                <a:gd name="T65" fmla="*/ 1 h 150"/>
                <a:gd name="T66" fmla="*/ 2 w 385"/>
                <a:gd name="T67" fmla="*/ 1 h 15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85"/>
                <a:gd name="T103" fmla="*/ 0 h 150"/>
                <a:gd name="T104" fmla="*/ 385 w 385"/>
                <a:gd name="T105" fmla="*/ 150 h 15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85" h="150">
                  <a:moveTo>
                    <a:pt x="288" y="127"/>
                  </a:moveTo>
                  <a:lnTo>
                    <a:pt x="258" y="126"/>
                  </a:lnTo>
                  <a:lnTo>
                    <a:pt x="227" y="128"/>
                  </a:lnTo>
                  <a:lnTo>
                    <a:pt x="219" y="130"/>
                  </a:lnTo>
                  <a:lnTo>
                    <a:pt x="218" y="141"/>
                  </a:lnTo>
                  <a:lnTo>
                    <a:pt x="210" y="150"/>
                  </a:lnTo>
                  <a:lnTo>
                    <a:pt x="207" y="148"/>
                  </a:lnTo>
                  <a:lnTo>
                    <a:pt x="207" y="144"/>
                  </a:lnTo>
                  <a:lnTo>
                    <a:pt x="209" y="126"/>
                  </a:lnTo>
                  <a:lnTo>
                    <a:pt x="200" y="130"/>
                  </a:lnTo>
                  <a:lnTo>
                    <a:pt x="186" y="129"/>
                  </a:lnTo>
                  <a:lnTo>
                    <a:pt x="170" y="135"/>
                  </a:lnTo>
                  <a:lnTo>
                    <a:pt x="149" y="145"/>
                  </a:lnTo>
                  <a:lnTo>
                    <a:pt x="132" y="140"/>
                  </a:lnTo>
                  <a:lnTo>
                    <a:pt x="98" y="126"/>
                  </a:lnTo>
                  <a:lnTo>
                    <a:pt x="95" y="136"/>
                  </a:lnTo>
                  <a:lnTo>
                    <a:pt x="85" y="141"/>
                  </a:lnTo>
                  <a:lnTo>
                    <a:pt x="66" y="135"/>
                  </a:lnTo>
                  <a:lnTo>
                    <a:pt x="55" y="128"/>
                  </a:lnTo>
                  <a:lnTo>
                    <a:pt x="44" y="130"/>
                  </a:lnTo>
                  <a:lnTo>
                    <a:pt x="33" y="129"/>
                  </a:lnTo>
                  <a:lnTo>
                    <a:pt x="47" y="123"/>
                  </a:lnTo>
                  <a:lnTo>
                    <a:pt x="30" y="121"/>
                  </a:lnTo>
                  <a:lnTo>
                    <a:pt x="32" y="115"/>
                  </a:lnTo>
                  <a:lnTo>
                    <a:pt x="23" y="106"/>
                  </a:lnTo>
                  <a:lnTo>
                    <a:pt x="25" y="102"/>
                  </a:lnTo>
                  <a:lnTo>
                    <a:pt x="8" y="93"/>
                  </a:lnTo>
                  <a:lnTo>
                    <a:pt x="5" y="85"/>
                  </a:lnTo>
                  <a:lnTo>
                    <a:pt x="11" y="86"/>
                  </a:lnTo>
                  <a:lnTo>
                    <a:pt x="18" y="87"/>
                  </a:lnTo>
                  <a:lnTo>
                    <a:pt x="14" y="79"/>
                  </a:lnTo>
                  <a:lnTo>
                    <a:pt x="13" y="74"/>
                  </a:lnTo>
                  <a:lnTo>
                    <a:pt x="12" y="62"/>
                  </a:lnTo>
                  <a:lnTo>
                    <a:pt x="0" y="61"/>
                  </a:lnTo>
                  <a:lnTo>
                    <a:pt x="1" y="43"/>
                  </a:lnTo>
                  <a:lnTo>
                    <a:pt x="21" y="40"/>
                  </a:lnTo>
                  <a:lnTo>
                    <a:pt x="29" y="36"/>
                  </a:lnTo>
                  <a:lnTo>
                    <a:pt x="53" y="36"/>
                  </a:lnTo>
                  <a:lnTo>
                    <a:pt x="68" y="30"/>
                  </a:lnTo>
                  <a:lnTo>
                    <a:pt x="62" y="28"/>
                  </a:lnTo>
                  <a:lnTo>
                    <a:pt x="53" y="20"/>
                  </a:lnTo>
                  <a:lnTo>
                    <a:pt x="90" y="21"/>
                  </a:lnTo>
                  <a:lnTo>
                    <a:pt x="117" y="4"/>
                  </a:lnTo>
                  <a:lnTo>
                    <a:pt x="138" y="2"/>
                  </a:lnTo>
                  <a:lnTo>
                    <a:pt x="157" y="0"/>
                  </a:lnTo>
                  <a:lnTo>
                    <a:pt x="170" y="1"/>
                  </a:lnTo>
                  <a:lnTo>
                    <a:pt x="185" y="7"/>
                  </a:lnTo>
                  <a:lnTo>
                    <a:pt x="193" y="12"/>
                  </a:lnTo>
                  <a:lnTo>
                    <a:pt x="218" y="18"/>
                  </a:lnTo>
                  <a:lnTo>
                    <a:pt x="245" y="24"/>
                  </a:lnTo>
                  <a:lnTo>
                    <a:pt x="270" y="25"/>
                  </a:lnTo>
                  <a:lnTo>
                    <a:pt x="300" y="10"/>
                  </a:lnTo>
                  <a:lnTo>
                    <a:pt x="326" y="9"/>
                  </a:lnTo>
                  <a:lnTo>
                    <a:pt x="339" y="18"/>
                  </a:lnTo>
                  <a:lnTo>
                    <a:pt x="348" y="34"/>
                  </a:lnTo>
                  <a:lnTo>
                    <a:pt x="356" y="48"/>
                  </a:lnTo>
                  <a:lnTo>
                    <a:pt x="373" y="55"/>
                  </a:lnTo>
                  <a:lnTo>
                    <a:pt x="365" y="62"/>
                  </a:lnTo>
                  <a:lnTo>
                    <a:pt x="367" y="75"/>
                  </a:lnTo>
                  <a:lnTo>
                    <a:pt x="372" y="100"/>
                  </a:lnTo>
                  <a:lnTo>
                    <a:pt x="385" y="117"/>
                  </a:lnTo>
                  <a:lnTo>
                    <a:pt x="373" y="120"/>
                  </a:lnTo>
                  <a:lnTo>
                    <a:pt x="368" y="115"/>
                  </a:lnTo>
                  <a:lnTo>
                    <a:pt x="341" y="115"/>
                  </a:lnTo>
                  <a:lnTo>
                    <a:pt x="336" y="120"/>
                  </a:lnTo>
                  <a:lnTo>
                    <a:pt x="329" y="117"/>
                  </a:lnTo>
                  <a:lnTo>
                    <a:pt x="308" y="122"/>
                  </a:lnTo>
                  <a:lnTo>
                    <a:pt x="288" y="12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64" name="Freeform 192"/>
            <p:cNvSpPr>
              <a:spLocks/>
            </p:cNvSpPr>
            <p:nvPr/>
          </p:nvSpPr>
          <p:spPr bwMode="auto">
            <a:xfrm>
              <a:off x="2981" y="1359"/>
              <a:ext cx="40" cy="31"/>
            </a:xfrm>
            <a:custGeom>
              <a:avLst/>
              <a:gdLst>
                <a:gd name="T0" fmla="*/ 1 w 58"/>
                <a:gd name="T1" fmla="*/ 1 h 45"/>
                <a:gd name="T2" fmla="*/ 1 w 58"/>
                <a:gd name="T3" fmla="*/ 1 h 45"/>
                <a:gd name="T4" fmla="*/ 1 w 58"/>
                <a:gd name="T5" fmla="*/ 1 h 45"/>
                <a:gd name="T6" fmla="*/ 0 w 58"/>
                <a:gd name="T7" fmla="*/ 1 h 45"/>
                <a:gd name="T8" fmla="*/ 1 w 58"/>
                <a:gd name="T9" fmla="*/ 1 h 45"/>
                <a:gd name="T10" fmla="*/ 1 w 58"/>
                <a:gd name="T11" fmla="*/ 1 h 45"/>
                <a:gd name="T12" fmla="*/ 1 w 58"/>
                <a:gd name="T13" fmla="*/ 1 h 45"/>
                <a:gd name="T14" fmla="*/ 1 w 58"/>
                <a:gd name="T15" fmla="*/ 1 h 45"/>
                <a:gd name="T16" fmla="*/ 1 w 58"/>
                <a:gd name="T17" fmla="*/ 1 h 45"/>
                <a:gd name="T18" fmla="*/ 1 w 58"/>
                <a:gd name="T19" fmla="*/ 0 h 45"/>
                <a:gd name="T20" fmla="*/ 1 w 58"/>
                <a:gd name="T21" fmla="*/ 1 h 4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8"/>
                <a:gd name="T34" fmla="*/ 0 h 45"/>
                <a:gd name="T35" fmla="*/ 58 w 58"/>
                <a:gd name="T36" fmla="*/ 45 h 4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8" h="45">
                  <a:moveTo>
                    <a:pt x="7" y="2"/>
                  </a:moveTo>
                  <a:lnTo>
                    <a:pt x="3" y="8"/>
                  </a:lnTo>
                  <a:lnTo>
                    <a:pt x="8" y="16"/>
                  </a:lnTo>
                  <a:lnTo>
                    <a:pt x="0" y="32"/>
                  </a:lnTo>
                  <a:lnTo>
                    <a:pt x="13" y="34"/>
                  </a:lnTo>
                  <a:lnTo>
                    <a:pt x="6" y="45"/>
                  </a:lnTo>
                  <a:lnTo>
                    <a:pt x="27" y="29"/>
                  </a:lnTo>
                  <a:lnTo>
                    <a:pt x="58" y="24"/>
                  </a:lnTo>
                  <a:lnTo>
                    <a:pt x="50" y="16"/>
                  </a:lnTo>
                  <a:lnTo>
                    <a:pt x="36" y="0"/>
                  </a:lnTo>
                  <a:lnTo>
                    <a:pt x="7" y="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65" name="Freeform 193"/>
            <p:cNvSpPr>
              <a:spLocks/>
            </p:cNvSpPr>
            <p:nvPr/>
          </p:nvSpPr>
          <p:spPr bwMode="auto">
            <a:xfrm>
              <a:off x="2913" y="1123"/>
              <a:ext cx="120" cy="76"/>
            </a:xfrm>
            <a:custGeom>
              <a:avLst/>
              <a:gdLst>
                <a:gd name="T0" fmla="*/ 1 w 169"/>
                <a:gd name="T1" fmla="*/ 1 h 107"/>
                <a:gd name="T2" fmla="*/ 1 w 169"/>
                <a:gd name="T3" fmla="*/ 1 h 107"/>
                <a:gd name="T4" fmla="*/ 1 w 169"/>
                <a:gd name="T5" fmla="*/ 1 h 107"/>
                <a:gd name="T6" fmla="*/ 1 w 169"/>
                <a:gd name="T7" fmla="*/ 1 h 107"/>
                <a:gd name="T8" fmla="*/ 1 w 169"/>
                <a:gd name="T9" fmla="*/ 1 h 107"/>
                <a:gd name="T10" fmla="*/ 1 w 169"/>
                <a:gd name="T11" fmla="*/ 1 h 107"/>
                <a:gd name="T12" fmla="*/ 1 w 169"/>
                <a:gd name="T13" fmla="*/ 1 h 107"/>
                <a:gd name="T14" fmla="*/ 1 w 169"/>
                <a:gd name="T15" fmla="*/ 1 h 107"/>
                <a:gd name="T16" fmla="*/ 1 w 169"/>
                <a:gd name="T17" fmla="*/ 1 h 107"/>
                <a:gd name="T18" fmla="*/ 1 w 169"/>
                <a:gd name="T19" fmla="*/ 1 h 107"/>
                <a:gd name="T20" fmla="*/ 1 w 169"/>
                <a:gd name="T21" fmla="*/ 1 h 107"/>
                <a:gd name="T22" fmla="*/ 0 w 169"/>
                <a:gd name="T23" fmla="*/ 1 h 107"/>
                <a:gd name="T24" fmla="*/ 1 w 169"/>
                <a:gd name="T25" fmla="*/ 1 h 107"/>
                <a:gd name="T26" fmla="*/ 1 w 169"/>
                <a:gd name="T27" fmla="*/ 1 h 107"/>
                <a:gd name="T28" fmla="*/ 1 w 169"/>
                <a:gd name="T29" fmla="*/ 0 h 107"/>
                <a:gd name="T30" fmla="*/ 1 w 169"/>
                <a:gd name="T31" fmla="*/ 1 h 107"/>
                <a:gd name="T32" fmla="*/ 1 w 169"/>
                <a:gd name="T33" fmla="*/ 1 h 107"/>
                <a:gd name="T34" fmla="*/ 1 w 169"/>
                <a:gd name="T35" fmla="*/ 1 h 107"/>
                <a:gd name="T36" fmla="*/ 1 w 169"/>
                <a:gd name="T37" fmla="*/ 1 h 10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69"/>
                <a:gd name="T58" fmla="*/ 0 h 107"/>
                <a:gd name="T59" fmla="*/ 169 w 169"/>
                <a:gd name="T60" fmla="*/ 107 h 10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69" h="107">
                  <a:moveTo>
                    <a:pt x="169" y="58"/>
                  </a:moveTo>
                  <a:lnTo>
                    <a:pt x="162" y="65"/>
                  </a:lnTo>
                  <a:lnTo>
                    <a:pt x="168" y="87"/>
                  </a:lnTo>
                  <a:lnTo>
                    <a:pt x="145" y="99"/>
                  </a:lnTo>
                  <a:lnTo>
                    <a:pt x="146" y="107"/>
                  </a:lnTo>
                  <a:lnTo>
                    <a:pt x="113" y="101"/>
                  </a:lnTo>
                  <a:lnTo>
                    <a:pt x="80" y="95"/>
                  </a:lnTo>
                  <a:lnTo>
                    <a:pt x="47" y="95"/>
                  </a:lnTo>
                  <a:lnTo>
                    <a:pt x="14" y="95"/>
                  </a:lnTo>
                  <a:lnTo>
                    <a:pt x="3" y="88"/>
                  </a:lnTo>
                  <a:lnTo>
                    <a:pt x="15" y="71"/>
                  </a:lnTo>
                  <a:lnTo>
                    <a:pt x="0" y="41"/>
                  </a:lnTo>
                  <a:lnTo>
                    <a:pt x="29" y="22"/>
                  </a:lnTo>
                  <a:lnTo>
                    <a:pt x="56" y="3"/>
                  </a:lnTo>
                  <a:lnTo>
                    <a:pt x="83" y="0"/>
                  </a:lnTo>
                  <a:lnTo>
                    <a:pt x="111" y="5"/>
                  </a:lnTo>
                  <a:lnTo>
                    <a:pt x="140" y="10"/>
                  </a:lnTo>
                  <a:lnTo>
                    <a:pt x="145" y="38"/>
                  </a:lnTo>
                  <a:lnTo>
                    <a:pt x="169" y="5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66" name="Freeform 194"/>
            <p:cNvSpPr>
              <a:spLocks/>
            </p:cNvSpPr>
            <p:nvPr/>
          </p:nvSpPr>
          <p:spPr bwMode="auto">
            <a:xfrm>
              <a:off x="2718" y="1107"/>
              <a:ext cx="31" cy="35"/>
            </a:xfrm>
            <a:custGeom>
              <a:avLst/>
              <a:gdLst>
                <a:gd name="T0" fmla="*/ 1 w 44"/>
                <a:gd name="T1" fmla="*/ 1 h 49"/>
                <a:gd name="T2" fmla="*/ 1 w 44"/>
                <a:gd name="T3" fmla="*/ 1 h 49"/>
                <a:gd name="T4" fmla="*/ 1 w 44"/>
                <a:gd name="T5" fmla="*/ 1 h 49"/>
                <a:gd name="T6" fmla="*/ 1 w 44"/>
                <a:gd name="T7" fmla="*/ 1 h 49"/>
                <a:gd name="T8" fmla="*/ 1 w 44"/>
                <a:gd name="T9" fmla="*/ 1 h 49"/>
                <a:gd name="T10" fmla="*/ 0 w 44"/>
                <a:gd name="T11" fmla="*/ 1 h 49"/>
                <a:gd name="T12" fmla="*/ 1 w 44"/>
                <a:gd name="T13" fmla="*/ 1 h 49"/>
                <a:gd name="T14" fmla="*/ 1 w 44"/>
                <a:gd name="T15" fmla="*/ 1 h 49"/>
                <a:gd name="T16" fmla="*/ 1 w 44"/>
                <a:gd name="T17" fmla="*/ 1 h 49"/>
                <a:gd name="T18" fmla="*/ 1 w 44"/>
                <a:gd name="T19" fmla="*/ 0 h 49"/>
                <a:gd name="T20" fmla="*/ 1 w 44"/>
                <a:gd name="T21" fmla="*/ 1 h 49"/>
                <a:gd name="T22" fmla="*/ 1 w 44"/>
                <a:gd name="T23" fmla="*/ 1 h 49"/>
                <a:gd name="T24" fmla="*/ 1 w 44"/>
                <a:gd name="T25" fmla="*/ 1 h 49"/>
                <a:gd name="T26" fmla="*/ 1 w 44"/>
                <a:gd name="T27" fmla="*/ 1 h 49"/>
                <a:gd name="T28" fmla="*/ 1 w 44"/>
                <a:gd name="T29" fmla="*/ 1 h 49"/>
                <a:gd name="T30" fmla="*/ 1 w 44"/>
                <a:gd name="T31" fmla="*/ 1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4"/>
                <a:gd name="T49" fmla="*/ 0 h 49"/>
                <a:gd name="T50" fmla="*/ 44 w 44"/>
                <a:gd name="T51" fmla="*/ 49 h 4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4" h="49">
                  <a:moveTo>
                    <a:pt x="25" y="43"/>
                  </a:moveTo>
                  <a:lnTo>
                    <a:pt x="23" y="49"/>
                  </a:lnTo>
                  <a:lnTo>
                    <a:pt x="8" y="47"/>
                  </a:lnTo>
                  <a:lnTo>
                    <a:pt x="6" y="43"/>
                  </a:lnTo>
                  <a:lnTo>
                    <a:pt x="1" y="31"/>
                  </a:lnTo>
                  <a:lnTo>
                    <a:pt x="0" y="8"/>
                  </a:lnTo>
                  <a:lnTo>
                    <a:pt x="11" y="6"/>
                  </a:lnTo>
                  <a:lnTo>
                    <a:pt x="14" y="8"/>
                  </a:lnTo>
                  <a:lnTo>
                    <a:pt x="16" y="3"/>
                  </a:lnTo>
                  <a:lnTo>
                    <a:pt x="29" y="0"/>
                  </a:lnTo>
                  <a:lnTo>
                    <a:pt x="35" y="8"/>
                  </a:lnTo>
                  <a:lnTo>
                    <a:pt x="44" y="8"/>
                  </a:lnTo>
                  <a:lnTo>
                    <a:pt x="40" y="18"/>
                  </a:lnTo>
                  <a:lnTo>
                    <a:pt x="28" y="29"/>
                  </a:lnTo>
                  <a:lnTo>
                    <a:pt x="28" y="31"/>
                  </a:lnTo>
                  <a:lnTo>
                    <a:pt x="25" y="4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67" name="Freeform 195"/>
            <p:cNvSpPr>
              <a:spLocks/>
            </p:cNvSpPr>
            <p:nvPr/>
          </p:nvSpPr>
          <p:spPr bwMode="auto">
            <a:xfrm>
              <a:off x="2753" y="1121"/>
              <a:ext cx="20" cy="18"/>
            </a:xfrm>
            <a:custGeom>
              <a:avLst/>
              <a:gdLst>
                <a:gd name="T0" fmla="*/ 1 w 27"/>
                <a:gd name="T1" fmla="*/ 1 h 25"/>
                <a:gd name="T2" fmla="*/ 1 w 27"/>
                <a:gd name="T3" fmla="*/ 1 h 25"/>
                <a:gd name="T4" fmla="*/ 1 w 27"/>
                <a:gd name="T5" fmla="*/ 0 h 25"/>
                <a:gd name="T6" fmla="*/ 1 w 27"/>
                <a:gd name="T7" fmla="*/ 1 h 25"/>
                <a:gd name="T8" fmla="*/ 1 w 27"/>
                <a:gd name="T9" fmla="*/ 1 h 25"/>
                <a:gd name="T10" fmla="*/ 1 w 27"/>
                <a:gd name="T11" fmla="*/ 1 h 25"/>
                <a:gd name="T12" fmla="*/ 1 w 27"/>
                <a:gd name="T13" fmla="*/ 1 h 25"/>
                <a:gd name="T14" fmla="*/ 0 w 27"/>
                <a:gd name="T15" fmla="*/ 1 h 25"/>
                <a:gd name="T16" fmla="*/ 1 w 27"/>
                <a:gd name="T17" fmla="*/ 1 h 25"/>
                <a:gd name="T18" fmla="*/ 1 w 27"/>
                <a:gd name="T19" fmla="*/ 1 h 25"/>
                <a:gd name="T20" fmla="*/ 1 w 27"/>
                <a:gd name="T21" fmla="*/ 1 h 25"/>
                <a:gd name="T22" fmla="*/ 1 w 27"/>
                <a:gd name="T23" fmla="*/ 1 h 2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7"/>
                <a:gd name="T37" fmla="*/ 0 h 25"/>
                <a:gd name="T38" fmla="*/ 27 w 27"/>
                <a:gd name="T39" fmla="*/ 25 h 2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7" h="25">
                  <a:moveTo>
                    <a:pt x="27" y="8"/>
                  </a:moveTo>
                  <a:lnTo>
                    <a:pt x="25" y="5"/>
                  </a:lnTo>
                  <a:lnTo>
                    <a:pt x="18" y="0"/>
                  </a:lnTo>
                  <a:lnTo>
                    <a:pt x="18" y="7"/>
                  </a:lnTo>
                  <a:lnTo>
                    <a:pt x="12" y="7"/>
                  </a:lnTo>
                  <a:lnTo>
                    <a:pt x="3" y="2"/>
                  </a:lnTo>
                  <a:lnTo>
                    <a:pt x="1" y="7"/>
                  </a:lnTo>
                  <a:lnTo>
                    <a:pt x="0" y="13"/>
                  </a:lnTo>
                  <a:lnTo>
                    <a:pt x="15" y="25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7" y="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68" name="Freeform 196"/>
            <p:cNvSpPr>
              <a:spLocks/>
            </p:cNvSpPr>
            <p:nvPr/>
          </p:nvSpPr>
          <p:spPr bwMode="auto">
            <a:xfrm>
              <a:off x="2719" y="1094"/>
              <a:ext cx="25" cy="17"/>
            </a:xfrm>
            <a:custGeom>
              <a:avLst/>
              <a:gdLst>
                <a:gd name="T0" fmla="*/ 1 w 36"/>
                <a:gd name="T1" fmla="*/ 1 h 24"/>
                <a:gd name="T2" fmla="*/ 1 w 36"/>
                <a:gd name="T3" fmla="*/ 1 h 24"/>
                <a:gd name="T4" fmla="*/ 0 w 36"/>
                <a:gd name="T5" fmla="*/ 1 h 24"/>
                <a:gd name="T6" fmla="*/ 1 w 36"/>
                <a:gd name="T7" fmla="*/ 1 h 24"/>
                <a:gd name="T8" fmla="*/ 1 w 36"/>
                <a:gd name="T9" fmla="*/ 1 h 24"/>
                <a:gd name="T10" fmla="*/ 1 w 36"/>
                <a:gd name="T11" fmla="*/ 0 h 24"/>
                <a:gd name="T12" fmla="*/ 1 w 36"/>
                <a:gd name="T13" fmla="*/ 1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6"/>
                <a:gd name="T22" fmla="*/ 0 h 24"/>
                <a:gd name="T23" fmla="*/ 36 w 36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6" h="24">
                  <a:moveTo>
                    <a:pt x="30" y="17"/>
                  </a:moveTo>
                  <a:lnTo>
                    <a:pt x="2" y="18"/>
                  </a:lnTo>
                  <a:lnTo>
                    <a:pt x="0" y="24"/>
                  </a:lnTo>
                  <a:lnTo>
                    <a:pt x="1" y="14"/>
                  </a:lnTo>
                  <a:lnTo>
                    <a:pt x="18" y="11"/>
                  </a:lnTo>
                  <a:lnTo>
                    <a:pt x="36" y="0"/>
                  </a:lnTo>
                  <a:lnTo>
                    <a:pt x="30" y="1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69" name="Freeform 197"/>
            <p:cNvSpPr>
              <a:spLocks/>
            </p:cNvSpPr>
            <p:nvPr/>
          </p:nvSpPr>
          <p:spPr bwMode="auto">
            <a:xfrm>
              <a:off x="2737" y="1131"/>
              <a:ext cx="14" cy="7"/>
            </a:xfrm>
            <a:custGeom>
              <a:avLst/>
              <a:gdLst>
                <a:gd name="T0" fmla="*/ 1 w 19"/>
                <a:gd name="T1" fmla="*/ 1 h 10"/>
                <a:gd name="T2" fmla="*/ 1 w 19"/>
                <a:gd name="T3" fmla="*/ 0 h 10"/>
                <a:gd name="T4" fmla="*/ 0 w 19"/>
                <a:gd name="T5" fmla="*/ 1 h 10"/>
                <a:gd name="T6" fmla="*/ 1 w 19"/>
                <a:gd name="T7" fmla="*/ 1 h 10"/>
                <a:gd name="T8" fmla="*/ 1 w 19"/>
                <a:gd name="T9" fmla="*/ 1 h 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0"/>
                <a:gd name="T17" fmla="*/ 19 w 19"/>
                <a:gd name="T18" fmla="*/ 10 h 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0">
                  <a:moveTo>
                    <a:pt x="19" y="4"/>
                  </a:moveTo>
                  <a:lnTo>
                    <a:pt x="13" y="0"/>
                  </a:lnTo>
                  <a:lnTo>
                    <a:pt x="0" y="2"/>
                  </a:lnTo>
                  <a:lnTo>
                    <a:pt x="13" y="10"/>
                  </a:lnTo>
                  <a:lnTo>
                    <a:pt x="19" y="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70" name="Freeform 198"/>
            <p:cNvSpPr>
              <a:spLocks/>
            </p:cNvSpPr>
            <p:nvPr/>
          </p:nvSpPr>
          <p:spPr bwMode="auto">
            <a:xfrm>
              <a:off x="2765" y="1141"/>
              <a:ext cx="3" cy="3"/>
            </a:xfrm>
            <a:custGeom>
              <a:avLst/>
              <a:gdLst>
                <a:gd name="T0" fmla="*/ 2 w 4"/>
                <a:gd name="T1" fmla="*/ 1 h 4"/>
                <a:gd name="T2" fmla="*/ 0 w 4"/>
                <a:gd name="T3" fmla="*/ 0 h 4"/>
                <a:gd name="T4" fmla="*/ 0 w 4"/>
                <a:gd name="T5" fmla="*/ 2 h 4"/>
                <a:gd name="T6" fmla="*/ 2 w 4"/>
                <a:gd name="T7" fmla="*/ 1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4"/>
                <a:gd name="T14" fmla="*/ 4 w 4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4">
                  <a:moveTo>
                    <a:pt x="4" y="1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4" y="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71" name="Freeform 199"/>
            <p:cNvSpPr>
              <a:spLocks/>
            </p:cNvSpPr>
            <p:nvPr/>
          </p:nvSpPr>
          <p:spPr bwMode="auto">
            <a:xfrm>
              <a:off x="2903" y="1065"/>
              <a:ext cx="58" cy="28"/>
            </a:xfrm>
            <a:custGeom>
              <a:avLst/>
              <a:gdLst>
                <a:gd name="T0" fmla="*/ 1 w 82"/>
                <a:gd name="T1" fmla="*/ 1 h 38"/>
                <a:gd name="T2" fmla="*/ 1 w 82"/>
                <a:gd name="T3" fmla="*/ 1 h 38"/>
                <a:gd name="T4" fmla="*/ 1 w 82"/>
                <a:gd name="T5" fmla="*/ 0 h 38"/>
                <a:gd name="T6" fmla="*/ 0 w 82"/>
                <a:gd name="T7" fmla="*/ 1 h 38"/>
                <a:gd name="T8" fmla="*/ 1 w 82"/>
                <a:gd name="T9" fmla="*/ 1 h 38"/>
                <a:gd name="T10" fmla="*/ 1 w 82"/>
                <a:gd name="T11" fmla="*/ 1 h 38"/>
                <a:gd name="T12" fmla="*/ 1 w 82"/>
                <a:gd name="T13" fmla="*/ 1 h 38"/>
                <a:gd name="T14" fmla="*/ 1 w 82"/>
                <a:gd name="T15" fmla="*/ 1 h 38"/>
                <a:gd name="T16" fmla="*/ 1 w 82"/>
                <a:gd name="T17" fmla="*/ 1 h 38"/>
                <a:gd name="T18" fmla="*/ 1 w 82"/>
                <a:gd name="T19" fmla="*/ 1 h 3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2"/>
                <a:gd name="T31" fmla="*/ 0 h 38"/>
                <a:gd name="T32" fmla="*/ 82 w 82"/>
                <a:gd name="T33" fmla="*/ 38 h 3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2" h="38">
                  <a:moveTo>
                    <a:pt x="82" y="24"/>
                  </a:moveTo>
                  <a:lnTo>
                    <a:pt x="76" y="2"/>
                  </a:lnTo>
                  <a:lnTo>
                    <a:pt x="33" y="0"/>
                  </a:lnTo>
                  <a:lnTo>
                    <a:pt x="0" y="8"/>
                  </a:lnTo>
                  <a:lnTo>
                    <a:pt x="3" y="17"/>
                  </a:lnTo>
                  <a:lnTo>
                    <a:pt x="15" y="30"/>
                  </a:lnTo>
                  <a:lnTo>
                    <a:pt x="21" y="29"/>
                  </a:lnTo>
                  <a:lnTo>
                    <a:pt x="47" y="33"/>
                  </a:lnTo>
                  <a:lnTo>
                    <a:pt x="74" y="38"/>
                  </a:lnTo>
                  <a:lnTo>
                    <a:pt x="82" y="2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72" name="Freeform 200"/>
            <p:cNvSpPr>
              <a:spLocks/>
            </p:cNvSpPr>
            <p:nvPr/>
          </p:nvSpPr>
          <p:spPr bwMode="auto">
            <a:xfrm>
              <a:off x="2879" y="1086"/>
              <a:ext cx="93" cy="38"/>
            </a:xfrm>
            <a:custGeom>
              <a:avLst/>
              <a:gdLst>
                <a:gd name="T0" fmla="*/ 1 w 133"/>
                <a:gd name="T1" fmla="*/ 1 h 55"/>
                <a:gd name="T2" fmla="*/ 1 w 133"/>
                <a:gd name="T3" fmla="*/ 1 h 55"/>
                <a:gd name="T4" fmla="*/ 1 w 133"/>
                <a:gd name="T5" fmla="*/ 1 h 55"/>
                <a:gd name="T6" fmla="*/ 0 w 133"/>
                <a:gd name="T7" fmla="*/ 1 h 55"/>
                <a:gd name="T8" fmla="*/ 1 w 133"/>
                <a:gd name="T9" fmla="*/ 1 h 55"/>
                <a:gd name="T10" fmla="*/ 1 w 133"/>
                <a:gd name="T11" fmla="*/ 1 h 55"/>
                <a:gd name="T12" fmla="*/ 1 w 133"/>
                <a:gd name="T13" fmla="*/ 1 h 55"/>
                <a:gd name="T14" fmla="*/ 1 w 133"/>
                <a:gd name="T15" fmla="*/ 1 h 55"/>
                <a:gd name="T16" fmla="*/ 1 w 133"/>
                <a:gd name="T17" fmla="*/ 0 h 55"/>
                <a:gd name="T18" fmla="*/ 1 w 133"/>
                <a:gd name="T19" fmla="*/ 1 h 55"/>
                <a:gd name="T20" fmla="*/ 1 w 133"/>
                <a:gd name="T21" fmla="*/ 1 h 55"/>
                <a:gd name="T22" fmla="*/ 1 w 133"/>
                <a:gd name="T23" fmla="*/ 1 h 55"/>
                <a:gd name="T24" fmla="*/ 1 w 133"/>
                <a:gd name="T25" fmla="*/ 1 h 55"/>
                <a:gd name="T26" fmla="*/ 1 w 133"/>
                <a:gd name="T27" fmla="*/ 1 h 55"/>
                <a:gd name="T28" fmla="*/ 1 w 133"/>
                <a:gd name="T29" fmla="*/ 1 h 5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33"/>
                <a:gd name="T46" fmla="*/ 0 h 55"/>
                <a:gd name="T47" fmla="*/ 133 w 133"/>
                <a:gd name="T48" fmla="*/ 55 h 5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33" h="55">
                  <a:moveTo>
                    <a:pt x="68" y="38"/>
                  </a:moveTo>
                  <a:lnTo>
                    <a:pt x="36" y="42"/>
                  </a:lnTo>
                  <a:lnTo>
                    <a:pt x="5" y="45"/>
                  </a:lnTo>
                  <a:lnTo>
                    <a:pt x="0" y="46"/>
                  </a:lnTo>
                  <a:lnTo>
                    <a:pt x="9" y="16"/>
                  </a:lnTo>
                  <a:lnTo>
                    <a:pt x="26" y="15"/>
                  </a:lnTo>
                  <a:lnTo>
                    <a:pt x="49" y="30"/>
                  </a:lnTo>
                  <a:lnTo>
                    <a:pt x="58" y="21"/>
                  </a:lnTo>
                  <a:lnTo>
                    <a:pt x="56" y="0"/>
                  </a:lnTo>
                  <a:lnTo>
                    <a:pt x="82" y="4"/>
                  </a:lnTo>
                  <a:lnTo>
                    <a:pt x="109" y="9"/>
                  </a:lnTo>
                  <a:lnTo>
                    <a:pt x="119" y="26"/>
                  </a:lnTo>
                  <a:lnTo>
                    <a:pt x="133" y="52"/>
                  </a:lnTo>
                  <a:lnTo>
                    <a:pt x="106" y="55"/>
                  </a:lnTo>
                  <a:lnTo>
                    <a:pt x="68" y="3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73" name="Freeform 201"/>
            <p:cNvSpPr>
              <a:spLocks/>
            </p:cNvSpPr>
            <p:nvPr/>
          </p:nvSpPr>
          <p:spPr bwMode="auto">
            <a:xfrm>
              <a:off x="2879" y="1113"/>
              <a:ext cx="75" cy="39"/>
            </a:xfrm>
            <a:custGeom>
              <a:avLst/>
              <a:gdLst>
                <a:gd name="T0" fmla="*/ 1 w 106"/>
                <a:gd name="T1" fmla="*/ 1 h 55"/>
                <a:gd name="T2" fmla="*/ 0 w 106"/>
                <a:gd name="T3" fmla="*/ 1 h 55"/>
                <a:gd name="T4" fmla="*/ 1 w 106"/>
                <a:gd name="T5" fmla="*/ 1 h 55"/>
                <a:gd name="T6" fmla="*/ 1 w 106"/>
                <a:gd name="T7" fmla="*/ 1 h 55"/>
                <a:gd name="T8" fmla="*/ 1 w 106"/>
                <a:gd name="T9" fmla="*/ 0 h 55"/>
                <a:gd name="T10" fmla="*/ 1 w 106"/>
                <a:gd name="T11" fmla="*/ 1 h 55"/>
                <a:gd name="T12" fmla="*/ 1 w 106"/>
                <a:gd name="T13" fmla="*/ 1 h 55"/>
                <a:gd name="T14" fmla="*/ 1 w 106"/>
                <a:gd name="T15" fmla="*/ 1 h 55"/>
                <a:gd name="T16" fmla="*/ 1 w 106"/>
                <a:gd name="T17" fmla="*/ 1 h 55"/>
                <a:gd name="T18" fmla="*/ 1 w 106"/>
                <a:gd name="T19" fmla="*/ 1 h 55"/>
                <a:gd name="T20" fmla="*/ 1 w 106"/>
                <a:gd name="T21" fmla="*/ 1 h 55"/>
                <a:gd name="T22" fmla="*/ 1 w 106"/>
                <a:gd name="T23" fmla="*/ 1 h 5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6"/>
                <a:gd name="T37" fmla="*/ 0 h 55"/>
                <a:gd name="T38" fmla="*/ 106 w 106"/>
                <a:gd name="T39" fmla="*/ 55 h 5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6" h="55">
                  <a:moveTo>
                    <a:pt x="4" y="40"/>
                  </a:moveTo>
                  <a:lnTo>
                    <a:pt x="0" y="8"/>
                  </a:lnTo>
                  <a:lnTo>
                    <a:pt x="5" y="7"/>
                  </a:lnTo>
                  <a:lnTo>
                    <a:pt x="36" y="4"/>
                  </a:lnTo>
                  <a:lnTo>
                    <a:pt x="68" y="0"/>
                  </a:lnTo>
                  <a:lnTo>
                    <a:pt x="106" y="17"/>
                  </a:lnTo>
                  <a:lnTo>
                    <a:pt x="79" y="36"/>
                  </a:lnTo>
                  <a:lnTo>
                    <a:pt x="50" y="55"/>
                  </a:lnTo>
                  <a:lnTo>
                    <a:pt x="33" y="54"/>
                  </a:lnTo>
                  <a:lnTo>
                    <a:pt x="33" y="44"/>
                  </a:lnTo>
                  <a:lnTo>
                    <a:pt x="16" y="42"/>
                  </a:lnTo>
                  <a:lnTo>
                    <a:pt x="4" y="4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74" name="Freeform 202"/>
            <p:cNvSpPr>
              <a:spLocks/>
            </p:cNvSpPr>
            <p:nvPr/>
          </p:nvSpPr>
          <p:spPr bwMode="auto">
            <a:xfrm>
              <a:off x="2656" y="1166"/>
              <a:ext cx="50" cy="44"/>
            </a:xfrm>
            <a:custGeom>
              <a:avLst/>
              <a:gdLst>
                <a:gd name="T0" fmla="*/ 1 w 70"/>
                <a:gd name="T1" fmla="*/ 1 h 62"/>
                <a:gd name="T2" fmla="*/ 1 w 70"/>
                <a:gd name="T3" fmla="*/ 1 h 62"/>
                <a:gd name="T4" fmla="*/ 1 w 70"/>
                <a:gd name="T5" fmla="*/ 1 h 62"/>
                <a:gd name="T6" fmla="*/ 1 w 70"/>
                <a:gd name="T7" fmla="*/ 1 h 62"/>
                <a:gd name="T8" fmla="*/ 1 w 70"/>
                <a:gd name="T9" fmla="*/ 0 h 62"/>
                <a:gd name="T10" fmla="*/ 1 w 70"/>
                <a:gd name="T11" fmla="*/ 1 h 62"/>
                <a:gd name="T12" fmla="*/ 1 w 70"/>
                <a:gd name="T13" fmla="*/ 1 h 62"/>
                <a:gd name="T14" fmla="*/ 0 w 70"/>
                <a:gd name="T15" fmla="*/ 1 h 62"/>
                <a:gd name="T16" fmla="*/ 1 w 70"/>
                <a:gd name="T17" fmla="*/ 1 h 62"/>
                <a:gd name="T18" fmla="*/ 1 w 70"/>
                <a:gd name="T19" fmla="*/ 1 h 62"/>
                <a:gd name="T20" fmla="*/ 1 w 70"/>
                <a:gd name="T21" fmla="*/ 1 h 62"/>
                <a:gd name="T22" fmla="*/ 1 w 70"/>
                <a:gd name="T23" fmla="*/ 1 h 62"/>
                <a:gd name="T24" fmla="*/ 1 w 70"/>
                <a:gd name="T25" fmla="*/ 1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70"/>
                <a:gd name="T40" fmla="*/ 0 h 62"/>
                <a:gd name="T41" fmla="*/ 70 w 70"/>
                <a:gd name="T42" fmla="*/ 62 h 6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70" h="62">
                  <a:moveTo>
                    <a:pt x="52" y="36"/>
                  </a:moveTo>
                  <a:lnTo>
                    <a:pt x="68" y="27"/>
                  </a:lnTo>
                  <a:lnTo>
                    <a:pt x="62" y="16"/>
                  </a:lnTo>
                  <a:lnTo>
                    <a:pt x="70" y="3"/>
                  </a:lnTo>
                  <a:lnTo>
                    <a:pt x="46" y="0"/>
                  </a:lnTo>
                  <a:lnTo>
                    <a:pt x="22" y="14"/>
                  </a:lnTo>
                  <a:lnTo>
                    <a:pt x="6" y="39"/>
                  </a:lnTo>
                  <a:lnTo>
                    <a:pt x="0" y="48"/>
                  </a:lnTo>
                  <a:lnTo>
                    <a:pt x="15" y="48"/>
                  </a:lnTo>
                  <a:lnTo>
                    <a:pt x="40" y="49"/>
                  </a:lnTo>
                  <a:lnTo>
                    <a:pt x="44" y="57"/>
                  </a:lnTo>
                  <a:lnTo>
                    <a:pt x="50" y="62"/>
                  </a:lnTo>
                  <a:lnTo>
                    <a:pt x="52" y="36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75" name="Freeform 203"/>
            <p:cNvSpPr>
              <a:spLocks/>
            </p:cNvSpPr>
            <p:nvPr/>
          </p:nvSpPr>
          <p:spPr bwMode="auto">
            <a:xfrm>
              <a:off x="2796" y="1144"/>
              <a:ext cx="135" cy="94"/>
            </a:xfrm>
            <a:custGeom>
              <a:avLst/>
              <a:gdLst>
                <a:gd name="T0" fmla="*/ 1 w 192"/>
                <a:gd name="T1" fmla="*/ 1 h 135"/>
                <a:gd name="T2" fmla="*/ 1 w 192"/>
                <a:gd name="T3" fmla="*/ 0 h 135"/>
                <a:gd name="T4" fmla="*/ 1 w 192"/>
                <a:gd name="T5" fmla="*/ 1 h 135"/>
                <a:gd name="T6" fmla="*/ 1 w 192"/>
                <a:gd name="T7" fmla="*/ 1 h 135"/>
                <a:gd name="T8" fmla="*/ 0 w 192"/>
                <a:gd name="T9" fmla="*/ 1 h 135"/>
                <a:gd name="T10" fmla="*/ 1 w 192"/>
                <a:gd name="T11" fmla="*/ 1 h 135"/>
                <a:gd name="T12" fmla="*/ 1 w 192"/>
                <a:gd name="T13" fmla="*/ 1 h 135"/>
                <a:gd name="T14" fmla="*/ 1 w 192"/>
                <a:gd name="T15" fmla="*/ 1 h 135"/>
                <a:gd name="T16" fmla="*/ 1 w 192"/>
                <a:gd name="T17" fmla="*/ 1 h 135"/>
                <a:gd name="T18" fmla="*/ 1 w 192"/>
                <a:gd name="T19" fmla="*/ 1 h 135"/>
                <a:gd name="T20" fmla="*/ 1 w 192"/>
                <a:gd name="T21" fmla="*/ 1 h 135"/>
                <a:gd name="T22" fmla="*/ 1 w 192"/>
                <a:gd name="T23" fmla="*/ 1 h 135"/>
                <a:gd name="T24" fmla="*/ 1 w 192"/>
                <a:gd name="T25" fmla="*/ 1 h 135"/>
                <a:gd name="T26" fmla="*/ 1 w 192"/>
                <a:gd name="T27" fmla="*/ 1 h 135"/>
                <a:gd name="T28" fmla="*/ 1 w 192"/>
                <a:gd name="T29" fmla="*/ 1 h 135"/>
                <a:gd name="T30" fmla="*/ 1 w 192"/>
                <a:gd name="T31" fmla="*/ 1 h 135"/>
                <a:gd name="T32" fmla="*/ 1 w 192"/>
                <a:gd name="T33" fmla="*/ 1 h 135"/>
                <a:gd name="T34" fmla="*/ 1 w 192"/>
                <a:gd name="T35" fmla="*/ 1 h 135"/>
                <a:gd name="T36" fmla="*/ 1 w 192"/>
                <a:gd name="T37" fmla="*/ 1 h 135"/>
                <a:gd name="T38" fmla="*/ 1 w 192"/>
                <a:gd name="T39" fmla="*/ 1 h 135"/>
                <a:gd name="T40" fmla="*/ 1 w 192"/>
                <a:gd name="T41" fmla="*/ 1 h 135"/>
                <a:gd name="T42" fmla="*/ 1 w 192"/>
                <a:gd name="T43" fmla="*/ 1 h 135"/>
                <a:gd name="T44" fmla="*/ 1 w 192"/>
                <a:gd name="T45" fmla="*/ 1 h 135"/>
                <a:gd name="T46" fmla="*/ 1 w 192"/>
                <a:gd name="T47" fmla="*/ 1 h 135"/>
                <a:gd name="T48" fmla="*/ 1 w 192"/>
                <a:gd name="T49" fmla="*/ 1 h 135"/>
                <a:gd name="T50" fmla="*/ 1 w 192"/>
                <a:gd name="T51" fmla="*/ 1 h 135"/>
                <a:gd name="T52" fmla="*/ 1 w 192"/>
                <a:gd name="T53" fmla="*/ 1 h 135"/>
                <a:gd name="T54" fmla="*/ 1 w 192"/>
                <a:gd name="T55" fmla="*/ 1 h 135"/>
                <a:gd name="T56" fmla="*/ 1 w 192"/>
                <a:gd name="T57" fmla="*/ 1 h 135"/>
                <a:gd name="T58" fmla="*/ 1 w 192"/>
                <a:gd name="T59" fmla="*/ 1 h 13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92"/>
                <a:gd name="T91" fmla="*/ 0 h 135"/>
                <a:gd name="T92" fmla="*/ 192 w 192"/>
                <a:gd name="T93" fmla="*/ 135 h 135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92" h="135">
                  <a:moveTo>
                    <a:pt x="79" y="7"/>
                  </a:moveTo>
                  <a:lnTo>
                    <a:pt x="75" y="0"/>
                  </a:lnTo>
                  <a:lnTo>
                    <a:pt x="50" y="3"/>
                  </a:lnTo>
                  <a:lnTo>
                    <a:pt x="25" y="11"/>
                  </a:lnTo>
                  <a:lnTo>
                    <a:pt x="0" y="16"/>
                  </a:lnTo>
                  <a:lnTo>
                    <a:pt x="7" y="23"/>
                  </a:lnTo>
                  <a:lnTo>
                    <a:pt x="1" y="25"/>
                  </a:lnTo>
                  <a:lnTo>
                    <a:pt x="3" y="47"/>
                  </a:lnTo>
                  <a:lnTo>
                    <a:pt x="14" y="73"/>
                  </a:lnTo>
                  <a:lnTo>
                    <a:pt x="18" y="93"/>
                  </a:lnTo>
                  <a:lnTo>
                    <a:pt x="20" y="91"/>
                  </a:lnTo>
                  <a:lnTo>
                    <a:pt x="45" y="101"/>
                  </a:lnTo>
                  <a:lnTo>
                    <a:pt x="50" y="107"/>
                  </a:lnTo>
                  <a:lnTo>
                    <a:pt x="60" y="106"/>
                  </a:lnTo>
                  <a:lnTo>
                    <a:pt x="74" y="107"/>
                  </a:lnTo>
                  <a:lnTo>
                    <a:pt x="97" y="124"/>
                  </a:lnTo>
                  <a:lnTo>
                    <a:pt x="119" y="125"/>
                  </a:lnTo>
                  <a:lnTo>
                    <a:pt x="122" y="130"/>
                  </a:lnTo>
                  <a:lnTo>
                    <a:pt x="139" y="129"/>
                  </a:lnTo>
                  <a:lnTo>
                    <a:pt x="169" y="135"/>
                  </a:lnTo>
                  <a:lnTo>
                    <a:pt x="172" y="127"/>
                  </a:lnTo>
                  <a:lnTo>
                    <a:pt x="190" y="103"/>
                  </a:lnTo>
                  <a:lnTo>
                    <a:pt x="192" y="91"/>
                  </a:lnTo>
                  <a:lnTo>
                    <a:pt x="181" y="66"/>
                  </a:lnTo>
                  <a:lnTo>
                    <a:pt x="170" y="59"/>
                  </a:lnTo>
                  <a:lnTo>
                    <a:pt x="182" y="42"/>
                  </a:lnTo>
                  <a:lnTo>
                    <a:pt x="167" y="12"/>
                  </a:lnTo>
                  <a:lnTo>
                    <a:pt x="132" y="10"/>
                  </a:lnTo>
                  <a:lnTo>
                    <a:pt x="98" y="6"/>
                  </a:lnTo>
                  <a:lnTo>
                    <a:pt x="79" y="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376" name="Freeform 204"/>
            <p:cNvSpPr>
              <a:spLocks/>
            </p:cNvSpPr>
            <p:nvPr/>
          </p:nvSpPr>
          <p:spPr bwMode="auto">
            <a:xfrm>
              <a:off x="2891" y="1252"/>
              <a:ext cx="130" cy="79"/>
            </a:xfrm>
            <a:custGeom>
              <a:avLst/>
              <a:gdLst>
                <a:gd name="T0" fmla="*/ 1 w 187"/>
                <a:gd name="T1" fmla="*/ 1 h 112"/>
                <a:gd name="T2" fmla="*/ 1 w 187"/>
                <a:gd name="T3" fmla="*/ 1 h 112"/>
                <a:gd name="T4" fmla="*/ 1 w 187"/>
                <a:gd name="T5" fmla="*/ 1 h 112"/>
                <a:gd name="T6" fmla="*/ 1 w 187"/>
                <a:gd name="T7" fmla="*/ 1 h 112"/>
                <a:gd name="T8" fmla="*/ 1 w 187"/>
                <a:gd name="T9" fmla="*/ 1 h 112"/>
                <a:gd name="T10" fmla="*/ 1 w 187"/>
                <a:gd name="T11" fmla="*/ 1 h 112"/>
                <a:gd name="T12" fmla="*/ 1 w 187"/>
                <a:gd name="T13" fmla="*/ 1 h 112"/>
                <a:gd name="T14" fmla="*/ 1 w 187"/>
                <a:gd name="T15" fmla="*/ 1 h 112"/>
                <a:gd name="T16" fmla="*/ 1 w 187"/>
                <a:gd name="T17" fmla="*/ 1 h 112"/>
                <a:gd name="T18" fmla="*/ 1 w 187"/>
                <a:gd name="T19" fmla="*/ 1 h 112"/>
                <a:gd name="T20" fmla="*/ 1 w 187"/>
                <a:gd name="T21" fmla="*/ 1 h 112"/>
                <a:gd name="T22" fmla="*/ 0 w 187"/>
                <a:gd name="T23" fmla="*/ 1 h 112"/>
                <a:gd name="T24" fmla="*/ 1 w 187"/>
                <a:gd name="T25" fmla="*/ 1 h 112"/>
                <a:gd name="T26" fmla="*/ 1 w 187"/>
                <a:gd name="T27" fmla="*/ 1 h 112"/>
                <a:gd name="T28" fmla="*/ 1 w 187"/>
                <a:gd name="T29" fmla="*/ 1 h 112"/>
                <a:gd name="T30" fmla="*/ 1 w 187"/>
                <a:gd name="T31" fmla="*/ 1 h 112"/>
                <a:gd name="T32" fmla="*/ 1 w 187"/>
                <a:gd name="T33" fmla="*/ 1 h 112"/>
                <a:gd name="T34" fmla="*/ 1 w 187"/>
                <a:gd name="T35" fmla="*/ 0 h 112"/>
                <a:gd name="T36" fmla="*/ 1 w 187"/>
                <a:gd name="T37" fmla="*/ 0 h 112"/>
                <a:gd name="T38" fmla="*/ 1 w 187"/>
                <a:gd name="T39" fmla="*/ 1 h 112"/>
                <a:gd name="T40" fmla="*/ 1 w 187"/>
                <a:gd name="T41" fmla="*/ 1 h 112"/>
                <a:gd name="T42" fmla="*/ 1 w 187"/>
                <a:gd name="T43" fmla="*/ 1 h 112"/>
                <a:gd name="T44" fmla="*/ 1 w 187"/>
                <a:gd name="T45" fmla="*/ 1 h 112"/>
                <a:gd name="T46" fmla="*/ 1 w 187"/>
                <a:gd name="T47" fmla="*/ 1 h 112"/>
                <a:gd name="T48" fmla="*/ 1 w 187"/>
                <a:gd name="T49" fmla="*/ 1 h 112"/>
                <a:gd name="T50" fmla="*/ 1 w 187"/>
                <a:gd name="T51" fmla="*/ 1 h 112"/>
                <a:gd name="T52" fmla="*/ 1 w 187"/>
                <a:gd name="T53" fmla="*/ 1 h 112"/>
                <a:gd name="T54" fmla="*/ 1 w 187"/>
                <a:gd name="T55" fmla="*/ 1 h 112"/>
                <a:gd name="T56" fmla="*/ 1 w 187"/>
                <a:gd name="T57" fmla="*/ 1 h 11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87"/>
                <a:gd name="T88" fmla="*/ 0 h 112"/>
                <a:gd name="T89" fmla="*/ 187 w 187"/>
                <a:gd name="T90" fmla="*/ 112 h 112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87" h="112">
                  <a:moveTo>
                    <a:pt x="172" y="91"/>
                  </a:moveTo>
                  <a:lnTo>
                    <a:pt x="169" y="109"/>
                  </a:lnTo>
                  <a:lnTo>
                    <a:pt x="132" y="102"/>
                  </a:lnTo>
                  <a:lnTo>
                    <a:pt x="101" y="112"/>
                  </a:lnTo>
                  <a:lnTo>
                    <a:pt x="78" y="108"/>
                  </a:lnTo>
                  <a:lnTo>
                    <a:pt x="57" y="104"/>
                  </a:lnTo>
                  <a:lnTo>
                    <a:pt x="52" y="97"/>
                  </a:lnTo>
                  <a:lnTo>
                    <a:pt x="51" y="90"/>
                  </a:lnTo>
                  <a:lnTo>
                    <a:pt x="43" y="88"/>
                  </a:lnTo>
                  <a:lnTo>
                    <a:pt x="37" y="86"/>
                  </a:lnTo>
                  <a:lnTo>
                    <a:pt x="29" y="82"/>
                  </a:lnTo>
                  <a:lnTo>
                    <a:pt x="0" y="52"/>
                  </a:lnTo>
                  <a:lnTo>
                    <a:pt x="11" y="48"/>
                  </a:lnTo>
                  <a:lnTo>
                    <a:pt x="27" y="26"/>
                  </a:lnTo>
                  <a:lnTo>
                    <a:pt x="46" y="7"/>
                  </a:lnTo>
                  <a:lnTo>
                    <a:pt x="47" y="7"/>
                  </a:lnTo>
                  <a:lnTo>
                    <a:pt x="83" y="11"/>
                  </a:lnTo>
                  <a:lnTo>
                    <a:pt x="115" y="0"/>
                  </a:lnTo>
                  <a:lnTo>
                    <a:pt x="118" y="0"/>
                  </a:lnTo>
                  <a:lnTo>
                    <a:pt x="132" y="14"/>
                  </a:lnTo>
                  <a:lnTo>
                    <a:pt x="147" y="29"/>
                  </a:lnTo>
                  <a:lnTo>
                    <a:pt x="153" y="49"/>
                  </a:lnTo>
                  <a:lnTo>
                    <a:pt x="159" y="70"/>
                  </a:lnTo>
                  <a:lnTo>
                    <a:pt x="174" y="70"/>
                  </a:lnTo>
                  <a:lnTo>
                    <a:pt x="186" y="73"/>
                  </a:lnTo>
                  <a:lnTo>
                    <a:pt x="187" y="79"/>
                  </a:lnTo>
                  <a:lnTo>
                    <a:pt x="178" y="84"/>
                  </a:lnTo>
                  <a:lnTo>
                    <a:pt x="175" y="82"/>
                  </a:lnTo>
                  <a:lnTo>
                    <a:pt x="172" y="9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77" name="Freeform 205"/>
            <p:cNvSpPr>
              <a:spLocks/>
            </p:cNvSpPr>
            <p:nvPr/>
          </p:nvSpPr>
          <p:spPr bwMode="auto">
            <a:xfrm>
              <a:off x="2775" y="1207"/>
              <a:ext cx="90" cy="39"/>
            </a:xfrm>
            <a:custGeom>
              <a:avLst/>
              <a:gdLst>
                <a:gd name="T0" fmla="*/ 1 w 127"/>
                <a:gd name="T1" fmla="*/ 1 h 58"/>
                <a:gd name="T2" fmla="*/ 1 w 127"/>
                <a:gd name="T3" fmla="*/ 1 h 58"/>
                <a:gd name="T4" fmla="*/ 1 w 127"/>
                <a:gd name="T5" fmla="*/ 1 h 58"/>
                <a:gd name="T6" fmla="*/ 1 w 127"/>
                <a:gd name="T7" fmla="*/ 1 h 58"/>
                <a:gd name="T8" fmla="*/ 1 w 127"/>
                <a:gd name="T9" fmla="*/ 1 h 58"/>
                <a:gd name="T10" fmla="*/ 1 w 127"/>
                <a:gd name="T11" fmla="*/ 1 h 58"/>
                <a:gd name="T12" fmla="*/ 1 w 127"/>
                <a:gd name="T13" fmla="*/ 1 h 58"/>
                <a:gd name="T14" fmla="*/ 1 w 127"/>
                <a:gd name="T15" fmla="*/ 1 h 58"/>
                <a:gd name="T16" fmla="*/ 1 w 127"/>
                <a:gd name="T17" fmla="*/ 1 h 58"/>
                <a:gd name="T18" fmla="*/ 1 w 127"/>
                <a:gd name="T19" fmla="*/ 1 h 58"/>
                <a:gd name="T20" fmla="*/ 1 w 127"/>
                <a:gd name="T21" fmla="*/ 1 h 58"/>
                <a:gd name="T22" fmla="*/ 1 w 127"/>
                <a:gd name="T23" fmla="*/ 1 h 58"/>
                <a:gd name="T24" fmla="*/ 1 w 127"/>
                <a:gd name="T25" fmla="*/ 1 h 58"/>
                <a:gd name="T26" fmla="*/ 1 w 127"/>
                <a:gd name="T27" fmla="*/ 1 h 58"/>
                <a:gd name="T28" fmla="*/ 0 w 127"/>
                <a:gd name="T29" fmla="*/ 1 h 58"/>
                <a:gd name="T30" fmla="*/ 1 w 127"/>
                <a:gd name="T31" fmla="*/ 0 h 58"/>
                <a:gd name="T32" fmla="*/ 1 w 127"/>
                <a:gd name="T33" fmla="*/ 1 h 58"/>
                <a:gd name="T34" fmla="*/ 1 w 127"/>
                <a:gd name="T35" fmla="*/ 1 h 58"/>
                <a:gd name="T36" fmla="*/ 1 w 127"/>
                <a:gd name="T37" fmla="*/ 1 h 58"/>
                <a:gd name="T38" fmla="*/ 1 w 127"/>
                <a:gd name="T39" fmla="*/ 1 h 58"/>
                <a:gd name="T40" fmla="*/ 1 w 127"/>
                <a:gd name="T41" fmla="*/ 1 h 58"/>
                <a:gd name="T42" fmla="*/ 1 w 127"/>
                <a:gd name="T43" fmla="*/ 1 h 5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27"/>
                <a:gd name="T67" fmla="*/ 0 h 58"/>
                <a:gd name="T68" fmla="*/ 127 w 127"/>
                <a:gd name="T69" fmla="*/ 58 h 58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27" h="58">
                  <a:moveTo>
                    <a:pt x="104" y="17"/>
                  </a:moveTo>
                  <a:lnTo>
                    <a:pt x="127" y="34"/>
                  </a:lnTo>
                  <a:lnTo>
                    <a:pt x="126" y="36"/>
                  </a:lnTo>
                  <a:lnTo>
                    <a:pt x="120" y="41"/>
                  </a:lnTo>
                  <a:lnTo>
                    <a:pt x="115" y="42"/>
                  </a:lnTo>
                  <a:lnTo>
                    <a:pt x="115" y="45"/>
                  </a:lnTo>
                  <a:lnTo>
                    <a:pt x="109" y="52"/>
                  </a:lnTo>
                  <a:lnTo>
                    <a:pt x="98" y="53"/>
                  </a:lnTo>
                  <a:lnTo>
                    <a:pt x="92" y="54"/>
                  </a:lnTo>
                  <a:lnTo>
                    <a:pt x="85" y="53"/>
                  </a:lnTo>
                  <a:lnTo>
                    <a:pt x="55" y="49"/>
                  </a:lnTo>
                  <a:lnTo>
                    <a:pt x="43" y="58"/>
                  </a:lnTo>
                  <a:lnTo>
                    <a:pt x="32" y="53"/>
                  </a:lnTo>
                  <a:lnTo>
                    <a:pt x="5" y="27"/>
                  </a:lnTo>
                  <a:lnTo>
                    <a:pt x="0" y="18"/>
                  </a:lnTo>
                  <a:lnTo>
                    <a:pt x="43" y="0"/>
                  </a:lnTo>
                  <a:lnTo>
                    <a:pt x="48" y="3"/>
                  </a:lnTo>
                  <a:lnTo>
                    <a:pt x="50" y="1"/>
                  </a:lnTo>
                  <a:lnTo>
                    <a:pt x="75" y="11"/>
                  </a:lnTo>
                  <a:lnTo>
                    <a:pt x="80" y="17"/>
                  </a:lnTo>
                  <a:lnTo>
                    <a:pt x="90" y="16"/>
                  </a:lnTo>
                  <a:lnTo>
                    <a:pt x="104" y="1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78" name="Freeform 206"/>
            <p:cNvSpPr>
              <a:spLocks/>
            </p:cNvSpPr>
            <p:nvPr/>
          </p:nvSpPr>
          <p:spPr bwMode="auto">
            <a:xfrm>
              <a:off x="2646" y="1200"/>
              <a:ext cx="48" cy="29"/>
            </a:xfrm>
            <a:custGeom>
              <a:avLst/>
              <a:gdLst>
                <a:gd name="T0" fmla="*/ 1 w 70"/>
                <a:gd name="T1" fmla="*/ 0 h 43"/>
                <a:gd name="T2" fmla="*/ 0 w 70"/>
                <a:gd name="T3" fmla="*/ 1 h 43"/>
                <a:gd name="T4" fmla="*/ 1 w 70"/>
                <a:gd name="T5" fmla="*/ 1 h 43"/>
                <a:gd name="T6" fmla="*/ 1 w 70"/>
                <a:gd name="T7" fmla="*/ 1 h 43"/>
                <a:gd name="T8" fmla="*/ 1 w 70"/>
                <a:gd name="T9" fmla="*/ 1 h 43"/>
                <a:gd name="T10" fmla="*/ 1 w 70"/>
                <a:gd name="T11" fmla="*/ 1 h 43"/>
                <a:gd name="T12" fmla="*/ 1 w 70"/>
                <a:gd name="T13" fmla="*/ 1 h 43"/>
                <a:gd name="T14" fmla="*/ 1 w 70"/>
                <a:gd name="T15" fmla="*/ 1 h 43"/>
                <a:gd name="T16" fmla="*/ 1 w 70"/>
                <a:gd name="T17" fmla="*/ 1 h 43"/>
                <a:gd name="T18" fmla="*/ 1 w 70"/>
                <a:gd name="T19" fmla="*/ 1 h 43"/>
                <a:gd name="T20" fmla="*/ 1 w 70"/>
                <a:gd name="T21" fmla="*/ 1 h 43"/>
                <a:gd name="T22" fmla="*/ 1 w 70"/>
                <a:gd name="T23" fmla="*/ 1 h 43"/>
                <a:gd name="T24" fmla="*/ 1 w 70"/>
                <a:gd name="T25" fmla="*/ 1 h 43"/>
                <a:gd name="T26" fmla="*/ 1 w 70"/>
                <a:gd name="T27" fmla="*/ 1 h 43"/>
                <a:gd name="T28" fmla="*/ 1 w 70"/>
                <a:gd name="T29" fmla="*/ 0 h 43"/>
                <a:gd name="T30" fmla="*/ 1 w 70"/>
                <a:gd name="T31" fmla="*/ 0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70"/>
                <a:gd name="T49" fmla="*/ 0 h 43"/>
                <a:gd name="T50" fmla="*/ 70 w 70"/>
                <a:gd name="T51" fmla="*/ 43 h 4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70" h="43">
                  <a:moveTo>
                    <a:pt x="16" y="0"/>
                  </a:moveTo>
                  <a:lnTo>
                    <a:pt x="0" y="6"/>
                  </a:lnTo>
                  <a:lnTo>
                    <a:pt x="7" y="14"/>
                  </a:lnTo>
                  <a:lnTo>
                    <a:pt x="32" y="31"/>
                  </a:lnTo>
                  <a:lnTo>
                    <a:pt x="41" y="30"/>
                  </a:lnTo>
                  <a:lnTo>
                    <a:pt x="43" y="32"/>
                  </a:lnTo>
                  <a:lnTo>
                    <a:pt x="62" y="43"/>
                  </a:lnTo>
                  <a:lnTo>
                    <a:pt x="64" y="43"/>
                  </a:lnTo>
                  <a:lnTo>
                    <a:pt x="64" y="39"/>
                  </a:lnTo>
                  <a:lnTo>
                    <a:pt x="68" y="28"/>
                  </a:lnTo>
                  <a:lnTo>
                    <a:pt x="70" y="16"/>
                  </a:lnTo>
                  <a:lnTo>
                    <a:pt x="66" y="14"/>
                  </a:lnTo>
                  <a:lnTo>
                    <a:pt x="60" y="9"/>
                  </a:lnTo>
                  <a:lnTo>
                    <a:pt x="56" y="1"/>
                  </a:lnTo>
                  <a:lnTo>
                    <a:pt x="31" y="0"/>
                  </a:lnTo>
                  <a:lnTo>
                    <a:pt x="16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79" name="Freeform 207"/>
            <p:cNvSpPr>
              <a:spLocks/>
            </p:cNvSpPr>
            <p:nvPr/>
          </p:nvSpPr>
          <p:spPr bwMode="auto">
            <a:xfrm>
              <a:off x="2692" y="1141"/>
              <a:ext cx="117" cy="126"/>
            </a:xfrm>
            <a:custGeom>
              <a:avLst/>
              <a:gdLst>
                <a:gd name="T0" fmla="*/ 1 w 167"/>
                <a:gd name="T1" fmla="*/ 1 h 180"/>
                <a:gd name="T2" fmla="*/ 1 w 167"/>
                <a:gd name="T3" fmla="*/ 1 h 180"/>
                <a:gd name="T4" fmla="*/ 1 w 167"/>
                <a:gd name="T5" fmla="*/ 1 h 180"/>
                <a:gd name="T6" fmla="*/ 1 w 167"/>
                <a:gd name="T7" fmla="*/ 1 h 180"/>
                <a:gd name="T8" fmla="*/ 1 w 167"/>
                <a:gd name="T9" fmla="*/ 1 h 180"/>
                <a:gd name="T10" fmla="*/ 1 w 167"/>
                <a:gd name="T11" fmla="*/ 1 h 180"/>
                <a:gd name="T12" fmla="*/ 1 w 167"/>
                <a:gd name="T13" fmla="*/ 1 h 180"/>
                <a:gd name="T14" fmla="*/ 1 w 167"/>
                <a:gd name="T15" fmla="*/ 1 h 180"/>
                <a:gd name="T16" fmla="*/ 1 w 167"/>
                <a:gd name="T17" fmla="*/ 0 h 180"/>
                <a:gd name="T18" fmla="*/ 1 w 167"/>
                <a:gd name="T19" fmla="*/ 1 h 180"/>
                <a:gd name="T20" fmla="*/ 1 w 167"/>
                <a:gd name="T21" fmla="*/ 1 h 180"/>
                <a:gd name="T22" fmla="*/ 1 w 167"/>
                <a:gd name="T23" fmla="*/ 1 h 180"/>
                <a:gd name="T24" fmla="*/ 1 w 167"/>
                <a:gd name="T25" fmla="*/ 1 h 180"/>
                <a:gd name="T26" fmla="*/ 1 w 167"/>
                <a:gd name="T27" fmla="*/ 1 h 180"/>
                <a:gd name="T28" fmla="*/ 1 w 167"/>
                <a:gd name="T29" fmla="*/ 1 h 180"/>
                <a:gd name="T30" fmla="*/ 1 w 167"/>
                <a:gd name="T31" fmla="*/ 1 h 180"/>
                <a:gd name="T32" fmla="*/ 1 w 167"/>
                <a:gd name="T33" fmla="*/ 1 h 180"/>
                <a:gd name="T34" fmla="*/ 1 w 167"/>
                <a:gd name="T35" fmla="*/ 1 h 180"/>
                <a:gd name="T36" fmla="*/ 1 w 167"/>
                <a:gd name="T37" fmla="*/ 1 h 180"/>
                <a:gd name="T38" fmla="*/ 1 w 167"/>
                <a:gd name="T39" fmla="*/ 1 h 180"/>
                <a:gd name="T40" fmla="*/ 1 w 167"/>
                <a:gd name="T41" fmla="*/ 1 h 180"/>
                <a:gd name="T42" fmla="*/ 1 w 167"/>
                <a:gd name="T43" fmla="*/ 1 h 180"/>
                <a:gd name="T44" fmla="*/ 1 w 167"/>
                <a:gd name="T45" fmla="*/ 1 h 180"/>
                <a:gd name="T46" fmla="*/ 1 w 167"/>
                <a:gd name="T47" fmla="*/ 1 h 180"/>
                <a:gd name="T48" fmla="*/ 1 w 167"/>
                <a:gd name="T49" fmla="*/ 1 h 180"/>
                <a:gd name="T50" fmla="*/ 1 w 167"/>
                <a:gd name="T51" fmla="*/ 1 h 180"/>
                <a:gd name="T52" fmla="*/ 1 w 167"/>
                <a:gd name="T53" fmla="*/ 1 h 180"/>
                <a:gd name="T54" fmla="*/ 1 w 167"/>
                <a:gd name="T55" fmla="*/ 1 h 180"/>
                <a:gd name="T56" fmla="*/ 1 w 167"/>
                <a:gd name="T57" fmla="*/ 1 h 180"/>
                <a:gd name="T58" fmla="*/ 1 w 167"/>
                <a:gd name="T59" fmla="*/ 1 h 180"/>
                <a:gd name="T60" fmla="*/ 1 w 167"/>
                <a:gd name="T61" fmla="*/ 1 h 180"/>
                <a:gd name="T62" fmla="*/ 1 w 167"/>
                <a:gd name="T63" fmla="*/ 1 h 180"/>
                <a:gd name="T64" fmla="*/ 1 w 167"/>
                <a:gd name="T65" fmla="*/ 1 h 180"/>
                <a:gd name="T66" fmla="*/ 1 w 167"/>
                <a:gd name="T67" fmla="*/ 1 h 180"/>
                <a:gd name="T68" fmla="*/ 1 w 167"/>
                <a:gd name="T69" fmla="*/ 1 h 180"/>
                <a:gd name="T70" fmla="*/ 1 w 167"/>
                <a:gd name="T71" fmla="*/ 1 h 180"/>
                <a:gd name="T72" fmla="*/ 1 w 167"/>
                <a:gd name="T73" fmla="*/ 1 h 180"/>
                <a:gd name="T74" fmla="*/ 1 w 167"/>
                <a:gd name="T75" fmla="*/ 1 h 180"/>
                <a:gd name="T76" fmla="*/ 1 w 167"/>
                <a:gd name="T77" fmla="*/ 1 h 180"/>
                <a:gd name="T78" fmla="*/ 1 w 167"/>
                <a:gd name="T79" fmla="*/ 1 h 180"/>
                <a:gd name="T80" fmla="*/ 1 w 167"/>
                <a:gd name="T81" fmla="*/ 1 h 180"/>
                <a:gd name="T82" fmla="*/ 1 w 167"/>
                <a:gd name="T83" fmla="*/ 1 h 180"/>
                <a:gd name="T84" fmla="*/ 1 w 167"/>
                <a:gd name="T85" fmla="*/ 1 h 180"/>
                <a:gd name="T86" fmla="*/ 0 w 167"/>
                <a:gd name="T87" fmla="*/ 1 h 180"/>
                <a:gd name="T88" fmla="*/ 1 w 167"/>
                <a:gd name="T89" fmla="*/ 1 h 180"/>
                <a:gd name="T90" fmla="*/ 1 w 167"/>
                <a:gd name="T91" fmla="*/ 1 h 180"/>
                <a:gd name="T92" fmla="*/ 1 w 167"/>
                <a:gd name="T93" fmla="*/ 1 h 180"/>
                <a:gd name="T94" fmla="*/ 1 w 167"/>
                <a:gd name="T95" fmla="*/ 1 h 180"/>
                <a:gd name="T96" fmla="*/ 1 w 167"/>
                <a:gd name="T97" fmla="*/ 1 h 180"/>
                <a:gd name="T98" fmla="*/ 1 w 167"/>
                <a:gd name="T99" fmla="*/ 1 h 180"/>
                <a:gd name="T100" fmla="*/ 1 w 167"/>
                <a:gd name="T101" fmla="*/ 1 h 18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67"/>
                <a:gd name="T154" fmla="*/ 0 h 180"/>
                <a:gd name="T155" fmla="*/ 167 w 167"/>
                <a:gd name="T156" fmla="*/ 180 h 18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67" h="180">
                  <a:moveTo>
                    <a:pt x="40" y="32"/>
                  </a:moveTo>
                  <a:lnTo>
                    <a:pt x="43" y="33"/>
                  </a:lnTo>
                  <a:lnTo>
                    <a:pt x="43" y="30"/>
                  </a:lnTo>
                  <a:lnTo>
                    <a:pt x="50" y="25"/>
                  </a:lnTo>
                  <a:lnTo>
                    <a:pt x="64" y="31"/>
                  </a:lnTo>
                  <a:lnTo>
                    <a:pt x="56" y="24"/>
                  </a:lnTo>
                  <a:lnTo>
                    <a:pt x="50" y="14"/>
                  </a:lnTo>
                  <a:lnTo>
                    <a:pt x="49" y="12"/>
                  </a:lnTo>
                  <a:lnTo>
                    <a:pt x="44" y="0"/>
                  </a:lnTo>
                  <a:lnTo>
                    <a:pt x="59" y="2"/>
                  </a:lnTo>
                  <a:lnTo>
                    <a:pt x="65" y="2"/>
                  </a:lnTo>
                  <a:lnTo>
                    <a:pt x="67" y="9"/>
                  </a:lnTo>
                  <a:lnTo>
                    <a:pt x="88" y="12"/>
                  </a:lnTo>
                  <a:lnTo>
                    <a:pt x="86" y="19"/>
                  </a:lnTo>
                  <a:lnTo>
                    <a:pt x="92" y="21"/>
                  </a:lnTo>
                  <a:lnTo>
                    <a:pt x="119" y="10"/>
                  </a:lnTo>
                  <a:lnTo>
                    <a:pt x="118" y="12"/>
                  </a:lnTo>
                  <a:lnTo>
                    <a:pt x="140" y="20"/>
                  </a:lnTo>
                  <a:lnTo>
                    <a:pt x="149" y="19"/>
                  </a:lnTo>
                  <a:lnTo>
                    <a:pt x="156" y="26"/>
                  </a:lnTo>
                  <a:lnTo>
                    <a:pt x="150" y="28"/>
                  </a:lnTo>
                  <a:lnTo>
                    <a:pt x="152" y="50"/>
                  </a:lnTo>
                  <a:lnTo>
                    <a:pt x="163" y="76"/>
                  </a:lnTo>
                  <a:lnTo>
                    <a:pt x="167" y="96"/>
                  </a:lnTo>
                  <a:lnTo>
                    <a:pt x="162" y="93"/>
                  </a:lnTo>
                  <a:lnTo>
                    <a:pt x="119" y="111"/>
                  </a:lnTo>
                  <a:lnTo>
                    <a:pt x="124" y="120"/>
                  </a:lnTo>
                  <a:lnTo>
                    <a:pt x="151" y="146"/>
                  </a:lnTo>
                  <a:lnTo>
                    <a:pt x="136" y="159"/>
                  </a:lnTo>
                  <a:lnTo>
                    <a:pt x="139" y="172"/>
                  </a:lnTo>
                  <a:lnTo>
                    <a:pt x="133" y="175"/>
                  </a:lnTo>
                  <a:lnTo>
                    <a:pt x="110" y="175"/>
                  </a:lnTo>
                  <a:lnTo>
                    <a:pt x="94" y="175"/>
                  </a:lnTo>
                  <a:lnTo>
                    <a:pt x="88" y="180"/>
                  </a:lnTo>
                  <a:lnTo>
                    <a:pt x="71" y="176"/>
                  </a:lnTo>
                  <a:lnTo>
                    <a:pt x="52" y="172"/>
                  </a:lnTo>
                  <a:lnTo>
                    <a:pt x="32" y="175"/>
                  </a:lnTo>
                  <a:lnTo>
                    <a:pt x="41" y="140"/>
                  </a:lnTo>
                  <a:lnTo>
                    <a:pt x="11" y="130"/>
                  </a:lnTo>
                  <a:lnTo>
                    <a:pt x="7" y="129"/>
                  </a:lnTo>
                  <a:lnTo>
                    <a:pt x="7" y="127"/>
                  </a:lnTo>
                  <a:lnTo>
                    <a:pt x="2" y="112"/>
                  </a:lnTo>
                  <a:lnTo>
                    <a:pt x="4" y="100"/>
                  </a:lnTo>
                  <a:lnTo>
                    <a:pt x="0" y="98"/>
                  </a:lnTo>
                  <a:lnTo>
                    <a:pt x="2" y="72"/>
                  </a:lnTo>
                  <a:lnTo>
                    <a:pt x="18" y="63"/>
                  </a:lnTo>
                  <a:lnTo>
                    <a:pt x="12" y="52"/>
                  </a:lnTo>
                  <a:lnTo>
                    <a:pt x="20" y="39"/>
                  </a:lnTo>
                  <a:lnTo>
                    <a:pt x="17" y="37"/>
                  </a:lnTo>
                  <a:lnTo>
                    <a:pt x="20" y="28"/>
                  </a:lnTo>
                  <a:lnTo>
                    <a:pt x="40" y="3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80" name="Freeform 208"/>
            <p:cNvSpPr>
              <a:spLocks/>
            </p:cNvSpPr>
            <p:nvPr/>
          </p:nvSpPr>
          <p:spPr bwMode="auto">
            <a:xfrm>
              <a:off x="2781" y="1147"/>
              <a:ext cx="8" cy="2"/>
            </a:xfrm>
            <a:custGeom>
              <a:avLst/>
              <a:gdLst>
                <a:gd name="T0" fmla="*/ 0 w 12"/>
                <a:gd name="T1" fmla="*/ 0 h 5"/>
                <a:gd name="T2" fmla="*/ 1 w 12"/>
                <a:gd name="T3" fmla="*/ 0 h 5"/>
                <a:gd name="T4" fmla="*/ 1 w 12"/>
                <a:gd name="T5" fmla="*/ 0 h 5"/>
                <a:gd name="T6" fmla="*/ 0 w 12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2"/>
                <a:gd name="T13" fmla="*/ 0 h 5"/>
                <a:gd name="T14" fmla="*/ 12 w 12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2" h="5">
                  <a:moveTo>
                    <a:pt x="0" y="5"/>
                  </a:moveTo>
                  <a:lnTo>
                    <a:pt x="12" y="5"/>
                  </a:lnTo>
                  <a:lnTo>
                    <a:pt x="6" y="0"/>
                  </a:lnTo>
                  <a:lnTo>
                    <a:pt x="0" y="5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81" name="Freeform 209"/>
            <p:cNvSpPr>
              <a:spLocks/>
            </p:cNvSpPr>
            <p:nvPr/>
          </p:nvSpPr>
          <p:spPr bwMode="auto">
            <a:xfrm>
              <a:off x="2690" y="1220"/>
              <a:ext cx="7" cy="12"/>
            </a:xfrm>
            <a:custGeom>
              <a:avLst/>
              <a:gdLst>
                <a:gd name="T0" fmla="*/ 1 w 11"/>
                <a:gd name="T1" fmla="*/ 0 h 17"/>
                <a:gd name="T2" fmla="*/ 1 w 11"/>
                <a:gd name="T3" fmla="*/ 1 h 17"/>
                <a:gd name="T4" fmla="*/ 1 w 11"/>
                <a:gd name="T5" fmla="*/ 1 h 17"/>
                <a:gd name="T6" fmla="*/ 0 w 11"/>
                <a:gd name="T7" fmla="*/ 1 h 17"/>
                <a:gd name="T8" fmla="*/ 1 w 11"/>
                <a:gd name="T9" fmla="*/ 1 h 17"/>
                <a:gd name="T10" fmla="*/ 1 w 11"/>
                <a:gd name="T11" fmla="*/ 1 h 17"/>
                <a:gd name="T12" fmla="*/ 1 w 11"/>
                <a:gd name="T13" fmla="*/ 0 h 1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17"/>
                <a:gd name="T23" fmla="*/ 11 w 11"/>
                <a:gd name="T24" fmla="*/ 17 h 1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17">
                  <a:moveTo>
                    <a:pt x="6" y="0"/>
                  </a:moveTo>
                  <a:lnTo>
                    <a:pt x="2" y="11"/>
                  </a:lnTo>
                  <a:lnTo>
                    <a:pt x="2" y="15"/>
                  </a:lnTo>
                  <a:lnTo>
                    <a:pt x="0" y="15"/>
                  </a:lnTo>
                  <a:lnTo>
                    <a:pt x="11" y="17"/>
                  </a:lnTo>
                  <a:lnTo>
                    <a:pt x="11" y="15"/>
                  </a:lnTo>
                  <a:lnTo>
                    <a:pt x="6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82" name="Freeform 210"/>
            <p:cNvSpPr>
              <a:spLocks/>
            </p:cNvSpPr>
            <p:nvPr/>
          </p:nvSpPr>
          <p:spPr bwMode="auto">
            <a:xfrm>
              <a:off x="2971" y="1242"/>
              <a:ext cx="60" cy="62"/>
            </a:xfrm>
            <a:custGeom>
              <a:avLst/>
              <a:gdLst>
                <a:gd name="T0" fmla="*/ 1 w 87"/>
                <a:gd name="T1" fmla="*/ 0 h 86"/>
                <a:gd name="T2" fmla="*/ 0 w 87"/>
                <a:gd name="T3" fmla="*/ 1 h 86"/>
                <a:gd name="T4" fmla="*/ 1 w 87"/>
                <a:gd name="T5" fmla="*/ 1 h 86"/>
                <a:gd name="T6" fmla="*/ 1 w 87"/>
                <a:gd name="T7" fmla="*/ 1 h 86"/>
                <a:gd name="T8" fmla="*/ 1 w 87"/>
                <a:gd name="T9" fmla="*/ 1 h 86"/>
                <a:gd name="T10" fmla="*/ 1 w 87"/>
                <a:gd name="T11" fmla="*/ 1 h 86"/>
                <a:gd name="T12" fmla="*/ 1 w 87"/>
                <a:gd name="T13" fmla="*/ 1 h 86"/>
                <a:gd name="T14" fmla="*/ 1 w 87"/>
                <a:gd name="T15" fmla="*/ 1 h 86"/>
                <a:gd name="T16" fmla="*/ 1 w 87"/>
                <a:gd name="T17" fmla="*/ 1 h 86"/>
                <a:gd name="T18" fmla="*/ 1 w 87"/>
                <a:gd name="T19" fmla="*/ 1 h 86"/>
                <a:gd name="T20" fmla="*/ 1 w 87"/>
                <a:gd name="T21" fmla="*/ 1 h 86"/>
                <a:gd name="T22" fmla="*/ 1 w 87"/>
                <a:gd name="T23" fmla="*/ 1 h 86"/>
                <a:gd name="T24" fmla="*/ 1 w 87"/>
                <a:gd name="T25" fmla="*/ 1 h 86"/>
                <a:gd name="T26" fmla="*/ 1 w 87"/>
                <a:gd name="T27" fmla="*/ 1 h 86"/>
                <a:gd name="T28" fmla="*/ 1 w 87"/>
                <a:gd name="T29" fmla="*/ 1 h 86"/>
                <a:gd name="T30" fmla="*/ 1 w 87"/>
                <a:gd name="T31" fmla="*/ 0 h 8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87"/>
                <a:gd name="T49" fmla="*/ 0 h 86"/>
                <a:gd name="T50" fmla="*/ 87 w 87"/>
                <a:gd name="T51" fmla="*/ 86 h 8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87" h="86">
                  <a:moveTo>
                    <a:pt x="18" y="0"/>
                  </a:moveTo>
                  <a:lnTo>
                    <a:pt x="0" y="13"/>
                  </a:lnTo>
                  <a:lnTo>
                    <a:pt x="3" y="13"/>
                  </a:lnTo>
                  <a:lnTo>
                    <a:pt x="17" y="27"/>
                  </a:lnTo>
                  <a:lnTo>
                    <a:pt x="32" y="42"/>
                  </a:lnTo>
                  <a:lnTo>
                    <a:pt x="38" y="62"/>
                  </a:lnTo>
                  <a:lnTo>
                    <a:pt x="44" y="83"/>
                  </a:lnTo>
                  <a:lnTo>
                    <a:pt x="59" y="83"/>
                  </a:lnTo>
                  <a:lnTo>
                    <a:pt x="71" y="86"/>
                  </a:lnTo>
                  <a:lnTo>
                    <a:pt x="70" y="75"/>
                  </a:lnTo>
                  <a:lnTo>
                    <a:pt x="87" y="60"/>
                  </a:lnTo>
                  <a:lnTo>
                    <a:pt x="71" y="45"/>
                  </a:lnTo>
                  <a:lnTo>
                    <a:pt x="56" y="31"/>
                  </a:lnTo>
                  <a:lnTo>
                    <a:pt x="40" y="17"/>
                  </a:lnTo>
                  <a:lnTo>
                    <a:pt x="24" y="2"/>
                  </a:lnTo>
                  <a:lnTo>
                    <a:pt x="18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83" name="Freeform 211"/>
            <p:cNvSpPr>
              <a:spLocks/>
            </p:cNvSpPr>
            <p:nvPr/>
          </p:nvSpPr>
          <p:spPr bwMode="auto">
            <a:xfrm>
              <a:off x="2674" y="889"/>
              <a:ext cx="281" cy="200"/>
            </a:xfrm>
            <a:custGeom>
              <a:avLst/>
              <a:gdLst>
                <a:gd name="T0" fmla="*/ 1 w 400"/>
                <a:gd name="T1" fmla="*/ 1 h 283"/>
                <a:gd name="T2" fmla="*/ 1 w 400"/>
                <a:gd name="T3" fmla="*/ 1 h 283"/>
                <a:gd name="T4" fmla="*/ 1 w 400"/>
                <a:gd name="T5" fmla="*/ 1 h 283"/>
                <a:gd name="T6" fmla="*/ 1 w 400"/>
                <a:gd name="T7" fmla="*/ 1 h 283"/>
                <a:gd name="T8" fmla="*/ 1 w 400"/>
                <a:gd name="T9" fmla="*/ 1 h 283"/>
                <a:gd name="T10" fmla="*/ 1 w 400"/>
                <a:gd name="T11" fmla="*/ 1 h 283"/>
                <a:gd name="T12" fmla="*/ 1 w 400"/>
                <a:gd name="T13" fmla="*/ 1 h 283"/>
                <a:gd name="T14" fmla="*/ 1 w 400"/>
                <a:gd name="T15" fmla="*/ 1 h 283"/>
                <a:gd name="T16" fmla="*/ 1 w 400"/>
                <a:gd name="T17" fmla="*/ 1 h 283"/>
                <a:gd name="T18" fmla="*/ 1 w 400"/>
                <a:gd name="T19" fmla="*/ 1 h 283"/>
                <a:gd name="T20" fmla="*/ 1 w 400"/>
                <a:gd name="T21" fmla="*/ 1 h 283"/>
                <a:gd name="T22" fmla="*/ 1 w 400"/>
                <a:gd name="T23" fmla="*/ 1 h 283"/>
                <a:gd name="T24" fmla="*/ 1 w 400"/>
                <a:gd name="T25" fmla="*/ 1 h 283"/>
                <a:gd name="T26" fmla="*/ 1 w 400"/>
                <a:gd name="T27" fmla="*/ 1 h 283"/>
                <a:gd name="T28" fmla="*/ 1 w 400"/>
                <a:gd name="T29" fmla="*/ 1 h 283"/>
                <a:gd name="T30" fmla="*/ 1 w 400"/>
                <a:gd name="T31" fmla="*/ 1 h 283"/>
                <a:gd name="T32" fmla="*/ 1 w 400"/>
                <a:gd name="T33" fmla="*/ 1 h 283"/>
                <a:gd name="T34" fmla="*/ 1 w 400"/>
                <a:gd name="T35" fmla="*/ 1 h 283"/>
                <a:gd name="T36" fmla="*/ 1 w 400"/>
                <a:gd name="T37" fmla="*/ 1 h 283"/>
                <a:gd name="T38" fmla="*/ 1 w 400"/>
                <a:gd name="T39" fmla="*/ 1 h 283"/>
                <a:gd name="T40" fmla="*/ 1 w 400"/>
                <a:gd name="T41" fmla="*/ 1 h 283"/>
                <a:gd name="T42" fmla="*/ 1 w 400"/>
                <a:gd name="T43" fmla="*/ 1 h 283"/>
                <a:gd name="T44" fmla="*/ 1 w 400"/>
                <a:gd name="T45" fmla="*/ 1 h 283"/>
                <a:gd name="T46" fmla="*/ 1 w 400"/>
                <a:gd name="T47" fmla="*/ 1 h 283"/>
                <a:gd name="T48" fmla="*/ 1 w 400"/>
                <a:gd name="T49" fmla="*/ 1 h 283"/>
                <a:gd name="T50" fmla="*/ 0 w 400"/>
                <a:gd name="T51" fmla="*/ 1 h 283"/>
                <a:gd name="T52" fmla="*/ 0 w 400"/>
                <a:gd name="T53" fmla="*/ 1 h 283"/>
                <a:gd name="T54" fmla="*/ 1 w 400"/>
                <a:gd name="T55" fmla="*/ 1 h 283"/>
                <a:gd name="T56" fmla="*/ 1 w 400"/>
                <a:gd name="T57" fmla="*/ 1 h 283"/>
                <a:gd name="T58" fmla="*/ 1 w 400"/>
                <a:gd name="T59" fmla="*/ 1 h 283"/>
                <a:gd name="T60" fmla="*/ 1 w 400"/>
                <a:gd name="T61" fmla="*/ 2 h 283"/>
                <a:gd name="T62" fmla="*/ 1 w 400"/>
                <a:gd name="T63" fmla="*/ 2 h 283"/>
                <a:gd name="T64" fmla="*/ 1 w 400"/>
                <a:gd name="T65" fmla="*/ 2 h 283"/>
                <a:gd name="T66" fmla="*/ 1 w 400"/>
                <a:gd name="T67" fmla="*/ 2 h 283"/>
                <a:gd name="T68" fmla="*/ 1 w 400"/>
                <a:gd name="T69" fmla="*/ 2 h 283"/>
                <a:gd name="T70" fmla="*/ 1 w 400"/>
                <a:gd name="T71" fmla="*/ 2 h 283"/>
                <a:gd name="T72" fmla="*/ 1 w 400"/>
                <a:gd name="T73" fmla="*/ 2 h 283"/>
                <a:gd name="T74" fmla="*/ 1 w 400"/>
                <a:gd name="T75" fmla="*/ 2 h 283"/>
                <a:gd name="T76" fmla="*/ 1 w 400"/>
                <a:gd name="T77" fmla="*/ 2 h 283"/>
                <a:gd name="T78" fmla="*/ 1 w 400"/>
                <a:gd name="T79" fmla="*/ 2 h 283"/>
                <a:gd name="T80" fmla="*/ 1 w 400"/>
                <a:gd name="T81" fmla="*/ 2 h 283"/>
                <a:gd name="T82" fmla="*/ 1 w 400"/>
                <a:gd name="T83" fmla="*/ 1 h 283"/>
                <a:gd name="T84" fmla="*/ 1 w 400"/>
                <a:gd name="T85" fmla="*/ 1 h 283"/>
                <a:gd name="T86" fmla="*/ 1 w 400"/>
                <a:gd name="T87" fmla="*/ 1 h 283"/>
                <a:gd name="T88" fmla="*/ 1 w 400"/>
                <a:gd name="T89" fmla="*/ 1 h 283"/>
                <a:gd name="T90" fmla="*/ 1 w 400"/>
                <a:gd name="T91" fmla="*/ 1 h 283"/>
                <a:gd name="T92" fmla="*/ 1 w 400"/>
                <a:gd name="T93" fmla="*/ 1 h 283"/>
                <a:gd name="T94" fmla="*/ 2 w 400"/>
                <a:gd name="T95" fmla="*/ 1 h 283"/>
                <a:gd name="T96" fmla="*/ 2 w 400"/>
                <a:gd name="T97" fmla="*/ 1 h 283"/>
                <a:gd name="T98" fmla="*/ 3 w 400"/>
                <a:gd name="T99" fmla="*/ 1 h 283"/>
                <a:gd name="T100" fmla="*/ 3 w 400"/>
                <a:gd name="T101" fmla="*/ 1 h 283"/>
                <a:gd name="T102" fmla="*/ 3 w 400"/>
                <a:gd name="T103" fmla="*/ 1 h 283"/>
                <a:gd name="T104" fmla="*/ 3 w 400"/>
                <a:gd name="T105" fmla="*/ 1 h 283"/>
                <a:gd name="T106" fmla="*/ 3 w 400"/>
                <a:gd name="T107" fmla="*/ 1 h 283"/>
                <a:gd name="T108" fmla="*/ 3 w 400"/>
                <a:gd name="T109" fmla="*/ 1 h 283"/>
                <a:gd name="T110" fmla="*/ 2 w 400"/>
                <a:gd name="T111" fmla="*/ 1 h 283"/>
                <a:gd name="T112" fmla="*/ 2 w 400"/>
                <a:gd name="T113" fmla="*/ 1 h 283"/>
                <a:gd name="T114" fmla="*/ 2 w 400"/>
                <a:gd name="T115" fmla="*/ 1 h 283"/>
                <a:gd name="T116" fmla="*/ 2 w 400"/>
                <a:gd name="T117" fmla="*/ 1 h 283"/>
                <a:gd name="T118" fmla="*/ 2 w 400"/>
                <a:gd name="T119" fmla="*/ 1 h 2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00"/>
                <a:gd name="T181" fmla="*/ 0 h 283"/>
                <a:gd name="T182" fmla="*/ 400 w 400"/>
                <a:gd name="T183" fmla="*/ 283 h 28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00" h="283">
                  <a:moveTo>
                    <a:pt x="235" y="30"/>
                  </a:moveTo>
                  <a:lnTo>
                    <a:pt x="229" y="36"/>
                  </a:lnTo>
                  <a:lnTo>
                    <a:pt x="229" y="24"/>
                  </a:lnTo>
                  <a:lnTo>
                    <a:pt x="227" y="30"/>
                  </a:lnTo>
                  <a:lnTo>
                    <a:pt x="222" y="32"/>
                  </a:lnTo>
                  <a:lnTo>
                    <a:pt x="221" y="26"/>
                  </a:lnTo>
                  <a:lnTo>
                    <a:pt x="216" y="31"/>
                  </a:lnTo>
                  <a:lnTo>
                    <a:pt x="217" y="36"/>
                  </a:lnTo>
                  <a:lnTo>
                    <a:pt x="205" y="34"/>
                  </a:lnTo>
                  <a:lnTo>
                    <a:pt x="207" y="37"/>
                  </a:lnTo>
                  <a:lnTo>
                    <a:pt x="199" y="35"/>
                  </a:lnTo>
                  <a:lnTo>
                    <a:pt x="195" y="41"/>
                  </a:lnTo>
                  <a:lnTo>
                    <a:pt x="195" y="48"/>
                  </a:lnTo>
                  <a:lnTo>
                    <a:pt x="193" y="49"/>
                  </a:lnTo>
                  <a:lnTo>
                    <a:pt x="175" y="54"/>
                  </a:lnTo>
                  <a:lnTo>
                    <a:pt x="193" y="55"/>
                  </a:lnTo>
                  <a:lnTo>
                    <a:pt x="189" y="59"/>
                  </a:lnTo>
                  <a:lnTo>
                    <a:pt x="177" y="59"/>
                  </a:lnTo>
                  <a:lnTo>
                    <a:pt x="176" y="60"/>
                  </a:lnTo>
                  <a:lnTo>
                    <a:pt x="174" y="65"/>
                  </a:lnTo>
                  <a:lnTo>
                    <a:pt x="173" y="67"/>
                  </a:lnTo>
                  <a:lnTo>
                    <a:pt x="167" y="61"/>
                  </a:lnTo>
                  <a:lnTo>
                    <a:pt x="162" y="64"/>
                  </a:lnTo>
                  <a:lnTo>
                    <a:pt x="151" y="72"/>
                  </a:lnTo>
                  <a:lnTo>
                    <a:pt x="167" y="70"/>
                  </a:lnTo>
                  <a:lnTo>
                    <a:pt x="161" y="72"/>
                  </a:lnTo>
                  <a:lnTo>
                    <a:pt x="164" y="76"/>
                  </a:lnTo>
                  <a:lnTo>
                    <a:pt x="163" y="77"/>
                  </a:lnTo>
                  <a:lnTo>
                    <a:pt x="152" y="77"/>
                  </a:lnTo>
                  <a:lnTo>
                    <a:pt x="151" y="80"/>
                  </a:lnTo>
                  <a:lnTo>
                    <a:pt x="163" y="84"/>
                  </a:lnTo>
                  <a:lnTo>
                    <a:pt x="149" y="85"/>
                  </a:lnTo>
                  <a:lnTo>
                    <a:pt x="137" y="90"/>
                  </a:lnTo>
                  <a:lnTo>
                    <a:pt x="128" y="96"/>
                  </a:lnTo>
                  <a:lnTo>
                    <a:pt x="129" y="96"/>
                  </a:lnTo>
                  <a:lnTo>
                    <a:pt x="125" y="100"/>
                  </a:lnTo>
                  <a:lnTo>
                    <a:pt x="128" y="101"/>
                  </a:lnTo>
                  <a:lnTo>
                    <a:pt x="139" y="102"/>
                  </a:lnTo>
                  <a:lnTo>
                    <a:pt x="123" y="107"/>
                  </a:lnTo>
                  <a:lnTo>
                    <a:pt x="119" y="113"/>
                  </a:lnTo>
                  <a:lnTo>
                    <a:pt x="120" y="118"/>
                  </a:lnTo>
                  <a:lnTo>
                    <a:pt x="120" y="122"/>
                  </a:lnTo>
                  <a:lnTo>
                    <a:pt x="123" y="124"/>
                  </a:lnTo>
                  <a:lnTo>
                    <a:pt x="104" y="131"/>
                  </a:lnTo>
                  <a:lnTo>
                    <a:pt x="104" y="132"/>
                  </a:lnTo>
                  <a:lnTo>
                    <a:pt x="111" y="130"/>
                  </a:lnTo>
                  <a:lnTo>
                    <a:pt x="107" y="137"/>
                  </a:lnTo>
                  <a:lnTo>
                    <a:pt x="98" y="139"/>
                  </a:lnTo>
                  <a:lnTo>
                    <a:pt x="92" y="142"/>
                  </a:lnTo>
                  <a:lnTo>
                    <a:pt x="81" y="151"/>
                  </a:lnTo>
                  <a:lnTo>
                    <a:pt x="78" y="157"/>
                  </a:lnTo>
                  <a:lnTo>
                    <a:pt x="84" y="161"/>
                  </a:lnTo>
                  <a:lnTo>
                    <a:pt x="93" y="154"/>
                  </a:lnTo>
                  <a:lnTo>
                    <a:pt x="101" y="151"/>
                  </a:lnTo>
                  <a:lnTo>
                    <a:pt x="99" y="157"/>
                  </a:lnTo>
                  <a:lnTo>
                    <a:pt x="86" y="163"/>
                  </a:lnTo>
                  <a:lnTo>
                    <a:pt x="80" y="163"/>
                  </a:lnTo>
                  <a:lnTo>
                    <a:pt x="67" y="161"/>
                  </a:lnTo>
                  <a:lnTo>
                    <a:pt x="66" y="163"/>
                  </a:lnTo>
                  <a:lnTo>
                    <a:pt x="57" y="168"/>
                  </a:lnTo>
                  <a:lnTo>
                    <a:pt x="53" y="173"/>
                  </a:lnTo>
                  <a:lnTo>
                    <a:pt x="54" y="175"/>
                  </a:lnTo>
                  <a:lnTo>
                    <a:pt x="49" y="174"/>
                  </a:lnTo>
                  <a:lnTo>
                    <a:pt x="55" y="179"/>
                  </a:lnTo>
                  <a:lnTo>
                    <a:pt x="32" y="173"/>
                  </a:lnTo>
                  <a:lnTo>
                    <a:pt x="30" y="179"/>
                  </a:lnTo>
                  <a:lnTo>
                    <a:pt x="37" y="179"/>
                  </a:lnTo>
                  <a:lnTo>
                    <a:pt x="44" y="179"/>
                  </a:lnTo>
                  <a:lnTo>
                    <a:pt x="37" y="181"/>
                  </a:lnTo>
                  <a:lnTo>
                    <a:pt x="23" y="184"/>
                  </a:lnTo>
                  <a:lnTo>
                    <a:pt x="33" y="190"/>
                  </a:lnTo>
                  <a:lnTo>
                    <a:pt x="31" y="191"/>
                  </a:lnTo>
                  <a:lnTo>
                    <a:pt x="21" y="186"/>
                  </a:lnTo>
                  <a:lnTo>
                    <a:pt x="21" y="190"/>
                  </a:lnTo>
                  <a:lnTo>
                    <a:pt x="13" y="191"/>
                  </a:lnTo>
                  <a:lnTo>
                    <a:pt x="14" y="193"/>
                  </a:lnTo>
                  <a:lnTo>
                    <a:pt x="6" y="193"/>
                  </a:lnTo>
                  <a:lnTo>
                    <a:pt x="0" y="193"/>
                  </a:lnTo>
                  <a:lnTo>
                    <a:pt x="0" y="197"/>
                  </a:lnTo>
                  <a:lnTo>
                    <a:pt x="24" y="199"/>
                  </a:lnTo>
                  <a:lnTo>
                    <a:pt x="0" y="200"/>
                  </a:lnTo>
                  <a:lnTo>
                    <a:pt x="7" y="208"/>
                  </a:lnTo>
                  <a:lnTo>
                    <a:pt x="2" y="209"/>
                  </a:lnTo>
                  <a:lnTo>
                    <a:pt x="3" y="209"/>
                  </a:lnTo>
                  <a:lnTo>
                    <a:pt x="1" y="214"/>
                  </a:lnTo>
                  <a:lnTo>
                    <a:pt x="25" y="211"/>
                  </a:lnTo>
                  <a:lnTo>
                    <a:pt x="36" y="211"/>
                  </a:lnTo>
                  <a:lnTo>
                    <a:pt x="38" y="209"/>
                  </a:lnTo>
                  <a:lnTo>
                    <a:pt x="39" y="215"/>
                  </a:lnTo>
                  <a:lnTo>
                    <a:pt x="36" y="218"/>
                  </a:lnTo>
                  <a:lnTo>
                    <a:pt x="21" y="216"/>
                  </a:lnTo>
                  <a:lnTo>
                    <a:pt x="0" y="218"/>
                  </a:lnTo>
                  <a:lnTo>
                    <a:pt x="3" y="222"/>
                  </a:lnTo>
                  <a:lnTo>
                    <a:pt x="3" y="223"/>
                  </a:lnTo>
                  <a:lnTo>
                    <a:pt x="0" y="224"/>
                  </a:lnTo>
                  <a:lnTo>
                    <a:pt x="11" y="226"/>
                  </a:lnTo>
                  <a:lnTo>
                    <a:pt x="7" y="230"/>
                  </a:lnTo>
                  <a:lnTo>
                    <a:pt x="2" y="235"/>
                  </a:lnTo>
                  <a:lnTo>
                    <a:pt x="11" y="234"/>
                  </a:lnTo>
                  <a:lnTo>
                    <a:pt x="14" y="239"/>
                  </a:lnTo>
                  <a:lnTo>
                    <a:pt x="23" y="230"/>
                  </a:lnTo>
                  <a:lnTo>
                    <a:pt x="30" y="229"/>
                  </a:lnTo>
                  <a:lnTo>
                    <a:pt x="25" y="238"/>
                  </a:lnTo>
                  <a:lnTo>
                    <a:pt x="24" y="232"/>
                  </a:lnTo>
                  <a:lnTo>
                    <a:pt x="15" y="245"/>
                  </a:lnTo>
                  <a:lnTo>
                    <a:pt x="18" y="246"/>
                  </a:lnTo>
                  <a:lnTo>
                    <a:pt x="7" y="248"/>
                  </a:lnTo>
                  <a:lnTo>
                    <a:pt x="7" y="256"/>
                  </a:lnTo>
                  <a:lnTo>
                    <a:pt x="14" y="253"/>
                  </a:lnTo>
                  <a:lnTo>
                    <a:pt x="20" y="251"/>
                  </a:lnTo>
                  <a:lnTo>
                    <a:pt x="21" y="256"/>
                  </a:lnTo>
                  <a:lnTo>
                    <a:pt x="20" y="263"/>
                  </a:lnTo>
                  <a:lnTo>
                    <a:pt x="12" y="264"/>
                  </a:lnTo>
                  <a:lnTo>
                    <a:pt x="13" y="275"/>
                  </a:lnTo>
                  <a:lnTo>
                    <a:pt x="29" y="282"/>
                  </a:lnTo>
                  <a:lnTo>
                    <a:pt x="53" y="283"/>
                  </a:lnTo>
                  <a:lnTo>
                    <a:pt x="81" y="260"/>
                  </a:lnTo>
                  <a:lnTo>
                    <a:pt x="93" y="260"/>
                  </a:lnTo>
                  <a:lnTo>
                    <a:pt x="93" y="247"/>
                  </a:lnTo>
                  <a:lnTo>
                    <a:pt x="99" y="244"/>
                  </a:lnTo>
                  <a:lnTo>
                    <a:pt x="104" y="258"/>
                  </a:lnTo>
                  <a:lnTo>
                    <a:pt x="113" y="263"/>
                  </a:lnTo>
                  <a:lnTo>
                    <a:pt x="123" y="242"/>
                  </a:lnTo>
                  <a:lnTo>
                    <a:pt x="126" y="222"/>
                  </a:lnTo>
                  <a:lnTo>
                    <a:pt x="126" y="216"/>
                  </a:lnTo>
                  <a:lnTo>
                    <a:pt x="133" y="209"/>
                  </a:lnTo>
                  <a:lnTo>
                    <a:pt x="120" y="200"/>
                  </a:lnTo>
                  <a:lnTo>
                    <a:pt x="119" y="180"/>
                  </a:lnTo>
                  <a:lnTo>
                    <a:pt x="119" y="158"/>
                  </a:lnTo>
                  <a:lnTo>
                    <a:pt x="133" y="149"/>
                  </a:lnTo>
                  <a:lnTo>
                    <a:pt x="149" y="146"/>
                  </a:lnTo>
                  <a:lnTo>
                    <a:pt x="140" y="138"/>
                  </a:lnTo>
                  <a:lnTo>
                    <a:pt x="152" y="110"/>
                  </a:lnTo>
                  <a:lnTo>
                    <a:pt x="150" y="104"/>
                  </a:lnTo>
                  <a:lnTo>
                    <a:pt x="165" y="101"/>
                  </a:lnTo>
                  <a:lnTo>
                    <a:pt x="173" y="88"/>
                  </a:lnTo>
                  <a:lnTo>
                    <a:pt x="181" y="66"/>
                  </a:lnTo>
                  <a:lnTo>
                    <a:pt x="203" y="61"/>
                  </a:lnTo>
                  <a:lnTo>
                    <a:pt x="205" y="53"/>
                  </a:lnTo>
                  <a:lnTo>
                    <a:pt x="233" y="54"/>
                  </a:lnTo>
                  <a:lnTo>
                    <a:pt x="231" y="42"/>
                  </a:lnTo>
                  <a:lnTo>
                    <a:pt x="239" y="42"/>
                  </a:lnTo>
                  <a:lnTo>
                    <a:pt x="249" y="36"/>
                  </a:lnTo>
                  <a:lnTo>
                    <a:pt x="267" y="46"/>
                  </a:lnTo>
                  <a:lnTo>
                    <a:pt x="287" y="49"/>
                  </a:lnTo>
                  <a:lnTo>
                    <a:pt x="307" y="50"/>
                  </a:lnTo>
                  <a:lnTo>
                    <a:pt x="317" y="46"/>
                  </a:lnTo>
                  <a:lnTo>
                    <a:pt x="323" y="30"/>
                  </a:lnTo>
                  <a:lnTo>
                    <a:pt x="344" y="20"/>
                  </a:lnTo>
                  <a:lnTo>
                    <a:pt x="371" y="28"/>
                  </a:lnTo>
                  <a:lnTo>
                    <a:pt x="372" y="42"/>
                  </a:lnTo>
                  <a:lnTo>
                    <a:pt x="389" y="32"/>
                  </a:lnTo>
                  <a:lnTo>
                    <a:pt x="400" y="31"/>
                  </a:lnTo>
                  <a:lnTo>
                    <a:pt x="398" y="26"/>
                  </a:lnTo>
                  <a:lnTo>
                    <a:pt x="389" y="25"/>
                  </a:lnTo>
                  <a:lnTo>
                    <a:pt x="380" y="26"/>
                  </a:lnTo>
                  <a:lnTo>
                    <a:pt x="367" y="19"/>
                  </a:lnTo>
                  <a:lnTo>
                    <a:pt x="398" y="16"/>
                  </a:lnTo>
                  <a:lnTo>
                    <a:pt x="383" y="8"/>
                  </a:lnTo>
                  <a:lnTo>
                    <a:pt x="368" y="6"/>
                  </a:lnTo>
                  <a:lnTo>
                    <a:pt x="356" y="8"/>
                  </a:lnTo>
                  <a:lnTo>
                    <a:pt x="354" y="19"/>
                  </a:lnTo>
                  <a:lnTo>
                    <a:pt x="353" y="12"/>
                  </a:lnTo>
                  <a:lnTo>
                    <a:pt x="350" y="8"/>
                  </a:lnTo>
                  <a:lnTo>
                    <a:pt x="349" y="7"/>
                  </a:lnTo>
                  <a:lnTo>
                    <a:pt x="347" y="0"/>
                  </a:lnTo>
                  <a:lnTo>
                    <a:pt x="338" y="5"/>
                  </a:lnTo>
                  <a:lnTo>
                    <a:pt x="327" y="14"/>
                  </a:lnTo>
                  <a:lnTo>
                    <a:pt x="321" y="5"/>
                  </a:lnTo>
                  <a:lnTo>
                    <a:pt x="303" y="19"/>
                  </a:lnTo>
                  <a:lnTo>
                    <a:pt x="311" y="7"/>
                  </a:lnTo>
                  <a:lnTo>
                    <a:pt x="306" y="5"/>
                  </a:lnTo>
                  <a:lnTo>
                    <a:pt x="295" y="5"/>
                  </a:lnTo>
                  <a:lnTo>
                    <a:pt x="294" y="8"/>
                  </a:lnTo>
                  <a:lnTo>
                    <a:pt x="276" y="20"/>
                  </a:lnTo>
                  <a:lnTo>
                    <a:pt x="265" y="20"/>
                  </a:lnTo>
                  <a:lnTo>
                    <a:pt x="266" y="17"/>
                  </a:lnTo>
                  <a:lnTo>
                    <a:pt x="248" y="19"/>
                  </a:lnTo>
                  <a:lnTo>
                    <a:pt x="258" y="22"/>
                  </a:lnTo>
                  <a:lnTo>
                    <a:pt x="257" y="25"/>
                  </a:lnTo>
                  <a:lnTo>
                    <a:pt x="246" y="25"/>
                  </a:lnTo>
                  <a:lnTo>
                    <a:pt x="235" y="3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84" name="Freeform 212"/>
            <p:cNvSpPr>
              <a:spLocks/>
            </p:cNvSpPr>
            <p:nvPr/>
          </p:nvSpPr>
          <p:spPr bwMode="auto">
            <a:xfrm>
              <a:off x="2782" y="920"/>
              <a:ext cx="16" cy="9"/>
            </a:xfrm>
            <a:custGeom>
              <a:avLst/>
              <a:gdLst>
                <a:gd name="T0" fmla="*/ 1 w 22"/>
                <a:gd name="T1" fmla="*/ 0 h 12"/>
                <a:gd name="T2" fmla="*/ 1 w 22"/>
                <a:gd name="T3" fmla="*/ 2 h 12"/>
                <a:gd name="T4" fmla="*/ 0 w 22"/>
                <a:gd name="T5" fmla="*/ 2 h 12"/>
                <a:gd name="T6" fmla="*/ 1 w 22"/>
                <a:gd name="T7" fmla="*/ 2 h 12"/>
                <a:gd name="T8" fmla="*/ 1 w 22"/>
                <a:gd name="T9" fmla="*/ 2 h 12"/>
                <a:gd name="T10" fmla="*/ 1 w 22"/>
                <a:gd name="T11" fmla="*/ 2 h 12"/>
                <a:gd name="T12" fmla="*/ 1 w 22"/>
                <a:gd name="T13" fmla="*/ 2 h 12"/>
                <a:gd name="T14" fmla="*/ 1 w 22"/>
                <a:gd name="T15" fmla="*/ 0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2"/>
                <a:gd name="T25" fmla="*/ 0 h 12"/>
                <a:gd name="T26" fmla="*/ 22 w 22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2" h="12">
                  <a:moveTo>
                    <a:pt x="11" y="0"/>
                  </a:moveTo>
                  <a:lnTo>
                    <a:pt x="4" y="11"/>
                  </a:lnTo>
                  <a:lnTo>
                    <a:pt x="0" y="12"/>
                  </a:lnTo>
                  <a:lnTo>
                    <a:pt x="9" y="10"/>
                  </a:lnTo>
                  <a:lnTo>
                    <a:pt x="12" y="12"/>
                  </a:lnTo>
                  <a:lnTo>
                    <a:pt x="22" y="4"/>
                  </a:lnTo>
                  <a:lnTo>
                    <a:pt x="14" y="6"/>
                  </a:lnTo>
                  <a:lnTo>
                    <a:pt x="11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85" name="Freeform 213"/>
            <p:cNvSpPr>
              <a:spLocks/>
            </p:cNvSpPr>
            <p:nvPr/>
          </p:nvSpPr>
          <p:spPr bwMode="auto">
            <a:xfrm>
              <a:off x="2841" y="903"/>
              <a:ext cx="148" cy="156"/>
            </a:xfrm>
            <a:custGeom>
              <a:avLst/>
              <a:gdLst>
                <a:gd name="T0" fmla="*/ 1 w 210"/>
                <a:gd name="T1" fmla="*/ 1 h 222"/>
                <a:gd name="T2" fmla="*/ 1 w 210"/>
                <a:gd name="T3" fmla="*/ 1 h 222"/>
                <a:gd name="T4" fmla="*/ 1 w 210"/>
                <a:gd name="T5" fmla="*/ 1 h 222"/>
                <a:gd name="T6" fmla="*/ 1 w 210"/>
                <a:gd name="T7" fmla="*/ 1 h 222"/>
                <a:gd name="T8" fmla="*/ 1 w 210"/>
                <a:gd name="T9" fmla="*/ 1 h 222"/>
                <a:gd name="T10" fmla="*/ 1 w 210"/>
                <a:gd name="T11" fmla="*/ 1 h 222"/>
                <a:gd name="T12" fmla="*/ 1 w 210"/>
                <a:gd name="T13" fmla="*/ 1 h 222"/>
                <a:gd name="T14" fmla="*/ 1 w 210"/>
                <a:gd name="T15" fmla="*/ 1 h 222"/>
                <a:gd name="T16" fmla="*/ 1 w 210"/>
                <a:gd name="T17" fmla="*/ 1 h 222"/>
                <a:gd name="T18" fmla="*/ 1 w 210"/>
                <a:gd name="T19" fmla="*/ 0 h 222"/>
                <a:gd name="T20" fmla="*/ 1 w 210"/>
                <a:gd name="T21" fmla="*/ 1 h 222"/>
                <a:gd name="T22" fmla="*/ 1 w 210"/>
                <a:gd name="T23" fmla="*/ 1 h 222"/>
                <a:gd name="T24" fmla="*/ 1 w 210"/>
                <a:gd name="T25" fmla="*/ 1 h 222"/>
                <a:gd name="T26" fmla="*/ 1 w 210"/>
                <a:gd name="T27" fmla="*/ 1 h 222"/>
                <a:gd name="T28" fmla="*/ 1 w 210"/>
                <a:gd name="T29" fmla="*/ 1 h 222"/>
                <a:gd name="T30" fmla="*/ 1 w 210"/>
                <a:gd name="T31" fmla="*/ 1 h 222"/>
                <a:gd name="T32" fmla="*/ 0 w 210"/>
                <a:gd name="T33" fmla="*/ 1 h 222"/>
                <a:gd name="T34" fmla="*/ 1 w 210"/>
                <a:gd name="T35" fmla="*/ 1 h 222"/>
                <a:gd name="T36" fmla="*/ 1 w 210"/>
                <a:gd name="T37" fmla="*/ 1 h 222"/>
                <a:gd name="T38" fmla="*/ 1 w 210"/>
                <a:gd name="T39" fmla="*/ 1 h 222"/>
                <a:gd name="T40" fmla="*/ 1 w 210"/>
                <a:gd name="T41" fmla="*/ 1 h 222"/>
                <a:gd name="T42" fmla="*/ 1 w 210"/>
                <a:gd name="T43" fmla="*/ 1 h 222"/>
                <a:gd name="T44" fmla="*/ 1 w 210"/>
                <a:gd name="T45" fmla="*/ 1 h 222"/>
                <a:gd name="T46" fmla="*/ 1 w 210"/>
                <a:gd name="T47" fmla="*/ 1 h 222"/>
                <a:gd name="T48" fmla="*/ 1 w 210"/>
                <a:gd name="T49" fmla="*/ 1 h 222"/>
                <a:gd name="T50" fmla="*/ 1 w 210"/>
                <a:gd name="T51" fmla="*/ 1 h 222"/>
                <a:gd name="T52" fmla="*/ 1 w 210"/>
                <a:gd name="T53" fmla="*/ 1 h 222"/>
                <a:gd name="T54" fmla="*/ 1 w 210"/>
                <a:gd name="T55" fmla="*/ 1 h 222"/>
                <a:gd name="T56" fmla="*/ 1 w 210"/>
                <a:gd name="T57" fmla="*/ 1 h 222"/>
                <a:gd name="T58" fmla="*/ 1 w 210"/>
                <a:gd name="T59" fmla="*/ 1 h 222"/>
                <a:gd name="T60" fmla="*/ 1 w 210"/>
                <a:gd name="T61" fmla="*/ 1 h 222"/>
                <a:gd name="T62" fmla="*/ 1 w 210"/>
                <a:gd name="T63" fmla="*/ 1 h 222"/>
                <a:gd name="T64" fmla="*/ 1 w 210"/>
                <a:gd name="T65" fmla="*/ 1 h 222"/>
                <a:gd name="T66" fmla="*/ 1 w 210"/>
                <a:gd name="T67" fmla="*/ 1 h 222"/>
                <a:gd name="T68" fmla="*/ 1 w 210"/>
                <a:gd name="T69" fmla="*/ 1 h 222"/>
                <a:gd name="T70" fmla="*/ 1 w 210"/>
                <a:gd name="T71" fmla="*/ 1 h 222"/>
                <a:gd name="T72" fmla="*/ 1 w 210"/>
                <a:gd name="T73" fmla="*/ 1 h 222"/>
                <a:gd name="T74" fmla="*/ 1 w 210"/>
                <a:gd name="T75" fmla="*/ 1 h 222"/>
                <a:gd name="T76" fmla="*/ 1 w 210"/>
                <a:gd name="T77" fmla="*/ 1 h 222"/>
                <a:gd name="T78" fmla="*/ 1 w 210"/>
                <a:gd name="T79" fmla="*/ 1 h 222"/>
                <a:gd name="T80" fmla="*/ 1 w 210"/>
                <a:gd name="T81" fmla="*/ 1 h 222"/>
                <a:gd name="T82" fmla="*/ 1 w 210"/>
                <a:gd name="T83" fmla="*/ 1 h 222"/>
                <a:gd name="T84" fmla="*/ 1 w 210"/>
                <a:gd name="T85" fmla="*/ 1 h 22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10"/>
                <a:gd name="T130" fmla="*/ 0 h 222"/>
                <a:gd name="T131" fmla="*/ 210 w 210"/>
                <a:gd name="T132" fmla="*/ 222 h 22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10" h="222">
                  <a:moveTo>
                    <a:pt x="176" y="120"/>
                  </a:moveTo>
                  <a:lnTo>
                    <a:pt x="170" y="112"/>
                  </a:lnTo>
                  <a:lnTo>
                    <a:pt x="169" y="94"/>
                  </a:lnTo>
                  <a:lnTo>
                    <a:pt x="147" y="69"/>
                  </a:lnTo>
                  <a:lnTo>
                    <a:pt x="158" y="53"/>
                  </a:lnTo>
                  <a:lnTo>
                    <a:pt x="134" y="40"/>
                  </a:lnTo>
                  <a:lnTo>
                    <a:pt x="132" y="26"/>
                  </a:lnTo>
                  <a:lnTo>
                    <a:pt x="133" y="22"/>
                  </a:lnTo>
                  <a:lnTo>
                    <a:pt x="132" y="8"/>
                  </a:lnTo>
                  <a:lnTo>
                    <a:pt x="105" y="0"/>
                  </a:lnTo>
                  <a:lnTo>
                    <a:pt x="84" y="10"/>
                  </a:lnTo>
                  <a:lnTo>
                    <a:pt x="78" y="26"/>
                  </a:lnTo>
                  <a:lnTo>
                    <a:pt x="68" y="30"/>
                  </a:lnTo>
                  <a:lnTo>
                    <a:pt x="48" y="29"/>
                  </a:lnTo>
                  <a:lnTo>
                    <a:pt x="28" y="26"/>
                  </a:lnTo>
                  <a:lnTo>
                    <a:pt x="10" y="16"/>
                  </a:lnTo>
                  <a:lnTo>
                    <a:pt x="0" y="22"/>
                  </a:lnTo>
                  <a:lnTo>
                    <a:pt x="46" y="41"/>
                  </a:lnTo>
                  <a:lnTo>
                    <a:pt x="63" y="70"/>
                  </a:lnTo>
                  <a:lnTo>
                    <a:pt x="72" y="90"/>
                  </a:lnTo>
                  <a:lnTo>
                    <a:pt x="79" y="89"/>
                  </a:lnTo>
                  <a:lnTo>
                    <a:pt x="87" y="95"/>
                  </a:lnTo>
                  <a:lnTo>
                    <a:pt x="91" y="111"/>
                  </a:lnTo>
                  <a:lnTo>
                    <a:pt x="62" y="134"/>
                  </a:lnTo>
                  <a:lnTo>
                    <a:pt x="51" y="144"/>
                  </a:lnTo>
                  <a:lnTo>
                    <a:pt x="37" y="152"/>
                  </a:lnTo>
                  <a:lnTo>
                    <a:pt x="39" y="177"/>
                  </a:lnTo>
                  <a:lnTo>
                    <a:pt x="45" y="204"/>
                  </a:lnTo>
                  <a:lnTo>
                    <a:pt x="64" y="210"/>
                  </a:lnTo>
                  <a:lnTo>
                    <a:pt x="64" y="214"/>
                  </a:lnTo>
                  <a:lnTo>
                    <a:pt x="72" y="213"/>
                  </a:lnTo>
                  <a:lnTo>
                    <a:pt x="78" y="222"/>
                  </a:lnTo>
                  <a:lnTo>
                    <a:pt x="84" y="219"/>
                  </a:lnTo>
                  <a:lnTo>
                    <a:pt x="126" y="212"/>
                  </a:lnTo>
                  <a:lnTo>
                    <a:pt x="135" y="207"/>
                  </a:lnTo>
                  <a:lnTo>
                    <a:pt x="157" y="207"/>
                  </a:lnTo>
                  <a:lnTo>
                    <a:pt x="171" y="194"/>
                  </a:lnTo>
                  <a:lnTo>
                    <a:pt x="183" y="180"/>
                  </a:lnTo>
                  <a:lnTo>
                    <a:pt x="197" y="167"/>
                  </a:lnTo>
                  <a:lnTo>
                    <a:pt x="210" y="154"/>
                  </a:lnTo>
                  <a:lnTo>
                    <a:pt x="179" y="136"/>
                  </a:lnTo>
                  <a:lnTo>
                    <a:pt x="186" y="130"/>
                  </a:lnTo>
                  <a:lnTo>
                    <a:pt x="176" y="12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86" name="Freeform 214"/>
            <p:cNvSpPr>
              <a:spLocks/>
            </p:cNvSpPr>
            <p:nvPr/>
          </p:nvSpPr>
          <p:spPr bwMode="auto">
            <a:xfrm>
              <a:off x="2740" y="1269"/>
              <a:ext cx="3" cy="3"/>
            </a:xfrm>
            <a:custGeom>
              <a:avLst/>
              <a:gdLst>
                <a:gd name="T0" fmla="*/ 470 w 2"/>
                <a:gd name="T1" fmla="*/ 0 h 5"/>
                <a:gd name="T2" fmla="*/ 0 w 2"/>
                <a:gd name="T3" fmla="*/ 1 h 5"/>
                <a:gd name="T4" fmla="*/ 479 w 2"/>
                <a:gd name="T5" fmla="*/ 1 h 5"/>
                <a:gd name="T6" fmla="*/ 470 w 2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5"/>
                <a:gd name="T14" fmla="*/ 2 w 2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5">
                  <a:moveTo>
                    <a:pt x="1" y="0"/>
                  </a:moveTo>
                  <a:lnTo>
                    <a:pt x="0" y="5"/>
                  </a:lnTo>
                  <a:lnTo>
                    <a:pt x="2" y="5"/>
                  </a:lnTo>
                  <a:lnTo>
                    <a:pt x="1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87" name="Freeform 215"/>
            <p:cNvSpPr>
              <a:spLocks/>
            </p:cNvSpPr>
            <p:nvPr/>
          </p:nvSpPr>
          <p:spPr bwMode="auto">
            <a:xfrm>
              <a:off x="2742" y="1241"/>
              <a:ext cx="102" cy="42"/>
            </a:xfrm>
            <a:custGeom>
              <a:avLst/>
              <a:gdLst>
                <a:gd name="T0" fmla="*/ 1 w 146"/>
                <a:gd name="T1" fmla="*/ 1 h 59"/>
                <a:gd name="T2" fmla="*/ 1 w 146"/>
                <a:gd name="T3" fmla="*/ 1 h 59"/>
                <a:gd name="T4" fmla="*/ 1 w 146"/>
                <a:gd name="T5" fmla="*/ 1 h 59"/>
                <a:gd name="T6" fmla="*/ 1 w 146"/>
                <a:gd name="T7" fmla="*/ 1 h 59"/>
                <a:gd name="T8" fmla="*/ 1 w 146"/>
                <a:gd name="T9" fmla="*/ 1 h 59"/>
                <a:gd name="T10" fmla="*/ 1 w 146"/>
                <a:gd name="T11" fmla="*/ 1 h 59"/>
                <a:gd name="T12" fmla="*/ 0 w 146"/>
                <a:gd name="T13" fmla="*/ 1 h 59"/>
                <a:gd name="T14" fmla="*/ 0 w 146"/>
                <a:gd name="T15" fmla="*/ 1 h 59"/>
                <a:gd name="T16" fmla="*/ 1 w 146"/>
                <a:gd name="T17" fmla="*/ 1 h 59"/>
                <a:gd name="T18" fmla="*/ 1 w 146"/>
                <a:gd name="T19" fmla="*/ 1 h 59"/>
                <a:gd name="T20" fmla="*/ 1 w 146"/>
                <a:gd name="T21" fmla="*/ 1 h 59"/>
                <a:gd name="T22" fmla="*/ 1 w 146"/>
                <a:gd name="T23" fmla="*/ 1 h 59"/>
                <a:gd name="T24" fmla="*/ 1 w 146"/>
                <a:gd name="T25" fmla="*/ 1 h 59"/>
                <a:gd name="T26" fmla="*/ 1 w 146"/>
                <a:gd name="T27" fmla="*/ 1 h 59"/>
                <a:gd name="T28" fmla="*/ 1 w 146"/>
                <a:gd name="T29" fmla="*/ 1 h 59"/>
                <a:gd name="T30" fmla="*/ 1 w 146"/>
                <a:gd name="T31" fmla="*/ 1 h 59"/>
                <a:gd name="T32" fmla="*/ 1 w 146"/>
                <a:gd name="T33" fmla="*/ 1 h 59"/>
                <a:gd name="T34" fmla="*/ 1 w 146"/>
                <a:gd name="T35" fmla="*/ 0 h 59"/>
                <a:gd name="T36" fmla="*/ 1 w 146"/>
                <a:gd name="T37" fmla="*/ 1 h 59"/>
                <a:gd name="T38" fmla="*/ 1 w 146"/>
                <a:gd name="T39" fmla="*/ 1 h 59"/>
                <a:gd name="T40" fmla="*/ 1 w 146"/>
                <a:gd name="T41" fmla="*/ 1 h 59"/>
                <a:gd name="T42" fmla="*/ 1 w 146"/>
                <a:gd name="T43" fmla="*/ 1 h 59"/>
                <a:gd name="T44" fmla="*/ 1 w 146"/>
                <a:gd name="T45" fmla="*/ 1 h 59"/>
                <a:gd name="T46" fmla="*/ 1 w 146"/>
                <a:gd name="T47" fmla="*/ 1 h 59"/>
                <a:gd name="T48" fmla="*/ 1 w 146"/>
                <a:gd name="T49" fmla="*/ 1 h 59"/>
                <a:gd name="T50" fmla="*/ 1 w 146"/>
                <a:gd name="T51" fmla="*/ 1 h 59"/>
                <a:gd name="T52" fmla="*/ 1 w 146"/>
                <a:gd name="T53" fmla="*/ 1 h 5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46"/>
                <a:gd name="T82" fmla="*/ 0 h 59"/>
                <a:gd name="T83" fmla="*/ 146 w 146"/>
                <a:gd name="T84" fmla="*/ 59 h 5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46" h="59">
                  <a:moveTo>
                    <a:pt x="51" y="48"/>
                  </a:moveTo>
                  <a:lnTo>
                    <a:pt x="30" y="51"/>
                  </a:lnTo>
                  <a:lnTo>
                    <a:pt x="18" y="50"/>
                  </a:lnTo>
                  <a:lnTo>
                    <a:pt x="3" y="45"/>
                  </a:lnTo>
                  <a:lnTo>
                    <a:pt x="1" y="45"/>
                  </a:lnTo>
                  <a:lnTo>
                    <a:pt x="1" y="44"/>
                  </a:lnTo>
                  <a:lnTo>
                    <a:pt x="0" y="40"/>
                  </a:lnTo>
                  <a:lnTo>
                    <a:pt x="0" y="34"/>
                  </a:lnTo>
                  <a:lnTo>
                    <a:pt x="13" y="36"/>
                  </a:lnTo>
                  <a:lnTo>
                    <a:pt x="17" y="38"/>
                  </a:lnTo>
                  <a:lnTo>
                    <a:pt x="23" y="33"/>
                  </a:lnTo>
                  <a:lnTo>
                    <a:pt x="39" y="33"/>
                  </a:lnTo>
                  <a:lnTo>
                    <a:pt x="62" y="33"/>
                  </a:lnTo>
                  <a:lnTo>
                    <a:pt x="68" y="30"/>
                  </a:lnTo>
                  <a:lnTo>
                    <a:pt x="65" y="17"/>
                  </a:lnTo>
                  <a:lnTo>
                    <a:pt x="80" y="4"/>
                  </a:lnTo>
                  <a:lnTo>
                    <a:pt x="91" y="9"/>
                  </a:lnTo>
                  <a:lnTo>
                    <a:pt x="103" y="0"/>
                  </a:lnTo>
                  <a:lnTo>
                    <a:pt x="133" y="4"/>
                  </a:lnTo>
                  <a:lnTo>
                    <a:pt x="146" y="22"/>
                  </a:lnTo>
                  <a:lnTo>
                    <a:pt x="139" y="30"/>
                  </a:lnTo>
                  <a:lnTo>
                    <a:pt x="137" y="32"/>
                  </a:lnTo>
                  <a:lnTo>
                    <a:pt x="131" y="47"/>
                  </a:lnTo>
                  <a:lnTo>
                    <a:pt x="128" y="50"/>
                  </a:lnTo>
                  <a:lnTo>
                    <a:pt x="90" y="59"/>
                  </a:lnTo>
                  <a:lnTo>
                    <a:pt x="81" y="58"/>
                  </a:lnTo>
                  <a:lnTo>
                    <a:pt x="51" y="4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88" name="Freeform 216"/>
            <p:cNvSpPr>
              <a:spLocks/>
            </p:cNvSpPr>
            <p:nvPr/>
          </p:nvSpPr>
          <p:spPr bwMode="auto">
            <a:xfrm>
              <a:off x="2829" y="1303"/>
              <a:ext cx="56" cy="46"/>
            </a:xfrm>
            <a:custGeom>
              <a:avLst/>
              <a:gdLst>
                <a:gd name="T0" fmla="*/ 1 w 79"/>
                <a:gd name="T1" fmla="*/ 1 h 66"/>
                <a:gd name="T2" fmla="*/ 1 w 79"/>
                <a:gd name="T3" fmla="*/ 1 h 66"/>
                <a:gd name="T4" fmla="*/ 1 w 79"/>
                <a:gd name="T5" fmla="*/ 1 h 66"/>
                <a:gd name="T6" fmla="*/ 1 w 79"/>
                <a:gd name="T7" fmla="*/ 1 h 66"/>
                <a:gd name="T8" fmla="*/ 1 w 79"/>
                <a:gd name="T9" fmla="*/ 1 h 66"/>
                <a:gd name="T10" fmla="*/ 1 w 79"/>
                <a:gd name="T11" fmla="*/ 1 h 66"/>
                <a:gd name="T12" fmla="*/ 1 w 79"/>
                <a:gd name="T13" fmla="*/ 1 h 66"/>
                <a:gd name="T14" fmla="*/ 1 w 79"/>
                <a:gd name="T15" fmla="*/ 1 h 66"/>
                <a:gd name="T16" fmla="*/ 1 w 79"/>
                <a:gd name="T17" fmla="*/ 1 h 66"/>
                <a:gd name="T18" fmla="*/ 1 w 79"/>
                <a:gd name="T19" fmla="*/ 1 h 66"/>
                <a:gd name="T20" fmla="*/ 1 w 79"/>
                <a:gd name="T21" fmla="*/ 1 h 66"/>
                <a:gd name="T22" fmla="*/ 1 w 79"/>
                <a:gd name="T23" fmla="*/ 1 h 66"/>
                <a:gd name="T24" fmla="*/ 1 w 79"/>
                <a:gd name="T25" fmla="*/ 1 h 66"/>
                <a:gd name="T26" fmla="*/ 1 w 79"/>
                <a:gd name="T27" fmla="*/ 1 h 66"/>
                <a:gd name="T28" fmla="*/ 1 w 79"/>
                <a:gd name="T29" fmla="*/ 1 h 66"/>
                <a:gd name="T30" fmla="*/ 1 w 79"/>
                <a:gd name="T31" fmla="*/ 1 h 66"/>
                <a:gd name="T32" fmla="*/ 1 w 79"/>
                <a:gd name="T33" fmla="*/ 1 h 66"/>
                <a:gd name="T34" fmla="*/ 1 w 79"/>
                <a:gd name="T35" fmla="*/ 1 h 66"/>
                <a:gd name="T36" fmla="*/ 1 w 79"/>
                <a:gd name="T37" fmla="*/ 1 h 66"/>
                <a:gd name="T38" fmla="*/ 1 w 79"/>
                <a:gd name="T39" fmla="*/ 1 h 66"/>
                <a:gd name="T40" fmla="*/ 1 w 79"/>
                <a:gd name="T41" fmla="*/ 1 h 66"/>
                <a:gd name="T42" fmla="*/ 1 w 79"/>
                <a:gd name="T43" fmla="*/ 1 h 66"/>
                <a:gd name="T44" fmla="*/ 1 w 79"/>
                <a:gd name="T45" fmla="*/ 1 h 66"/>
                <a:gd name="T46" fmla="*/ 1 w 79"/>
                <a:gd name="T47" fmla="*/ 1 h 66"/>
                <a:gd name="T48" fmla="*/ 1 w 79"/>
                <a:gd name="T49" fmla="*/ 1 h 66"/>
                <a:gd name="T50" fmla="*/ 1 w 79"/>
                <a:gd name="T51" fmla="*/ 1 h 66"/>
                <a:gd name="T52" fmla="*/ 1 w 79"/>
                <a:gd name="T53" fmla="*/ 1 h 66"/>
                <a:gd name="T54" fmla="*/ 1 w 79"/>
                <a:gd name="T55" fmla="*/ 1 h 66"/>
                <a:gd name="T56" fmla="*/ 1 w 79"/>
                <a:gd name="T57" fmla="*/ 1 h 66"/>
                <a:gd name="T58" fmla="*/ 1 w 79"/>
                <a:gd name="T59" fmla="*/ 1 h 66"/>
                <a:gd name="T60" fmla="*/ 0 w 79"/>
                <a:gd name="T61" fmla="*/ 1 h 66"/>
                <a:gd name="T62" fmla="*/ 1 w 79"/>
                <a:gd name="T63" fmla="*/ 1 h 66"/>
                <a:gd name="T64" fmla="*/ 1 w 79"/>
                <a:gd name="T65" fmla="*/ 1 h 66"/>
                <a:gd name="T66" fmla="*/ 1 w 79"/>
                <a:gd name="T67" fmla="*/ 1 h 66"/>
                <a:gd name="T68" fmla="*/ 1 w 79"/>
                <a:gd name="T69" fmla="*/ 0 h 66"/>
                <a:gd name="T70" fmla="*/ 1 w 79"/>
                <a:gd name="T71" fmla="*/ 1 h 66"/>
                <a:gd name="T72" fmla="*/ 1 w 79"/>
                <a:gd name="T73" fmla="*/ 1 h 66"/>
                <a:gd name="T74" fmla="*/ 1 w 79"/>
                <a:gd name="T75" fmla="*/ 1 h 66"/>
                <a:gd name="T76" fmla="*/ 1 w 79"/>
                <a:gd name="T77" fmla="*/ 1 h 66"/>
                <a:gd name="T78" fmla="*/ 1 w 79"/>
                <a:gd name="T79" fmla="*/ 1 h 66"/>
                <a:gd name="T80" fmla="*/ 1 w 79"/>
                <a:gd name="T81" fmla="*/ 1 h 66"/>
                <a:gd name="T82" fmla="*/ 1 w 79"/>
                <a:gd name="T83" fmla="*/ 1 h 66"/>
                <a:gd name="T84" fmla="*/ 1 w 79"/>
                <a:gd name="T85" fmla="*/ 1 h 66"/>
                <a:gd name="T86" fmla="*/ 1 w 79"/>
                <a:gd name="T87" fmla="*/ 1 h 66"/>
                <a:gd name="T88" fmla="*/ 1 w 79"/>
                <a:gd name="T89" fmla="*/ 1 h 6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79"/>
                <a:gd name="T136" fmla="*/ 0 h 66"/>
                <a:gd name="T137" fmla="*/ 79 w 79"/>
                <a:gd name="T138" fmla="*/ 66 h 6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79" h="66">
                  <a:moveTo>
                    <a:pt x="70" y="10"/>
                  </a:moveTo>
                  <a:lnTo>
                    <a:pt x="70" y="13"/>
                  </a:lnTo>
                  <a:lnTo>
                    <a:pt x="69" y="17"/>
                  </a:lnTo>
                  <a:lnTo>
                    <a:pt x="66" y="20"/>
                  </a:lnTo>
                  <a:lnTo>
                    <a:pt x="67" y="23"/>
                  </a:lnTo>
                  <a:lnTo>
                    <a:pt x="70" y="25"/>
                  </a:lnTo>
                  <a:lnTo>
                    <a:pt x="79" y="30"/>
                  </a:lnTo>
                  <a:lnTo>
                    <a:pt x="72" y="34"/>
                  </a:lnTo>
                  <a:lnTo>
                    <a:pt x="76" y="37"/>
                  </a:lnTo>
                  <a:lnTo>
                    <a:pt x="76" y="42"/>
                  </a:lnTo>
                  <a:lnTo>
                    <a:pt x="66" y="44"/>
                  </a:lnTo>
                  <a:lnTo>
                    <a:pt x="70" y="49"/>
                  </a:lnTo>
                  <a:lnTo>
                    <a:pt x="68" y="52"/>
                  </a:lnTo>
                  <a:lnTo>
                    <a:pt x="64" y="48"/>
                  </a:lnTo>
                  <a:lnTo>
                    <a:pt x="60" y="55"/>
                  </a:lnTo>
                  <a:lnTo>
                    <a:pt x="57" y="58"/>
                  </a:lnTo>
                  <a:lnTo>
                    <a:pt x="62" y="65"/>
                  </a:lnTo>
                  <a:lnTo>
                    <a:pt x="57" y="66"/>
                  </a:lnTo>
                  <a:lnTo>
                    <a:pt x="52" y="65"/>
                  </a:lnTo>
                  <a:lnTo>
                    <a:pt x="46" y="60"/>
                  </a:lnTo>
                  <a:lnTo>
                    <a:pt x="42" y="58"/>
                  </a:lnTo>
                  <a:lnTo>
                    <a:pt x="42" y="55"/>
                  </a:lnTo>
                  <a:lnTo>
                    <a:pt x="33" y="48"/>
                  </a:lnTo>
                  <a:lnTo>
                    <a:pt x="32" y="46"/>
                  </a:lnTo>
                  <a:lnTo>
                    <a:pt x="27" y="43"/>
                  </a:lnTo>
                  <a:lnTo>
                    <a:pt x="12" y="29"/>
                  </a:lnTo>
                  <a:lnTo>
                    <a:pt x="12" y="26"/>
                  </a:lnTo>
                  <a:lnTo>
                    <a:pt x="9" y="26"/>
                  </a:lnTo>
                  <a:lnTo>
                    <a:pt x="4" y="16"/>
                  </a:lnTo>
                  <a:lnTo>
                    <a:pt x="1" y="12"/>
                  </a:lnTo>
                  <a:lnTo>
                    <a:pt x="0" y="2"/>
                  </a:lnTo>
                  <a:lnTo>
                    <a:pt x="4" y="1"/>
                  </a:lnTo>
                  <a:lnTo>
                    <a:pt x="10" y="7"/>
                  </a:lnTo>
                  <a:lnTo>
                    <a:pt x="14" y="1"/>
                  </a:lnTo>
                  <a:lnTo>
                    <a:pt x="21" y="0"/>
                  </a:lnTo>
                  <a:lnTo>
                    <a:pt x="27" y="2"/>
                  </a:lnTo>
                  <a:lnTo>
                    <a:pt x="40" y="5"/>
                  </a:lnTo>
                  <a:lnTo>
                    <a:pt x="43" y="2"/>
                  </a:lnTo>
                  <a:lnTo>
                    <a:pt x="46" y="5"/>
                  </a:lnTo>
                  <a:lnTo>
                    <a:pt x="48" y="4"/>
                  </a:lnTo>
                  <a:lnTo>
                    <a:pt x="52" y="5"/>
                  </a:lnTo>
                  <a:lnTo>
                    <a:pt x="56" y="5"/>
                  </a:lnTo>
                  <a:lnTo>
                    <a:pt x="60" y="8"/>
                  </a:lnTo>
                  <a:lnTo>
                    <a:pt x="64" y="10"/>
                  </a:lnTo>
                  <a:lnTo>
                    <a:pt x="70" y="1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89" name="Freeform 217"/>
            <p:cNvSpPr>
              <a:spLocks/>
            </p:cNvSpPr>
            <p:nvPr/>
          </p:nvSpPr>
          <p:spPr bwMode="auto">
            <a:xfrm>
              <a:off x="2801" y="1280"/>
              <a:ext cx="78" cy="63"/>
            </a:xfrm>
            <a:custGeom>
              <a:avLst/>
              <a:gdLst>
                <a:gd name="T0" fmla="*/ 1 w 113"/>
                <a:gd name="T1" fmla="*/ 1 h 90"/>
                <a:gd name="T2" fmla="*/ 1 w 113"/>
                <a:gd name="T3" fmla="*/ 1 h 90"/>
                <a:gd name="T4" fmla="*/ 1 w 113"/>
                <a:gd name="T5" fmla="*/ 1 h 90"/>
                <a:gd name="T6" fmla="*/ 1 w 113"/>
                <a:gd name="T7" fmla="*/ 1 h 90"/>
                <a:gd name="T8" fmla="*/ 1 w 113"/>
                <a:gd name="T9" fmla="*/ 1 h 90"/>
                <a:gd name="T10" fmla="*/ 1 w 113"/>
                <a:gd name="T11" fmla="*/ 0 h 90"/>
                <a:gd name="T12" fmla="*/ 1 w 113"/>
                <a:gd name="T13" fmla="*/ 1 h 90"/>
                <a:gd name="T14" fmla="*/ 1 w 113"/>
                <a:gd name="T15" fmla="*/ 1 h 90"/>
                <a:gd name="T16" fmla="*/ 1 w 113"/>
                <a:gd name="T17" fmla="*/ 1 h 90"/>
                <a:gd name="T18" fmla="*/ 1 w 113"/>
                <a:gd name="T19" fmla="*/ 1 h 90"/>
                <a:gd name="T20" fmla="*/ 1 w 113"/>
                <a:gd name="T21" fmla="*/ 1 h 90"/>
                <a:gd name="T22" fmla="*/ 1 w 113"/>
                <a:gd name="T23" fmla="*/ 1 h 90"/>
                <a:gd name="T24" fmla="*/ 1 w 113"/>
                <a:gd name="T25" fmla="*/ 1 h 90"/>
                <a:gd name="T26" fmla="*/ 1 w 113"/>
                <a:gd name="T27" fmla="*/ 1 h 90"/>
                <a:gd name="T28" fmla="*/ 1 w 113"/>
                <a:gd name="T29" fmla="*/ 1 h 90"/>
                <a:gd name="T30" fmla="*/ 1 w 113"/>
                <a:gd name="T31" fmla="*/ 1 h 90"/>
                <a:gd name="T32" fmla="*/ 1 w 113"/>
                <a:gd name="T33" fmla="*/ 1 h 90"/>
                <a:gd name="T34" fmla="*/ 1 w 113"/>
                <a:gd name="T35" fmla="*/ 1 h 90"/>
                <a:gd name="T36" fmla="*/ 1 w 113"/>
                <a:gd name="T37" fmla="*/ 1 h 90"/>
                <a:gd name="T38" fmla="*/ 1 w 113"/>
                <a:gd name="T39" fmla="*/ 1 h 90"/>
                <a:gd name="T40" fmla="*/ 1 w 113"/>
                <a:gd name="T41" fmla="*/ 1 h 90"/>
                <a:gd name="T42" fmla="*/ 1 w 113"/>
                <a:gd name="T43" fmla="*/ 1 h 90"/>
                <a:gd name="T44" fmla="*/ 1 w 113"/>
                <a:gd name="T45" fmla="*/ 1 h 90"/>
                <a:gd name="T46" fmla="*/ 1 w 113"/>
                <a:gd name="T47" fmla="*/ 1 h 90"/>
                <a:gd name="T48" fmla="*/ 1 w 113"/>
                <a:gd name="T49" fmla="*/ 1 h 90"/>
                <a:gd name="T50" fmla="*/ 1 w 113"/>
                <a:gd name="T51" fmla="*/ 1 h 90"/>
                <a:gd name="T52" fmla="*/ 1 w 113"/>
                <a:gd name="T53" fmla="*/ 1 h 90"/>
                <a:gd name="T54" fmla="*/ 1 w 113"/>
                <a:gd name="T55" fmla="*/ 1 h 90"/>
                <a:gd name="T56" fmla="*/ 1 w 113"/>
                <a:gd name="T57" fmla="*/ 1 h 90"/>
                <a:gd name="T58" fmla="*/ 1 w 113"/>
                <a:gd name="T59" fmla="*/ 1 h 90"/>
                <a:gd name="T60" fmla="*/ 1 w 113"/>
                <a:gd name="T61" fmla="*/ 1 h 90"/>
                <a:gd name="T62" fmla="*/ 1 w 113"/>
                <a:gd name="T63" fmla="*/ 1 h 9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13"/>
                <a:gd name="T97" fmla="*/ 0 h 90"/>
                <a:gd name="T98" fmla="*/ 113 w 113"/>
                <a:gd name="T99" fmla="*/ 90 h 9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13" h="90">
                  <a:moveTo>
                    <a:pt x="101" y="40"/>
                  </a:moveTo>
                  <a:lnTo>
                    <a:pt x="105" y="42"/>
                  </a:lnTo>
                  <a:lnTo>
                    <a:pt x="107" y="36"/>
                  </a:lnTo>
                  <a:lnTo>
                    <a:pt x="113" y="34"/>
                  </a:lnTo>
                  <a:lnTo>
                    <a:pt x="113" y="33"/>
                  </a:lnTo>
                  <a:lnTo>
                    <a:pt x="107" y="31"/>
                  </a:lnTo>
                  <a:lnTo>
                    <a:pt x="104" y="30"/>
                  </a:lnTo>
                  <a:lnTo>
                    <a:pt x="107" y="27"/>
                  </a:lnTo>
                  <a:lnTo>
                    <a:pt x="103" y="26"/>
                  </a:lnTo>
                  <a:lnTo>
                    <a:pt x="98" y="18"/>
                  </a:lnTo>
                  <a:lnTo>
                    <a:pt x="69" y="15"/>
                  </a:lnTo>
                  <a:lnTo>
                    <a:pt x="51" y="0"/>
                  </a:lnTo>
                  <a:lnTo>
                    <a:pt x="51" y="2"/>
                  </a:lnTo>
                  <a:lnTo>
                    <a:pt x="49" y="2"/>
                  </a:lnTo>
                  <a:lnTo>
                    <a:pt x="49" y="4"/>
                  </a:lnTo>
                  <a:lnTo>
                    <a:pt x="43" y="4"/>
                  </a:lnTo>
                  <a:lnTo>
                    <a:pt x="42" y="7"/>
                  </a:lnTo>
                  <a:lnTo>
                    <a:pt x="35" y="8"/>
                  </a:lnTo>
                  <a:lnTo>
                    <a:pt x="36" y="13"/>
                  </a:lnTo>
                  <a:lnTo>
                    <a:pt x="37" y="15"/>
                  </a:lnTo>
                  <a:lnTo>
                    <a:pt x="39" y="19"/>
                  </a:lnTo>
                  <a:lnTo>
                    <a:pt x="36" y="19"/>
                  </a:lnTo>
                  <a:lnTo>
                    <a:pt x="30" y="21"/>
                  </a:lnTo>
                  <a:lnTo>
                    <a:pt x="30" y="24"/>
                  </a:lnTo>
                  <a:lnTo>
                    <a:pt x="31" y="27"/>
                  </a:lnTo>
                  <a:lnTo>
                    <a:pt x="26" y="28"/>
                  </a:lnTo>
                  <a:lnTo>
                    <a:pt x="21" y="25"/>
                  </a:lnTo>
                  <a:lnTo>
                    <a:pt x="20" y="26"/>
                  </a:lnTo>
                  <a:lnTo>
                    <a:pt x="19" y="26"/>
                  </a:lnTo>
                  <a:lnTo>
                    <a:pt x="17" y="24"/>
                  </a:lnTo>
                  <a:lnTo>
                    <a:pt x="13" y="27"/>
                  </a:lnTo>
                  <a:lnTo>
                    <a:pt x="3" y="27"/>
                  </a:lnTo>
                  <a:lnTo>
                    <a:pt x="0" y="25"/>
                  </a:lnTo>
                  <a:lnTo>
                    <a:pt x="3" y="32"/>
                  </a:lnTo>
                  <a:lnTo>
                    <a:pt x="8" y="40"/>
                  </a:lnTo>
                  <a:lnTo>
                    <a:pt x="13" y="34"/>
                  </a:lnTo>
                  <a:lnTo>
                    <a:pt x="27" y="58"/>
                  </a:lnTo>
                  <a:lnTo>
                    <a:pt x="33" y="64"/>
                  </a:lnTo>
                  <a:lnTo>
                    <a:pt x="53" y="76"/>
                  </a:lnTo>
                  <a:lnTo>
                    <a:pt x="77" y="88"/>
                  </a:lnTo>
                  <a:lnTo>
                    <a:pt x="81" y="90"/>
                  </a:lnTo>
                  <a:lnTo>
                    <a:pt x="83" y="90"/>
                  </a:lnTo>
                  <a:lnTo>
                    <a:pt x="83" y="87"/>
                  </a:lnTo>
                  <a:lnTo>
                    <a:pt x="74" y="80"/>
                  </a:lnTo>
                  <a:lnTo>
                    <a:pt x="73" y="78"/>
                  </a:lnTo>
                  <a:lnTo>
                    <a:pt x="68" y="75"/>
                  </a:lnTo>
                  <a:lnTo>
                    <a:pt x="53" y="61"/>
                  </a:lnTo>
                  <a:lnTo>
                    <a:pt x="53" y="58"/>
                  </a:lnTo>
                  <a:lnTo>
                    <a:pt x="50" y="58"/>
                  </a:lnTo>
                  <a:lnTo>
                    <a:pt x="45" y="48"/>
                  </a:lnTo>
                  <a:lnTo>
                    <a:pt x="42" y="44"/>
                  </a:lnTo>
                  <a:lnTo>
                    <a:pt x="41" y="34"/>
                  </a:lnTo>
                  <a:lnTo>
                    <a:pt x="45" y="33"/>
                  </a:lnTo>
                  <a:lnTo>
                    <a:pt x="51" y="39"/>
                  </a:lnTo>
                  <a:lnTo>
                    <a:pt x="55" y="33"/>
                  </a:lnTo>
                  <a:lnTo>
                    <a:pt x="62" y="32"/>
                  </a:lnTo>
                  <a:lnTo>
                    <a:pt x="68" y="34"/>
                  </a:lnTo>
                  <a:lnTo>
                    <a:pt x="81" y="37"/>
                  </a:lnTo>
                  <a:lnTo>
                    <a:pt x="84" y="34"/>
                  </a:lnTo>
                  <a:lnTo>
                    <a:pt x="87" y="37"/>
                  </a:lnTo>
                  <a:lnTo>
                    <a:pt x="89" y="36"/>
                  </a:lnTo>
                  <a:lnTo>
                    <a:pt x="93" y="37"/>
                  </a:lnTo>
                  <a:lnTo>
                    <a:pt x="97" y="37"/>
                  </a:lnTo>
                  <a:lnTo>
                    <a:pt x="101" y="4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90" name="Freeform 218"/>
            <p:cNvSpPr>
              <a:spLocks/>
            </p:cNvSpPr>
            <p:nvPr/>
          </p:nvSpPr>
          <p:spPr bwMode="auto">
            <a:xfrm>
              <a:off x="2848" y="1343"/>
              <a:ext cx="22" cy="9"/>
            </a:xfrm>
            <a:custGeom>
              <a:avLst/>
              <a:gdLst>
                <a:gd name="T0" fmla="*/ 1 w 31"/>
                <a:gd name="T1" fmla="*/ 2 h 12"/>
                <a:gd name="T2" fmla="*/ 1 w 31"/>
                <a:gd name="T3" fmla="*/ 2 h 12"/>
                <a:gd name="T4" fmla="*/ 1 w 31"/>
                <a:gd name="T5" fmla="*/ 2 h 12"/>
                <a:gd name="T6" fmla="*/ 1 w 31"/>
                <a:gd name="T7" fmla="*/ 2 h 12"/>
                <a:gd name="T8" fmla="*/ 1 w 31"/>
                <a:gd name="T9" fmla="*/ 2 h 12"/>
                <a:gd name="T10" fmla="*/ 1 w 31"/>
                <a:gd name="T11" fmla="*/ 0 h 12"/>
                <a:gd name="T12" fmla="*/ 1 w 31"/>
                <a:gd name="T13" fmla="*/ 1 h 12"/>
                <a:gd name="T14" fmla="*/ 0 w 31"/>
                <a:gd name="T15" fmla="*/ 0 h 12"/>
                <a:gd name="T16" fmla="*/ 1 w 31"/>
                <a:gd name="T17" fmla="*/ 2 h 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1"/>
                <a:gd name="T28" fmla="*/ 0 h 12"/>
                <a:gd name="T29" fmla="*/ 31 w 31"/>
                <a:gd name="T30" fmla="*/ 12 h 1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1" h="12">
                  <a:moveTo>
                    <a:pt x="30" y="12"/>
                  </a:moveTo>
                  <a:lnTo>
                    <a:pt x="31" y="9"/>
                  </a:lnTo>
                  <a:lnTo>
                    <a:pt x="31" y="8"/>
                  </a:lnTo>
                  <a:lnTo>
                    <a:pt x="26" y="7"/>
                  </a:lnTo>
                  <a:lnTo>
                    <a:pt x="20" y="2"/>
                  </a:lnTo>
                  <a:lnTo>
                    <a:pt x="16" y="0"/>
                  </a:lnTo>
                  <a:lnTo>
                    <a:pt x="14" y="1"/>
                  </a:lnTo>
                  <a:lnTo>
                    <a:pt x="0" y="0"/>
                  </a:lnTo>
                  <a:lnTo>
                    <a:pt x="30" y="1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91" name="Freeform 219"/>
            <p:cNvSpPr>
              <a:spLocks/>
            </p:cNvSpPr>
            <p:nvPr/>
          </p:nvSpPr>
          <p:spPr bwMode="auto">
            <a:xfrm>
              <a:off x="2546" y="1204"/>
              <a:ext cx="174" cy="148"/>
            </a:xfrm>
            <a:custGeom>
              <a:avLst/>
              <a:gdLst>
                <a:gd name="T0" fmla="*/ 2 w 247"/>
                <a:gd name="T1" fmla="*/ 1 h 210"/>
                <a:gd name="T2" fmla="*/ 2 w 247"/>
                <a:gd name="T3" fmla="*/ 1 h 210"/>
                <a:gd name="T4" fmla="*/ 2 w 247"/>
                <a:gd name="T5" fmla="*/ 1 h 210"/>
                <a:gd name="T6" fmla="*/ 2 w 247"/>
                <a:gd name="T7" fmla="*/ 1 h 210"/>
                <a:gd name="T8" fmla="*/ 2 w 247"/>
                <a:gd name="T9" fmla="*/ 1 h 210"/>
                <a:gd name="T10" fmla="*/ 1 w 247"/>
                <a:gd name="T11" fmla="*/ 1 h 210"/>
                <a:gd name="T12" fmla="*/ 1 w 247"/>
                <a:gd name="T13" fmla="*/ 1 h 210"/>
                <a:gd name="T14" fmla="*/ 1 w 247"/>
                <a:gd name="T15" fmla="*/ 1 h 210"/>
                <a:gd name="T16" fmla="*/ 1 w 247"/>
                <a:gd name="T17" fmla="*/ 1 h 210"/>
                <a:gd name="T18" fmla="*/ 1 w 247"/>
                <a:gd name="T19" fmla="*/ 1 h 210"/>
                <a:gd name="T20" fmla="*/ 1 w 247"/>
                <a:gd name="T21" fmla="*/ 1 h 210"/>
                <a:gd name="T22" fmla="*/ 1 w 247"/>
                <a:gd name="T23" fmla="*/ 1 h 210"/>
                <a:gd name="T24" fmla="*/ 1 w 247"/>
                <a:gd name="T25" fmla="*/ 1 h 210"/>
                <a:gd name="T26" fmla="*/ 1 w 247"/>
                <a:gd name="T27" fmla="*/ 1 h 210"/>
                <a:gd name="T28" fmla="*/ 1 w 247"/>
                <a:gd name="T29" fmla="*/ 1 h 210"/>
                <a:gd name="T30" fmla="*/ 1 w 247"/>
                <a:gd name="T31" fmla="*/ 1 h 210"/>
                <a:gd name="T32" fmla="*/ 1 w 247"/>
                <a:gd name="T33" fmla="*/ 1 h 210"/>
                <a:gd name="T34" fmla="*/ 1 w 247"/>
                <a:gd name="T35" fmla="*/ 1 h 210"/>
                <a:gd name="T36" fmla="*/ 1 w 247"/>
                <a:gd name="T37" fmla="*/ 1 h 210"/>
                <a:gd name="T38" fmla="*/ 1 w 247"/>
                <a:gd name="T39" fmla="*/ 1 h 210"/>
                <a:gd name="T40" fmla="*/ 1 w 247"/>
                <a:gd name="T41" fmla="*/ 1 h 210"/>
                <a:gd name="T42" fmla="*/ 1 w 247"/>
                <a:gd name="T43" fmla="*/ 1 h 210"/>
                <a:gd name="T44" fmla="*/ 1 w 247"/>
                <a:gd name="T45" fmla="*/ 1 h 210"/>
                <a:gd name="T46" fmla="*/ 1 w 247"/>
                <a:gd name="T47" fmla="*/ 1 h 210"/>
                <a:gd name="T48" fmla="*/ 1 w 247"/>
                <a:gd name="T49" fmla="*/ 1 h 210"/>
                <a:gd name="T50" fmla="*/ 1 w 247"/>
                <a:gd name="T51" fmla="*/ 1 h 210"/>
                <a:gd name="T52" fmla="*/ 1 w 247"/>
                <a:gd name="T53" fmla="*/ 1 h 210"/>
                <a:gd name="T54" fmla="*/ 1 w 247"/>
                <a:gd name="T55" fmla="*/ 1 h 210"/>
                <a:gd name="T56" fmla="*/ 1 w 247"/>
                <a:gd name="T57" fmla="*/ 1 h 210"/>
                <a:gd name="T58" fmla="*/ 1 w 247"/>
                <a:gd name="T59" fmla="*/ 1 h 210"/>
                <a:gd name="T60" fmla="*/ 1 w 247"/>
                <a:gd name="T61" fmla="*/ 1 h 210"/>
                <a:gd name="T62" fmla="*/ 1 w 247"/>
                <a:gd name="T63" fmla="*/ 1 h 210"/>
                <a:gd name="T64" fmla="*/ 0 w 247"/>
                <a:gd name="T65" fmla="*/ 1 h 210"/>
                <a:gd name="T66" fmla="*/ 1 w 247"/>
                <a:gd name="T67" fmla="*/ 1 h 210"/>
                <a:gd name="T68" fmla="*/ 1 w 247"/>
                <a:gd name="T69" fmla="*/ 1 h 210"/>
                <a:gd name="T70" fmla="*/ 1 w 247"/>
                <a:gd name="T71" fmla="*/ 1 h 210"/>
                <a:gd name="T72" fmla="*/ 1 w 247"/>
                <a:gd name="T73" fmla="*/ 1 h 210"/>
                <a:gd name="T74" fmla="*/ 1 w 247"/>
                <a:gd name="T75" fmla="*/ 1 h 210"/>
                <a:gd name="T76" fmla="*/ 1 w 247"/>
                <a:gd name="T77" fmla="*/ 1 h 210"/>
                <a:gd name="T78" fmla="*/ 1 w 247"/>
                <a:gd name="T79" fmla="*/ 1 h 210"/>
                <a:gd name="T80" fmla="*/ 1 w 247"/>
                <a:gd name="T81" fmla="*/ 1 h 210"/>
                <a:gd name="T82" fmla="*/ 1 w 247"/>
                <a:gd name="T83" fmla="*/ 1 h 210"/>
                <a:gd name="T84" fmla="*/ 1 w 247"/>
                <a:gd name="T85" fmla="*/ 1 h 210"/>
                <a:gd name="T86" fmla="*/ 1 w 247"/>
                <a:gd name="T87" fmla="*/ 0 h 210"/>
                <a:gd name="T88" fmla="*/ 1 w 247"/>
                <a:gd name="T89" fmla="*/ 1 h 210"/>
                <a:gd name="T90" fmla="*/ 1 w 247"/>
                <a:gd name="T91" fmla="*/ 1 h 210"/>
                <a:gd name="T92" fmla="*/ 1 w 247"/>
                <a:gd name="T93" fmla="*/ 1 h 210"/>
                <a:gd name="T94" fmla="*/ 1 w 247"/>
                <a:gd name="T95" fmla="*/ 1 h 210"/>
                <a:gd name="T96" fmla="*/ 1 w 247"/>
                <a:gd name="T97" fmla="*/ 1 h 210"/>
                <a:gd name="T98" fmla="*/ 1 w 247"/>
                <a:gd name="T99" fmla="*/ 1 h 210"/>
                <a:gd name="T100" fmla="*/ 1 w 247"/>
                <a:gd name="T101" fmla="*/ 1 h 210"/>
                <a:gd name="T102" fmla="*/ 2 w 247"/>
                <a:gd name="T103" fmla="*/ 1 h 210"/>
                <a:gd name="T104" fmla="*/ 2 w 247"/>
                <a:gd name="T105" fmla="*/ 1 h 210"/>
                <a:gd name="T106" fmla="*/ 2 w 247"/>
                <a:gd name="T107" fmla="*/ 1 h 210"/>
                <a:gd name="T108" fmla="*/ 1 w 247"/>
                <a:gd name="T109" fmla="*/ 1 h 210"/>
                <a:gd name="T110" fmla="*/ 1 w 247"/>
                <a:gd name="T111" fmla="*/ 1 h 210"/>
                <a:gd name="T112" fmla="*/ 1 w 247"/>
                <a:gd name="T113" fmla="*/ 1 h 210"/>
                <a:gd name="T114" fmla="*/ 1 w 247"/>
                <a:gd name="T115" fmla="*/ 1 h 210"/>
                <a:gd name="T116" fmla="*/ 1 w 247"/>
                <a:gd name="T117" fmla="*/ 1 h 210"/>
                <a:gd name="T118" fmla="*/ 1 w 247"/>
                <a:gd name="T119" fmla="*/ 1 h 210"/>
                <a:gd name="T120" fmla="*/ 1 w 247"/>
                <a:gd name="T121" fmla="*/ 1 h 210"/>
                <a:gd name="T122" fmla="*/ 1 w 247"/>
                <a:gd name="T123" fmla="*/ 1 h 210"/>
                <a:gd name="T124" fmla="*/ 2 w 247"/>
                <a:gd name="T125" fmla="*/ 1 h 21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7"/>
                <a:gd name="T190" fmla="*/ 0 h 210"/>
                <a:gd name="T191" fmla="*/ 247 w 247"/>
                <a:gd name="T192" fmla="*/ 210 h 21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7" h="210">
                  <a:moveTo>
                    <a:pt x="241" y="168"/>
                  </a:moveTo>
                  <a:lnTo>
                    <a:pt x="241" y="177"/>
                  </a:lnTo>
                  <a:lnTo>
                    <a:pt x="240" y="177"/>
                  </a:lnTo>
                  <a:lnTo>
                    <a:pt x="238" y="177"/>
                  </a:lnTo>
                  <a:lnTo>
                    <a:pt x="238" y="178"/>
                  </a:lnTo>
                  <a:lnTo>
                    <a:pt x="218" y="194"/>
                  </a:lnTo>
                  <a:lnTo>
                    <a:pt x="193" y="186"/>
                  </a:lnTo>
                  <a:lnTo>
                    <a:pt x="186" y="183"/>
                  </a:lnTo>
                  <a:lnTo>
                    <a:pt x="183" y="186"/>
                  </a:lnTo>
                  <a:lnTo>
                    <a:pt x="166" y="184"/>
                  </a:lnTo>
                  <a:lnTo>
                    <a:pt x="154" y="194"/>
                  </a:lnTo>
                  <a:lnTo>
                    <a:pt x="156" y="210"/>
                  </a:lnTo>
                  <a:lnTo>
                    <a:pt x="127" y="208"/>
                  </a:lnTo>
                  <a:lnTo>
                    <a:pt x="128" y="206"/>
                  </a:lnTo>
                  <a:lnTo>
                    <a:pt x="122" y="206"/>
                  </a:lnTo>
                  <a:lnTo>
                    <a:pt x="67" y="194"/>
                  </a:lnTo>
                  <a:lnTo>
                    <a:pt x="57" y="186"/>
                  </a:lnTo>
                  <a:lnTo>
                    <a:pt x="64" y="174"/>
                  </a:lnTo>
                  <a:lnTo>
                    <a:pt x="67" y="154"/>
                  </a:lnTo>
                  <a:lnTo>
                    <a:pt x="69" y="135"/>
                  </a:lnTo>
                  <a:lnTo>
                    <a:pt x="79" y="146"/>
                  </a:lnTo>
                  <a:lnTo>
                    <a:pt x="69" y="128"/>
                  </a:lnTo>
                  <a:lnTo>
                    <a:pt x="70" y="121"/>
                  </a:lnTo>
                  <a:lnTo>
                    <a:pt x="60" y="112"/>
                  </a:lnTo>
                  <a:lnTo>
                    <a:pt x="52" y="96"/>
                  </a:lnTo>
                  <a:lnTo>
                    <a:pt x="55" y="92"/>
                  </a:lnTo>
                  <a:lnTo>
                    <a:pt x="44" y="88"/>
                  </a:lnTo>
                  <a:lnTo>
                    <a:pt x="32" y="85"/>
                  </a:lnTo>
                  <a:lnTo>
                    <a:pt x="15" y="78"/>
                  </a:lnTo>
                  <a:lnTo>
                    <a:pt x="4" y="74"/>
                  </a:lnTo>
                  <a:lnTo>
                    <a:pt x="7" y="68"/>
                  </a:lnTo>
                  <a:lnTo>
                    <a:pt x="9" y="67"/>
                  </a:lnTo>
                  <a:lnTo>
                    <a:pt x="0" y="66"/>
                  </a:lnTo>
                  <a:lnTo>
                    <a:pt x="24" y="56"/>
                  </a:lnTo>
                  <a:lnTo>
                    <a:pt x="38" y="58"/>
                  </a:lnTo>
                  <a:lnTo>
                    <a:pt x="62" y="58"/>
                  </a:lnTo>
                  <a:lnTo>
                    <a:pt x="57" y="36"/>
                  </a:lnTo>
                  <a:lnTo>
                    <a:pt x="63" y="34"/>
                  </a:lnTo>
                  <a:lnTo>
                    <a:pt x="69" y="40"/>
                  </a:lnTo>
                  <a:lnTo>
                    <a:pt x="100" y="39"/>
                  </a:lnTo>
                  <a:lnTo>
                    <a:pt x="93" y="38"/>
                  </a:lnTo>
                  <a:lnTo>
                    <a:pt x="120" y="24"/>
                  </a:lnTo>
                  <a:lnTo>
                    <a:pt x="122" y="7"/>
                  </a:lnTo>
                  <a:lnTo>
                    <a:pt x="140" y="0"/>
                  </a:lnTo>
                  <a:lnTo>
                    <a:pt x="147" y="8"/>
                  </a:lnTo>
                  <a:lnTo>
                    <a:pt x="172" y="25"/>
                  </a:lnTo>
                  <a:lnTo>
                    <a:pt x="181" y="24"/>
                  </a:lnTo>
                  <a:lnTo>
                    <a:pt x="183" y="26"/>
                  </a:lnTo>
                  <a:lnTo>
                    <a:pt x="202" y="37"/>
                  </a:lnTo>
                  <a:lnTo>
                    <a:pt x="213" y="39"/>
                  </a:lnTo>
                  <a:lnTo>
                    <a:pt x="217" y="40"/>
                  </a:lnTo>
                  <a:lnTo>
                    <a:pt x="247" y="50"/>
                  </a:lnTo>
                  <a:lnTo>
                    <a:pt x="238" y="85"/>
                  </a:lnTo>
                  <a:lnTo>
                    <a:pt x="232" y="88"/>
                  </a:lnTo>
                  <a:lnTo>
                    <a:pt x="228" y="91"/>
                  </a:lnTo>
                  <a:lnTo>
                    <a:pt x="211" y="116"/>
                  </a:lnTo>
                  <a:lnTo>
                    <a:pt x="218" y="111"/>
                  </a:lnTo>
                  <a:lnTo>
                    <a:pt x="229" y="124"/>
                  </a:lnTo>
                  <a:lnTo>
                    <a:pt x="229" y="134"/>
                  </a:lnTo>
                  <a:lnTo>
                    <a:pt x="226" y="144"/>
                  </a:lnTo>
                  <a:lnTo>
                    <a:pt x="226" y="150"/>
                  </a:lnTo>
                  <a:lnTo>
                    <a:pt x="228" y="159"/>
                  </a:lnTo>
                  <a:lnTo>
                    <a:pt x="241" y="16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92" name="Freeform 220"/>
            <p:cNvSpPr>
              <a:spLocks/>
            </p:cNvSpPr>
            <p:nvPr/>
          </p:nvSpPr>
          <p:spPr bwMode="auto">
            <a:xfrm>
              <a:off x="2733" y="1343"/>
              <a:ext cx="13" cy="24"/>
            </a:xfrm>
            <a:custGeom>
              <a:avLst/>
              <a:gdLst>
                <a:gd name="T0" fmla="*/ 1 w 18"/>
                <a:gd name="T1" fmla="*/ 1 h 33"/>
                <a:gd name="T2" fmla="*/ 1 w 18"/>
                <a:gd name="T3" fmla="*/ 1 h 33"/>
                <a:gd name="T4" fmla="*/ 0 w 18"/>
                <a:gd name="T5" fmla="*/ 1 h 33"/>
                <a:gd name="T6" fmla="*/ 1 w 18"/>
                <a:gd name="T7" fmla="*/ 0 h 33"/>
                <a:gd name="T8" fmla="*/ 1 w 18"/>
                <a:gd name="T9" fmla="*/ 1 h 33"/>
                <a:gd name="T10" fmla="*/ 1 w 18"/>
                <a:gd name="T11" fmla="*/ 1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8"/>
                <a:gd name="T19" fmla="*/ 0 h 33"/>
                <a:gd name="T20" fmla="*/ 18 w 18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8" h="33">
                  <a:moveTo>
                    <a:pt x="13" y="33"/>
                  </a:moveTo>
                  <a:lnTo>
                    <a:pt x="3" y="29"/>
                  </a:lnTo>
                  <a:lnTo>
                    <a:pt x="0" y="14"/>
                  </a:lnTo>
                  <a:lnTo>
                    <a:pt x="13" y="0"/>
                  </a:lnTo>
                  <a:lnTo>
                    <a:pt x="18" y="15"/>
                  </a:lnTo>
                  <a:lnTo>
                    <a:pt x="13" y="3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93" name="Freeform 221"/>
            <p:cNvSpPr>
              <a:spLocks/>
            </p:cNvSpPr>
            <p:nvPr/>
          </p:nvSpPr>
          <p:spPr bwMode="auto">
            <a:xfrm>
              <a:off x="2832" y="1249"/>
              <a:ext cx="90" cy="44"/>
            </a:xfrm>
            <a:custGeom>
              <a:avLst/>
              <a:gdLst>
                <a:gd name="T0" fmla="*/ 1 w 129"/>
                <a:gd name="T1" fmla="*/ 1 h 63"/>
                <a:gd name="T2" fmla="*/ 1 w 129"/>
                <a:gd name="T3" fmla="*/ 1 h 63"/>
                <a:gd name="T4" fmla="*/ 1 w 129"/>
                <a:gd name="T5" fmla="*/ 1 h 63"/>
                <a:gd name="T6" fmla="*/ 1 w 129"/>
                <a:gd name="T7" fmla="*/ 1 h 63"/>
                <a:gd name="T8" fmla="*/ 0 w 129"/>
                <a:gd name="T9" fmla="*/ 1 h 63"/>
                <a:gd name="T10" fmla="*/ 1 w 129"/>
                <a:gd name="T11" fmla="*/ 1 h 63"/>
                <a:gd name="T12" fmla="*/ 1 w 129"/>
                <a:gd name="T13" fmla="*/ 1 h 63"/>
                <a:gd name="T14" fmla="*/ 1 w 129"/>
                <a:gd name="T15" fmla="*/ 1 h 63"/>
                <a:gd name="T16" fmla="*/ 1 w 129"/>
                <a:gd name="T17" fmla="*/ 1 h 63"/>
                <a:gd name="T18" fmla="*/ 1 w 129"/>
                <a:gd name="T19" fmla="*/ 1 h 63"/>
                <a:gd name="T20" fmla="*/ 1 w 129"/>
                <a:gd name="T21" fmla="*/ 1 h 63"/>
                <a:gd name="T22" fmla="*/ 1 w 129"/>
                <a:gd name="T23" fmla="*/ 0 h 63"/>
                <a:gd name="T24" fmla="*/ 1 w 129"/>
                <a:gd name="T25" fmla="*/ 1 h 63"/>
                <a:gd name="T26" fmla="*/ 1 w 129"/>
                <a:gd name="T27" fmla="*/ 1 h 63"/>
                <a:gd name="T28" fmla="*/ 1 w 129"/>
                <a:gd name="T29" fmla="*/ 1 h 63"/>
                <a:gd name="T30" fmla="*/ 1 w 129"/>
                <a:gd name="T31" fmla="*/ 1 h 63"/>
                <a:gd name="T32" fmla="*/ 1 w 129"/>
                <a:gd name="T33" fmla="*/ 1 h 63"/>
                <a:gd name="T34" fmla="*/ 1 w 129"/>
                <a:gd name="T35" fmla="*/ 1 h 6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29"/>
                <a:gd name="T55" fmla="*/ 0 h 63"/>
                <a:gd name="T56" fmla="*/ 129 w 129"/>
                <a:gd name="T57" fmla="*/ 63 h 6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29" h="63">
                  <a:moveTo>
                    <a:pt x="54" y="63"/>
                  </a:moveTo>
                  <a:lnTo>
                    <a:pt x="25" y="60"/>
                  </a:lnTo>
                  <a:lnTo>
                    <a:pt x="7" y="45"/>
                  </a:lnTo>
                  <a:lnTo>
                    <a:pt x="1" y="41"/>
                  </a:lnTo>
                  <a:lnTo>
                    <a:pt x="0" y="39"/>
                  </a:lnTo>
                  <a:lnTo>
                    <a:pt x="3" y="36"/>
                  </a:lnTo>
                  <a:lnTo>
                    <a:pt x="9" y="21"/>
                  </a:lnTo>
                  <a:lnTo>
                    <a:pt x="11" y="19"/>
                  </a:lnTo>
                  <a:lnTo>
                    <a:pt x="18" y="11"/>
                  </a:lnTo>
                  <a:lnTo>
                    <a:pt x="24" y="15"/>
                  </a:lnTo>
                  <a:lnTo>
                    <a:pt x="48" y="15"/>
                  </a:lnTo>
                  <a:lnTo>
                    <a:pt x="79" y="0"/>
                  </a:lnTo>
                  <a:lnTo>
                    <a:pt x="113" y="1"/>
                  </a:lnTo>
                  <a:lnTo>
                    <a:pt x="129" y="12"/>
                  </a:lnTo>
                  <a:lnTo>
                    <a:pt x="110" y="31"/>
                  </a:lnTo>
                  <a:lnTo>
                    <a:pt x="94" y="53"/>
                  </a:lnTo>
                  <a:lnTo>
                    <a:pt x="83" y="57"/>
                  </a:lnTo>
                  <a:lnTo>
                    <a:pt x="54" y="6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94" name="Freeform 222"/>
            <p:cNvSpPr>
              <a:spLocks/>
            </p:cNvSpPr>
            <p:nvPr/>
          </p:nvSpPr>
          <p:spPr bwMode="auto">
            <a:xfrm>
              <a:off x="2934" y="799"/>
              <a:ext cx="1833" cy="566"/>
            </a:xfrm>
            <a:custGeom>
              <a:avLst/>
              <a:gdLst>
                <a:gd name="T0" fmla="*/ 16 w 2606"/>
                <a:gd name="T1" fmla="*/ 1 h 804"/>
                <a:gd name="T2" fmla="*/ 15 w 2606"/>
                <a:gd name="T3" fmla="*/ 1 h 804"/>
                <a:gd name="T4" fmla="*/ 13 w 2606"/>
                <a:gd name="T5" fmla="*/ 1 h 804"/>
                <a:gd name="T6" fmla="*/ 13 w 2606"/>
                <a:gd name="T7" fmla="*/ 1 h 804"/>
                <a:gd name="T8" fmla="*/ 12 w 2606"/>
                <a:gd name="T9" fmla="*/ 1 h 804"/>
                <a:gd name="T10" fmla="*/ 11 w 2606"/>
                <a:gd name="T11" fmla="*/ 1 h 804"/>
                <a:gd name="T12" fmla="*/ 9 w 2606"/>
                <a:gd name="T13" fmla="*/ 1 h 804"/>
                <a:gd name="T14" fmla="*/ 9 w 2606"/>
                <a:gd name="T15" fmla="*/ 1 h 804"/>
                <a:gd name="T16" fmla="*/ 8 w 2606"/>
                <a:gd name="T17" fmla="*/ 1 h 804"/>
                <a:gd name="T18" fmla="*/ 7 w 2606"/>
                <a:gd name="T19" fmla="*/ 1 h 804"/>
                <a:gd name="T20" fmla="*/ 6 w 2606"/>
                <a:gd name="T21" fmla="*/ 1 h 804"/>
                <a:gd name="T22" fmla="*/ 6 w 2606"/>
                <a:gd name="T23" fmla="*/ 1 h 804"/>
                <a:gd name="T24" fmla="*/ 6 w 2606"/>
                <a:gd name="T25" fmla="*/ 1 h 804"/>
                <a:gd name="T26" fmla="*/ 6 w 2606"/>
                <a:gd name="T27" fmla="*/ 1 h 804"/>
                <a:gd name="T28" fmla="*/ 6 w 2606"/>
                <a:gd name="T29" fmla="*/ 1 h 804"/>
                <a:gd name="T30" fmla="*/ 6 w 2606"/>
                <a:gd name="T31" fmla="*/ 1 h 804"/>
                <a:gd name="T32" fmla="*/ 6 w 2606"/>
                <a:gd name="T33" fmla="*/ 1 h 804"/>
                <a:gd name="T34" fmla="*/ 4 w 2606"/>
                <a:gd name="T35" fmla="*/ 1 h 804"/>
                <a:gd name="T36" fmla="*/ 4 w 2606"/>
                <a:gd name="T37" fmla="*/ 1 h 804"/>
                <a:gd name="T38" fmla="*/ 4 w 2606"/>
                <a:gd name="T39" fmla="*/ 1 h 804"/>
                <a:gd name="T40" fmla="*/ 3 w 2606"/>
                <a:gd name="T41" fmla="*/ 1 h 804"/>
                <a:gd name="T42" fmla="*/ 2 w 2606"/>
                <a:gd name="T43" fmla="*/ 1 h 804"/>
                <a:gd name="T44" fmla="*/ 2 w 2606"/>
                <a:gd name="T45" fmla="*/ 1 h 804"/>
                <a:gd name="T46" fmla="*/ 1 w 2606"/>
                <a:gd name="T47" fmla="*/ 2 h 804"/>
                <a:gd name="T48" fmla="*/ 1 w 2606"/>
                <a:gd name="T49" fmla="*/ 1 h 804"/>
                <a:gd name="T50" fmla="*/ 1 w 2606"/>
                <a:gd name="T51" fmla="*/ 1 h 804"/>
                <a:gd name="T52" fmla="*/ 1 w 2606"/>
                <a:gd name="T53" fmla="*/ 1 h 804"/>
                <a:gd name="T54" fmla="*/ 1 w 2606"/>
                <a:gd name="T55" fmla="*/ 2 h 804"/>
                <a:gd name="T56" fmla="*/ 1 w 2606"/>
                <a:gd name="T57" fmla="*/ 3 h 804"/>
                <a:gd name="T58" fmla="*/ 1 w 2606"/>
                <a:gd name="T59" fmla="*/ 3 h 804"/>
                <a:gd name="T60" fmla="*/ 1 w 2606"/>
                <a:gd name="T61" fmla="*/ 4 h 804"/>
                <a:gd name="T62" fmla="*/ 2 w 2606"/>
                <a:gd name="T63" fmla="*/ 5 h 804"/>
                <a:gd name="T64" fmla="*/ 2 w 2606"/>
                <a:gd name="T65" fmla="*/ 6 h 804"/>
                <a:gd name="T66" fmla="*/ 4 w 2606"/>
                <a:gd name="T67" fmla="*/ 6 h 804"/>
                <a:gd name="T68" fmla="*/ 4 w 2606"/>
                <a:gd name="T69" fmla="*/ 6 h 804"/>
                <a:gd name="T70" fmla="*/ 4 w 2606"/>
                <a:gd name="T71" fmla="*/ 4 h 804"/>
                <a:gd name="T72" fmla="*/ 4 w 2606"/>
                <a:gd name="T73" fmla="*/ 4 h 804"/>
                <a:gd name="T74" fmla="*/ 6 w 2606"/>
                <a:gd name="T75" fmla="*/ 4 h 804"/>
                <a:gd name="T76" fmla="*/ 7 w 2606"/>
                <a:gd name="T77" fmla="*/ 4 h 804"/>
                <a:gd name="T78" fmla="*/ 8 w 2606"/>
                <a:gd name="T79" fmla="*/ 4 h 804"/>
                <a:gd name="T80" fmla="*/ 9 w 2606"/>
                <a:gd name="T81" fmla="*/ 4 h 804"/>
                <a:gd name="T82" fmla="*/ 11 w 2606"/>
                <a:gd name="T83" fmla="*/ 4 h 804"/>
                <a:gd name="T84" fmla="*/ 13 w 2606"/>
                <a:gd name="T85" fmla="*/ 4 h 804"/>
                <a:gd name="T86" fmla="*/ 13 w 2606"/>
                <a:gd name="T87" fmla="*/ 4 h 804"/>
                <a:gd name="T88" fmla="*/ 15 w 2606"/>
                <a:gd name="T89" fmla="*/ 4 h 804"/>
                <a:gd name="T90" fmla="*/ 15 w 2606"/>
                <a:gd name="T91" fmla="*/ 6 h 804"/>
                <a:gd name="T92" fmla="*/ 16 w 2606"/>
                <a:gd name="T93" fmla="*/ 6 h 804"/>
                <a:gd name="T94" fmla="*/ 16 w 2606"/>
                <a:gd name="T95" fmla="*/ 4 h 804"/>
                <a:gd name="T96" fmla="*/ 15 w 2606"/>
                <a:gd name="T97" fmla="*/ 4 h 804"/>
                <a:gd name="T98" fmla="*/ 15 w 2606"/>
                <a:gd name="T99" fmla="*/ 3 h 804"/>
                <a:gd name="T100" fmla="*/ 15 w 2606"/>
                <a:gd name="T101" fmla="*/ 3 h 804"/>
                <a:gd name="T102" fmla="*/ 16 w 2606"/>
                <a:gd name="T103" fmla="*/ 3 h 804"/>
                <a:gd name="T104" fmla="*/ 17 w 2606"/>
                <a:gd name="T105" fmla="*/ 3 h 804"/>
                <a:gd name="T106" fmla="*/ 17 w 2606"/>
                <a:gd name="T107" fmla="*/ 2 h 804"/>
                <a:gd name="T108" fmla="*/ 17 w 2606"/>
                <a:gd name="T109" fmla="*/ 3 h 804"/>
                <a:gd name="T110" fmla="*/ 18 w 2606"/>
                <a:gd name="T111" fmla="*/ 4 h 804"/>
                <a:gd name="T112" fmla="*/ 18 w 2606"/>
                <a:gd name="T113" fmla="*/ 3 h 804"/>
                <a:gd name="T114" fmla="*/ 18 w 2606"/>
                <a:gd name="T115" fmla="*/ 3 h 804"/>
                <a:gd name="T116" fmla="*/ 18 w 2606"/>
                <a:gd name="T117" fmla="*/ 3 h 804"/>
                <a:gd name="T118" fmla="*/ 19 w 2606"/>
                <a:gd name="T119" fmla="*/ 2 h 804"/>
                <a:gd name="T120" fmla="*/ 18 w 2606"/>
                <a:gd name="T121" fmla="*/ 1 h 8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606"/>
                <a:gd name="T184" fmla="*/ 0 h 804"/>
                <a:gd name="T185" fmla="*/ 2606 w 2606"/>
                <a:gd name="T186" fmla="*/ 804 h 8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606" h="804">
                  <a:moveTo>
                    <a:pt x="2409" y="170"/>
                  </a:moveTo>
                  <a:lnTo>
                    <a:pt x="2359" y="161"/>
                  </a:lnTo>
                  <a:lnTo>
                    <a:pt x="2310" y="151"/>
                  </a:lnTo>
                  <a:lnTo>
                    <a:pt x="2267" y="151"/>
                  </a:lnTo>
                  <a:lnTo>
                    <a:pt x="2226" y="147"/>
                  </a:lnTo>
                  <a:lnTo>
                    <a:pt x="2241" y="157"/>
                  </a:lnTo>
                  <a:lnTo>
                    <a:pt x="2265" y="170"/>
                  </a:lnTo>
                  <a:lnTo>
                    <a:pt x="2261" y="174"/>
                  </a:lnTo>
                  <a:lnTo>
                    <a:pt x="2247" y="174"/>
                  </a:lnTo>
                  <a:lnTo>
                    <a:pt x="2224" y="165"/>
                  </a:lnTo>
                  <a:lnTo>
                    <a:pt x="2215" y="165"/>
                  </a:lnTo>
                  <a:lnTo>
                    <a:pt x="2191" y="153"/>
                  </a:lnTo>
                  <a:lnTo>
                    <a:pt x="2173" y="159"/>
                  </a:lnTo>
                  <a:lnTo>
                    <a:pt x="2107" y="155"/>
                  </a:lnTo>
                  <a:lnTo>
                    <a:pt x="2106" y="165"/>
                  </a:lnTo>
                  <a:lnTo>
                    <a:pt x="2085" y="156"/>
                  </a:lnTo>
                  <a:lnTo>
                    <a:pt x="2059" y="151"/>
                  </a:lnTo>
                  <a:lnTo>
                    <a:pt x="2035" y="135"/>
                  </a:lnTo>
                  <a:lnTo>
                    <a:pt x="1997" y="127"/>
                  </a:lnTo>
                  <a:lnTo>
                    <a:pt x="1957" y="129"/>
                  </a:lnTo>
                  <a:lnTo>
                    <a:pt x="1919" y="132"/>
                  </a:lnTo>
                  <a:lnTo>
                    <a:pt x="1908" y="129"/>
                  </a:lnTo>
                  <a:lnTo>
                    <a:pt x="1878" y="121"/>
                  </a:lnTo>
                  <a:lnTo>
                    <a:pt x="1869" y="125"/>
                  </a:lnTo>
                  <a:lnTo>
                    <a:pt x="1870" y="119"/>
                  </a:lnTo>
                  <a:lnTo>
                    <a:pt x="1859" y="117"/>
                  </a:lnTo>
                  <a:lnTo>
                    <a:pt x="1839" y="114"/>
                  </a:lnTo>
                  <a:lnTo>
                    <a:pt x="1849" y="111"/>
                  </a:lnTo>
                  <a:lnTo>
                    <a:pt x="1812" y="103"/>
                  </a:lnTo>
                  <a:lnTo>
                    <a:pt x="1791" y="107"/>
                  </a:lnTo>
                  <a:lnTo>
                    <a:pt x="1785" y="107"/>
                  </a:lnTo>
                  <a:lnTo>
                    <a:pt x="1788" y="102"/>
                  </a:lnTo>
                  <a:lnTo>
                    <a:pt x="1786" y="102"/>
                  </a:lnTo>
                  <a:lnTo>
                    <a:pt x="1732" y="97"/>
                  </a:lnTo>
                  <a:lnTo>
                    <a:pt x="1679" y="92"/>
                  </a:lnTo>
                  <a:lnTo>
                    <a:pt x="1691" y="97"/>
                  </a:lnTo>
                  <a:lnTo>
                    <a:pt x="1669" y="102"/>
                  </a:lnTo>
                  <a:lnTo>
                    <a:pt x="1678" y="104"/>
                  </a:lnTo>
                  <a:lnTo>
                    <a:pt x="1684" y="105"/>
                  </a:lnTo>
                  <a:lnTo>
                    <a:pt x="1691" y="111"/>
                  </a:lnTo>
                  <a:lnTo>
                    <a:pt x="1701" y="120"/>
                  </a:lnTo>
                  <a:lnTo>
                    <a:pt x="1673" y="117"/>
                  </a:lnTo>
                  <a:lnTo>
                    <a:pt x="1679" y="121"/>
                  </a:lnTo>
                  <a:lnTo>
                    <a:pt x="1681" y="126"/>
                  </a:lnTo>
                  <a:lnTo>
                    <a:pt x="1637" y="116"/>
                  </a:lnTo>
                  <a:lnTo>
                    <a:pt x="1622" y="121"/>
                  </a:lnTo>
                  <a:lnTo>
                    <a:pt x="1585" y="114"/>
                  </a:lnTo>
                  <a:lnTo>
                    <a:pt x="1579" y="111"/>
                  </a:lnTo>
                  <a:lnTo>
                    <a:pt x="1588" y="123"/>
                  </a:lnTo>
                  <a:lnTo>
                    <a:pt x="1584" y="134"/>
                  </a:lnTo>
                  <a:lnTo>
                    <a:pt x="1559" y="127"/>
                  </a:lnTo>
                  <a:lnTo>
                    <a:pt x="1528" y="114"/>
                  </a:lnTo>
                  <a:lnTo>
                    <a:pt x="1493" y="102"/>
                  </a:lnTo>
                  <a:lnTo>
                    <a:pt x="1482" y="103"/>
                  </a:lnTo>
                  <a:lnTo>
                    <a:pt x="1510" y="121"/>
                  </a:lnTo>
                  <a:lnTo>
                    <a:pt x="1472" y="102"/>
                  </a:lnTo>
                  <a:lnTo>
                    <a:pt x="1415" y="95"/>
                  </a:lnTo>
                  <a:lnTo>
                    <a:pt x="1356" y="89"/>
                  </a:lnTo>
                  <a:lnTo>
                    <a:pt x="1325" y="80"/>
                  </a:lnTo>
                  <a:lnTo>
                    <a:pt x="1328" y="78"/>
                  </a:lnTo>
                  <a:lnTo>
                    <a:pt x="1304" y="77"/>
                  </a:lnTo>
                  <a:lnTo>
                    <a:pt x="1249" y="79"/>
                  </a:lnTo>
                  <a:lnTo>
                    <a:pt x="1232" y="71"/>
                  </a:lnTo>
                  <a:lnTo>
                    <a:pt x="1208" y="71"/>
                  </a:lnTo>
                  <a:lnTo>
                    <a:pt x="1208" y="68"/>
                  </a:lnTo>
                  <a:lnTo>
                    <a:pt x="1183" y="72"/>
                  </a:lnTo>
                  <a:lnTo>
                    <a:pt x="1206" y="74"/>
                  </a:lnTo>
                  <a:lnTo>
                    <a:pt x="1178" y="83"/>
                  </a:lnTo>
                  <a:lnTo>
                    <a:pt x="1148" y="86"/>
                  </a:lnTo>
                  <a:lnTo>
                    <a:pt x="1150" y="83"/>
                  </a:lnTo>
                  <a:lnTo>
                    <a:pt x="1180" y="62"/>
                  </a:lnTo>
                  <a:lnTo>
                    <a:pt x="1208" y="42"/>
                  </a:lnTo>
                  <a:lnTo>
                    <a:pt x="1195" y="38"/>
                  </a:lnTo>
                  <a:lnTo>
                    <a:pt x="1181" y="33"/>
                  </a:lnTo>
                  <a:lnTo>
                    <a:pt x="1204" y="37"/>
                  </a:lnTo>
                  <a:lnTo>
                    <a:pt x="1184" y="26"/>
                  </a:lnTo>
                  <a:lnTo>
                    <a:pt x="1181" y="27"/>
                  </a:lnTo>
                  <a:lnTo>
                    <a:pt x="1170" y="26"/>
                  </a:lnTo>
                  <a:lnTo>
                    <a:pt x="1145" y="19"/>
                  </a:lnTo>
                  <a:lnTo>
                    <a:pt x="1094" y="19"/>
                  </a:lnTo>
                  <a:lnTo>
                    <a:pt x="1076" y="20"/>
                  </a:lnTo>
                  <a:lnTo>
                    <a:pt x="1075" y="12"/>
                  </a:lnTo>
                  <a:lnTo>
                    <a:pt x="1054" y="11"/>
                  </a:lnTo>
                  <a:lnTo>
                    <a:pt x="1028" y="11"/>
                  </a:lnTo>
                  <a:lnTo>
                    <a:pt x="1046" y="5"/>
                  </a:lnTo>
                  <a:lnTo>
                    <a:pt x="1008" y="0"/>
                  </a:lnTo>
                  <a:lnTo>
                    <a:pt x="985" y="12"/>
                  </a:lnTo>
                  <a:lnTo>
                    <a:pt x="994" y="20"/>
                  </a:lnTo>
                  <a:lnTo>
                    <a:pt x="1008" y="21"/>
                  </a:lnTo>
                  <a:lnTo>
                    <a:pt x="972" y="24"/>
                  </a:lnTo>
                  <a:lnTo>
                    <a:pt x="984" y="27"/>
                  </a:lnTo>
                  <a:lnTo>
                    <a:pt x="960" y="29"/>
                  </a:lnTo>
                  <a:lnTo>
                    <a:pt x="936" y="30"/>
                  </a:lnTo>
                  <a:lnTo>
                    <a:pt x="892" y="30"/>
                  </a:lnTo>
                  <a:lnTo>
                    <a:pt x="910" y="31"/>
                  </a:lnTo>
                  <a:lnTo>
                    <a:pt x="875" y="37"/>
                  </a:lnTo>
                  <a:lnTo>
                    <a:pt x="840" y="44"/>
                  </a:lnTo>
                  <a:lnTo>
                    <a:pt x="827" y="47"/>
                  </a:lnTo>
                  <a:lnTo>
                    <a:pt x="827" y="56"/>
                  </a:lnTo>
                  <a:lnTo>
                    <a:pt x="814" y="55"/>
                  </a:lnTo>
                  <a:lnTo>
                    <a:pt x="836" y="61"/>
                  </a:lnTo>
                  <a:lnTo>
                    <a:pt x="822" y="62"/>
                  </a:lnTo>
                  <a:lnTo>
                    <a:pt x="840" y="68"/>
                  </a:lnTo>
                  <a:lnTo>
                    <a:pt x="840" y="71"/>
                  </a:lnTo>
                  <a:lnTo>
                    <a:pt x="798" y="74"/>
                  </a:lnTo>
                  <a:lnTo>
                    <a:pt x="756" y="79"/>
                  </a:lnTo>
                  <a:lnTo>
                    <a:pt x="762" y="87"/>
                  </a:lnTo>
                  <a:lnTo>
                    <a:pt x="781" y="102"/>
                  </a:lnTo>
                  <a:lnTo>
                    <a:pt x="803" y="105"/>
                  </a:lnTo>
                  <a:lnTo>
                    <a:pt x="832" y="116"/>
                  </a:lnTo>
                  <a:lnTo>
                    <a:pt x="846" y="134"/>
                  </a:lnTo>
                  <a:lnTo>
                    <a:pt x="851" y="141"/>
                  </a:lnTo>
                  <a:lnTo>
                    <a:pt x="842" y="143"/>
                  </a:lnTo>
                  <a:lnTo>
                    <a:pt x="828" y="129"/>
                  </a:lnTo>
                  <a:lnTo>
                    <a:pt x="826" y="137"/>
                  </a:lnTo>
                  <a:lnTo>
                    <a:pt x="816" y="123"/>
                  </a:lnTo>
                  <a:lnTo>
                    <a:pt x="826" y="115"/>
                  </a:lnTo>
                  <a:lnTo>
                    <a:pt x="791" y="111"/>
                  </a:lnTo>
                  <a:lnTo>
                    <a:pt x="756" y="101"/>
                  </a:lnTo>
                  <a:lnTo>
                    <a:pt x="728" y="105"/>
                  </a:lnTo>
                  <a:lnTo>
                    <a:pt x="741" y="111"/>
                  </a:lnTo>
                  <a:lnTo>
                    <a:pt x="709" y="110"/>
                  </a:lnTo>
                  <a:lnTo>
                    <a:pt x="717" y="117"/>
                  </a:lnTo>
                  <a:lnTo>
                    <a:pt x="756" y="125"/>
                  </a:lnTo>
                  <a:lnTo>
                    <a:pt x="763" y="129"/>
                  </a:lnTo>
                  <a:lnTo>
                    <a:pt x="707" y="120"/>
                  </a:lnTo>
                  <a:lnTo>
                    <a:pt x="689" y="93"/>
                  </a:lnTo>
                  <a:lnTo>
                    <a:pt x="675" y="92"/>
                  </a:lnTo>
                  <a:lnTo>
                    <a:pt x="690" y="107"/>
                  </a:lnTo>
                  <a:lnTo>
                    <a:pt x="674" y="115"/>
                  </a:lnTo>
                  <a:lnTo>
                    <a:pt x="680" y="123"/>
                  </a:lnTo>
                  <a:lnTo>
                    <a:pt x="704" y="138"/>
                  </a:lnTo>
                  <a:lnTo>
                    <a:pt x="702" y="153"/>
                  </a:lnTo>
                  <a:lnTo>
                    <a:pt x="717" y="169"/>
                  </a:lnTo>
                  <a:lnTo>
                    <a:pt x="759" y="167"/>
                  </a:lnTo>
                  <a:lnTo>
                    <a:pt x="781" y="173"/>
                  </a:lnTo>
                  <a:lnTo>
                    <a:pt x="791" y="187"/>
                  </a:lnTo>
                  <a:lnTo>
                    <a:pt x="797" y="195"/>
                  </a:lnTo>
                  <a:lnTo>
                    <a:pt x="821" y="200"/>
                  </a:lnTo>
                  <a:lnTo>
                    <a:pt x="786" y="195"/>
                  </a:lnTo>
                  <a:lnTo>
                    <a:pt x="773" y="177"/>
                  </a:lnTo>
                  <a:lnTo>
                    <a:pt x="761" y="170"/>
                  </a:lnTo>
                  <a:lnTo>
                    <a:pt x="731" y="176"/>
                  </a:lnTo>
                  <a:lnTo>
                    <a:pt x="749" y="198"/>
                  </a:lnTo>
                  <a:lnTo>
                    <a:pt x="734" y="219"/>
                  </a:lnTo>
                  <a:lnTo>
                    <a:pt x="727" y="223"/>
                  </a:lnTo>
                  <a:lnTo>
                    <a:pt x="717" y="227"/>
                  </a:lnTo>
                  <a:lnTo>
                    <a:pt x="672" y="221"/>
                  </a:lnTo>
                  <a:lnTo>
                    <a:pt x="667" y="217"/>
                  </a:lnTo>
                  <a:lnTo>
                    <a:pt x="697" y="218"/>
                  </a:lnTo>
                  <a:lnTo>
                    <a:pt x="691" y="221"/>
                  </a:lnTo>
                  <a:lnTo>
                    <a:pt x="711" y="218"/>
                  </a:lnTo>
                  <a:lnTo>
                    <a:pt x="708" y="213"/>
                  </a:lnTo>
                  <a:lnTo>
                    <a:pt x="721" y="192"/>
                  </a:lnTo>
                  <a:lnTo>
                    <a:pt x="721" y="182"/>
                  </a:lnTo>
                  <a:lnTo>
                    <a:pt x="693" y="165"/>
                  </a:lnTo>
                  <a:lnTo>
                    <a:pt x="681" y="145"/>
                  </a:lnTo>
                  <a:lnTo>
                    <a:pt x="668" y="126"/>
                  </a:lnTo>
                  <a:lnTo>
                    <a:pt x="651" y="117"/>
                  </a:lnTo>
                  <a:lnTo>
                    <a:pt x="651" y="98"/>
                  </a:lnTo>
                  <a:lnTo>
                    <a:pt x="626" y="90"/>
                  </a:lnTo>
                  <a:lnTo>
                    <a:pt x="593" y="92"/>
                  </a:lnTo>
                  <a:lnTo>
                    <a:pt x="589" y="119"/>
                  </a:lnTo>
                  <a:lnTo>
                    <a:pt x="577" y="128"/>
                  </a:lnTo>
                  <a:lnTo>
                    <a:pt x="581" y="133"/>
                  </a:lnTo>
                  <a:lnTo>
                    <a:pt x="591" y="134"/>
                  </a:lnTo>
                  <a:lnTo>
                    <a:pt x="595" y="147"/>
                  </a:lnTo>
                  <a:lnTo>
                    <a:pt x="600" y="156"/>
                  </a:lnTo>
                  <a:lnTo>
                    <a:pt x="621" y="162"/>
                  </a:lnTo>
                  <a:lnTo>
                    <a:pt x="636" y="171"/>
                  </a:lnTo>
                  <a:lnTo>
                    <a:pt x="643" y="173"/>
                  </a:lnTo>
                  <a:lnTo>
                    <a:pt x="636" y="186"/>
                  </a:lnTo>
                  <a:lnTo>
                    <a:pt x="612" y="173"/>
                  </a:lnTo>
                  <a:lnTo>
                    <a:pt x="572" y="163"/>
                  </a:lnTo>
                  <a:lnTo>
                    <a:pt x="536" y="157"/>
                  </a:lnTo>
                  <a:lnTo>
                    <a:pt x="499" y="152"/>
                  </a:lnTo>
                  <a:lnTo>
                    <a:pt x="493" y="158"/>
                  </a:lnTo>
                  <a:lnTo>
                    <a:pt x="511" y="173"/>
                  </a:lnTo>
                  <a:lnTo>
                    <a:pt x="499" y="179"/>
                  </a:lnTo>
                  <a:lnTo>
                    <a:pt x="498" y="185"/>
                  </a:lnTo>
                  <a:lnTo>
                    <a:pt x="488" y="182"/>
                  </a:lnTo>
                  <a:lnTo>
                    <a:pt x="483" y="173"/>
                  </a:lnTo>
                  <a:lnTo>
                    <a:pt x="461" y="176"/>
                  </a:lnTo>
                  <a:lnTo>
                    <a:pt x="443" y="179"/>
                  </a:lnTo>
                  <a:lnTo>
                    <a:pt x="422" y="186"/>
                  </a:lnTo>
                  <a:lnTo>
                    <a:pt x="397" y="183"/>
                  </a:lnTo>
                  <a:lnTo>
                    <a:pt x="404" y="181"/>
                  </a:lnTo>
                  <a:lnTo>
                    <a:pt x="397" y="173"/>
                  </a:lnTo>
                  <a:lnTo>
                    <a:pt x="410" y="170"/>
                  </a:lnTo>
                  <a:lnTo>
                    <a:pt x="380" y="179"/>
                  </a:lnTo>
                  <a:lnTo>
                    <a:pt x="379" y="181"/>
                  </a:lnTo>
                  <a:lnTo>
                    <a:pt x="347" y="188"/>
                  </a:lnTo>
                  <a:lnTo>
                    <a:pt x="329" y="194"/>
                  </a:lnTo>
                  <a:lnTo>
                    <a:pt x="330" y="198"/>
                  </a:lnTo>
                  <a:lnTo>
                    <a:pt x="314" y="200"/>
                  </a:lnTo>
                  <a:lnTo>
                    <a:pt x="313" y="215"/>
                  </a:lnTo>
                  <a:lnTo>
                    <a:pt x="288" y="215"/>
                  </a:lnTo>
                  <a:lnTo>
                    <a:pt x="269" y="203"/>
                  </a:lnTo>
                  <a:lnTo>
                    <a:pt x="294" y="193"/>
                  </a:lnTo>
                  <a:lnTo>
                    <a:pt x="265" y="179"/>
                  </a:lnTo>
                  <a:lnTo>
                    <a:pt x="233" y="177"/>
                  </a:lnTo>
                  <a:lnTo>
                    <a:pt x="251" y="186"/>
                  </a:lnTo>
                  <a:lnTo>
                    <a:pt x="259" y="209"/>
                  </a:lnTo>
                  <a:lnTo>
                    <a:pt x="266" y="224"/>
                  </a:lnTo>
                  <a:lnTo>
                    <a:pt x="265" y="234"/>
                  </a:lnTo>
                  <a:lnTo>
                    <a:pt x="257" y="233"/>
                  </a:lnTo>
                  <a:lnTo>
                    <a:pt x="251" y="225"/>
                  </a:lnTo>
                  <a:lnTo>
                    <a:pt x="231" y="223"/>
                  </a:lnTo>
                  <a:lnTo>
                    <a:pt x="216" y="235"/>
                  </a:lnTo>
                  <a:lnTo>
                    <a:pt x="199" y="247"/>
                  </a:lnTo>
                  <a:lnTo>
                    <a:pt x="216" y="265"/>
                  </a:lnTo>
                  <a:lnTo>
                    <a:pt x="177" y="260"/>
                  </a:lnTo>
                  <a:lnTo>
                    <a:pt x="152" y="252"/>
                  </a:lnTo>
                  <a:lnTo>
                    <a:pt x="153" y="261"/>
                  </a:lnTo>
                  <a:lnTo>
                    <a:pt x="171" y="270"/>
                  </a:lnTo>
                  <a:lnTo>
                    <a:pt x="181" y="277"/>
                  </a:lnTo>
                  <a:lnTo>
                    <a:pt x="158" y="279"/>
                  </a:lnTo>
                  <a:lnTo>
                    <a:pt x="125" y="264"/>
                  </a:lnTo>
                  <a:lnTo>
                    <a:pt x="114" y="245"/>
                  </a:lnTo>
                  <a:lnTo>
                    <a:pt x="113" y="239"/>
                  </a:lnTo>
                  <a:lnTo>
                    <a:pt x="115" y="237"/>
                  </a:lnTo>
                  <a:lnTo>
                    <a:pt x="93" y="227"/>
                  </a:lnTo>
                  <a:lnTo>
                    <a:pt x="84" y="222"/>
                  </a:lnTo>
                  <a:lnTo>
                    <a:pt x="62" y="210"/>
                  </a:lnTo>
                  <a:lnTo>
                    <a:pt x="75" y="213"/>
                  </a:lnTo>
                  <a:lnTo>
                    <a:pt x="120" y="223"/>
                  </a:lnTo>
                  <a:lnTo>
                    <a:pt x="165" y="233"/>
                  </a:lnTo>
                  <a:lnTo>
                    <a:pt x="207" y="223"/>
                  </a:lnTo>
                  <a:lnTo>
                    <a:pt x="212" y="207"/>
                  </a:lnTo>
                  <a:lnTo>
                    <a:pt x="195" y="195"/>
                  </a:lnTo>
                  <a:lnTo>
                    <a:pt x="147" y="181"/>
                  </a:lnTo>
                  <a:lnTo>
                    <a:pt x="101" y="165"/>
                  </a:lnTo>
                  <a:lnTo>
                    <a:pt x="73" y="167"/>
                  </a:lnTo>
                  <a:lnTo>
                    <a:pt x="66" y="169"/>
                  </a:lnTo>
                  <a:lnTo>
                    <a:pt x="72" y="161"/>
                  </a:lnTo>
                  <a:lnTo>
                    <a:pt x="61" y="163"/>
                  </a:lnTo>
                  <a:lnTo>
                    <a:pt x="48" y="156"/>
                  </a:lnTo>
                  <a:lnTo>
                    <a:pt x="63" y="153"/>
                  </a:lnTo>
                  <a:lnTo>
                    <a:pt x="44" y="151"/>
                  </a:lnTo>
                  <a:lnTo>
                    <a:pt x="37" y="155"/>
                  </a:lnTo>
                  <a:lnTo>
                    <a:pt x="27" y="153"/>
                  </a:lnTo>
                  <a:lnTo>
                    <a:pt x="29" y="158"/>
                  </a:lnTo>
                  <a:lnTo>
                    <a:pt x="18" y="159"/>
                  </a:lnTo>
                  <a:lnTo>
                    <a:pt x="1" y="169"/>
                  </a:lnTo>
                  <a:lnTo>
                    <a:pt x="0" y="173"/>
                  </a:lnTo>
                  <a:lnTo>
                    <a:pt x="2" y="187"/>
                  </a:lnTo>
                  <a:lnTo>
                    <a:pt x="26" y="200"/>
                  </a:lnTo>
                  <a:lnTo>
                    <a:pt x="15" y="216"/>
                  </a:lnTo>
                  <a:lnTo>
                    <a:pt x="37" y="241"/>
                  </a:lnTo>
                  <a:lnTo>
                    <a:pt x="38" y="259"/>
                  </a:lnTo>
                  <a:lnTo>
                    <a:pt x="44" y="267"/>
                  </a:lnTo>
                  <a:lnTo>
                    <a:pt x="54" y="277"/>
                  </a:lnTo>
                  <a:lnTo>
                    <a:pt x="47" y="283"/>
                  </a:lnTo>
                  <a:lnTo>
                    <a:pt x="78" y="301"/>
                  </a:lnTo>
                  <a:lnTo>
                    <a:pt x="65" y="314"/>
                  </a:lnTo>
                  <a:lnTo>
                    <a:pt x="51" y="327"/>
                  </a:lnTo>
                  <a:lnTo>
                    <a:pt x="39" y="341"/>
                  </a:lnTo>
                  <a:lnTo>
                    <a:pt x="25" y="354"/>
                  </a:lnTo>
                  <a:lnTo>
                    <a:pt x="38" y="354"/>
                  </a:lnTo>
                  <a:lnTo>
                    <a:pt x="36" y="354"/>
                  </a:lnTo>
                  <a:lnTo>
                    <a:pt x="39" y="359"/>
                  </a:lnTo>
                  <a:lnTo>
                    <a:pt x="71" y="367"/>
                  </a:lnTo>
                  <a:lnTo>
                    <a:pt x="51" y="367"/>
                  </a:lnTo>
                  <a:lnTo>
                    <a:pt x="36" y="374"/>
                  </a:lnTo>
                  <a:lnTo>
                    <a:pt x="31" y="380"/>
                  </a:lnTo>
                  <a:lnTo>
                    <a:pt x="37" y="402"/>
                  </a:lnTo>
                  <a:lnTo>
                    <a:pt x="29" y="416"/>
                  </a:lnTo>
                  <a:lnTo>
                    <a:pt x="39" y="433"/>
                  </a:lnTo>
                  <a:lnTo>
                    <a:pt x="53" y="459"/>
                  </a:lnTo>
                  <a:lnTo>
                    <a:pt x="81" y="464"/>
                  </a:lnTo>
                  <a:lnTo>
                    <a:pt x="110" y="469"/>
                  </a:lnTo>
                  <a:lnTo>
                    <a:pt x="115" y="497"/>
                  </a:lnTo>
                  <a:lnTo>
                    <a:pt x="139" y="517"/>
                  </a:lnTo>
                  <a:lnTo>
                    <a:pt x="132" y="524"/>
                  </a:lnTo>
                  <a:lnTo>
                    <a:pt x="138" y="546"/>
                  </a:lnTo>
                  <a:lnTo>
                    <a:pt x="153" y="541"/>
                  </a:lnTo>
                  <a:lnTo>
                    <a:pt x="183" y="545"/>
                  </a:lnTo>
                  <a:lnTo>
                    <a:pt x="187" y="553"/>
                  </a:lnTo>
                  <a:lnTo>
                    <a:pt x="212" y="573"/>
                  </a:lnTo>
                  <a:lnTo>
                    <a:pt x="237" y="595"/>
                  </a:lnTo>
                  <a:lnTo>
                    <a:pt x="249" y="593"/>
                  </a:lnTo>
                  <a:lnTo>
                    <a:pt x="278" y="602"/>
                  </a:lnTo>
                  <a:lnTo>
                    <a:pt x="307" y="611"/>
                  </a:lnTo>
                  <a:lnTo>
                    <a:pt x="320" y="645"/>
                  </a:lnTo>
                  <a:lnTo>
                    <a:pt x="305" y="653"/>
                  </a:lnTo>
                  <a:lnTo>
                    <a:pt x="297" y="667"/>
                  </a:lnTo>
                  <a:lnTo>
                    <a:pt x="302" y="672"/>
                  </a:lnTo>
                  <a:lnTo>
                    <a:pt x="287" y="680"/>
                  </a:lnTo>
                  <a:lnTo>
                    <a:pt x="277" y="683"/>
                  </a:lnTo>
                  <a:lnTo>
                    <a:pt x="293" y="696"/>
                  </a:lnTo>
                  <a:lnTo>
                    <a:pt x="287" y="695"/>
                  </a:lnTo>
                  <a:lnTo>
                    <a:pt x="284" y="702"/>
                  </a:lnTo>
                  <a:lnTo>
                    <a:pt x="281" y="697"/>
                  </a:lnTo>
                  <a:lnTo>
                    <a:pt x="279" y="711"/>
                  </a:lnTo>
                  <a:lnTo>
                    <a:pt x="263" y="713"/>
                  </a:lnTo>
                  <a:lnTo>
                    <a:pt x="258" y="717"/>
                  </a:lnTo>
                  <a:lnTo>
                    <a:pt x="288" y="733"/>
                  </a:lnTo>
                  <a:lnTo>
                    <a:pt x="318" y="749"/>
                  </a:lnTo>
                  <a:lnTo>
                    <a:pt x="319" y="746"/>
                  </a:lnTo>
                  <a:lnTo>
                    <a:pt x="342" y="749"/>
                  </a:lnTo>
                  <a:lnTo>
                    <a:pt x="363" y="750"/>
                  </a:lnTo>
                  <a:lnTo>
                    <a:pt x="393" y="762"/>
                  </a:lnTo>
                  <a:lnTo>
                    <a:pt x="423" y="774"/>
                  </a:lnTo>
                  <a:lnTo>
                    <a:pt x="453" y="786"/>
                  </a:lnTo>
                  <a:lnTo>
                    <a:pt x="483" y="798"/>
                  </a:lnTo>
                  <a:lnTo>
                    <a:pt x="517" y="804"/>
                  </a:lnTo>
                  <a:lnTo>
                    <a:pt x="500" y="785"/>
                  </a:lnTo>
                  <a:lnTo>
                    <a:pt x="483" y="767"/>
                  </a:lnTo>
                  <a:lnTo>
                    <a:pt x="480" y="750"/>
                  </a:lnTo>
                  <a:lnTo>
                    <a:pt x="479" y="756"/>
                  </a:lnTo>
                  <a:lnTo>
                    <a:pt x="468" y="738"/>
                  </a:lnTo>
                  <a:lnTo>
                    <a:pt x="461" y="731"/>
                  </a:lnTo>
                  <a:lnTo>
                    <a:pt x="471" y="707"/>
                  </a:lnTo>
                  <a:lnTo>
                    <a:pt x="492" y="697"/>
                  </a:lnTo>
                  <a:lnTo>
                    <a:pt x="501" y="692"/>
                  </a:lnTo>
                  <a:lnTo>
                    <a:pt x="499" y="686"/>
                  </a:lnTo>
                  <a:lnTo>
                    <a:pt x="485" y="662"/>
                  </a:lnTo>
                  <a:lnTo>
                    <a:pt x="461" y="644"/>
                  </a:lnTo>
                  <a:lnTo>
                    <a:pt x="438" y="626"/>
                  </a:lnTo>
                  <a:lnTo>
                    <a:pt x="441" y="599"/>
                  </a:lnTo>
                  <a:lnTo>
                    <a:pt x="444" y="572"/>
                  </a:lnTo>
                  <a:lnTo>
                    <a:pt x="467" y="583"/>
                  </a:lnTo>
                  <a:lnTo>
                    <a:pt x="470" y="572"/>
                  </a:lnTo>
                  <a:lnTo>
                    <a:pt x="485" y="561"/>
                  </a:lnTo>
                  <a:lnTo>
                    <a:pt x="500" y="551"/>
                  </a:lnTo>
                  <a:lnTo>
                    <a:pt x="528" y="551"/>
                  </a:lnTo>
                  <a:lnTo>
                    <a:pt x="553" y="563"/>
                  </a:lnTo>
                  <a:lnTo>
                    <a:pt x="579" y="573"/>
                  </a:lnTo>
                  <a:lnTo>
                    <a:pt x="608" y="572"/>
                  </a:lnTo>
                  <a:lnTo>
                    <a:pt x="645" y="571"/>
                  </a:lnTo>
                  <a:lnTo>
                    <a:pt x="684" y="577"/>
                  </a:lnTo>
                  <a:lnTo>
                    <a:pt x="686" y="571"/>
                  </a:lnTo>
                  <a:lnTo>
                    <a:pt x="666" y="546"/>
                  </a:lnTo>
                  <a:lnTo>
                    <a:pt x="675" y="519"/>
                  </a:lnTo>
                  <a:lnTo>
                    <a:pt x="692" y="519"/>
                  </a:lnTo>
                  <a:lnTo>
                    <a:pt x="669" y="509"/>
                  </a:lnTo>
                  <a:lnTo>
                    <a:pt x="693" y="504"/>
                  </a:lnTo>
                  <a:lnTo>
                    <a:pt x="719" y="500"/>
                  </a:lnTo>
                  <a:lnTo>
                    <a:pt x="741" y="494"/>
                  </a:lnTo>
                  <a:lnTo>
                    <a:pt x="765" y="487"/>
                  </a:lnTo>
                  <a:lnTo>
                    <a:pt x="788" y="481"/>
                  </a:lnTo>
                  <a:lnTo>
                    <a:pt x="811" y="474"/>
                  </a:lnTo>
                  <a:lnTo>
                    <a:pt x="828" y="473"/>
                  </a:lnTo>
                  <a:lnTo>
                    <a:pt x="842" y="487"/>
                  </a:lnTo>
                  <a:lnTo>
                    <a:pt x="880" y="500"/>
                  </a:lnTo>
                  <a:lnTo>
                    <a:pt x="893" y="507"/>
                  </a:lnTo>
                  <a:lnTo>
                    <a:pt x="908" y="510"/>
                  </a:lnTo>
                  <a:lnTo>
                    <a:pt x="932" y="501"/>
                  </a:lnTo>
                  <a:lnTo>
                    <a:pt x="958" y="492"/>
                  </a:lnTo>
                  <a:lnTo>
                    <a:pt x="961" y="495"/>
                  </a:lnTo>
                  <a:lnTo>
                    <a:pt x="958" y="507"/>
                  </a:lnTo>
                  <a:lnTo>
                    <a:pt x="984" y="524"/>
                  </a:lnTo>
                  <a:lnTo>
                    <a:pt x="1010" y="542"/>
                  </a:lnTo>
                  <a:lnTo>
                    <a:pt x="1037" y="560"/>
                  </a:lnTo>
                  <a:lnTo>
                    <a:pt x="1063" y="578"/>
                  </a:lnTo>
                  <a:lnTo>
                    <a:pt x="1067" y="572"/>
                  </a:lnTo>
                  <a:lnTo>
                    <a:pt x="1081" y="577"/>
                  </a:lnTo>
                  <a:lnTo>
                    <a:pt x="1106" y="573"/>
                  </a:lnTo>
                  <a:lnTo>
                    <a:pt x="1133" y="589"/>
                  </a:lnTo>
                  <a:lnTo>
                    <a:pt x="1159" y="606"/>
                  </a:lnTo>
                  <a:lnTo>
                    <a:pt x="1184" y="600"/>
                  </a:lnTo>
                  <a:lnTo>
                    <a:pt x="1206" y="623"/>
                  </a:lnTo>
                  <a:lnTo>
                    <a:pt x="1222" y="621"/>
                  </a:lnTo>
                  <a:lnTo>
                    <a:pt x="1231" y="613"/>
                  </a:lnTo>
                  <a:lnTo>
                    <a:pt x="1249" y="606"/>
                  </a:lnTo>
                  <a:lnTo>
                    <a:pt x="1268" y="594"/>
                  </a:lnTo>
                  <a:lnTo>
                    <a:pt x="1288" y="583"/>
                  </a:lnTo>
                  <a:lnTo>
                    <a:pt x="1327" y="588"/>
                  </a:lnTo>
                  <a:lnTo>
                    <a:pt x="1333" y="596"/>
                  </a:lnTo>
                  <a:lnTo>
                    <a:pt x="1363" y="601"/>
                  </a:lnTo>
                  <a:lnTo>
                    <a:pt x="1392" y="606"/>
                  </a:lnTo>
                  <a:lnTo>
                    <a:pt x="1406" y="594"/>
                  </a:lnTo>
                  <a:lnTo>
                    <a:pt x="1388" y="577"/>
                  </a:lnTo>
                  <a:lnTo>
                    <a:pt x="1393" y="553"/>
                  </a:lnTo>
                  <a:lnTo>
                    <a:pt x="1427" y="560"/>
                  </a:lnTo>
                  <a:lnTo>
                    <a:pt x="1459" y="567"/>
                  </a:lnTo>
                  <a:lnTo>
                    <a:pt x="1474" y="581"/>
                  </a:lnTo>
                  <a:lnTo>
                    <a:pt x="1504" y="596"/>
                  </a:lnTo>
                  <a:lnTo>
                    <a:pt x="1537" y="590"/>
                  </a:lnTo>
                  <a:lnTo>
                    <a:pt x="1564" y="595"/>
                  </a:lnTo>
                  <a:lnTo>
                    <a:pt x="1591" y="601"/>
                  </a:lnTo>
                  <a:lnTo>
                    <a:pt x="1602" y="611"/>
                  </a:lnTo>
                  <a:lnTo>
                    <a:pt x="1643" y="620"/>
                  </a:lnTo>
                  <a:lnTo>
                    <a:pt x="1666" y="617"/>
                  </a:lnTo>
                  <a:lnTo>
                    <a:pt x="1687" y="612"/>
                  </a:lnTo>
                  <a:lnTo>
                    <a:pt x="1710" y="595"/>
                  </a:lnTo>
                  <a:lnTo>
                    <a:pt x="1746" y="603"/>
                  </a:lnTo>
                  <a:lnTo>
                    <a:pt x="1764" y="605"/>
                  </a:lnTo>
                  <a:lnTo>
                    <a:pt x="1793" y="611"/>
                  </a:lnTo>
                  <a:lnTo>
                    <a:pt x="1807" y="595"/>
                  </a:lnTo>
                  <a:lnTo>
                    <a:pt x="1801" y="577"/>
                  </a:lnTo>
                  <a:lnTo>
                    <a:pt x="1800" y="548"/>
                  </a:lnTo>
                  <a:lnTo>
                    <a:pt x="1786" y="539"/>
                  </a:lnTo>
                  <a:lnTo>
                    <a:pt x="1777" y="535"/>
                  </a:lnTo>
                  <a:lnTo>
                    <a:pt x="1792" y="522"/>
                  </a:lnTo>
                  <a:lnTo>
                    <a:pt x="1816" y="521"/>
                  </a:lnTo>
                  <a:lnTo>
                    <a:pt x="1840" y="521"/>
                  </a:lnTo>
                  <a:lnTo>
                    <a:pt x="1890" y="536"/>
                  </a:lnTo>
                  <a:lnTo>
                    <a:pt x="1909" y="553"/>
                  </a:lnTo>
                  <a:lnTo>
                    <a:pt x="1930" y="570"/>
                  </a:lnTo>
                  <a:lnTo>
                    <a:pt x="1949" y="587"/>
                  </a:lnTo>
                  <a:lnTo>
                    <a:pt x="1969" y="603"/>
                  </a:lnTo>
                  <a:lnTo>
                    <a:pt x="1991" y="612"/>
                  </a:lnTo>
                  <a:lnTo>
                    <a:pt x="2026" y="621"/>
                  </a:lnTo>
                  <a:lnTo>
                    <a:pt x="2046" y="630"/>
                  </a:lnTo>
                  <a:lnTo>
                    <a:pt x="2071" y="656"/>
                  </a:lnTo>
                  <a:lnTo>
                    <a:pt x="2100" y="653"/>
                  </a:lnTo>
                  <a:lnTo>
                    <a:pt x="2131" y="642"/>
                  </a:lnTo>
                  <a:lnTo>
                    <a:pt x="2143" y="663"/>
                  </a:lnTo>
                  <a:lnTo>
                    <a:pt x="2147" y="692"/>
                  </a:lnTo>
                  <a:lnTo>
                    <a:pt x="2151" y="721"/>
                  </a:lnTo>
                  <a:lnTo>
                    <a:pt x="2124" y="716"/>
                  </a:lnTo>
                  <a:lnTo>
                    <a:pt x="2121" y="729"/>
                  </a:lnTo>
                  <a:lnTo>
                    <a:pt x="2134" y="751"/>
                  </a:lnTo>
                  <a:lnTo>
                    <a:pt x="2148" y="773"/>
                  </a:lnTo>
                  <a:lnTo>
                    <a:pt x="2140" y="779"/>
                  </a:lnTo>
                  <a:lnTo>
                    <a:pt x="2145" y="786"/>
                  </a:lnTo>
                  <a:lnTo>
                    <a:pt x="2148" y="788"/>
                  </a:lnTo>
                  <a:lnTo>
                    <a:pt x="2146" y="781"/>
                  </a:lnTo>
                  <a:lnTo>
                    <a:pt x="2149" y="781"/>
                  </a:lnTo>
                  <a:lnTo>
                    <a:pt x="2160" y="767"/>
                  </a:lnTo>
                  <a:lnTo>
                    <a:pt x="2166" y="764"/>
                  </a:lnTo>
                  <a:lnTo>
                    <a:pt x="2172" y="775"/>
                  </a:lnTo>
                  <a:lnTo>
                    <a:pt x="2187" y="776"/>
                  </a:lnTo>
                  <a:lnTo>
                    <a:pt x="2211" y="768"/>
                  </a:lnTo>
                  <a:lnTo>
                    <a:pt x="2218" y="751"/>
                  </a:lnTo>
                  <a:lnTo>
                    <a:pt x="2224" y="734"/>
                  </a:lnTo>
                  <a:lnTo>
                    <a:pt x="2227" y="710"/>
                  </a:lnTo>
                  <a:lnTo>
                    <a:pt x="2230" y="687"/>
                  </a:lnTo>
                  <a:lnTo>
                    <a:pt x="2232" y="665"/>
                  </a:lnTo>
                  <a:lnTo>
                    <a:pt x="2233" y="642"/>
                  </a:lnTo>
                  <a:lnTo>
                    <a:pt x="2224" y="621"/>
                  </a:lnTo>
                  <a:lnTo>
                    <a:pt x="2214" y="601"/>
                  </a:lnTo>
                  <a:lnTo>
                    <a:pt x="2202" y="588"/>
                  </a:lnTo>
                  <a:lnTo>
                    <a:pt x="2197" y="572"/>
                  </a:lnTo>
                  <a:lnTo>
                    <a:pt x="2191" y="557"/>
                  </a:lnTo>
                  <a:lnTo>
                    <a:pt x="2177" y="540"/>
                  </a:lnTo>
                  <a:lnTo>
                    <a:pt x="2155" y="527"/>
                  </a:lnTo>
                  <a:lnTo>
                    <a:pt x="2169" y="528"/>
                  </a:lnTo>
                  <a:lnTo>
                    <a:pt x="2118" y="501"/>
                  </a:lnTo>
                  <a:lnTo>
                    <a:pt x="2094" y="498"/>
                  </a:lnTo>
                  <a:lnTo>
                    <a:pt x="2101" y="509"/>
                  </a:lnTo>
                  <a:lnTo>
                    <a:pt x="2085" y="517"/>
                  </a:lnTo>
                  <a:lnTo>
                    <a:pt x="2085" y="509"/>
                  </a:lnTo>
                  <a:lnTo>
                    <a:pt x="2074" y="505"/>
                  </a:lnTo>
                  <a:lnTo>
                    <a:pt x="2071" y="510"/>
                  </a:lnTo>
                  <a:lnTo>
                    <a:pt x="2056" y="493"/>
                  </a:lnTo>
                  <a:lnTo>
                    <a:pt x="2022" y="489"/>
                  </a:lnTo>
                  <a:lnTo>
                    <a:pt x="2031" y="468"/>
                  </a:lnTo>
                  <a:lnTo>
                    <a:pt x="2037" y="447"/>
                  </a:lnTo>
                  <a:lnTo>
                    <a:pt x="2043" y="433"/>
                  </a:lnTo>
                  <a:lnTo>
                    <a:pt x="2049" y="419"/>
                  </a:lnTo>
                  <a:lnTo>
                    <a:pt x="2044" y="408"/>
                  </a:lnTo>
                  <a:lnTo>
                    <a:pt x="2052" y="387"/>
                  </a:lnTo>
                  <a:lnTo>
                    <a:pt x="2075" y="384"/>
                  </a:lnTo>
                  <a:lnTo>
                    <a:pt x="2099" y="380"/>
                  </a:lnTo>
                  <a:lnTo>
                    <a:pt x="2105" y="380"/>
                  </a:lnTo>
                  <a:lnTo>
                    <a:pt x="2115" y="385"/>
                  </a:lnTo>
                  <a:lnTo>
                    <a:pt x="2117" y="381"/>
                  </a:lnTo>
                  <a:lnTo>
                    <a:pt x="2161" y="384"/>
                  </a:lnTo>
                  <a:lnTo>
                    <a:pt x="2163" y="379"/>
                  </a:lnTo>
                  <a:lnTo>
                    <a:pt x="2159" y="375"/>
                  </a:lnTo>
                  <a:lnTo>
                    <a:pt x="2194" y="377"/>
                  </a:lnTo>
                  <a:lnTo>
                    <a:pt x="2221" y="383"/>
                  </a:lnTo>
                  <a:lnTo>
                    <a:pt x="2212" y="386"/>
                  </a:lnTo>
                  <a:lnTo>
                    <a:pt x="2219" y="393"/>
                  </a:lnTo>
                  <a:lnTo>
                    <a:pt x="2238" y="391"/>
                  </a:lnTo>
                  <a:lnTo>
                    <a:pt x="2251" y="385"/>
                  </a:lnTo>
                  <a:lnTo>
                    <a:pt x="2279" y="386"/>
                  </a:lnTo>
                  <a:lnTo>
                    <a:pt x="2274" y="381"/>
                  </a:lnTo>
                  <a:lnTo>
                    <a:pt x="2256" y="379"/>
                  </a:lnTo>
                  <a:lnTo>
                    <a:pt x="2249" y="373"/>
                  </a:lnTo>
                  <a:lnTo>
                    <a:pt x="2248" y="351"/>
                  </a:lnTo>
                  <a:lnTo>
                    <a:pt x="2247" y="329"/>
                  </a:lnTo>
                  <a:lnTo>
                    <a:pt x="2285" y="327"/>
                  </a:lnTo>
                  <a:lnTo>
                    <a:pt x="2293" y="325"/>
                  </a:lnTo>
                  <a:lnTo>
                    <a:pt x="2314" y="345"/>
                  </a:lnTo>
                  <a:lnTo>
                    <a:pt x="2317" y="343"/>
                  </a:lnTo>
                  <a:lnTo>
                    <a:pt x="2329" y="354"/>
                  </a:lnTo>
                  <a:lnTo>
                    <a:pt x="2339" y="331"/>
                  </a:lnTo>
                  <a:lnTo>
                    <a:pt x="2350" y="331"/>
                  </a:lnTo>
                  <a:lnTo>
                    <a:pt x="2329" y="312"/>
                  </a:lnTo>
                  <a:lnTo>
                    <a:pt x="2335" y="308"/>
                  </a:lnTo>
                  <a:lnTo>
                    <a:pt x="2367" y="312"/>
                  </a:lnTo>
                  <a:lnTo>
                    <a:pt x="2370" y="315"/>
                  </a:lnTo>
                  <a:lnTo>
                    <a:pt x="2353" y="314"/>
                  </a:lnTo>
                  <a:lnTo>
                    <a:pt x="2368" y="330"/>
                  </a:lnTo>
                  <a:lnTo>
                    <a:pt x="2382" y="345"/>
                  </a:lnTo>
                  <a:lnTo>
                    <a:pt x="2371" y="354"/>
                  </a:lnTo>
                  <a:lnTo>
                    <a:pt x="2368" y="371"/>
                  </a:lnTo>
                  <a:lnTo>
                    <a:pt x="2363" y="390"/>
                  </a:lnTo>
                  <a:lnTo>
                    <a:pt x="2362" y="413"/>
                  </a:lnTo>
                  <a:lnTo>
                    <a:pt x="2344" y="416"/>
                  </a:lnTo>
                  <a:lnTo>
                    <a:pt x="2352" y="423"/>
                  </a:lnTo>
                  <a:lnTo>
                    <a:pt x="2355" y="439"/>
                  </a:lnTo>
                  <a:lnTo>
                    <a:pt x="2370" y="459"/>
                  </a:lnTo>
                  <a:lnTo>
                    <a:pt x="2386" y="479"/>
                  </a:lnTo>
                  <a:lnTo>
                    <a:pt x="2415" y="504"/>
                  </a:lnTo>
                  <a:lnTo>
                    <a:pt x="2443" y="528"/>
                  </a:lnTo>
                  <a:lnTo>
                    <a:pt x="2472" y="553"/>
                  </a:lnTo>
                  <a:lnTo>
                    <a:pt x="2502" y="577"/>
                  </a:lnTo>
                  <a:lnTo>
                    <a:pt x="2510" y="563"/>
                  </a:lnTo>
                  <a:lnTo>
                    <a:pt x="2493" y="530"/>
                  </a:lnTo>
                  <a:lnTo>
                    <a:pt x="2500" y="525"/>
                  </a:lnTo>
                  <a:lnTo>
                    <a:pt x="2513" y="528"/>
                  </a:lnTo>
                  <a:lnTo>
                    <a:pt x="2510" y="523"/>
                  </a:lnTo>
                  <a:lnTo>
                    <a:pt x="2493" y="500"/>
                  </a:lnTo>
                  <a:lnTo>
                    <a:pt x="2516" y="491"/>
                  </a:lnTo>
                  <a:lnTo>
                    <a:pt x="2486" y="465"/>
                  </a:lnTo>
                  <a:lnTo>
                    <a:pt x="2484" y="453"/>
                  </a:lnTo>
                  <a:lnTo>
                    <a:pt x="2487" y="449"/>
                  </a:lnTo>
                  <a:lnTo>
                    <a:pt x="2486" y="453"/>
                  </a:lnTo>
                  <a:lnTo>
                    <a:pt x="2500" y="458"/>
                  </a:lnTo>
                  <a:lnTo>
                    <a:pt x="2484" y="443"/>
                  </a:lnTo>
                  <a:lnTo>
                    <a:pt x="2475" y="441"/>
                  </a:lnTo>
                  <a:lnTo>
                    <a:pt x="2454" y="416"/>
                  </a:lnTo>
                  <a:lnTo>
                    <a:pt x="2445" y="419"/>
                  </a:lnTo>
                  <a:lnTo>
                    <a:pt x="2427" y="411"/>
                  </a:lnTo>
                  <a:lnTo>
                    <a:pt x="2417" y="386"/>
                  </a:lnTo>
                  <a:lnTo>
                    <a:pt x="2406" y="371"/>
                  </a:lnTo>
                  <a:lnTo>
                    <a:pt x="2418" y="366"/>
                  </a:lnTo>
                  <a:lnTo>
                    <a:pt x="2433" y="372"/>
                  </a:lnTo>
                  <a:lnTo>
                    <a:pt x="2429" y="365"/>
                  </a:lnTo>
                  <a:lnTo>
                    <a:pt x="2437" y="356"/>
                  </a:lnTo>
                  <a:lnTo>
                    <a:pt x="2454" y="371"/>
                  </a:lnTo>
                  <a:lnTo>
                    <a:pt x="2455" y="360"/>
                  </a:lnTo>
                  <a:lnTo>
                    <a:pt x="2487" y="354"/>
                  </a:lnTo>
                  <a:lnTo>
                    <a:pt x="2519" y="366"/>
                  </a:lnTo>
                  <a:lnTo>
                    <a:pt x="2519" y="361"/>
                  </a:lnTo>
                  <a:lnTo>
                    <a:pt x="2528" y="345"/>
                  </a:lnTo>
                  <a:lnTo>
                    <a:pt x="2530" y="343"/>
                  </a:lnTo>
                  <a:lnTo>
                    <a:pt x="2529" y="336"/>
                  </a:lnTo>
                  <a:lnTo>
                    <a:pt x="2531" y="333"/>
                  </a:lnTo>
                  <a:lnTo>
                    <a:pt x="2549" y="321"/>
                  </a:lnTo>
                  <a:lnTo>
                    <a:pt x="2567" y="309"/>
                  </a:lnTo>
                  <a:lnTo>
                    <a:pt x="2558" y="307"/>
                  </a:lnTo>
                  <a:lnTo>
                    <a:pt x="2564" y="306"/>
                  </a:lnTo>
                  <a:lnTo>
                    <a:pt x="2603" y="314"/>
                  </a:lnTo>
                  <a:lnTo>
                    <a:pt x="2606" y="311"/>
                  </a:lnTo>
                  <a:lnTo>
                    <a:pt x="2588" y="300"/>
                  </a:lnTo>
                  <a:lnTo>
                    <a:pt x="2568" y="290"/>
                  </a:lnTo>
                  <a:lnTo>
                    <a:pt x="2558" y="287"/>
                  </a:lnTo>
                  <a:lnTo>
                    <a:pt x="2528" y="269"/>
                  </a:lnTo>
                  <a:lnTo>
                    <a:pt x="2526" y="272"/>
                  </a:lnTo>
                  <a:lnTo>
                    <a:pt x="2505" y="260"/>
                  </a:lnTo>
                  <a:lnTo>
                    <a:pt x="2517" y="263"/>
                  </a:lnTo>
                  <a:lnTo>
                    <a:pt x="2536" y="259"/>
                  </a:lnTo>
                  <a:lnTo>
                    <a:pt x="2505" y="236"/>
                  </a:lnTo>
                  <a:lnTo>
                    <a:pt x="2472" y="215"/>
                  </a:lnTo>
                  <a:lnTo>
                    <a:pt x="2441" y="192"/>
                  </a:lnTo>
                  <a:lnTo>
                    <a:pt x="2409" y="17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95" name="Freeform 223"/>
            <p:cNvSpPr>
              <a:spLocks/>
            </p:cNvSpPr>
            <p:nvPr/>
          </p:nvSpPr>
          <p:spPr bwMode="auto">
            <a:xfrm>
              <a:off x="3178" y="808"/>
              <a:ext cx="132" cy="50"/>
            </a:xfrm>
            <a:custGeom>
              <a:avLst/>
              <a:gdLst>
                <a:gd name="T0" fmla="*/ 1 w 188"/>
                <a:gd name="T1" fmla="*/ 1 h 71"/>
                <a:gd name="T2" fmla="*/ 1 w 188"/>
                <a:gd name="T3" fmla="*/ 1 h 71"/>
                <a:gd name="T4" fmla="*/ 1 w 188"/>
                <a:gd name="T5" fmla="*/ 1 h 71"/>
                <a:gd name="T6" fmla="*/ 1 w 188"/>
                <a:gd name="T7" fmla="*/ 1 h 71"/>
                <a:gd name="T8" fmla="*/ 1 w 188"/>
                <a:gd name="T9" fmla="*/ 1 h 71"/>
                <a:gd name="T10" fmla="*/ 1 w 188"/>
                <a:gd name="T11" fmla="*/ 1 h 71"/>
                <a:gd name="T12" fmla="*/ 1 w 188"/>
                <a:gd name="T13" fmla="*/ 1 h 71"/>
                <a:gd name="T14" fmla="*/ 1 w 188"/>
                <a:gd name="T15" fmla="*/ 1 h 71"/>
                <a:gd name="T16" fmla="*/ 1 w 188"/>
                <a:gd name="T17" fmla="*/ 1 h 71"/>
                <a:gd name="T18" fmla="*/ 1 w 188"/>
                <a:gd name="T19" fmla="*/ 1 h 71"/>
                <a:gd name="T20" fmla="*/ 1 w 188"/>
                <a:gd name="T21" fmla="*/ 1 h 71"/>
                <a:gd name="T22" fmla="*/ 1 w 188"/>
                <a:gd name="T23" fmla="*/ 1 h 71"/>
                <a:gd name="T24" fmla="*/ 1 w 188"/>
                <a:gd name="T25" fmla="*/ 1 h 71"/>
                <a:gd name="T26" fmla="*/ 1 w 188"/>
                <a:gd name="T27" fmla="*/ 1 h 71"/>
                <a:gd name="T28" fmla="*/ 1 w 188"/>
                <a:gd name="T29" fmla="*/ 1 h 71"/>
                <a:gd name="T30" fmla="*/ 1 w 188"/>
                <a:gd name="T31" fmla="*/ 1 h 71"/>
                <a:gd name="T32" fmla="*/ 1 w 188"/>
                <a:gd name="T33" fmla="*/ 1 h 71"/>
                <a:gd name="T34" fmla="*/ 1 w 188"/>
                <a:gd name="T35" fmla="*/ 1 h 71"/>
                <a:gd name="T36" fmla="*/ 1 w 188"/>
                <a:gd name="T37" fmla="*/ 1 h 71"/>
                <a:gd name="T38" fmla="*/ 0 w 188"/>
                <a:gd name="T39" fmla="*/ 1 h 71"/>
                <a:gd name="T40" fmla="*/ 1 w 188"/>
                <a:gd name="T41" fmla="*/ 1 h 71"/>
                <a:gd name="T42" fmla="*/ 1 w 188"/>
                <a:gd name="T43" fmla="*/ 1 h 71"/>
                <a:gd name="T44" fmla="*/ 1 w 188"/>
                <a:gd name="T45" fmla="*/ 1 h 71"/>
                <a:gd name="T46" fmla="*/ 1 w 188"/>
                <a:gd name="T47" fmla="*/ 1 h 71"/>
                <a:gd name="T48" fmla="*/ 1 w 188"/>
                <a:gd name="T49" fmla="*/ 1 h 71"/>
                <a:gd name="T50" fmla="*/ 1 w 188"/>
                <a:gd name="T51" fmla="*/ 1 h 71"/>
                <a:gd name="T52" fmla="*/ 1 w 188"/>
                <a:gd name="T53" fmla="*/ 1 h 71"/>
                <a:gd name="T54" fmla="*/ 1 w 188"/>
                <a:gd name="T55" fmla="*/ 1 h 71"/>
                <a:gd name="T56" fmla="*/ 1 w 188"/>
                <a:gd name="T57" fmla="*/ 1 h 71"/>
                <a:gd name="T58" fmla="*/ 1 w 188"/>
                <a:gd name="T59" fmla="*/ 1 h 71"/>
                <a:gd name="T60" fmla="*/ 1 w 188"/>
                <a:gd name="T61" fmla="*/ 1 h 71"/>
                <a:gd name="T62" fmla="*/ 1 w 188"/>
                <a:gd name="T63" fmla="*/ 1 h 71"/>
                <a:gd name="T64" fmla="*/ 1 w 188"/>
                <a:gd name="T65" fmla="*/ 1 h 71"/>
                <a:gd name="T66" fmla="*/ 1 w 188"/>
                <a:gd name="T67" fmla="*/ 0 h 71"/>
                <a:gd name="T68" fmla="*/ 1 w 188"/>
                <a:gd name="T69" fmla="*/ 1 h 7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88"/>
                <a:gd name="T106" fmla="*/ 0 h 71"/>
                <a:gd name="T107" fmla="*/ 188 w 188"/>
                <a:gd name="T108" fmla="*/ 71 h 71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88" h="71">
                  <a:moveTo>
                    <a:pt x="188" y="5"/>
                  </a:moveTo>
                  <a:lnTo>
                    <a:pt x="173" y="14"/>
                  </a:lnTo>
                  <a:lnTo>
                    <a:pt x="132" y="25"/>
                  </a:lnTo>
                  <a:lnTo>
                    <a:pt x="90" y="35"/>
                  </a:lnTo>
                  <a:lnTo>
                    <a:pt x="80" y="36"/>
                  </a:lnTo>
                  <a:lnTo>
                    <a:pt x="86" y="39"/>
                  </a:lnTo>
                  <a:lnTo>
                    <a:pt x="83" y="43"/>
                  </a:lnTo>
                  <a:lnTo>
                    <a:pt x="74" y="44"/>
                  </a:lnTo>
                  <a:lnTo>
                    <a:pt x="75" y="48"/>
                  </a:lnTo>
                  <a:lnTo>
                    <a:pt x="59" y="45"/>
                  </a:lnTo>
                  <a:lnTo>
                    <a:pt x="64" y="53"/>
                  </a:lnTo>
                  <a:lnTo>
                    <a:pt x="58" y="55"/>
                  </a:lnTo>
                  <a:lnTo>
                    <a:pt x="62" y="62"/>
                  </a:lnTo>
                  <a:lnTo>
                    <a:pt x="42" y="59"/>
                  </a:lnTo>
                  <a:lnTo>
                    <a:pt x="62" y="65"/>
                  </a:lnTo>
                  <a:lnTo>
                    <a:pt x="51" y="65"/>
                  </a:lnTo>
                  <a:lnTo>
                    <a:pt x="54" y="71"/>
                  </a:lnTo>
                  <a:lnTo>
                    <a:pt x="11" y="67"/>
                  </a:lnTo>
                  <a:lnTo>
                    <a:pt x="18" y="62"/>
                  </a:lnTo>
                  <a:lnTo>
                    <a:pt x="0" y="61"/>
                  </a:lnTo>
                  <a:lnTo>
                    <a:pt x="18" y="53"/>
                  </a:lnTo>
                  <a:lnTo>
                    <a:pt x="24" y="53"/>
                  </a:lnTo>
                  <a:lnTo>
                    <a:pt x="17" y="49"/>
                  </a:lnTo>
                  <a:lnTo>
                    <a:pt x="22" y="45"/>
                  </a:lnTo>
                  <a:lnTo>
                    <a:pt x="32" y="41"/>
                  </a:lnTo>
                  <a:lnTo>
                    <a:pt x="24" y="39"/>
                  </a:lnTo>
                  <a:lnTo>
                    <a:pt x="28" y="36"/>
                  </a:lnTo>
                  <a:lnTo>
                    <a:pt x="17" y="35"/>
                  </a:lnTo>
                  <a:lnTo>
                    <a:pt x="29" y="31"/>
                  </a:lnTo>
                  <a:lnTo>
                    <a:pt x="40" y="29"/>
                  </a:lnTo>
                  <a:lnTo>
                    <a:pt x="74" y="18"/>
                  </a:lnTo>
                  <a:lnTo>
                    <a:pt x="80" y="14"/>
                  </a:lnTo>
                  <a:lnTo>
                    <a:pt x="143" y="7"/>
                  </a:lnTo>
                  <a:lnTo>
                    <a:pt x="171" y="0"/>
                  </a:lnTo>
                  <a:lnTo>
                    <a:pt x="188" y="5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96" name="Freeform 224"/>
            <p:cNvSpPr>
              <a:spLocks/>
            </p:cNvSpPr>
            <p:nvPr/>
          </p:nvSpPr>
          <p:spPr bwMode="auto">
            <a:xfrm>
              <a:off x="3168" y="858"/>
              <a:ext cx="77" cy="37"/>
            </a:xfrm>
            <a:custGeom>
              <a:avLst/>
              <a:gdLst>
                <a:gd name="T0" fmla="*/ 1 w 109"/>
                <a:gd name="T1" fmla="*/ 1 h 52"/>
                <a:gd name="T2" fmla="*/ 1 w 109"/>
                <a:gd name="T3" fmla="*/ 1 h 52"/>
                <a:gd name="T4" fmla="*/ 1 w 109"/>
                <a:gd name="T5" fmla="*/ 1 h 52"/>
                <a:gd name="T6" fmla="*/ 1 w 109"/>
                <a:gd name="T7" fmla="*/ 1 h 52"/>
                <a:gd name="T8" fmla="*/ 1 w 109"/>
                <a:gd name="T9" fmla="*/ 1 h 52"/>
                <a:gd name="T10" fmla="*/ 1 w 109"/>
                <a:gd name="T11" fmla="*/ 1 h 52"/>
                <a:gd name="T12" fmla="*/ 1 w 109"/>
                <a:gd name="T13" fmla="*/ 0 h 52"/>
                <a:gd name="T14" fmla="*/ 1 w 109"/>
                <a:gd name="T15" fmla="*/ 1 h 52"/>
                <a:gd name="T16" fmla="*/ 1 w 109"/>
                <a:gd name="T17" fmla="*/ 1 h 52"/>
                <a:gd name="T18" fmla="*/ 1 w 109"/>
                <a:gd name="T19" fmla="*/ 1 h 52"/>
                <a:gd name="T20" fmla="*/ 1 w 109"/>
                <a:gd name="T21" fmla="*/ 1 h 52"/>
                <a:gd name="T22" fmla="*/ 0 w 109"/>
                <a:gd name="T23" fmla="*/ 1 h 52"/>
                <a:gd name="T24" fmla="*/ 1 w 109"/>
                <a:gd name="T25" fmla="*/ 1 h 52"/>
                <a:gd name="T26" fmla="*/ 1 w 109"/>
                <a:gd name="T27" fmla="*/ 1 h 52"/>
                <a:gd name="T28" fmla="*/ 1 w 109"/>
                <a:gd name="T29" fmla="*/ 1 h 52"/>
                <a:gd name="T30" fmla="*/ 1 w 109"/>
                <a:gd name="T31" fmla="*/ 1 h 52"/>
                <a:gd name="T32" fmla="*/ 1 w 109"/>
                <a:gd name="T33" fmla="*/ 1 h 52"/>
                <a:gd name="T34" fmla="*/ 1 w 109"/>
                <a:gd name="T35" fmla="*/ 1 h 52"/>
                <a:gd name="T36" fmla="*/ 1 w 109"/>
                <a:gd name="T37" fmla="*/ 1 h 52"/>
                <a:gd name="T38" fmla="*/ 1 w 109"/>
                <a:gd name="T39" fmla="*/ 1 h 52"/>
                <a:gd name="T40" fmla="*/ 1 w 109"/>
                <a:gd name="T41" fmla="*/ 1 h 52"/>
                <a:gd name="T42" fmla="*/ 1 w 109"/>
                <a:gd name="T43" fmla="*/ 1 h 52"/>
                <a:gd name="T44" fmla="*/ 1 w 109"/>
                <a:gd name="T45" fmla="*/ 1 h 5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09"/>
                <a:gd name="T70" fmla="*/ 0 h 52"/>
                <a:gd name="T71" fmla="*/ 109 w 109"/>
                <a:gd name="T72" fmla="*/ 52 h 52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09" h="52">
                  <a:moveTo>
                    <a:pt x="109" y="51"/>
                  </a:moveTo>
                  <a:lnTo>
                    <a:pt x="68" y="33"/>
                  </a:lnTo>
                  <a:lnTo>
                    <a:pt x="56" y="13"/>
                  </a:lnTo>
                  <a:lnTo>
                    <a:pt x="56" y="10"/>
                  </a:lnTo>
                  <a:lnTo>
                    <a:pt x="59" y="7"/>
                  </a:lnTo>
                  <a:lnTo>
                    <a:pt x="62" y="1"/>
                  </a:lnTo>
                  <a:lnTo>
                    <a:pt x="22" y="0"/>
                  </a:lnTo>
                  <a:lnTo>
                    <a:pt x="16" y="6"/>
                  </a:lnTo>
                  <a:lnTo>
                    <a:pt x="10" y="12"/>
                  </a:lnTo>
                  <a:lnTo>
                    <a:pt x="16" y="15"/>
                  </a:lnTo>
                  <a:lnTo>
                    <a:pt x="8" y="24"/>
                  </a:lnTo>
                  <a:lnTo>
                    <a:pt x="0" y="27"/>
                  </a:lnTo>
                  <a:lnTo>
                    <a:pt x="11" y="37"/>
                  </a:lnTo>
                  <a:lnTo>
                    <a:pt x="24" y="36"/>
                  </a:lnTo>
                  <a:lnTo>
                    <a:pt x="32" y="37"/>
                  </a:lnTo>
                  <a:lnTo>
                    <a:pt x="41" y="38"/>
                  </a:lnTo>
                  <a:lnTo>
                    <a:pt x="48" y="44"/>
                  </a:lnTo>
                  <a:lnTo>
                    <a:pt x="46" y="46"/>
                  </a:lnTo>
                  <a:lnTo>
                    <a:pt x="61" y="50"/>
                  </a:lnTo>
                  <a:lnTo>
                    <a:pt x="73" y="51"/>
                  </a:lnTo>
                  <a:lnTo>
                    <a:pt x="89" y="52"/>
                  </a:lnTo>
                  <a:lnTo>
                    <a:pt x="102" y="52"/>
                  </a:lnTo>
                  <a:lnTo>
                    <a:pt x="109" y="5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97" name="Freeform 225"/>
            <p:cNvSpPr>
              <a:spLocks/>
            </p:cNvSpPr>
            <p:nvPr/>
          </p:nvSpPr>
          <p:spPr bwMode="auto">
            <a:xfrm>
              <a:off x="2874" y="1141"/>
              <a:ext cx="28" cy="10"/>
            </a:xfrm>
            <a:custGeom>
              <a:avLst/>
              <a:gdLst>
                <a:gd name="T0" fmla="*/ 1 w 40"/>
                <a:gd name="T1" fmla="*/ 0 h 14"/>
                <a:gd name="T2" fmla="*/ 1 w 40"/>
                <a:gd name="T3" fmla="*/ 1 h 14"/>
                <a:gd name="T4" fmla="*/ 0 w 40"/>
                <a:gd name="T5" fmla="*/ 1 h 14"/>
                <a:gd name="T6" fmla="*/ 0 w 40"/>
                <a:gd name="T7" fmla="*/ 1 h 14"/>
                <a:gd name="T8" fmla="*/ 1 w 40"/>
                <a:gd name="T9" fmla="*/ 1 h 14"/>
                <a:gd name="T10" fmla="*/ 0 w 40"/>
                <a:gd name="T11" fmla="*/ 1 h 14"/>
                <a:gd name="T12" fmla="*/ 0 w 40"/>
                <a:gd name="T13" fmla="*/ 1 h 14"/>
                <a:gd name="T14" fmla="*/ 1 w 40"/>
                <a:gd name="T15" fmla="*/ 1 h 14"/>
                <a:gd name="T16" fmla="*/ 1 w 40"/>
                <a:gd name="T17" fmla="*/ 1 h 14"/>
                <a:gd name="T18" fmla="*/ 1 w 40"/>
                <a:gd name="T19" fmla="*/ 1 h 14"/>
                <a:gd name="T20" fmla="*/ 1 w 40"/>
                <a:gd name="T21" fmla="*/ 1 h 14"/>
                <a:gd name="T22" fmla="*/ 1 w 40"/>
                <a:gd name="T23" fmla="*/ 0 h 1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0"/>
                <a:gd name="T37" fmla="*/ 0 h 14"/>
                <a:gd name="T38" fmla="*/ 40 w 40"/>
                <a:gd name="T39" fmla="*/ 14 h 1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0" h="14">
                  <a:moveTo>
                    <a:pt x="11" y="0"/>
                  </a:moveTo>
                  <a:lnTo>
                    <a:pt x="11" y="3"/>
                  </a:lnTo>
                  <a:lnTo>
                    <a:pt x="0" y="2"/>
                  </a:lnTo>
                  <a:lnTo>
                    <a:pt x="0" y="4"/>
                  </a:lnTo>
                  <a:lnTo>
                    <a:pt x="3" y="6"/>
                  </a:lnTo>
                  <a:lnTo>
                    <a:pt x="0" y="7"/>
                  </a:lnTo>
                  <a:lnTo>
                    <a:pt x="0" y="10"/>
                  </a:lnTo>
                  <a:lnTo>
                    <a:pt x="9" y="12"/>
                  </a:lnTo>
                  <a:lnTo>
                    <a:pt x="40" y="14"/>
                  </a:lnTo>
                  <a:lnTo>
                    <a:pt x="40" y="4"/>
                  </a:lnTo>
                  <a:lnTo>
                    <a:pt x="23" y="2"/>
                  </a:lnTo>
                  <a:lnTo>
                    <a:pt x="11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98" name="Freeform 226"/>
            <p:cNvSpPr>
              <a:spLocks/>
            </p:cNvSpPr>
            <p:nvPr/>
          </p:nvSpPr>
          <p:spPr bwMode="auto">
            <a:xfrm>
              <a:off x="3152" y="912"/>
              <a:ext cx="23" cy="12"/>
            </a:xfrm>
            <a:custGeom>
              <a:avLst/>
              <a:gdLst>
                <a:gd name="T0" fmla="*/ 1 w 34"/>
                <a:gd name="T1" fmla="*/ 1 h 17"/>
                <a:gd name="T2" fmla="*/ 1 w 34"/>
                <a:gd name="T3" fmla="*/ 1 h 17"/>
                <a:gd name="T4" fmla="*/ 0 w 34"/>
                <a:gd name="T5" fmla="*/ 1 h 17"/>
                <a:gd name="T6" fmla="*/ 1 w 34"/>
                <a:gd name="T7" fmla="*/ 0 h 17"/>
                <a:gd name="T8" fmla="*/ 1 w 34"/>
                <a:gd name="T9" fmla="*/ 1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4"/>
                <a:gd name="T16" fmla="*/ 0 h 17"/>
                <a:gd name="T17" fmla="*/ 34 w 34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4" h="17">
                  <a:moveTo>
                    <a:pt x="34" y="9"/>
                  </a:moveTo>
                  <a:lnTo>
                    <a:pt x="9" y="17"/>
                  </a:lnTo>
                  <a:lnTo>
                    <a:pt x="0" y="5"/>
                  </a:lnTo>
                  <a:lnTo>
                    <a:pt x="7" y="0"/>
                  </a:lnTo>
                  <a:lnTo>
                    <a:pt x="34" y="9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99" name="Freeform 227"/>
            <p:cNvSpPr>
              <a:spLocks/>
            </p:cNvSpPr>
            <p:nvPr/>
          </p:nvSpPr>
          <p:spPr bwMode="auto">
            <a:xfrm>
              <a:off x="3258" y="899"/>
              <a:ext cx="26" cy="8"/>
            </a:xfrm>
            <a:custGeom>
              <a:avLst/>
              <a:gdLst>
                <a:gd name="T0" fmla="*/ 1 w 39"/>
                <a:gd name="T1" fmla="*/ 1 h 12"/>
                <a:gd name="T2" fmla="*/ 1 w 39"/>
                <a:gd name="T3" fmla="*/ 0 h 12"/>
                <a:gd name="T4" fmla="*/ 0 w 39"/>
                <a:gd name="T5" fmla="*/ 1 h 12"/>
                <a:gd name="T6" fmla="*/ 1 w 39"/>
                <a:gd name="T7" fmla="*/ 1 h 12"/>
                <a:gd name="T8" fmla="*/ 1 w 39"/>
                <a:gd name="T9" fmla="*/ 1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9"/>
                <a:gd name="T16" fmla="*/ 0 h 12"/>
                <a:gd name="T17" fmla="*/ 39 w 39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9" h="12">
                  <a:moveTo>
                    <a:pt x="39" y="12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24" y="12"/>
                  </a:lnTo>
                  <a:lnTo>
                    <a:pt x="39" y="1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00" name="Freeform 228"/>
            <p:cNvSpPr>
              <a:spLocks/>
            </p:cNvSpPr>
            <p:nvPr/>
          </p:nvSpPr>
          <p:spPr bwMode="auto">
            <a:xfrm>
              <a:off x="2888" y="1082"/>
              <a:ext cx="15" cy="7"/>
            </a:xfrm>
            <a:custGeom>
              <a:avLst/>
              <a:gdLst>
                <a:gd name="T0" fmla="*/ 1 w 22"/>
                <a:gd name="T1" fmla="*/ 1 h 10"/>
                <a:gd name="T2" fmla="*/ 1 w 22"/>
                <a:gd name="T3" fmla="*/ 1 h 10"/>
                <a:gd name="T4" fmla="*/ 0 w 22"/>
                <a:gd name="T5" fmla="*/ 1 h 10"/>
                <a:gd name="T6" fmla="*/ 1 w 22"/>
                <a:gd name="T7" fmla="*/ 0 h 10"/>
                <a:gd name="T8" fmla="*/ 1 w 22"/>
                <a:gd name="T9" fmla="*/ 1 h 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2"/>
                <a:gd name="T16" fmla="*/ 0 h 10"/>
                <a:gd name="T17" fmla="*/ 22 w 22"/>
                <a:gd name="T18" fmla="*/ 10 h 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2" h="10">
                  <a:moveTo>
                    <a:pt x="22" y="2"/>
                  </a:moveTo>
                  <a:lnTo>
                    <a:pt x="3" y="10"/>
                  </a:lnTo>
                  <a:lnTo>
                    <a:pt x="0" y="2"/>
                  </a:lnTo>
                  <a:lnTo>
                    <a:pt x="18" y="0"/>
                  </a:lnTo>
                  <a:lnTo>
                    <a:pt x="22" y="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01" name="Freeform 229"/>
            <p:cNvSpPr>
              <a:spLocks/>
            </p:cNvSpPr>
            <p:nvPr/>
          </p:nvSpPr>
          <p:spPr bwMode="auto">
            <a:xfrm>
              <a:off x="3356" y="855"/>
              <a:ext cx="17" cy="6"/>
            </a:xfrm>
            <a:custGeom>
              <a:avLst/>
              <a:gdLst>
                <a:gd name="T0" fmla="*/ 1 w 25"/>
                <a:gd name="T1" fmla="*/ 3 h 7"/>
                <a:gd name="T2" fmla="*/ 0 w 25"/>
                <a:gd name="T3" fmla="*/ 3 h 7"/>
                <a:gd name="T4" fmla="*/ 1 w 25"/>
                <a:gd name="T5" fmla="*/ 0 h 7"/>
                <a:gd name="T6" fmla="*/ 1 w 25"/>
                <a:gd name="T7" fmla="*/ 3 h 7"/>
                <a:gd name="T8" fmla="*/ 1 w 25"/>
                <a:gd name="T9" fmla="*/ 3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5"/>
                <a:gd name="T16" fmla="*/ 0 h 7"/>
                <a:gd name="T17" fmla="*/ 25 w 2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5" h="7">
                  <a:moveTo>
                    <a:pt x="25" y="6"/>
                  </a:moveTo>
                  <a:lnTo>
                    <a:pt x="0" y="7"/>
                  </a:lnTo>
                  <a:lnTo>
                    <a:pt x="3" y="0"/>
                  </a:lnTo>
                  <a:lnTo>
                    <a:pt x="15" y="4"/>
                  </a:lnTo>
                  <a:lnTo>
                    <a:pt x="25" y="6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02" name="Freeform 230"/>
            <p:cNvSpPr>
              <a:spLocks/>
            </p:cNvSpPr>
            <p:nvPr/>
          </p:nvSpPr>
          <p:spPr bwMode="auto">
            <a:xfrm>
              <a:off x="3779" y="841"/>
              <a:ext cx="20" cy="5"/>
            </a:xfrm>
            <a:custGeom>
              <a:avLst/>
              <a:gdLst>
                <a:gd name="T0" fmla="*/ 1 w 28"/>
                <a:gd name="T1" fmla="*/ 0 h 5"/>
                <a:gd name="T2" fmla="*/ 0 w 28"/>
                <a:gd name="T3" fmla="*/ 1 h 5"/>
                <a:gd name="T4" fmla="*/ 1 w 28"/>
                <a:gd name="T5" fmla="*/ 5 h 5"/>
                <a:gd name="T6" fmla="*/ 1 w 28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8"/>
                <a:gd name="T13" fmla="*/ 0 h 5"/>
                <a:gd name="T14" fmla="*/ 28 w 28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8" h="5">
                  <a:moveTo>
                    <a:pt x="25" y="0"/>
                  </a:moveTo>
                  <a:lnTo>
                    <a:pt x="0" y="1"/>
                  </a:lnTo>
                  <a:lnTo>
                    <a:pt x="28" y="5"/>
                  </a:lnTo>
                  <a:lnTo>
                    <a:pt x="25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03" name="Freeform 231"/>
            <p:cNvSpPr>
              <a:spLocks/>
            </p:cNvSpPr>
            <p:nvPr/>
          </p:nvSpPr>
          <p:spPr bwMode="auto">
            <a:xfrm>
              <a:off x="3440" y="869"/>
              <a:ext cx="13" cy="3"/>
            </a:xfrm>
            <a:custGeom>
              <a:avLst/>
              <a:gdLst>
                <a:gd name="T0" fmla="*/ 2 w 17"/>
                <a:gd name="T1" fmla="*/ 0 h 4"/>
                <a:gd name="T2" fmla="*/ 0 w 17"/>
                <a:gd name="T3" fmla="*/ 2 h 4"/>
                <a:gd name="T4" fmla="*/ 0 w 17"/>
                <a:gd name="T5" fmla="*/ 0 h 4"/>
                <a:gd name="T6" fmla="*/ 2 w 17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4"/>
                <a:gd name="T14" fmla="*/ 17 w 17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4">
                  <a:moveTo>
                    <a:pt x="17" y="0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17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04" name="Freeform 232"/>
            <p:cNvSpPr>
              <a:spLocks/>
            </p:cNvSpPr>
            <p:nvPr/>
          </p:nvSpPr>
          <p:spPr bwMode="auto">
            <a:xfrm>
              <a:off x="2888" y="1075"/>
              <a:ext cx="11" cy="1"/>
            </a:xfrm>
            <a:custGeom>
              <a:avLst/>
              <a:gdLst>
                <a:gd name="T0" fmla="*/ 1 w 16"/>
                <a:gd name="T1" fmla="*/ 1 h 2"/>
                <a:gd name="T2" fmla="*/ 0 w 16"/>
                <a:gd name="T3" fmla="*/ 1 h 2"/>
                <a:gd name="T4" fmla="*/ 1 w 16"/>
                <a:gd name="T5" fmla="*/ 0 h 2"/>
                <a:gd name="T6" fmla="*/ 1 w 16"/>
                <a:gd name="T7" fmla="*/ 1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6"/>
                <a:gd name="T13" fmla="*/ 0 h 2"/>
                <a:gd name="T14" fmla="*/ 16 w 16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6" h="2">
                  <a:moveTo>
                    <a:pt x="16" y="2"/>
                  </a:moveTo>
                  <a:lnTo>
                    <a:pt x="0" y="1"/>
                  </a:lnTo>
                  <a:lnTo>
                    <a:pt x="5" y="0"/>
                  </a:lnTo>
                  <a:lnTo>
                    <a:pt x="16" y="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05" name="Freeform 233"/>
            <p:cNvSpPr>
              <a:spLocks/>
            </p:cNvSpPr>
            <p:nvPr/>
          </p:nvSpPr>
          <p:spPr bwMode="auto">
            <a:xfrm>
              <a:off x="2784" y="1325"/>
              <a:ext cx="1" cy="2"/>
            </a:xfrm>
            <a:custGeom>
              <a:avLst/>
              <a:gdLst>
                <a:gd name="T0" fmla="*/ 1 w 2"/>
                <a:gd name="T1" fmla="*/ 0 h 2"/>
                <a:gd name="T2" fmla="*/ 1 w 2"/>
                <a:gd name="T3" fmla="*/ 0 h 2"/>
                <a:gd name="T4" fmla="*/ 0 w 2"/>
                <a:gd name="T5" fmla="*/ 2 h 2"/>
                <a:gd name="T6" fmla="*/ 1 w 2"/>
                <a:gd name="T7" fmla="*/ 2 h 2"/>
                <a:gd name="T8" fmla="*/ 1 w 2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0"/>
                  </a:moveTo>
                  <a:lnTo>
                    <a:pt x="1" y="0"/>
                  </a:lnTo>
                  <a:lnTo>
                    <a:pt x="0" y="2"/>
                  </a:lnTo>
                  <a:lnTo>
                    <a:pt x="1" y="2"/>
                  </a:lnTo>
                  <a:lnTo>
                    <a:pt x="2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06" name="Freeform 234"/>
            <p:cNvSpPr>
              <a:spLocks/>
            </p:cNvSpPr>
            <p:nvPr/>
          </p:nvSpPr>
          <p:spPr bwMode="auto">
            <a:xfrm>
              <a:off x="2836" y="1229"/>
              <a:ext cx="80" cy="30"/>
            </a:xfrm>
            <a:custGeom>
              <a:avLst/>
              <a:gdLst>
                <a:gd name="T0" fmla="*/ 1 w 114"/>
                <a:gd name="T1" fmla="*/ 0 h 41"/>
                <a:gd name="T2" fmla="*/ 1 w 114"/>
                <a:gd name="T3" fmla="*/ 1 h 41"/>
                <a:gd name="T4" fmla="*/ 1 w 114"/>
                <a:gd name="T5" fmla="*/ 1 h 41"/>
                <a:gd name="T6" fmla="*/ 1 w 114"/>
                <a:gd name="T7" fmla="*/ 1 h 41"/>
                <a:gd name="T8" fmla="*/ 1 w 114"/>
                <a:gd name="T9" fmla="*/ 1 h 41"/>
                <a:gd name="T10" fmla="*/ 1 w 114"/>
                <a:gd name="T11" fmla="*/ 1 h 41"/>
                <a:gd name="T12" fmla="*/ 1 w 114"/>
                <a:gd name="T13" fmla="*/ 1 h 41"/>
                <a:gd name="T14" fmla="*/ 1 w 114"/>
                <a:gd name="T15" fmla="*/ 1 h 41"/>
                <a:gd name="T16" fmla="*/ 0 w 114"/>
                <a:gd name="T17" fmla="*/ 1 h 41"/>
                <a:gd name="T18" fmla="*/ 1 w 114"/>
                <a:gd name="T19" fmla="*/ 1 h 41"/>
                <a:gd name="T20" fmla="*/ 1 w 114"/>
                <a:gd name="T21" fmla="*/ 1 h 41"/>
                <a:gd name="T22" fmla="*/ 1 w 114"/>
                <a:gd name="T23" fmla="*/ 1 h 41"/>
                <a:gd name="T24" fmla="*/ 1 w 114"/>
                <a:gd name="T25" fmla="*/ 1 h 41"/>
                <a:gd name="T26" fmla="*/ 1 w 114"/>
                <a:gd name="T27" fmla="*/ 1 h 41"/>
                <a:gd name="T28" fmla="*/ 1 w 114"/>
                <a:gd name="T29" fmla="*/ 1 h 41"/>
                <a:gd name="T30" fmla="*/ 1 w 114"/>
                <a:gd name="T31" fmla="*/ 1 h 41"/>
                <a:gd name="T32" fmla="*/ 1 w 114"/>
                <a:gd name="T33" fmla="*/ 1 h 41"/>
                <a:gd name="T34" fmla="*/ 1 w 114"/>
                <a:gd name="T35" fmla="*/ 1 h 41"/>
                <a:gd name="T36" fmla="*/ 1 w 114"/>
                <a:gd name="T37" fmla="*/ 0 h 4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14"/>
                <a:gd name="T58" fmla="*/ 0 h 41"/>
                <a:gd name="T59" fmla="*/ 114 w 114"/>
                <a:gd name="T60" fmla="*/ 41 h 41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14" h="41">
                  <a:moveTo>
                    <a:pt x="42" y="0"/>
                  </a:moveTo>
                  <a:lnTo>
                    <a:pt x="41" y="2"/>
                  </a:lnTo>
                  <a:lnTo>
                    <a:pt x="35" y="7"/>
                  </a:lnTo>
                  <a:lnTo>
                    <a:pt x="30" y="8"/>
                  </a:lnTo>
                  <a:lnTo>
                    <a:pt x="30" y="11"/>
                  </a:lnTo>
                  <a:lnTo>
                    <a:pt x="24" y="18"/>
                  </a:lnTo>
                  <a:lnTo>
                    <a:pt x="13" y="19"/>
                  </a:lnTo>
                  <a:lnTo>
                    <a:pt x="7" y="20"/>
                  </a:lnTo>
                  <a:lnTo>
                    <a:pt x="0" y="19"/>
                  </a:lnTo>
                  <a:lnTo>
                    <a:pt x="13" y="37"/>
                  </a:lnTo>
                  <a:lnTo>
                    <a:pt x="19" y="41"/>
                  </a:lnTo>
                  <a:lnTo>
                    <a:pt x="43" y="41"/>
                  </a:lnTo>
                  <a:lnTo>
                    <a:pt x="74" y="26"/>
                  </a:lnTo>
                  <a:lnTo>
                    <a:pt x="108" y="27"/>
                  </a:lnTo>
                  <a:lnTo>
                    <a:pt x="114" y="11"/>
                  </a:lnTo>
                  <a:lnTo>
                    <a:pt x="84" y="5"/>
                  </a:lnTo>
                  <a:lnTo>
                    <a:pt x="67" y="6"/>
                  </a:lnTo>
                  <a:lnTo>
                    <a:pt x="64" y="1"/>
                  </a:lnTo>
                  <a:lnTo>
                    <a:pt x="42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07" name="Freeform 235"/>
            <p:cNvSpPr>
              <a:spLocks/>
            </p:cNvSpPr>
            <p:nvPr/>
          </p:nvSpPr>
          <p:spPr bwMode="auto">
            <a:xfrm>
              <a:off x="2798" y="1276"/>
              <a:ext cx="39" cy="24"/>
            </a:xfrm>
            <a:custGeom>
              <a:avLst/>
              <a:gdLst>
                <a:gd name="T0" fmla="*/ 1 w 56"/>
                <a:gd name="T1" fmla="*/ 1 h 34"/>
                <a:gd name="T2" fmla="*/ 1 w 56"/>
                <a:gd name="T3" fmla="*/ 1 h 34"/>
                <a:gd name="T4" fmla="*/ 1 w 56"/>
                <a:gd name="T5" fmla="*/ 1 h 34"/>
                <a:gd name="T6" fmla="*/ 1 w 56"/>
                <a:gd name="T7" fmla="*/ 1 h 34"/>
                <a:gd name="T8" fmla="*/ 1 w 56"/>
                <a:gd name="T9" fmla="*/ 1 h 34"/>
                <a:gd name="T10" fmla="*/ 1 w 56"/>
                <a:gd name="T11" fmla="*/ 1 h 34"/>
                <a:gd name="T12" fmla="*/ 1 w 56"/>
                <a:gd name="T13" fmla="*/ 1 h 34"/>
                <a:gd name="T14" fmla="*/ 1 w 56"/>
                <a:gd name="T15" fmla="*/ 1 h 34"/>
                <a:gd name="T16" fmla="*/ 1 w 56"/>
                <a:gd name="T17" fmla="*/ 1 h 34"/>
                <a:gd name="T18" fmla="*/ 1 w 56"/>
                <a:gd name="T19" fmla="*/ 1 h 34"/>
                <a:gd name="T20" fmla="*/ 1 w 56"/>
                <a:gd name="T21" fmla="*/ 1 h 34"/>
                <a:gd name="T22" fmla="*/ 1 w 56"/>
                <a:gd name="T23" fmla="*/ 1 h 34"/>
                <a:gd name="T24" fmla="*/ 1 w 56"/>
                <a:gd name="T25" fmla="*/ 1 h 34"/>
                <a:gd name="T26" fmla="*/ 1 w 56"/>
                <a:gd name="T27" fmla="*/ 1 h 34"/>
                <a:gd name="T28" fmla="*/ 1 w 56"/>
                <a:gd name="T29" fmla="*/ 1 h 34"/>
                <a:gd name="T30" fmla="*/ 1 w 56"/>
                <a:gd name="T31" fmla="*/ 1 h 34"/>
                <a:gd name="T32" fmla="*/ 1 w 56"/>
                <a:gd name="T33" fmla="*/ 1 h 34"/>
                <a:gd name="T34" fmla="*/ 1 w 56"/>
                <a:gd name="T35" fmla="*/ 1 h 34"/>
                <a:gd name="T36" fmla="*/ 1 w 56"/>
                <a:gd name="T37" fmla="*/ 1 h 34"/>
                <a:gd name="T38" fmla="*/ 1 w 56"/>
                <a:gd name="T39" fmla="*/ 1 h 34"/>
                <a:gd name="T40" fmla="*/ 1 w 56"/>
                <a:gd name="T41" fmla="*/ 1 h 34"/>
                <a:gd name="T42" fmla="*/ 1 w 56"/>
                <a:gd name="T43" fmla="*/ 1 h 34"/>
                <a:gd name="T44" fmla="*/ 1 w 56"/>
                <a:gd name="T45" fmla="*/ 0 h 34"/>
                <a:gd name="T46" fmla="*/ 1 w 56"/>
                <a:gd name="T47" fmla="*/ 1 h 34"/>
                <a:gd name="T48" fmla="*/ 1 w 56"/>
                <a:gd name="T49" fmla="*/ 1 h 34"/>
                <a:gd name="T50" fmla="*/ 0 w 56"/>
                <a:gd name="T51" fmla="*/ 1 h 34"/>
                <a:gd name="T52" fmla="*/ 1 w 56"/>
                <a:gd name="T53" fmla="*/ 1 h 34"/>
                <a:gd name="T54" fmla="*/ 1 w 56"/>
                <a:gd name="T55" fmla="*/ 1 h 3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56"/>
                <a:gd name="T85" fmla="*/ 0 h 34"/>
                <a:gd name="T86" fmla="*/ 56 w 56"/>
                <a:gd name="T87" fmla="*/ 34 h 3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56" h="34">
                  <a:moveTo>
                    <a:pt x="8" y="33"/>
                  </a:moveTo>
                  <a:lnTo>
                    <a:pt x="18" y="33"/>
                  </a:lnTo>
                  <a:lnTo>
                    <a:pt x="22" y="30"/>
                  </a:lnTo>
                  <a:lnTo>
                    <a:pt x="24" y="32"/>
                  </a:lnTo>
                  <a:lnTo>
                    <a:pt x="25" y="32"/>
                  </a:lnTo>
                  <a:lnTo>
                    <a:pt x="26" y="31"/>
                  </a:lnTo>
                  <a:lnTo>
                    <a:pt x="31" y="34"/>
                  </a:lnTo>
                  <a:lnTo>
                    <a:pt x="36" y="33"/>
                  </a:lnTo>
                  <a:lnTo>
                    <a:pt x="35" y="30"/>
                  </a:lnTo>
                  <a:lnTo>
                    <a:pt x="35" y="27"/>
                  </a:lnTo>
                  <a:lnTo>
                    <a:pt x="41" y="25"/>
                  </a:lnTo>
                  <a:lnTo>
                    <a:pt x="44" y="25"/>
                  </a:lnTo>
                  <a:lnTo>
                    <a:pt x="42" y="21"/>
                  </a:lnTo>
                  <a:lnTo>
                    <a:pt x="41" y="19"/>
                  </a:lnTo>
                  <a:lnTo>
                    <a:pt x="40" y="14"/>
                  </a:lnTo>
                  <a:lnTo>
                    <a:pt x="47" y="13"/>
                  </a:lnTo>
                  <a:lnTo>
                    <a:pt x="48" y="10"/>
                  </a:lnTo>
                  <a:lnTo>
                    <a:pt x="54" y="10"/>
                  </a:lnTo>
                  <a:lnTo>
                    <a:pt x="54" y="8"/>
                  </a:lnTo>
                  <a:lnTo>
                    <a:pt x="56" y="8"/>
                  </a:lnTo>
                  <a:lnTo>
                    <a:pt x="56" y="6"/>
                  </a:lnTo>
                  <a:lnTo>
                    <a:pt x="50" y="2"/>
                  </a:lnTo>
                  <a:lnTo>
                    <a:pt x="49" y="0"/>
                  </a:lnTo>
                  <a:lnTo>
                    <a:pt x="11" y="9"/>
                  </a:lnTo>
                  <a:lnTo>
                    <a:pt x="2" y="8"/>
                  </a:lnTo>
                  <a:lnTo>
                    <a:pt x="0" y="15"/>
                  </a:lnTo>
                  <a:lnTo>
                    <a:pt x="5" y="31"/>
                  </a:lnTo>
                  <a:lnTo>
                    <a:pt x="8" y="3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08" name="Freeform 236"/>
            <p:cNvSpPr>
              <a:spLocks/>
            </p:cNvSpPr>
            <p:nvPr/>
          </p:nvSpPr>
          <p:spPr bwMode="auto">
            <a:xfrm>
              <a:off x="2751" y="919"/>
              <a:ext cx="141" cy="213"/>
            </a:xfrm>
            <a:custGeom>
              <a:avLst/>
              <a:gdLst>
                <a:gd name="T0" fmla="*/ 1 w 202"/>
                <a:gd name="T1" fmla="*/ 1 h 305"/>
                <a:gd name="T2" fmla="*/ 1 w 202"/>
                <a:gd name="T3" fmla="*/ 1 h 305"/>
                <a:gd name="T4" fmla="*/ 1 w 202"/>
                <a:gd name="T5" fmla="*/ 1 h 305"/>
                <a:gd name="T6" fmla="*/ 1 w 202"/>
                <a:gd name="T7" fmla="*/ 1 h 305"/>
                <a:gd name="T8" fmla="*/ 1 w 202"/>
                <a:gd name="T9" fmla="*/ 1 h 305"/>
                <a:gd name="T10" fmla="*/ 1 w 202"/>
                <a:gd name="T11" fmla="*/ 1 h 305"/>
                <a:gd name="T12" fmla="*/ 1 w 202"/>
                <a:gd name="T13" fmla="*/ 1 h 305"/>
                <a:gd name="T14" fmla="*/ 1 w 202"/>
                <a:gd name="T15" fmla="*/ 1 h 305"/>
                <a:gd name="T16" fmla="*/ 1 w 202"/>
                <a:gd name="T17" fmla="*/ 1 h 305"/>
                <a:gd name="T18" fmla="*/ 1 w 202"/>
                <a:gd name="T19" fmla="*/ 1 h 305"/>
                <a:gd name="T20" fmla="*/ 1 w 202"/>
                <a:gd name="T21" fmla="*/ 1 h 305"/>
                <a:gd name="T22" fmla="*/ 1 w 202"/>
                <a:gd name="T23" fmla="*/ 1 h 305"/>
                <a:gd name="T24" fmla="*/ 1 w 202"/>
                <a:gd name="T25" fmla="*/ 2 h 305"/>
                <a:gd name="T26" fmla="*/ 1 w 202"/>
                <a:gd name="T27" fmla="*/ 2 h 305"/>
                <a:gd name="T28" fmla="*/ 1 w 202"/>
                <a:gd name="T29" fmla="*/ 2 h 305"/>
                <a:gd name="T30" fmla="*/ 1 w 202"/>
                <a:gd name="T31" fmla="*/ 1 h 305"/>
                <a:gd name="T32" fmla="*/ 1 w 202"/>
                <a:gd name="T33" fmla="*/ 1 h 305"/>
                <a:gd name="T34" fmla="*/ 0 w 202"/>
                <a:gd name="T35" fmla="*/ 1 h 305"/>
                <a:gd name="T36" fmla="*/ 1 w 202"/>
                <a:gd name="T37" fmla="*/ 1 h 305"/>
                <a:gd name="T38" fmla="*/ 1 w 202"/>
                <a:gd name="T39" fmla="*/ 1 h 305"/>
                <a:gd name="T40" fmla="*/ 1 w 202"/>
                <a:gd name="T41" fmla="*/ 1 h 305"/>
                <a:gd name="T42" fmla="*/ 1 w 202"/>
                <a:gd name="T43" fmla="*/ 1 h 305"/>
                <a:gd name="T44" fmla="*/ 1 w 202"/>
                <a:gd name="T45" fmla="*/ 1 h 305"/>
                <a:gd name="T46" fmla="*/ 1 w 202"/>
                <a:gd name="T47" fmla="*/ 1 h 305"/>
                <a:gd name="T48" fmla="*/ 1 w 202"/>
                <a:gd name="T49" fmla="*/ 1 h 305"/>
                <a:gd name="T50" fmla="*/ 1 w 202"/>
                <a:gd name="T51" fmla="*/ 1 h 305"/>
                <a:gd name="T52" fmla="*/ 1 w 202"/>
                <a:gd name="T53" fmla="*/ 1 h 305"/>
                <a:gd name="T54" fmla="*/ 1 w 202"/>
                <a:gd name="T55" fmla="*/ 0 h 305"/>
                <a:gd name="T56" fmla="*/ 1 w 202"/>
                <a:gd name="T57" fmla="*/ 1 h 305"/>
                <a:gd name="T58" fmla="*/ 1 w 202"/>
                <a:gd name="T59" fmla="*/ 1 h 305"/>
                <a:gd name="T60" fmla="*/ 1 w 202"/>
                <a:gd name="T61" fmla="*/ 1 h 305"/>
                <a:gd name="T62" fmla="*/ 1 w 202"/>
                <a:gd name="T63" fmla="*/ 1 h 305"/>
                <a:gd name="T64" fmla="*/ 1 w 202"/>
                <a:gd name="T65" fmla="*/ 1 h 30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02"/>
                <a:gd name="T100" fmla="*/ 0 h 305"/>
                <a:gd name="T101" fmla="*/ 202 w 202"/>
                <a:gd name="T102" fmla="*/ 305 h 30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02" h="305">
                  <a:moveTo>
                    <a:pt x="160" y="101"/>
                  </a:moveTo>
                  <a:lnTo>
                    <a:pt x="140" y="118"/>
                  </a:lnTo>
                  <a:lnTo>
                    <a:pt x="125" y="126"/>
                  </a:lnTo>
                  <a:lnTo>
                    <a:pt x="118" y="131"/>
                  </a:lnTo>
                  <a:lnTo>
                    <a:pt x="107" y="132"/>
                  </a:lnTo>
                  <a:lnTo>
                    <a:pt x="104" y="142"/>
                  </a:lnTo>
                  <a:lnTo>
                    <a:pt x="101" y="146"/>
                  </a:lnTo>
                  <a:lnTo>
                    <a:pt x="100" y="160"/>
                  </a:lnTo>
                  <a:lnTo>
                    <a:pt x="104" y="184"/>
                  </a:lnTo>
                  <a:lnTo>
                    <a:pt x="125" y="193"/>
                  </a:lnTo>
                  <a:lnTo>
                    <a:pt x="133" y="203"/>
                  </a:lnTo>
                  <a:lnTo>
                    <a:pt x="116" y="212"/>
                  </a:lnTo>
                  <a:lnTo>
                    <a:pt x="109" y="205"/>
                  </a:lnTo>
                  <a:lnTo>
                    <a:pt x="109" y="209"/>
                  </a:lnTo>
                  <a:lnTo>
                    <a:pt x="86" y="211"/>
                  </a:lnTo>
                  <a:lnTo>
                    <a:pt x="127" y="214"/>
                  </a:lnTo>
                  <a:lnTo>
                    <a:pt x="116" y="223"/>
                  </a:lnTo>
                  <a:lnTo>
                    <a:pt x="113" y="218"/>
                  </a:lnTo>
                  <a:lnTo>
                    <a:pt x="102" y="229"/>
                  </a:lnTo>
                  <a:lnTo>
                    <a:pt x="94" y="229"/>
                  </a:lnTo>
                  <a:lnTo>
                    <a:pt x="100" y="234"/>
                  </a:lnTo>
                  <a:lnTo>
                    <a:pt x="97" y="245"/>
                  </a:lnTo>
                  <a:lnTo>
                    <a:pt x="101" y="250"/>
                  </a:lnTo>
                  <a:lnTo>
                    <a:pt x="98" y="248"/>
                  </a:lnTo>
                  <a:lnTo>
                    <a:pt x="95" y="268"/>
                  </a:lnTo>
                  <a:lnTo>
                    <a:pt x="92" y="286"/>
                  </a:lnTo>
                  <a:lnTo>
                    <a:pt x="62" y="292"/>
                  </a:lnTo>
                  <a:lnTo>
                    <a:pt x="59" y="305"/>
                  </a:lnTo>
                  <a:lnTo>
                    <a:pt x="38" y="304"/>
                  </a:lnTo>
                  <a:lnTo>
                    <a:pt x="32" y="286"/>
                  </a:lnTo>
                  <a:lnTo>
                    <a:pt x="29" y="271"/>
                  </a:lnTo>
                  <a:lnTo>
                    <a:pt x="11" y="245"/>
                  </a:lnTo>
                  <a:lnTo>
                    <a:pt x="13" y="239"/>
                  </a:lnTo>
                  <a:lnTo>
                    <a:pt x="7" y="236"/>
                  </a:lnTo>
                  <a:lnTo>
                    <a:pt x="6" y="238"/>
                  </a:lnTo>
                  <a:lnTo>
                    <a:pt x="0" y="224"/>
                  </a:lnTo>
                  <a:lnTo>
                    <a:pt x="4" y="221"/>
                  </a:lnTo>
                  <a:lnTo>
                    <a:pt x="14" y="200"/>
                  </a:lnTo>
                  <a:lnTo>
                    <a:pt x="17" y="180"/>
                  </a:lnTo>
                  <a:lnTo>
                    <a:pt x="17" y="174"/>
                  </a:lnTo>
                  <a:lnTo>
                    <a:pt x="24" y="167"/>
                  </a:lnTo>
                  <a:lnTo>
                    <a:pt x="11" y="158"/>
                  </a:lnTo>
                  <a:lnTo>
                    <a:pt x="10" y="138"/>
                  </a:lnTo>
                  <a:lnTo>
                    <a:pt x="10" y="116"/>
                  </a:lnTo>
                  <a:lnTo>
                    <a:pt x="24" y="107"/>
                  </a:lnTo>
                  <a:lnTo>
                    <a:pt x="40" y="104"/>
                  </a:lnTo>
                  <a:lnTo>
                    <a:pt x="31" y="96"/>
                  </a:lnTo>
                  <a:lnTo>
                    <a:pt x="43" y="68"/>
                  </a:lnTo>
                  <a:lnTo>
                    <a:pt x="41" y="62"/>
                  </a:lnTo>
                  <a:lnTo>
                    <a:pt x="56" y="59"/>
                  </a:lnTo>
                  <a:lnTo>
                    <a:pt x="64" y="46"/>
                  </a:lnTo>
                  <a:lnTo>
                    <a:pt x="72" y="24"/>
                  </a:lnTo>
                  <a:lnTo>
                    <a:pt x="94" y="19"/>
                  </a:lnTo>
                  <a:lnTo>
                    <a:pt x="96" y="11"/>
                  </a:lnTo>
                  <a:lnTo>
                    <a:pt x="124" y="12"/>
                  </a:lnTo>
                  <a:lnTo>
                    <a:pt x="122" y="0"/>
                  </a:lnTo>
                  <a:lnTo>
                    <a:pt x="130" y="0"/>
                  </a:lnTo>
                  <a:lnTo>
                    <a:pt x="176" y="19"/>
                  </a:lnTo>
                  <a:lnTo>
                    <a:pt x="193" y="48"/>
                  </a:lnTo>
                  <a:lnTo>
                    <a:pt x="202" y="68"/>
                  </a:lnTo>
                  <a:lnTo>
                    <a:pt x="178" y="68"/>
                  </a:lnTo>
                  <a:lnTo>
                    <a:pt x="172" y="71"/>
                  </a:lnTo>
                  <a:lnTo>
                    <a:pt x="170" y="74"/>
                  </a:lnTo>
                  <a:lnTo>
                    <a:pt x="167" y="73"/>
                  </a:lnTo>
                  <a:lnTo>
                    <a:pt x="157" y="79"/>
                  </a:lnTo>
                  <a:lnTo>
                    <a:pt x="155" y="90"/>
                  </a:lnTo>
                  <a:lnTo>
                    <a:pt x="160" y="10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09" name="Freeform 237"/>
            <p:cNvSpPr>
              <a:spLocks/>
            </p:cNvSpPr>
            <p:nvPr/>
          </p:nvSpPr>
          <p:spPr bwMode="auto">
            <a:xfrm>
              <a:off x="2841" y="1093"/>
              <a:ext cx="7" cy="13"/>
            </a:xfrm>
            <a:custGeom>
              <a:avLst/>
              <a:gdLst>
                <a:gd name="T0" fmla="*/ 1 w 10"/>
                <a:gd name="T1" fmla="*/ 0 h 18"/>
                <a:gd name="T2" fmla="*/ 1 w 10"/>
                <a:gd name="T3" fmla="*/ 1 h 18"/>
                <a:gd name="T4" fmla="*/ 1 w 10"/>
                <a:gd name="T5" fmla="*/ 1 h 18"/>
                <a:gd name="T6" fmla="*/ 1 w 10"/>
                <a:gd name="T7" fmla="*/ 1 h 18"/>
                <a:gd name="T8" fmla="*/ 0 w 10"/>
                <a:gd name="T9" fmla="*/ 1 h 18"/>
                <a:gd name="T10" fmla="*/ 1 w 10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18"/>
                <a:gd name="T20" fmla="*/ 10 w 1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18">
                  <a:moveTo>
                    <a:pt x="10" y="0"/>
                  </a:moveTo>
                  <a:lnTo>
                    <a:pt x="10" y="5"/>
                  </a:lnTo>
                  <a:lnTo>
                    <a:pt x="5" y="16"/>
                  </a:lnTo>
                  <a:lnTo>
                    <a:pt x="4" y="18"/>
                  </a:lnTo>
                  <a:lnTo>
                    <a:pt x="0" y="10"/>
                  </a:lnTo>
                  <a:lnTo>
                    <a:pt x="10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10" name="Freeform 238"/>
            <p:cNvSpPr>
              <a:spLocks/>
            </p:cNvSpPr>
            <p:nvPr/>
          </p:nvSpPr>
          <p:spPr bwMode="auto">
            <a:xfrm>
              <a:off x="2695" y="1262"/>
              <a:ext cx="59" cy="29"/>
            </a:xfrm>
            <a:custGeom>
              <a:avLst/>
              <a:gdLst>
                <a:gd name="T0" fmla="*/ 1 w 84"/>
                <a:gd name="T1" fmla="*/ 1 h 42"/>
                <a:gd name="T2" fmla="*/ 1 w 84"/>
                <a:gd name="T3" fmla="*/ 1 h 42"/>
                <a:gd name="T4" fmla="*/ 1 w 84"/>
                <a:gd name="T5" fmla="*/ 1 h 42"/>
                <a:gd name="T6" fmla="*/ 1 w 84"/>
                <a:gd name="T7" fmla="*/ 1 h 42"/>
                <a:gd name="T8" fmla="*/ 1 w 84"/>
                <a:gd name="T9" fmla="*/ 1 h 42"/>
                <a:gd name="T10" fmla="*/ 1 w 84"/>
                <a:gd name="T11" fmla="*/ 1 h 42"/>
                <a:gd name="T12" fmla="*/ 1 w 84"/>
                <a:gd name="T13" fmla="*/ 1 h 42"/>
                <a:gd name="T14" fmla="*/ 1 w 84"/>
                <a:gd name="T15" fmla="*/ 1 h 42"/>
                <a:gd name="T16" fmla="*/ 0 w 84"/>
                <a:gd name="T17" fmla="*/ 1 h 42"/>
                <a:gd name="T18" fmla="*/ 1 w 84"/>
                <a:gd name="T19" fmla="*/ 1 h 42"/>
                <a:gd name="T20" fmla="*/ 1 w 84"/>
                <a:gd name="T21" fmla="*/ 1 h 42"/>
                <a:gd name="T22" fmla="*/ 1 w 84"/>
                <a:gd name="T23" fmla="*/ 1 h 42"/>
                <a:gd name="T24" fmla="*/ 1 w 84"/>
                <a:gd name="T25" fmla="*/ 0 h 42"/>
                <a:gd name="T26" fmla="*/ 1 w 84"/>
                <a:gd name="T27" fmla="*/ 1 h 42"/>
                <a:gd name="T28" fmla="*/ 1 w 84"/>
                <a:gd name="T29" fmla="*/ 1 h 42"/>
                <a:gd name="T30" fmla="*/ 1 w 84"/>
                <a:gd name="T31" fmla="*/ 1 h 42"/>
                <a:gd name="T32" fmla="*/ 1 w 84"/>
                <a:gd name="T33" fmla="*/ 1 h 42"/>
                <a:gd name="T34" fmla="*/ 1 w 84"/>
                <a:gd name="T35" fmla="*/ 1 h 42"/>
                <a:gd name="T36" fmla="*/ 1 w 84"/>
                <a:gd name="T37" fmla="*/ 1 h 42"/>
                <a:gd name="T38" fmla="*/ 1 w 84"/>
                <a:gd name="T39" fmla="*/ 1 h 42"/>
                <a:gd name="T40" fmla="*/ 1 w 84"/>
                <a:gd name="T41" fmla="*/ 1 h 4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84"/>
                <a:gd name="T64" fmla="*/ 0 h 42"/>
                <a:gd name="T65" fmla="*/ 84 w 84"/>
                <a:gd name="T66" fmla="*/ 42 h 42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84" h="42">
                  <a:moveTo>
                    <a:pt x="80" y="26"/>
                  </a:moveTo>
                  <a:lnTo>
                    <a:pt x="75" y="33"/>
                  </a:lnTo>
                  <a:lnTo>
                    <a:pt x="62" y="33"/>
                  </a:lnTo>
                  <a:lnTo>
                    <a:pt x="55" y="42"/>
                  </a:lnTo>
                  <a:lnTo>
                    <a:pt x="42" y="32"/>
                  </a:lnTo>
                  <a:lnTo>
                    <a:pt x="30" y="41"/>
                  </a:lnTo>
                  <a:lnTo>
                    <a:pt x="18" y="42"/>
                  </a:lnTo>
                  <a:lnTo>
                    <a:pt x="7" y="29"/>
                  </a:lnTo>
                  <a:lnTo>
                    <a:pt x="0" y="34"/>
                  </a:lnTo>
                  <a:lnTo>
                    <a:pt x="17" y="9"/>
                  </a:lnTo>
                  <a:lnTo>
                    <a:pt x="21" y="6"/>
                  </a:lnTo>
                  <a:lnTo>
                    <a:pt x="27" y="3"/>
                  </a:lnTo>
                  <a:lnTo>
                    <a:pt x="47" y="0"/>
                  </a:lnTo>
                  <a:lnTo>
                    <a:pt x="66" y="4"/>
                  </a:lnTo>
                  <a:lnTo>
                    <a:pt x="66" y="10"/>
                  </a:lnTo>
                  <a:lnTo>
                    <a:pt x="65" y="12"/>
                  </a:lnTo>
                  <a:lnTo>
                    <a:pt x="65" y="15"/>
                  </a:lnTo>
                  <a:lnTo>
                    <a:pt x="69" y="15"/>
                  </a:lnTo>
                  <a:lnTo>
                    <a:pt x="84" y="20"/>
                  </a:lnTo>
                  <a:lnTo>
                    <a:pt x="84" y="21"/>
                  </a:lnTo>
                  <a:lnTo>
                    <a:pt x="80" y="26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11" name="Freeform 239"/>
            <p:cNvSpPr>
              <a:spLocks/>
            </p:cNvSpPr>
            <p:nvPr/>
          </p:nvSpPr>
          <p:spPr bwMode="auto">
            <a:xfrm>
              <a:off x="2912" y="1180"/>
              <a:ext cx="249" cy="137"/>
            </a:xfrm>
            <a:custGeom>
              <a:avLst/>
              <a:gdLst>
                <a:gd name="T0" fmla="*/ 1 w 354"/>
                <a:gd name="T1" fmla="*/ 0 h 194"/>
                <a:gd name="T2" fmla="*/ 1 w 354"/>
                <a:gd name="T3" fmla="*/ 1 h 194"/>
                <a:gd name="T4" fmla="*/ 1 w 354"/>
                <a:gd name="T5" fmla="*/ 1 h 194"/>
                <a:gd name="T6" fmla="*/ 1 w 354"/>
                <a:gd name="T7" fmla="*/ 1 h 194"/>
                <a:gd name="T8" fmla="*/ 1 w 354"/>
                <a:gd name="T9" fmla="*/ 1 h 194"/>
                <a:gd name="T10" fmla="*/ 1 w 354"/>
                <a:gd name="T11" fmla="*/ 1 h 194"/>
                <a:gd name="T12" fmla="*/ 1 w 354"/>
                <a:gd name="T13" fmla="*/ 1 h 194"/>
                <a:gd name="T14" fmla="*/ 1 w 354"/>
                <a:gd name="T15" fmla="*/ 1 h 194"/>
                <a:gd name="T16" fmla="*/ 1 w 354"/>
                <a:gd name="T17" fmla="*/ 1 h 194"/>
                <a:gd name="T18" fmla="*/ 1 w 354"/>
                <a:gd name="T19" fmla="*/ 1 h 194"/>
                <a:gd name="T20" fmla="*/ 1 w 354"/>
                <a:gd name="T21" fmla="*/ 1 h 194"/>
                <a:gd name="T22" fmla="*/ 1 w 354"/>
                <a:gd name="T23" fmla="*/ 1 h 194"/>
                <a:gd name="T24" fmla="*/ 0 w 354"/>
                <a:gd name="T25" fmla="*/ 1 h 194"/>
                <a:gd name="T26" fmla="*/ 1 w 354"/>
                <a:gd name="T27" fmla="*/ 1 h 194"/>
                <a:gd name="T28" fmla="*/ 1 w 354"/>
                <a:gd name="T29" fmla="*/ 1 h 194"/>
                <a:gd name="T30" fmla="*/ 1 w 354"/>
                <a:gd name="T31" fmla="*/ 1 h 194"/>
                <a:gd name="T32" fmla="*/ 1 w 354"/>
                <a:gd name="T33" fmla="*/ 1 h 194"/>
                <a:gd name="T34" fmla="*/ 1 w 354"/>
                <a:gd name="T35" fmla="*/ 1 h 194"/>
                <a:gd name="T36" fmla="*/ 1 w 354"/>
                <a:gd name="T37" fmla="*/ 1 h 194"/>
                <a:gd name="T38" fmla="*/ 1 w 354"/>
                <a:gd name="T39" fmla="*/ 1 h 194"/>
                <a:gd name="T40" fmla="*/ 1 w 354"/>
                <a:gd name="T41" fmla="*/ 1 h 194"/>
                <a:gd name="T42" fmla="*/ 1 w 354"/>
                <a:gd name="T43" fmla="*/ 1 h 194"/>
                <a:gd name="T44" fmla="*/ 1 w 354"/>
                <a:gd name="T45" fmla="*/ 1 h 194"/>
                <a:gd name="T46" fmla="*/ 1 w 354"/>
                <a:gd name="T47" fmla="*/ 1 h 194"/>
                <a:gd name="T48" fmla="*/ 1 w 354"/>
                <a:gd name="T49" fmla="*/ 1 h 194"/>
                <a:gd name="T50" fmla="*/ 1 w 354"/>
                <a:gd name="T51" fmla="*/ 1 h 194"/>
                <a:gd name="T52" fmla="*/ 1 w 354"/>
                <a:gd name="T53" fmla="*/ 1 h 194"/>
                <a:gd name="T54" fmla="*/ 1 w 354"/>
                <a:gd name="T55" fmla="*/ 1 h 194"/>
                <a:gd name="T56" fmla="*/ 1 w 354"/>
                <a:gd name="T57" fmla="*/ 1 h 194"/>
                <a:gd name="T58" fmla="*/ 1 w 354"/>
                <a:gd name="T59" fmla="*/ 1 h 194"/>
                <a:gd name="T60" fmla="*/ 1 w 354"/>
                <a:gd name="T61" fmla="*/ 1 h 194"/>
                <a:gd name="T62" fmla="*/ 2 w 354"/>
                <a:gd name="T63" fmla="*/ 1 h 194"/>
                <a:gd name="T64" fmla="*/ 1 w 354"/>
                <a:gd name="T65" fmla="*/ 1 h 194"/>
                <a:gd name="T66" fmla="*/ 1 w 354"/>
                <a:gd name="T67" fmla="*/ 1 h 194"/>
                <a:gd name="T68" fmla="*/ 2 w 354"/>
                <a:gd name="T69" fmla="*/ 1 h 194"/>
                <a:gd name="T70" fmla="*/ 2 w 354"/>
                <a:gd name="T71" fmla="*/ 1 h 194"/>
                <a:gd name="T72" fmla="*/ 2 w 354"/>
                <a:gd name="T73" fmla="*/ 1 h 194"/>
                <a:gd name="T74" fmla="*/ 2 w 354"/>
                <a:gd name="T75" fmla="*/ 1 h 194"/>
                <a:gd name="T76" fmla="*/ 2 w 354"/>
                <a:gd name="T77" fmla="*/ 1 h 194"/>
                <a:gd name="T78" fmla="*/ 2 w 354"/>
                <a:gd name="T79" fmla="*/ 1 h 194"/>
                <a:gd name="T80" fmla="*/ 2 w 354"/>
                <a:gd name="T81" fmla="*/ 1 h 194"/>
                <a:gd name="T82" fmla="*/ 2 w 354"/>
                <a:gd name="T83" fmla="*/ 1 h 194"/>
                <a:gd name="T84" fmla="*/ 2 w 354"/>
                <a:gd name="T85" fmla="*/ 1 h 194"/>
                <a:gd name="T86" fmla="*/ 2 w 354"/>
                <a:gd name="T87" fmla="*/ 1 h 194"/>
                <a:gd name="T88" fmla="*/ 2 w 354"/>
                <a:gd name="T89" fmla="*/ 1 h 194"/>
                <a:gd name="T90" fmla="*/ 2 w 354"/>
                <a:gd name="T91" fmla="*/ 1 h 194"/>
                <a:gd name="T92" fmla="*/ 3 w 354"/>
                <a:gd name="T93" fmla="*/ 1 h 194"/>
                <a:gd name="T94" fmla="*/ 3 w 354"/>
                <a:gd name="T95" fmla="*/ 1 h 194"/>
                <a:gd name="T96" fmla="*/ 3 w 354"/>
                <a:gd name="T97" fmla="*/ 1 h 194"/>
                <a:gd name="T98" fmla="*/ 3 w 354"/>
                <a:gd name="T99" fmla="*/ 1 h 194"/>
                <a:gd name="T100" fmla="*/ 2 w 354"/>
                <a:gd name="T101" fmla="*/ 1 h 194"/>
                <a:gd name="T102" fmla="*/ 2 w 354"/>
                <a:gd name="T103" fmla="*/ 1 h 194"/>
                <a:gd name="T104" fmla="*/ 2 w 354"/>
                <a:gd name="T105" fmla="*/ 1 h 194"/>
                <a:gd name="T106" fmla="*/ 2 w 354"/>
                <a:gd name="T107" fmla="*/ 1 h 194"/>
                <a:gd name="T108" fmla="*/ 1 w 354"/>
                <a:gd name="T109" fmla="*/ 1 h 194"/>
                <a:gd name="T110" fmla="*/ 1 w 354"/>
                <a:gd name="T111" fmla="*/ 1 h 194"/>
                <a:gd name="T112" fmla="*/ 1 w 354"/>
                <a:gd name="T113" fmla="*/ 0 h 19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54"/>
                <a:gd name="T172" fmla="*/ 0 h 194"/>
                <a:gd name="T173" fmla="*/ 354 w 354"/>
                <a:gd name="T174" fmla="*/ 194 h 19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54" h="194">
                  <a:moveTo>
                    <a:pt x="187" y="0"/>
                  </a:moveTo>
                  <a:lnTo>
                    <a:pt x="172" y="5"/>
                  </a:lnTo>
                  <a:lnTo>
                    <a:pt x="149" y="17"/>
                  </a:lnTo>
                  <a:lnTo>
                    <a:pt x="150" y="25"/>
                  </a:lnTo>
                  <a:lnTo>
                    <a:pt x="117" y="19"/>
                  </a:lnTo>
                  <a:lnTo>
                    <a:pt x="84" y="13"/>
                  </a:lnTo>
                  <a:lnTo>
                    <a:pt x="51" y="13"/>
                  </a:lnTo>
                  <a:lnTo>
                    <a:pt x="18" y="13"/>
                  </a:lnTo>
                  <a:lnTo>
                    <a:pt x="29" y="38"/>
                  </a:lnTo>
                  <a:lnTo>
                    <a:pt x="27" y="50"/>
                  </a:lnTo>
                  <a:lnTo>
                    <a:pt x="9" y="74"/>
                  </a:lnTo>
                  <a:lnTo>
                    <a:pt x="6" y="82"/>
                  </a:lnTo>
                  <a:lnTo>
                    <a:pt x="0" y="98"/>
                  </a:lnTo>
                  <a:lnTo>
                    <a:pt x="16" y="109"/>
                  </a:lnTo>
                  <a:lnTo>
                    <a:pt x="17" y="109"/>
                  </a:lnTo>
                  <a:lnTo>
                    <a:pt x="53" y="113"/>
                  </a:lnTo>
                  <a:lnTo>
                    <a:pt x="85" y="102"/>
                  </a:lnTo>
                  <a:lnTo>
                    <a:pt x="103" y="89"/>
                  </a:lnTo>
                  <a:lnTo>
                    <a:pt x="109" y="91"/>
                  </a:lnTo>
                  <a:lnTo>
                    <a:pt x="125" y="106"/>
                  </a:lnTo>
                  <a:lnTo>
                    <a:pt x="141" y="120"/>
                  </a:lnTo>
                  <a:lnTo>
                    <a:pt x="156" y="134"/>
                  </a:lnTo>
                  <a:lnTo>
                    <a:pt x="172" y="149"/>
                  </a:lnTo>
                  <a:lnTo>
                    <a:pt x="187" y="138"/>
                  </a:lnTo>
                  <a:lnTo>
                    <a:pt x="193" y="142"/>
                  </a:lnTo>
                  <a:lnTo>
                    <a:pt x="191" y="130"/>
                  </a:lnTo>
                  <a:lnTo>
                    <a:pt x="195" y="138"/>
                  </a:lnTo>
                  <a:lnTo>
                    <a:pt x="209" y="142"/>
                  </a:lnTo>
                  <a:lnTo>
                    <a:pt x="189" y="143"/>
                  </a:lnTo>
                  <a:lnTo>
                    <a:pt x="197" y="149"/>
                  </a:lnTo>
                  <a:lnTo>
                    <a:pt x="214" y="154"/>
                  </a:lnTo>
                  <a:lnTo>
                    <a:pt x="232" y="156"/>
                  </a:lnTo>
                  <a:lnTo>
                    <a:pt x="211" y="169"/>
                  </a:lnTo>
                  <a:lnTo>
                    <a:pt x="225" y="176"/>
                  </a:lnTo>
                  <a:lnTo>
                    <a:pt x="234" y="185"/>
                  </a:lnTo>
                  <a:lnTo>
                    <a:pt x="238" y="194"/>
                  </a:lnTo>
                  <a:lnTo>
                    <a:pt x="265" y="184"/>
                  </a:lnTo>
                  <a:lnTo>
                    <a:pt x="279" y="181"/>
                  </a:lnTo>
                  <a:lnTo>
                    <a:pt x="291" y="174"/>
                  </a:lnTo>
                  <a:lnTo>
                    <a:pt x="275" y="173"/>
                  </a:lnTo>
                  <a:lnTo>
                    <a:pt x="256" y="158"/>
                  </a:lnTo>
                  <a:lnTo>
                    <a:pt x="261" y="148"/>
                  </a:lnTo>
                  <a:lnTo>
                    <a:pt x="258" y="154"/>
                  </a:lnTo>
                  <a:lnTo>
                    <a:pt x="263" y="149"/>
                  </a:lnTo>
                  <a:lnTo>
                    <a:pt x="291" y="138"/>
                  </a:lnTo>
                  <a:lnTo>
                    <a:pt x="322" y="127"/>
                  </a:lnTo>
                  <a:lnTo>
                    <a:pt x="331" y="126"/>
                  </a:lnTo>
                  <a:lnTo>
                    <a:pt x="339" y="112"/>
                  </a:lnTo>
                  <a:lnTo>
                    <a:pt x="354" y="104"/>
                  </a:lnTo>
                  <a:lnTo>
                    <a:pt x="341" y="70"/>
                  </a:lnTo>
                  <a:lnTo>
                    <a:pt x="312" y="61"/>
                  </a:lnTo>
                  <a:lnTo>
                    <a:pt x="283" y="52"/>
                  </a:lnTo>
                  <a:lnTo>
                    <a:pt x="271" y="54"/>
                  </a:lnTo>
                  <a:lnTo>
                    <a:pt x="246" y="32"/>
                  </a:lnTo>
                  <a:lnTo>
                    <a:pt x="221" y="12"/>
                  </a:lnTo>
                  <a:lnTo>
                    <a:pt x="217" y="4"/>
                  </a:lnTo>
                  <a:lnTo>
                    <a:pt x="187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12" name="Freeform 240"/>
            <p:cNvSpPr>
              <a:spLocks/>
            </p:cNvSpPr>
            <p:nvPr/>
          </p:nvSpPr>
          <p:spPr bwMode="auto">
            <a:xfrm>
              <a:off x="2870" y="1289"/>
              <a:ext cx="61" cy="73"/>
            </a:xfrm>
            <a:custGeom>
              <a:avLst/>
              <a:gdLst>
                <a:gd name="T0" fmla="*/ 1 w 89"/>
                <a:gd name="T1" fmla="*/ 1 h 104"/>
                <a:gd name="T2" fmla="*/ 1 w 89"/>
                <a:gd name="T3" fmla="*/ 1 h 104"/>
                <a:gd name="T4" fmla="*/ 1 w 89"/>
                <a:gd name="T5" fmla="*/ 1 h 104"/>
                <a:gd name="T6" fmla="*/ 1 w 89"/>
                <a:gd name="T7" fmla="*/ 1 h 104"/>
                <a:gd name="T8" fmla="*/ 1 w 89"/>
                <a:gd name="T9" fmla="*/ 1 h 104"/>
                <a:gd name="T10" fmla="*/ 1 w 89"/>
                <a:gd name="T11" fmla="*/ 1 h 104"/>
                <a:gd name="T12" fmla="*/ 1 w 89"/>
                <a:gd name="T13" fmla="*/ 1 h 104"/>
                <a:gd name="T14" fmla="*/ 1 w 89"/>
                <a:gd name="T15" fmla="*/ 1 h 104"/>
                <a:gd name="T16" fmla="*/ 1 w 89"/>
                <a:gd name="T17" fmla="*/ 1 h 104"/>
                <a:gd name="T18" fmla="*/ 1 w 89"/>
                <a:gd name="T19" fmla="*/ 1 h 104"/>
                <a:gd name="T20" fmla="*/ 1 w 89"/>
                <a:gd name="T21" fmla="*/ 1 h 104"/>
                <a:gd name="T22" fmla="*/ 1 w 89"/>
                <a:gd name="T23" fmla="*/ 1 h 104"/>
                <a:gd name="T24" fmla="*/ 1 w 89"/>
                <a:gd name="T25" fmla="*/ 1 h 104"/>
                <a:gd name="T26" fmla="*/ 1 w 89"/>
                <a:gd name="T27" fmla="*/ 1 h 104"/>
                <a:gd name="T28" fmla="*/ 1 w 89"/>
                <a:gd name="T29" fmla="*/ 1 h 104"/>
                <a:gd name="T30" fmla="*/ 1 w 89"/>
                <a:gd name="T31" fmla="*/ 1 h 104"/>
                <a:gd name="T32" fmla="*/ 1 w 89"/>
                <a:gd name="T33" fmla="*/ 1 h 104"/>
                <a:gd name="T34" fmla="*/ 1 w 89"/>
                <a:gd name="T35" fmla="*/ 1 h 104"/>
                <a:gd name="T36" fmla="*/ 1 w 89"/>
                <a:gd name="T37" fmla="*/ 1 h 104"/>
                <a:gd name="T38" fmla="*/ 1 w 89"/>
                <a:gd name="T39" fmla="*/ 1 h 104"/>
                <a:gd name="T40" fmla="*/ 1 w 89"/>
                <a:gd name="T41" fmla="*/ 1 h 104"/>
                <a:gd name="T42" fmla="*/ 1 w 89"/>
                <a:gd name="T43" fmla="*/ 1 h 104"/>
                <a:gd name="T44" fmla="*/ 1 w 89"/>
                <a:gd name="T45" fmla="*/ 1 h 104"/>
                <a:gd name="T46" fmla="*/ 0 w 89"/>
                <a:gd name="T47" fmla="*/ 1 h 104"/>
                <a:gd name="T48" fmla="*/ 1 w 89"/>
                <a:gd name="T49" fmla="*/ 1 h 104"/>
                <a:gd name="T50" fmla="*/ 1 w 89"/>
                <a:gd name="T51" fmla="*/ 1 h 104"/>
                <a:gd name="T52" fmla="*/ 1 w 89"/>
                <a:gd name="T53" fmla="*/ 1 h 104"/>
                <a:gd name="T54" fmla="*/ 1 w 89"/>
                <a:gd name="T55" fmla="*/ 1 h 104"/>
                <a:gd name="T56" fmla="*/ 1 w 89"/>
                <a:gd name="T57" fmla="*/ 1 h 104"/>
                <a:gd name="T58" fmla="*/ 1 w 89"/>
                <a:gd name="T59" fmla="*/ 1 h 104"/>
                <a:gd name="T60" fmla="*/ 1 w 89"/>
                <a:gd name="T61" fmla="*/ 1 h 104"/>
                <a:gd name="T62" fmla="*/ 1 w 89"/>
                <a:gd name="T63" fmla="*/ 1 h 104"/>
                <a:gd name="T64" fmla="*/ 1 w 89"/>
                <a:gd name="T65" fmla="*/ 1 h 104"/>
                <a:gd name="T66" fmla="*/ 1 w 89"/>
                <a:gd name="T67" fmla="*/ 1 h 104"/>
                <a:gd name="T68" fmla="*/ 1 w 89"/>
                <a:gd name="T69" fmla="*/ 1 h 104"/>
                <a:gd name="T70" fmla="*/ 1 w 89"/>
                <a:gd name="T71" fmla="*/ 1 h 104"/>
                <a:gd name="T72" fmla="*/ 1 w 89"/>
                <a:gd name="T73" fmla="*/ 1 h 104"/>
                <a:gd name="T74" fmla="*/ 1 w 89"/>
                <a:gd name="T75" fmla="*/ 1 h 104"/>
                <a:gd name="T76" fmla="*/ 1 w 89"/>
                <a:gd name="T77" fmla="*/ 1 h 104"/>
                <a:gd name="T78" fmla="*/ 1 w 89"/>
                <a:gd name="T79" fmla="*/ 1 h 104"/>
                <a:gd name="T80" fmla="*/ 1 w 89"/>
                <a:gd name="T81" fmla="*/ 1 h 104"/>
                <a:gd name="T82" fmla="*/ 1 w 89"/>
                <a:gd name="T83" fmla="*/ 1 h 104"/>
                <a:gd name="T84" fmla="*/ 1 w 89"/>
                <a:gd name="T85" fmla="*/ 1 h 104"/>
                <a:gd name="T86" fmla="*/ 1 w 89"/>
                <a:gd name="T87" fmla="*/ 1 h 104"/>
                <a:gd name="T88" fmla="*/ 1 w 89"/>
                <a:gd name="T89" fmla="*/ 1 h 104"/>
                <a:gd name="T90" fmla="*/ 1 w 89"/>
                <a:gd name="T91" fmla="*/ 1 h 104"/>
                <a:gd name="T92" fmla="*/ 1 w 89"/>
                <a:gd name="T93" fmla="*/ 1 h 104"/>
                <a:gd name="T94" fmla="*/ 1 w 89"/>
                <a:gd name="T95" fmla="*/ 1 h 104"/>
                <a:gd name="T96" fmla="*/ 1 w 89"/>
                <a:gd name="T97" fmla="*/ 0 h 104"/>
                <a:gd name="T98" fmla="*/ 1 w 89"/>
                <a:gd name="T99" fmla="*/ 1 h 104"/>
                <a:gd name="T100" fmla="*/ 1 w 89"/>
                <a:gd name="T101" fmla="*/ 1 h 104"/>
                <a:gd name="T102" fmla="*/ 1 w 89"/>
                <a:gd name="T103" fmla="*/ 1 h 104"/>
                <a:gd name="T104" fmla="*/ 1 w 89"/>
                <a:gd name="T105" fmla="*/ 1 h 104"/>
                <a:gd name="T106" fmla="*/ 1 w 89"/>
                <a:gd name="T107" fmla="*/ 1 h 104"/>
                <a:gd name="T108" fmla="*/ 1 w 89"/>
                <a:gd name="T109" fmla="*/ 1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9"/>
                <a:gd name="T166" fmla="*/ 0 h 104"/>
                <a:gd name="T167" fmla="*/ 89 w 89"/>
                <a:gd name="T168" fmla="*/ 104 h 10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9" h="104">
                  <a:moveTo>
                    <a:pt x="16" y="21"/>
                  </a:moveTo>
                  <a:lnTo>
                    <a:pt x="16" y="22"/>
                  </a:lnTo>
                  <a:lnTo>
                    <a:pt x="10" y="24"/>
                  </a:lnTo>
                  <a:lnTo>
                    <a:pt x="8" y="30"/>
                  </a:lnTo>
                  <a:lnTo>
                    <a:pt x="14" y="30"/>
                  </a:lnTo>
                  <a:lnTo>
                    <a:pt x="14" y="33"/>
                  </a:lnTo>
                  <a:lnTo>
                    <a:pt x="13" y="37"/>
                  </a:lnTo>
                  <a:lnTo>
                    <a:pt x="10" y="40"/>
                  </a:lnTo>
                  <a:lnTo>
                    <a:pt x="11" y="43"/>
                  </a:lnTo>
                  <a:lnTo>
                    <a:pt x="14" y="45"/>
                  </a:lnTo>
                  <a:lnTo>
                    <a:pt x="23" y="50"/>
                  </a:lnTo>
                  <a:lnTo>
                    <a:pt x="16" y="54"/>
                  </a:lnTo>
                  <a:lnTo>
                    <a:pt x="20" y="57"/>
                  </a:lnTo>
                  <a:lnTo>
                    <a:pt x="20" y="62"/>
                  </a:lnTo>
                  <a:lnTo>
                    <a:pt x="10" y="64"/>
                  </a:lnTo>
                  <a:lnTo>
                    <a:pt x="14" y="69"/>
                  </a:lnTo>
                  <a:lnTo>
                    <a:pt x="12" y="72"/>
                  </a:lnTo>
                  <a:lnTo>
                    <a:pt x="8" y="68"/>
                  </a:lnTo>
                  <a:lnTo>
                    <a:pt x="4" y="75"/>
                  </a:lnTo>
                  <a:lnTo>
                    <a:pt x="1" y="78"/>
                  </a:lnTo>
                  <a:lnTo>
                    <a:pt x="6" y="85"/>
                  </a:lnTo>
                  <a:lnTo>
                    <a:pt x="1" y="86"/>
                  </a:lnTo>
                  <a:lnTo>
                    <a:pt x="1" y="87"/>
                  </a:lnTo>
                  <a:lnTo>
                    <a:pt x="0" y="90"/>
                  </a:lnTo>
                  <a:lnTo>
                    <a:pt x="14" y="97"/>
                  </a:lnTo>
                  <a:lnTo>
                    <a:pt x="22" y="104"/>
                  </a:lnTo>
                  <a:lnTo>
                    <a:pt x="25" y="87"/>
                  </a:lnTo>
                  <a:lnTo>
                    <a:pt x="37" y="91"/>
                  </a:lnTo>
                  <a:lnTo>
                    <a:pt x="43" y="103"/>
                  </a:lnTo>
                  <a:lnTo>
                    <a:pt x="47" y="102"/>
                  </a:lnTo>
                  <a:lnTo>
                    <a:pt x="47" y="99"/>
                  </a:lnTo>
                  <a:lnTo>
                    <a:pt x="54" y="97"/>
                  </a:lnTo>
                  <a:lnTo>
                    <a:pt x="59" y="98"/>
                  </a:lnTo>
                  <a:lnTo>
                    <a:pt x="61" y="94"/>
                  </a:lnTo>
                  <a:lnTo>
                    <a:pt x="65" y="94"/>
                  </a:lnTo>
                  <a:lnTo>
                    <a:pt x="69" y="96"/>
                  </a:lnTo>
                  <a:lnTo>
                    <a:pt x="71" y="94"/>
                  </a:lnTo>
                  <a:lnTo>
                    <a:pt x="78" y="92"/>
                  </a:lnTo>
                  <a:lnTo>
                    <a:pt x="83" y="98"/>
                  </a:lnTo>
                  <a:lnTo>
                    <a:pt x="87" y="96"/>
                  </a:lnTo>
                  <a:lnTo>
                    <a:pt x="81" y="87"/>
                  </a:lnTo>
                  <a:lnTo>
                    <a:pt x="89" y="75"/>
                  </a:lnTo>
                  <a:lnTo>
                    <a:pt x="81" y="61"/>
                  </a:lnTo>
                  <a:lnTo>
                    <a:pt x="82" y="45"/>
                  </a:lnTo>
                  <a:lnTo>
                    <a:pt x="81" y="38"/>
                  </a:lnTo>
                  <a:lnTo>
                    <a:pt x="73" y="36"/>
                  </a:lnTo>
                  <a:lnTo>
                    <a:pt x="67" y="34"/>
                  </a:lnTo>
                  <a:lnTo>
                    <a:pt x="59" y="30"/>
                  </a:lnTo>
                  <a:lnTo>
                    <a:pt x="30" y="0"/>
                  </a:lnTo>
                  <a:lnTo>
                    <a:pt x="1" y="6"/>
                  </a:lnTo>
                  <a:lnTo>
                    <a:pt x="6" y="14"/>
                  </a:lnTo>
                  <a:lnTo>
                    <a:pt x="10" y="15"/>
                  </a:lnTo>
                  <a:lnTo>
                    <a:pt x="7" y="18"/>
                  </a:lnTo>
                  <a:lnTo>
                    <a:pt x="10" y="19"/>
                  </a:lnTo>
                  <a:lnTo>
                    <a:pt x="16" y="2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13" name="Freeform 241"/>
            <p:cNvSpPr>
              <a:spLocks/>
            </p:cNvSpPr>
            <p:nvPr/>
          </p:nvSpPr>
          <p:spPr bwMode="auto">
            <a:xfrm>
              <a:off x="1042" y="876"/>
              <a:ext cx="1001" cy="489"/>
            </a:xfrm>
            <a:custGeom>
              <a:avLst/>
              <a:gdLst>
                <a:gd name="T0" fmla="*/ 8 w 1425"/>
                <a:gd name="T1" fmla="*/ 1 h 695"/>
                <a:gd name="T2" fmla="*/ 8 w 1425"/>
                <a:gd name="T3" fmla="*/ 1 h 695"/>
                <a:gd name="T4" fmla="*/ 8 w 1425"/>
                <a:gd name="T5" fmla="*/ 1 h 695"/>
                <a:gd name="T6" fmla="*/ 7 w 1425"/>
                <a:gd name="T7" fmla="*/ 1 h 695"/>
                <a:gd name="T8" fmla="*/ 7 w 1425"/>
                <a:gd name="T9" fmla="*/ 1 h 695"/>
                <a:gd name="T10" fmla="*/ 7 w 1425"/>
                <a:gd name="T11" fmla="*/ 1 h 695"/>
                <a:gd name="T12" fmla="*/ 6 w 1425"/>
                <a:gd name="T13" fmla="*/ 1 h 695"/>
                <a:gd name="T14" fmla="*/ 6 w 1425"/>
                <a:gd name="T15" fmla="*/ 1 h 695"/>
                <a:gd name="T16" fmla="*/ 6 w 1425"/>
                <a:gd name="T17" fmla="*/ 1 h 695"/>
                <a:gd name="T18" fmla="*/ 6 w 1425"/>
                <a:gd name="T19" fmla="*/ 1 h 695"/>
                <a:gd name="T20" fmla="*/ 5 w 1425"/>
                <a:gd name="T21" fmla="*/ 1 h 695"/>
                <a:gd name="T22" fmla="*/ 4 w 1425"/>
                <a:gd name="T23" fmla="*/ 1 h 695"/>
                <a:gd name="T24" fmla="*/ 4 w 1425"/>
                <a:gd name="T25" fmla="*/ 1 h 695"/>
                <a:gd name="T26" fmla="*/ 3 w 1425"/>
                <a:gd name="T27" fmla="*/ 1 h 695"/>
                <a:gd name="T28" fmla="*/ 1 w 1425"/>
                <a:gd name="T29" fmla="*/ 1 h 695"/>
                <a:gd name="T30" fmla="*/ 1 w 1425"/>
                <a:gd name="T31" fmla="*/ 2 h 695"/>
                <a:gd name="T32" fmla="*/ 1 w 1425"/>
                <a:gd name="T33" fmla="*/ 3 h 695"/>
                <a:gd name="T34" fmla="*/ 1 w 1425"/>
                <a:gd name="T35" fmla="*/ 3 h 695"/>
                <a:gd name="T36" fmla="*/ 1 w 1425"/>
                <a:gd name="T37" fmla="*/ 3 h 695"/>
                <a:gd name="T38" fmla="*/ 1 w 1425"/>
                <a:gd name="T39" fmla="*/ 3 h 695"/>
                <a:gd name="T40" fmla="*/ 1 w 1425"/>
                <a:gd name="T41" fmla="*/ 4 h 695"/>
                <a:gd name="T42" fmla="*/ 1 w 1425"/>
                <a:gd name="T43" fmla="*/ 4 h 695"/>
                <a:gd name="T44" fmla="*/ 1 w 1425"/>
                <a:gd name="T45" fmla="*/ 4 h 695"/>
                <a:gd name="T46" fmla="*/ 1 w 1425"/>
                <a:gd name="T47" fmla="*/ 4 h 695"/>
                <a:gd name="T48" fmla="*/ 3 w 1425"/>
                <a:gd name="T49" fmla="*/ 4 h 695"/>
                <a:gd name="T50" fmla="*/ 4 w 1425"/>
                <a:gd name="T51" fmla="*/ 4 h 695"/>
                <a:gd name="T52" fmla="*/ 6 w 1425"/>
                <a:gd name="T53" fmla="*/ 4 h 695"/>
                <a:gd name="T54" fmla="*/ 6 w 1425"/>
                <a:gd name="T55" fmla="*/ 5 h 695"/>
                <a:gd name="T56" fmla="*/ 7 w 1425"/>
                <a:gd name="T57" fmla="*/ 4 h 695"/>
                <a:gd name="T58" fmla="*/ 8 w 1425"/>
                <a:gd name="T59" fmla="*/ 4 h 695"/>
                <a:gd name="T60" fmla="*/ 9 w 1425"/>
                <a:gd name="T61" fmla="*/ 4 h 695"/>
                <a:gd name="T62" fmla="*/ 8 w 1425"/>
                <a:gd name="T63" fmla="*/ 4 h 695"/>
                <a:gd name="T64" fmla="*/ 9 w 1425"/>
                <a:gd name="T65" fmla="*/ 4 h 695"/>
                <a:gd name="T66" fmla="*/ 9 w 1425"/>
                <a:gd name="T67" fmla="*/ 4 h 695"/>
                <a:gd name="T68" fmla="*/ 9 w 1425"/>
                <a:gd name="T69" fmla="*/ 4 h 695"/>
                <a:gd name="T70" fmla="*/ 8 w 1425"/>
                <a:gd name="T71" fmla="*/ 4 h 695"/>
                <a:gd name="T72" fmla="*/ 9 w 1425"/>
                <a:gd name="T73" fmla="*/ 4 h 695"/>
                <a:gd name="T74" fmla="*/ 10 w 1425"/>
                <a:gd name="T75" fmla="*/ 3 h 695"/>
                <a:gd name="T76" fmla="*/ 9 w 1425"/>
                <a:gd name="T77" fmla="*/ 3 h 695"/>
                <a:gd name="T78" fmla="*/ 10 w 1425"/>
                <a:gd name="T79" fmla="*/ 3 h 695"/>
                <a:gd name="T80" fmla="*/ 10 w 1425"/>
                <a:gd name="T81" fmla="*/ 3 h 695"/>
                <a:gd name="T82" fmla="*/ 9 w 1425"/>
                <a:gd name="T83" fmla="*/ 3 h 695"/>
                <a:gd name="T84" fmla="*/ 9 w 1425"/>
                <a:gd name="T85" fmla="*/ 2 h 695"/>
                <a:gd name="T86" fmla="*/ 9 w 1425"/>
                <a:gd name="T87" fmla="*/ 2 h 695"/>
                <a:gd name="T88" fmla="*/ 9 w 1425"/>
                <a:gd name="T89" fmla="*/ 2 h 695"/>
                <a:gd name="T90" fmla="*/ 9 w 1425"/>
                <a:gd name="T91" fmla="*/ 2 h 695"/>
                <a:gd name="T92" fmla="*/ 9 w 1425"/>
                <a:gd name="T93" fmla="*/ 2 h 695"/>
                <a:gd name="T94" fmla="*/ 9 w 1425"/>
                <a:gd name="T95" fmla="*/ 1 h 695"/>
                <a:gd name="T96" fmla="*/ 8 w 1425"/>
                <a:gd name="T97" fmla="*/ 1 h 695"/>
                <a:gd name="T98" fmla="*/ 8 w 1425"/>
                <a:gd name="T99" fmla="*/ 3 h 695"/>
                <a:gd name="T100" fmla="*/ 7 w 1425"/>
                <a:gd name="T101" fmla="*/ 3 h 695"/>
                <a:gd name="T102" fmla="*/ 6 w 1425"/>
                <a:gd name="T103" fmla="*/ 3 h 695"/>
                <a:gd name="T104" fmla="*/ 6 w 1425"/>
                <a:gd name="T105" fmla="*/ 2 h 695"/>
                <a:gd name="T106" fmla="*/ 6 w 1425"/>
                <a:gd name="T107" fmla="*/ 2 h 695"/>
                <a:gd name="T108" fmla="*/ 6 w 1425"/>
                <a:gd name="T109" fmla="*/ 1 h 695"/>
                <a:gd name="T110" fmla="*/ 6 w 1425"/>
                <a:gd name="T111" fmla="*/ 1 h 695"/>
                <a:gd name="T112" fmla="*/ 7 w 1425"/>
                <a:gd name="T113" fmla="*/ 1 h 69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425"/>
                <a:gd name="T172" fmla="*/ 0 h 695"/>
                <a:gd name="T173" fmla="*/ 1425 w 1425"/>
                <a:gd name="T174" fmla="*/ 695 h 695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425" h="695">
                  <a:moveTo>
                    <a:pt x="1049" y="121"/>
                  </a:moveTo>
                  <a:lnTo>
                    <a:pt x="1041" y="114"/>
                  </a:lnTo>
                  <a:lnTo>
                    <a:pt x="1063" y="114"/>
                  </a:lnTo>
                  <a:lnTo>
                    <a:pt x="1075" y="120"/>
                  </a:lnTo>
                  <a:lnTo>
                    <a:pt x="1085" y="118"/>
                  </a:lnTo>
                  <a:lnTo>
                    <a:pt x="1078" y="106"/>
                  </a:lnTo>
                  <a:lnTo>
                    <a:pt x="1086" y="108"/>
                  </a:lnTo>
                  <a:lnTo>
                    <a:pt x="1090" y="109"/>
                  </a:lnTo>
                  <a:lnTo>
                    <a:pt x="1097" y="116"/>
                  </a:lnTo>
                  <a:lnTo>
                    <a:pt x="1137" y="102"/>
                  </a:lnTo>
                  <a:lnTo>
                    <a:pt x="1144" y="90"/>
                  </a:lnTo>
                  <a:lnTo>
                    <a:pt x="1143" y="79"/>
                  </a:lnTo>
                  <a:lnTo>
                    <a:pt x="1144" y="73"/>
                  </a:lnTo>
                  <a:lnTo>
                    <a:pt x="1164" y="66"/>
                  </a:lnTo>
                  <a:lnTo>
                    <a:pt x="1153" y="64"/>
                  </a:lnTo>
                  <a:lnTo>
                    <a:pt x="1169" y="56"/>
                  </a:lnTo>
                  <a:lnTo>
                    <a:pt x="1143" y="49"/>
                  </a:lnTo>
                  <a:lnTo>
                    <a:pt x="1161" y="48"/>
                  </a:lnTo>
                  <a:lnTo>
                    <a:pt x="1111" y="46"/>
                  </a:lnTo>
                  <a:lnTo>
                    <a:pt x="1107" y="58"/>
                  </a:lnTo>
                  <a:lnTo>
                    <a:pt x="1110" y="62"/>
                  </a:lnTo>
                  <a:lnTo>
                    <a:pt x="1107" y="67"/>
                  </a:lnTo>
                  <a:lnTo>
                    <a:pt x="1093" y="67"/>
                  </a:lnTo>
                  <a:lnTo>
                    <a:pt x="1056" y="96"/>
                  </a:lnTo>
                  <a:lnTo>
                    <a:pt x="1043" y="98"/>
                  </a:lnTo>
                  <a:lnTo>
                    <a:pt x="1039" y="82"/>
                  </a:lnTo>
                  <a:lnTo>
                    <a:pt x="1045" y="77"/>
                  </a:lnTo>
                  <a:lnTo>
                    <a:pt x="1055" y="62"/>
                  </a:lnTo>
                  <a:lnTo>
                    <a:pt x="1042" y="56"/>
                  </a:lnTo>
                  <a:lnTo>
                    <a:pt x="1012" y="77"/>
                  </a:lnTo>
                  <a:lnTo>
                    <a:pt x="1019" y="59"/>
                  </a:lnTo>
                  <a:lnTo>
                    <a:pt x="1014" y="55"/>
                  </a:lnTo>
                  <a:lnTo>
                    <a:pt x="1030" y="52"/>
                  </a:lnTo>
                  <a:lnTo>
                    <a:pt x="1019" y="48"/>
                  </a:lnTo>
                  <a:lnTo>
                    <a:pt x="1001" y="47"/>
                  </a:lnTo>
                  <a:lnTo>
                    <a:pt x="999" y="44"/>
                  </a:lnTo>
                  <a:lnTo>
                    <a:pt x="1013" y="38"/>
                  </a:lnTo>
                  <a:lnTo>
                    <a:pt x="1013" y="35"/>
                  </a:lnTo>
                  <a:lnTo>
                    <a:pt x="1021" y="36"/>
                  </a:lnTo>
                  <a:lnTo>
                    <a:pt x="1015" y="23"/>
                  </a:lnTo>
                  <a:lnTo>
                    <a:pt x="1020" y="11"/>
                  </a:lnTo>
                  <a:lnTo>
                    <a:pt x="1012" y="4"/>
                  </a:lnTo>
                  <a:lnTo>
                    <a:pt x="1006" y="4"/>
                  </a:lnTo>
                  <a:lnTo>
                    <a:pt x="1011" y="0"/>
                  </a:lnTo>
                  <a:lnTo>
                    <a:pt x="997" y="2"/>
                  </a:lnTo>
                  <a:lnTo>
                    <a:pt x="1005" y="2"/>
                  </a:lnTo>
                  <a:lnTo>
                    <a:pt x="981" y="8"/>
                  </a:lnTo>
                  <a:lnTo>
                    <a:pt x="984" y="12"/>
                  </a:lnTo>
                  <a:lnTo>
                    <a:pt x="966" y="14"/>
                  </a:lnTo>
                  <a:lnTo>
                    <a:pt x="959" y="28"/>
                  </a:lnTo>
                  <a:lnTo>
                    <a:pt x="963" y="29"/>
                  </a:lnTo>
                  <a:lnTo>
                    <a:pt x="951" y="31"/>
                  </a:lnTo>
                  <a:lnTo>
                    <a:pt x="945" y="42"/>
                  </a:lnTo>
                  <a:lnTo>
                    <a:pt x="981" y="53"/>
                  </a:lnTo>
                  <a:lnTo>
                    <a:pt x="971" y="55"/>
                  </a:lnTo>
                  <a:lnTo>
                    <a:pt x="972" y="54"/>
                  </a:lnTo>
                  <a:lnTo>
                    <a:pt x="963" y="59"/>
                  </a:lnTo>
                  <a:lnTo>
                    <a:pt x="953" y="67"/>
                  </a:lnTo>
                  <a:lnTo>
                    <a:pt x="970" y="61"/>
                  </a:lnTo>
                  <a:lnTo>
                    <a:pt x="961" y="70"/>
                  </a:lnTo>
                  <a:lnTo>
                    <a:pt x="929" y="80"/>
                  </a:lnTo>
                  <a:lnTo>
                    <a:pt x="915" y="96"/>
                  </a:lnTo>
                  <a:lnTo>
                    <a:pt x="906" y="104"/>
                  </a:lnTo>
                  <a:lnTo>
                    <a:pt x="895" y="104"/>
                  </a:lnTo>
                  <a:lnTo>
                    <a:pt x="897" y="109"/>
                  </a:lnTo>
                  <a:lnTo>
                    <a:pt x="895" y="104"/>
                  </a:lnTo>
                  <a:lnTo>
                    <a:pt x="897" y="104"/>
                  </a:lnTo>
                  <a:lnTo>
                    <a:pt x="909" y="102"/>
                  </a:lnTo>
                  <a:lnTo>
                    <a:pt x="904" y="100"/>
                  </a:lnTo>
                  <a:lnTo>
                    <a:pt x="909" y="95"/>
                  </a:lnTo>
                  <a:lnTo>
                    <a:pt x="899" y="97"/>
                  </a:lnTo>
                  <a:lnTo>
                    <a:pt x="922" y="76"/>
                  </a:lnTo>
                  <a:lnTo>
                    <a:pt x="907" y="79"/>
                  </a:lnTo>
                  <a:lnTo>
                    <a:pt x="910" y="77"/>
                  </a:lnTo>
                  <a:lnTo>
                    <a:pt x="892" y="73"/>
                  </a:lnTo>
                  <a:lnTo>
                    <a:pt x="879" y="77"/>
                  </a:lnTo>
                  <a:lnTo>
                    <a:pt x="882" y="84"/>
                  </a:lnTo>
                  <a:lnTo>
                    <a:pt x="893" y="86"/>
                  </a:lnTo>
                  <a:lnTo>
                    <a:pt x="877" y="88"/>
                  </a:lnTo>
                  <a:lnTo>
                    <a:pt x="873" y="80"/>
                  </a:lnTo>
                  <a:lnTo>
                    <a:pt x="867" y="88"/>
                  </a:lnTo>
                  <a:lnTo>
                    <a:pt x="834" y="86"/>
                  </a:lnTo>
                  <a:lnTo>
                    <a:pt x="802" y="86"/>
                  </a:lnTo>
                  <a:lnTo>
                    <a:pt x="792" y="80"/>
                  </a:lnTo>
                  <a:lnTo>
                    <a:pt x="779" y="79"/>
                  </a:lnTo>
                  <a:lnTo>
                    <a:pt x="773" y="71"/>
                  </a:lnTo>
                  <a:lnTo>
                    <a:pt x="768" y="62"/>
                  </a:lnTo>
                  <a:lnTo>
                    <a:pt x="717" y="74"/>
                  </a:lnTo>
                  <a:lnTo>
                    <a:pt x="727" y="79"/>
                  </a:lnTo>
                  <a:lnTo>
                    <a:pt x="753" y="73"/>
                  </a:lnTo>
                  <a:lnTo>
                    <a:pt x="768" y="71"/>
                  </a:lnTo>
                  <a:lnTo>
                    <a:pt x="738" y="80"/>
                  </a:lnTo>
                  <a:lnTo>
                    <a:pt x="723" y="83"/>
                  </a:lnTo>
                  <a:lnTo>
                    <a:pt x="713" y="108"/>
                  </a:lnTo>
                  <a:lnTo>
                    <a:pt x="707" y="103"/>
                  </a:lnTo>
                  <a:lnTo>
                    <a:pt x="702" y="118"/>
                  </a:lnTo>
                  <a:lnTo>
                    <a:pt x="695" y="101"/>
                  </a:lnTo>
                  <a:lnTo>
                    <a:pt x="707" y="101"/>
                  </a:lnTo>
                  <a:lnTo>
                    <a:pt x="703" y="90"/>
                  </a:lnTo>
                  <a:lnTo>
                    <a:pt x="695" y="95"/>
                  </a:lnTo>
                  <a:lnTo>
                    <a:pt x="695" y="88"/>
                  </a:lnTo>
                  <a:lnTo>
                    <a:pt x="683" y="83"/>
                  </a:lnTo>
                  <a:lnTo>
                    <a:pt x="621" y="89"/>
                  </a:lnTo>
                  <a:lnTo>
                    <a:pt x="599" y="84"/>
                  </a:lnTo>
                  <a:lnTo>
                    <a:pt x="623" y="77"/>
                  </a:lnTo>
                  <a:lnTo>
                    <a:pt x="633" y="74"/>
                  </a:lnTo>
                  <a:lnTo>
                    <a:pt x="615" y="61"/>
                  </a:lnTo>
                  <a:lnTo>
                    <a:pt x="604" y="64"/>
                  </a:lnTo>
                  <a:lnTo>
                    <a:pt x="563" y="54"/>
                  </a:lnTo>
                  <a:lnTo>
                    <a:pt x="521" y="43"/>
                  </a:lnTo>
                  <a:lnTo>
                    <a:pt x="499" y="53"/>
                  </a:lnTo>
                  <a:lnTo>
                    <a:pt x="490" y="52"/>
                  </a:lnTo>
                  <a:lnTo>
                    <a:pt x="497" y="46"/>
                  </a:lnTo>
                  <a:lnTo>
                    <a:pt x="502" y="37"/>
                  </a:lnTo>
                  <a:lnTo>
                    <a:pt x="496" y="41"/>
                  </a:lnTo>
                  <a:lnTo>
                    <a:pt x="489" y="46"/>
                  </a:lnTo>
                  <a:lnTo>
                    <a:pt x="478" y="49"/>
                  </a:lnTo>
                  <a:lnTo>
                    <a:pt x="471" y="54"/>
                  </a:lnTo>
                  <a:lnTo>
                    <a:pt x="463" y="40"/>
                  </a:lnTo>
                  <a:lnTo>
                    <a:pt x="456" y="29"/>
                  </a:lnTo>
                  <a:lnTo>
                    <a:pt x="459" y="35"/>
                  </a:lnTo>
                  <a:lnTo>
                    <a:pt x="424" y="46"/>
                  </a:lnTo>
                  <a:lnTo>
                    <a:pt x="425" y="42"/>
                  </a:lnTo>
                  <a:lnTo>
                    <a:pt x="389" y="49"/>
                  </a:lnTo>
                  <a:lnTo>
                    <a:pt x="425" y="36"/>
                  </a:lnTo>
                  <a:lnTo>
                    <a:pt x="400" y="40"/>
                  </a:lnTo>
                  <a:lnTo>
                    <a:pt x="359" y="50"/>
                  </a:lnTo>
                  <a:lnTo>
                    <a:pt x="317" y="60"/>
                  </a:lnTo>
                  <a:lnTo>
                    <a:pt x="312" y="67"/>
                  </a:lnTo>
                  <a:lnTo>
                    <a:pt x="299" y="65"/>
                  </a:lnTo>
                  <a:lnTo>
                    <a:pt x="296" y="68"/>
                  </a:lnTo>
                  <a:lnTo>
                    <a:pt x="264" y="58"/>
                  </a:lnTo>
                  <a:lnTo>
                    <a:pt x="232" y="47"/>
                  </a:lnTo>
                  <a:lnTo>
                    <a:pt x="202" y="72"/>
                  </a:lnTo>
                  <a:lnTo>
                    <a:pt x="172" y="97"/>
                  </a:lnTo>
                  <a:lnTo>
                    <a:pt x="143" y="121"/>
                  </a:lnTo>
                  <a:lnTo>
                    <a:pt x="113" y="146"/>
                  </a:lnTo>
                  <a:lnTo>
                    <a:pt x="85" y="173"/>
                  </a:lnTo>
                  <a:lnTo>
                    <a:pt x="56" y="199"/>
                  </a:lnTo>
                  <a:lnTo>
                    <a:pt x="29" y="224"/>
                  </a:lnTo>
                  <a:lnTo>
                    <a:pt x="0" y="251"/>
                  </a:lnTo>
                  <a:lnTo>
                    <a:pt x="35" y="250"/>
                  </a:lnTo>
                  <a:lnTo>
                    <a:pt x="26" y="256"/>
                  </a:lnTo>
                  <a:lnTo>
                    <a:pt x="31" y="260"/>
                  </a:lnTo>
                  <a:lnTo>
                    <a:pt x="31" y="283"/>
                  </a:lnTo>
                  <a:lnTo>
                    <a:pt x="48" y="277"/>
                  </a:lnTo>
                  <a:lnTo>
                    <a:pt x="61" y="270"/>
                  </a:lnTo>
                  <a:lnTo>
                    <a:pt x="85" y="263"/>
                  </a:lnTo>
                  <a:lnTo>
                    <a:pt x="91" y="287"/>
                  </a:lnTo>
                  <a:lnTo>
                    <a:pt x="88" y="308"/>
                  </a:lnTo>
                  <a:lnTo>
                    <a:pt x="83" y="330"/>
                  </a:lnTo>
                  <a:lnTo>
                    <a:pt x="92" y="341"/>
                  </a:lnTo>
                  <a:lnTo>
                    <a:pt x="101" y="352"/>
                  </a:lnTo>
                  <a:lnTo>
                    <a:pt x="80" y="373"/>
                  </a:lnTo>
                  <a:lnTo>
                    <a:pt x="98" y="359"/>
                  </a:lnTo>
                  <a:lnTo>
                    <a:pt x="98" y="362"/>
                  </a:lnTo>
                  <a:lnTo>
                    <a:pt x="83" y="373"/>
                  </a:lnTo>
                  <a:lnTo>
                    <a:pt x="85" y="373"/>
                  </a:lnTo>
                  <a:lnTo>
                    <a:pt x="76" y="382"/>
                  </a:lnTo>
                  <a:lnTo>
                    <a:pt x="68" y="382"/>
                  </a:lnTo>
                  <a:lnTo>
                    <a:pt x="70" y="389"/>
                  </a:lnTo>
                  <a:lnTo>
                    <a:pt x="66" y="384"/>
                  </a:lnTo>
                  <a:lnTo>
                    <a:pt x="64" y="394"/>
                  </a:lnTo>
                  <a:lnTo>
                    <a:pt x="74" y="392"/>
                  </a:lnTo>
                  <a:lnTo>
                    <a:pt x="68" y="392"/>
                  </a:lnTo>
                  <a:lnTo>
                    <a:pt x="67" y="398"/>
                  </a:lnTo>
                  <a:lnTo>
                    <a:pt x="62" y="395"/>
                  </a:lnTo>
                  <a:lnTo>
                    <a:pt x="65" y="412"/>
                  </a:lnTo>
                  <a:lnTo>
                    <a:pt x="90" y="396"/>
                  </a:lnTo>
                  <a:lnTo>
                    <a:pt x="80" y="410"/>
                  </a:lnTo>
                  <a:lnTo>
                    <a:pt x="86" y="413"/>
                  </a:lnTo>
                  <a:lnTo>
                    <a:pt x="74" y="409"/>
                  </a:lnTo>
                  <a:lnTo>
                    <a:pt x="73" y="425"/>
                  </a:lnTo>
                  <a:lnTo>
                    <a:pt x="77" y="424"/>
                  </a:lnTo>
                  <a:lnTo>
                    <a:pt x="62" y="438"/>
                  </a:lnTo>
                  <a:lnTo>
                    <a:pt x="71" y="433"/>
                  </a:lnTo>
                  <a:lnTo>
                    <a:pt x="70" y="439"/>
                  </a:lnTo>
                  <a:lnTo>
                    <a:pt x="98" y="425"/>
                  </a:lnTo>
                  <a:lnTo>
                    <a:pt x="89" y="437"/>
                  </a:lnTo>
                  <a:lnTo>
                    <a:pt x="88" y="445"/>
                  </a:lnTo>
                  <a:lnTo>
                    <a:pt x="84" y="437"/>
                  </a:lnTo>
                  <a:lnTo>
                    <a:pt x="61" y="449"/>
                  </a:lnTo>
                  <a:lnTo>
                    <a:pt x="64" y="455"/>
                  </a:lnTo>
                  <a:lnTo>
                    <a:pt x="70" y="450"/>
                  </a:lnTo>
                  <a:lnTo>
                    <a:pt x="82" y="452"/>
                  </a:lnTo>
                  <a:lnTo>
                    <a:pt x="61" y="457"/>
                  </a:lnTo>
                  <a:lnTo>
                    <a:pt x="55" y="460"/>
                  </a:lnTo>
                  <a:lnTo>
                    <a:pt x="65" y="461"/>
                  </a:lnTo>
                  <a:lnTo>
                    <a:pt x="53" y="466"/>
                  </a:lnTo>
                  <a:lnTo>
                    <a:pt x="67" y="472"/>
                  </a:lnTo>
                  <a:lnTo>
                    <a:pt x="73" y="468"/>
                  </a:lnTo>
                  <a:lnTo>
                    <a:pt x="78" y="470"/>
                  </a:lnTo>
                  <a:lnTo>
                    <a:pt x="70" y="473"/>
                  </a:lnTo>
                  <a:lnTo>
                    <a:pt x="78" y="473"/>
                  </a:lnTo>
                  <a:lnTo>
                    <a:pt x="72" y="476"/>
                  </a:lnTo>
                  <a:lnTo>
                    <a:pt x="89" y="470"/>
                  </a:lnTo>
                  <a:lnTo>
                    <a:pt x="92" y="467"/>
                  </a:lnTo>
                  <a:lnTo>
                    <a:pt x="83" y="475"/>
                  </a:lnTo>
                  <a:lnTo>
                    <a:pt x="74" y="476"/>
                  </a:lnTo>
                  <a:lnTo>
                    <a:pt x="72" y="481"/>
                  </a:lnTo>
                  <a:lnTo>
                    <a:pt x="86" y="476"/>
                  </a:lnTo>
                  <a:lnTo>
                    <a:pt x="85" y="481"/>
                  </a:lnTo>
                  <a:lnTo>
                    <a:pt x="100" y="473"/>
                  </a:lnTo>
                  <a:lnTo>
                    <a:pt x="92" y="485"/>
                  </a:lnTo>
                  <a:lnTo>
                    <a:pt x="104" y="480"/>
                  </a:lnTo>
                  <a:lnTo>
                    <a:pt x="88" y="491"/>
                  </a:lnTo>
                  <a:lnTo>
                    <a:pt x="97" y="497"/>
                  </a:lnTo>
                  <a:lnTo>
                    <a:pt x="107" y="487"/>
                  </a:lnTo>
                  <a:lnTo>
                    <a:pt x="101" y="500"/>
                  </a:lnTo>
                  <a:lnTo>
                    <a:pt x="104" y="500"/>
                  </a:lnTo>
                  <a:lnTo>
                    <a:pt x="96" y="500"/>
                  </a:lnTo>
                  <a:lnTo>
                    <a:pt x="104" y="504"/>
                  </a:lnTo>
                  <a:lnTo>
                    <a:pt x="113" y="500"/>
                  </a:lnTo>
                  <a:lnTo>
                    <a:pt x="106" y="508"/>
                  </a:lnTo>
                  <a:lnTo>
                    <a:pt x="112" y="509"/>
                  </a:lnTo>
                  <a:lnTo>
                    <a:pt x="104" y="512"/>
                  </a:lnTo>
                  <a:lnTo>
                    <a:pt x="110" y="516"/>
                  </a:lnTo>
                  <a:lnTo>
                    <a:pt x="144" y="516"/>
                  </a:lnTo>
                  <a:lnTo>
                    <a:pt x="176" y="516"/>
                  </a:lnTo>
                  <a:lnTo>
                    <a:pt x="210" y="516"/>
                  </a:lnTo>
                  <a:lnTo>
                    <a:pt x="242" y="516"/>
                  </a:lnTo>
                  <a:lnTo>
                    <a:pt x="276" y="516"/>
                  </a:lnTo>
                  <a:lnTo>
                    <a:pt x="310" y="516"/>
                  </a:lnTo>
                  <a:lnTo>
                    <a:pt x="342" y="516"/>
                  </a:lnTo>
                  <a:lnTo>
                    <a:pt x="376" y="516"/>
                  </a:lnTo>
                  <a:lnTo>
                    <a:pt x="408" y="516"/>
                  </a:lnTo>
                  <a:lnTo>
                    <a:pt x="442" y="516"/>
                  </a:lnTo>
                  <a:lnTo>
                    <a:pt x="474" y="516"/>
                  </a:lnTo>
                  <a:lnTo>
                    <a:pt x="508" y="516"/>
                  </a:lnTo>
                  <a:lnTo>
                    <a:pt x="540" y="516"/>
                  </a:lnTo>
                  <a:lnTo>
                    <a:pt x="574" y="516"/>
                  </a:lnTo>
                  <a:lnTo>
                    <a:pt x="606" y="516"/>
                  </a:lnTo>
                  <a:lnTo>
                    <a:pt x="640" y="516"/>
                  </a:lnTo>
                  <a:lnTo>
                    <a:pt x="648" y="508"/>
                  </a:lnTo>
                  <a:lnTo>
                    <a:pt x="646" y="521"/>
                  </a:lnTo>
                  <a:lnTo>
                    <a:pt x="667" y="526"/>
                  </a:lnTo>
                  <a:lnTo>
                    <a:pt x="696" y="538"/>
                  </a:lnTo>
                  <a:lnTo>
                    <a:pt x="713" y="534"/>
                  </a:lnTo>
                  <a:lnTo>
                    <a:pt x="729" y="541"/>
                  </a:lnTo>
                  <a:lnTo>
                    <a:pt x="755" y="534"/>
                  </a:lnTo>
                  <a:lnTo>
                    <a:pt x="772" y="545"/>
                  </a:lnTo>
                  <a:lnTo>
                    <a:pt x="789" y="556"/>
                  </a:lnTo>
                  <a:lnTo>
                    <a:pt x="805" y="566"/>
                  </a:lnTo>
                  <a:lnTo>
                    <a:pt x="822" y="576"/>
                  </a:lnTo>
                  <a:lnTo>
                    <a:pt x="823" y="587"/>
                  </a:lnTo>
                  <a:lnTo>
                    <a:pt x="831" y="586"/>
                  </a:lnTo>
                  <a:lnTo>
                    <a:pt x="828" y="593"/>
                  </a:lnTo>
                  <a:lnTo>
                    <a:pt x="844" y="605"/>
                  </a:lnTo>
                  <a:lnTo>
                    <a:pt x="839" y="626"/>
                  </a:lnTo>
                  <a:lnTo>
                    <a:pt x="835" y="648"/>
                  </a:lnTo>
                  <a:lnTo>
                    <a:pt x="825" y="661"/>
                  </a:lnTo>
                  <a:lnTo>
                    <a:pt x="801" y="685"/>
                  </a:lnTo>
                  <a:lnTo>
                    <a:pt x="807" y="695"/>
                  </a:lnTo>
                  <a:lnTo>
                    <a:pt x="828" y="688"/>
                  </a:lnTo>
                  <a:lnTo>
                    <a:pt x="849" y="680"/>
                  </a:lnTo>
                  <a:lnTo>
                    <a:pt x="870" y="673"/>
                  </a:lnTo>
                  <a:lnTo>
                    <a:pt x="891" y="666"/>
                  </a:lnTo>
                  <a:lnTo>
                    <a:pt x="893" y="650"/>
                  </a:lnTo>
                  <a:lnTo>
                    <a:pt x="917" y="648"/>
                  </a:lnTo>
                  <a:lnTo>
                    <a:pt x="941" y="647"/>
                  </a:lnTo>
                  <a:lnTo>
                    <a:pt x="961" y="631"/>
                  </a:lnTo>
                  <a:lnTo>
                    <a:pt x="981" y="617"/>
                  </a:lnTo>
                  <a:lnTo>
                    <a:pt x="1019" y="614"/>
                  </a:lnTo>
                  <a:lnTo>
                    <a:pt x="1057" y="612"/>
                  </a:lnTo>
                  <a:lnTo>
                    <a:pt x="1071" y="605"/>
                  </a:lnTo>
                  <a:lnTo>
                    <a:pt x="1090" y="589"/>
                  </a:lnTo>
                  <a:lnTo>
                    <a:pt x="1107" y="571"/>
                  </a:lnTo>
                  <a:lnTo>
                    <a:pt x="1123" y="553"/>
                  </a:lnTo>
                  <a:lnTo>
                    <a:pt x="1125" y="558"/>
                  </a:lnTo>
                  <a:lnTo>
                    <a:pt x="1134" y="558"/>
                  </a:lnTo>
                  <a:lnTo>
                    <a:pt x="1147" y="563"/>
                  </a:lnTo>
                  <a:lnTo>
                    <a:pt x="1138" y="593"/>
                  </a:lnTo>
                  <a:lnTo>
                    <a:pt x="1144" y="608"/>
                  </a:lnTo>
                  <a:lnTo>
                    <a:pt x="1149" y="611"/>
                  </a:lnTo>
                  <a:lnTo>
                    <a:pt x="1167" y="605"/>
                  </a:lnTo>
                  <a:lnTo>
                    <a:pt x="1165" y="606"/>
                  </a:lnTo>
                  <a:lnTo>
                    <a:pt x="1194" y="598"/>
                  </a:lnTo>
                  <a:lnTo>
                    <a:pt x="1199" y="587"/>
                  </a:lnTo>
                  <a:lnTo>
                    <a:pt x="1201" y="592"/>
                  </a:lnTo>
                  <a:lnTo>
                    <a:pt x="1205" y="592"/>
                  </a:lnTo>
                  <a:lnTo>
                    <a:pt x="1191" y="602"/>
                  </a:lnTo>
                  <a:lnTo>
                    <a:pt x="1221" y="604"/>
                  </a:lnTo>
                  <a:lnTo>
                    <a:pt x="1201" y="610"/>
                  </a:lnTo>
                  <a:lnTo>
                    <a:pt x="1200" y="606"/>
                  </a:lnTo>
                  <a:lnTo>
                    <a:pt x="1170" y="620"/>
                  </a:lnTo>
                  <a:lnTo>
                    <a:pt x="1175" y="618"/>
                  </a:lnTo>
                  <a:lnTo>
                    <a:pt x="1157" y="628"/>
                  </a:lnTo>
                  <a:lnTo>
                    <a:pt x="1163" y="623"/>
                  </a:lnTo>
                  <a:lnTo>
                    <a:pt x="1155" y="635"/>
                  </a:lnTo>
                  <a:lnTo>
                    <a:pt x="1159" y="648"/>
                  </a:lnTo>
                  <a:lnTo>
                    <a:pt x="1173" y="644"/>
                  </a:lnTo>
                  <a:lnTo>
                    <a:pt x="1201" y="622"/>
                  </a:lnTo>
                  <a:lnTo>
                    <a:pt x="1204" y="625"/>
                  </a:lnTo>
                  <a:lnTo>
                    <a:pt x="1211" y="622"/>
                  </a:lnTo>
                  <a:lnTo>
                    <a:pt x="1214" y="623"/>
                  </a:lnTo>
                  <a:lnTo>
                    <a:pt x="1239" y="614"/>
                  </a:lnTo>
                  <a:lnTo>
                    <a:pt x="1264" y="606"/>
                  </a:lnTo>
                  <a:lnTo>
                    <a:pt x="1257" y="604"/>
                  </a:lnTo>
                  <a:lnTo>
                    <a:pt x="1263" y="602"/>
                  </a:lnTo>
                  <a:lnTo>
                    <a:pt x="1253" y="592"/>
                  </a:lnTo>
                  <a:lnTo>
                    <a:pt x="1245" y="596"/>
                  </a:lnTo>
                  <a:lnTo>
                    <a:pt x="1229" y="594"/>
                  </a:lnTo>
                  <a:lnTo>
                    <a:pt x="1215" y="588"/>
                  </a:lnTo>
                  <a:lnTo>
                    <a:pt x="1205" y="583"/>
                  </a:lnTo>
                  <a:lnTo>
                    <a:pt x="1205" y="565"/>
                  </a:lnTo>
                  <a:lnTo>
                    <a:pt x="1198" y="563"/>
                  </a:lnTo>
                  <a:lnTo>
                    <a:pt x="1212" y="547"/>
                  </a:lnTo>
                  <a:lnTo>
                    <a:pt x="1195" y="548"/>
                  </a:lnTo>
                  <a:lnTo>
                    <a:pt x="1194" y="544"/>
                  </a:lnTo>
                  <a:lnTo>
                    <a:pt x="1175" y="541"/>
                  </a:lnTo>
                  <a:lnTo>
                    <a:pt x="1180" y="539"/>
                  </a:lnTo>
                  <a:lnTo>
                    <a:pt x="1200" y="539"/>
                  </a:lnTo>
                  <a:lnTo>
                    <a:pt x="1226" y="530"/>
                  </a:lnTo>
                  <a:lnTo>
                    <a:pt x="1228" y="522"/>
                  </a:lnTo>
                  <a:lnTo>
                    <a:pt x="1232" y="522"/>
                  </a:lnTo>
                  <a:lnTo>
                    <a:pt x="1230" y="517"/>
                  </a:lnTo>
                  <a:lnTo>
                    <a:pt x="1209" y="510"/>
                  </a:lnTo>
                  <a:lnTo>
                    <a:pt x="1180" y="517"/>
                  </a:lnTo>
                  <a:lnTo>
                    <a:pt x="1152" y="524"/>
                  </a:lnTo>
                  <a:lnTo>
                    <a:pt x="1132" y="539"/>
                  </a:lnTo>
                  <a:lnTo>
                    <a:pt x="1111" y="552"/>
                  </a:lnTo>
                  <a:lnTo>
                    <a:pt x="1080" y="568"/>
                  </a:lnTo>
                  <a:lnTo>
                    <a:pt x="1099" y="553"/>
                  </a:lnTo>
                  <a:lnTo>
                    <a:pt x="1119" y="538"/>
                  </a:lnTo>
                  <a:lnTo>
                    <a:pt x="1098" y="529"/>
                  </a:lnTo>
                  <a:lnTo>
                    <a:pt x="1117" y="536"/>
                  </a:lnTo>
                  <a:lnTo>
                    <a:pt x="1146" y="517"/>
                  </a:lnTo>
                  <a:lnTo>
                    <a:pt x="1175" y="508"/>
                  </a:lnTo>
                  <a:lnTo>
                    <a:pt x="1197" y="488"/>
                  </a:lnTo>
                  <a:lnTo>
                    <a:pt x="1239" y="487"/>
                  </a:lnTo>
                  <a:lnTo>
                    <a:pt x="1281" y="486"/>
                  </a:lnTo>
                  <a:lnTo>
                    <a:pt x="1318" y="486"/>
                  </a:lnTo>
                  <a:lnTo>
                    <a:pt x="1353" y="467"/>
                  </a:lnTo>
                  <a:lnTo>
                    <a:pt x="1385" y="458"/>
                  </a:lnTo>
                  <a:lnTo>
                    <a:pt x="1422" y="439"/>
                  </a:lnTo>
                  <a:lnTo>
                    <a:pt x="1413" y="434"/>
                  </a:lnTo>
                  <a:lnTo>
                    <a:pt x="1422" y="432"/>
                  </a:lnTo>
                  <a:lnTo>
                    <a:pt x="1409" y="430"/>
                  </a:lnTo>
                  <a:lnTo>
                    <a:pt x="1419" y="428"/>
                  </a:lnTo>
                  <a:lnTo>
                    <a:pt x="1420" y="425"/>
                  </a:lnTo>
                  <a:lnTo>
                    <a:pt x="1424" y="418"/>
                  </a:lnTo>
                  <a:lnTo>
                    <a:pt x="1425" y="410"/>
                  </a:lnTo>
                  <a:lnTo>
                    <a:pt x="1413" y="404"/>
                  </a:lnTo>
                  <a:lnTo>
                    <a:pt x="1415" y="403"/>
                  </a:lnTo>
                  <a:lnTo>
                    <a:pt x="1402" y="407"/>
                  </a:lnTo>
                  <a:lnTo>
                    <a:pt x="1404" y="392"/>
                  </a:lnTo>
                  <a:lnTo>
                    <a:pt x="1388" y="395"/>
                  </a:lnTo>
                  <a:lnTo>
                    <a:pt x="1397" y="395"/>
                  </a:lnTo>
                  <a:lnTo>
                    <a:pt x="1366" y="404"/>
                  </a:lnTo>
                  <a:lnTo>
                    <a:pt x="1342" y="413"/>
                  </a:lnTo>
                  <a:lnTo>
                    <a:pt x="1350" y="409"/>
                  </a:lnTo>
                  <a:lnTo>
                    <a:pt x="1341" y="403"/>
                  </a:lnTo>
                  <a:lnTo>
                    <a:pt x="1353" y="404"/>
                  </a:lnTo>
                  <a:lnTo>
                    <a:pt x="1388" y="391"/>
                  </a:lnTo>
                  <a:lnTo>
                    <a:pt x="1364" y="396"/>
                  </a:lnTo>
                  <a:lnTo>
                    <a:pt x="1408" y="383"/>
                  </a:lnTo>
                  <a:lnTo>
                    <a:pt x="1382" y="373"/>
                  </a:lnTo>
                  <a:lnTo>
                    <a:pt x="1376" y="374"/>
                  </a:lnTo>
                  <a:lnTo>
                    <a:pt x="1380" y="368"/>
                  </a:lnTo>
                  <a:lnTo>
                    <a:pt x="1365" y="377"/>
                  </a:lnTo>
                  <a:lnTo>
                    <a:pt x="1372" y="370"/>
                  </a:lnTo>
                  <a:lnTo>
                    <a:pt x="1371" y="368"/>
                  </a:lnTo>
                  <a:lnTo>
                    <a:pt x="1361" y="371"/>
                  </a:lnTo>
                  <a:lnTo>
                    <a:pt x="1364" y="366"/>
                  </a:lnTo>
                  <a:lnTo>
                    <a:pt x="1353" y="372"/>
                  </a:lnTo>
                  <a:lnTo>
                    <a:pt x="1358" y="367"/>
                  </a:lnTo>
                  <a:lnTo>
                    <a:pt x="1361" y="364"/>
                  </a:lnTo>
                  <a:lnTo>
                    <a:pt x="1362" y="355"/>
                  </a:lnTo>
                  <a:lnTo>
                    <a:pt x="1358" y="360"/>
                  </a:lnTo>
                  <a:lnTo>
                    <a:pt x="1358" y="356"/>
                  </a:lnTo>
                  <a:lnTo>
                    <a:pt x="1349" y="347"/>
                  </a:lnTo>
                  <a:lnTo>
                    <a:pt x="1338" y="343"/>
                  </a:lnTo>
                  <a:lnTo>
                    <a:pt x="1348" y="343"/>
                  </a:lnTo>
                  <a:lnTo>
                    <a:pt x="1341" y="338"/>
                  </a:lnTo>
                  <a:lnTo>
                    <a:pt x="1347" y="337"/>
                  </a:lnTo>
                  <a:lnTo>
                    <a:pt x="1340" y="336"/>
                  </a:lnTo>
                  <a:lnTo>
                    <a:pt x="1344" y="336"/>
                  </a:lnTo>
                  <a:lnTo>
                    <a:pt x="1337" y="330"/>
                  </a:lnTo>
                  <a:lnTo>
                    <a:pt x="1341" y="331"/>
                  </a:lnTo>
                  <a:lnTo>
                    <a:pt x="1347" y="334"/>
                  </a:lnTo>
                  <a:lnTo>
                    <a:pt x="1360" y="325"/>
                  </a:lnTo>
                  <a:lnTo>
                    <a:pt x="1353" y="318"/>
                  </a:lnTo>
                  <a:lnTo>
                    <a:pt x="1348" y="314"/>
                  </a:lnTo>
                  <a:lnTo>
                    <a:pt x="1355" y="310"/>
                  </a:lnTo>
                  <a:lnTo>
                    <a:pt x="1348" y="304"/>
                  </a:lnTo>
                  <a:lnTo>
                    <a:pt x="1346" y="300"/>
                  </a:lnTo>
                  <a:lnTo>
                    <a:pt x="1336" y="302"/>
                  </a:lnTo>
                  <a:lnTo>
                    <a:pt x="1349" y="296"/>
                  </a:lnTo>
                  <a:lnTo>
                    <a:pt x="1348" y="293"/>
                  </a:lnTo>
                  <a:lnTo>
                    <a:pt x="1332" y="296"/>
                  </a:lnTo>
                  <a:lnTo>
                    <a:pt x="1349" y="286"/>
                  </a:lnTo>
                  <a:lnTo>
                    <a:pt x="1343" y="281"/>
                  </a:lnTo>
                  <a:lnTo>
                    <a:pt x="1336" y="280"/>
                  </a:lnTo>
                  <a:lnTo>
                    <a:pt x="1343" y="274"/>
                  </a:lnTo>
                  <a:lnTo>
                    <a:pt x="1340" y="271"/>
                  </a:lnTo>
                  <a:lnTo>
                    <a:pt x="1335" y="259"/>
                  </a:lnTo>
                  <a:lnTo>
                    <a:pt x="1335" y="256"/>
                  </a:lnTo>
                  <a:lnTo>
                    <a:pt x="1328" y="258"/>
                  </a:lnTo>
                  <a:lnTo>
                    <a:pt x="1334" y="252"/>
                  </a:lnTo>
                  <a:lnTo>
                    <a:pt x="1323" y="257"/>
                  </a:lnTo>
                  <a:lnTo>
                    <a:pt x="1323" y="263"/>
                  </a:lnTo>
                  <a:lnTo>
                    <a:pt x="1312" y="264"/>
                  </a:lnTo>
                  <a:lnTo>
                    <a:pt x="1316" y="270"/>
                  </a:lnTo>
                  <a:lnTo>
                    <a:pt x="1311" y="274"/>
                  </a:lnTo>
                  <a:lnTo>
                    <a:pt x="1304" y="280"/>
                  </a:lnTo>
                  <a:lnTo>
                    <a:pt x="1294" y="288"/>
                  </a:lnTo>
                  <a:lnTo>
                    <a:pt x="1290" y="294"/>
                  </a:lnTo>
                  <a:lnTo>
                    <a:pt x="1287" y="286"/>
                  </a:lnTo>
                  <a:lnTo>
                    <a:pt x="1269" y="295"/>
                  </a:lnTo>
                  <a:lnTo>
                    <a:pt x="1254" y="306"/>
                  </a:lnTo>
                  <a:lnTo>
                    <a:pt x="1257" y="296"/>
                  </a:lnTo>
                  <a:lnTo>
                    <a:pt x="1250" y="301"/>
                  </a:lnTo>
                  <a:lnTo>
                    <a:pt x="1253" y="292"/>
                  </a:lnTo>
                  <a:lnTo>
                    <a:pt x="1244" y="304"/>
                  </a:lnTo>
                  <a:lnTo>
                    <a:pt x="1223" y="310"/>
                  </a:lnTo>
                  <a:lnTo>
                    <a:pt x="1250" y="296"/>
                  </a:lnTo>
                  <a:lnTo>
                    <a:pt x="1247" y="283"/>
                  </a:lnTo>
                  <a:lnTo>
                    <a:pt x="1224" y="288"/>
                  </a:lnTo>
                  <a:lnTo>
                    <a:pt x="1218" y="286"/>
                  </a:lnTo>
                  <a:lnTo>
                    <a:pt x="1227" y="282"/>
                  </a:lnTo>
                  <a:lnTo>
                    <a:pt x="1234" y="284"/>
                  </a:lnTo>
                  <a:lnTo>
                    <a:pt x="1240" y="272"/>
                  </a:lnTo>
                  <a:lnTo>
                    <a:pt x="1235" y="269"/>
                  </a:lnTo>
                  <a:lnTo>
                    <a:pt x="1241" y="258"/>
                  </a:lnTo>
                  <a:lnTo>
                    <a:pt x="1221" y="256"/>
                  </a:lnTo>
                  <a:lnTo>
                    <a:pt x="1246" y="253"/>
                  </a:lnTo>
                  <a:lnTo>
                    <a:pt x="1250" y="242"/>
                  </a:lnTo>
                  <a:lnTo>
                    <a:pt x="1253" y="236"/>
                  </a:lnTo>
                  <a:lnTo>
                    <a:pt x="1246" y="238"/>
                  </a:lnTo>
                  <a:lnTo>
                    <a:pt x="1222" y="227"/>
                  </a:lnTo>
                  <a:lnTo>
                    <a:pt x="1228" y="221"/>
                  </a:lnTo>
                  <a:lnTo>
                    <a:pt x="1221" y="222"/>
                  </a:lnTo>
                  <a:lnTo>
                    <a:pt x="1216" y="214"/>
                  </a:lnTo>
                  <a:lnTo>
                    <a:pt x="1217" y="210"/>
                  </a:lnTo>
                  <a:lnTo>
                    <a:pt x="1200" y="203"/>
                  </a:lnTo>
                  <a:lnTo>
                    <a:pt x="1181" y="210"/>
                  </a:lnTo>
                  <a:lnTo>
                    <a:pt x="1162" y="210"/>
                  </a:lnTo>
                  <a:lnTo>
                    <a:pt x="1168" y="206"/>
                  </a:lnTo>
                  <a:lnTo>
                    <a:pt x="1133" y="203"/>
                  </a:lnTo>
                  <a:lnTo>
                    <a:pt x="1120" y="220"/>
                  </a:lnTo>
                  <a:lnTo>
                    <a:pt x="1121" y="226"/>
                  </a:lnTo>
                  <a:lnTo>
                    <a:pt x="1109" y="241"/>
                  </a:lnTo>
                  <a:lnTo>
                    <a:pt x="1114" y="241"/>
                  </a:lnTo>
                  <a:lnTo>
                    <a:pt x="1109" y="257"/>
                  </a:lnTo>
                  <a:lnTo>
                    <a:pt x="1102" y="266"/>
                  </a:lnTo>
                  <a:lnTo>
                    <a:pt x="1097" y="266"/>
                  </a:lnTo>
                  <a:lnTo>
                    <a:pt x="1069" y="289"/>
                  </a:lnTo>
                  <a:lnTo>
                    <a:pt x="1089" y="312"/>
                  </a:lnTo>
                  <a:lnTo>
                    <a:pt x="1078" y="331"/>
                  </a:lnTo>
                  <a:lnTo>
                    <a:pt x="1067" y="352"/>
                  </a:lnTo>
                  <a:lnTo>
                    <a:pt x="1041" y="364"/>
                  </a:lnTo>
                  <a:lnTo>
                    <a:pt x="1014" y="377"/>
                  </a:lnTo>
                  <a:lnTo>
                    <a:pt x="1001" y="383"/>
                  </a:lnTo>
                  <a:lnTo>
                    <a:pt x="1003" y="398"/>
                  </a:lnTo>
                  <a:lnTo>
                    <a:pt x="996" y="432"/>
                  </a:lnTo>
                  <a:lnTo>
                    <a:pt x="987" y="445"/>
                  </a:lnTo>
                  <a:lnTo>
                    <a:pt x="979" y="456"/>
                  </a:lnTo>
                  <a:lnTo>
                    <a:pt x="975" y="461"/>
                  </a:lnTo>
                  <a:lnTo>
                    <a:pt x="972" y="452"/>
                  </a:lnTo>
                  <a:lnTo>
                    <a:pt x="958" y="467"/>
                  </a:lnTo>
                  <a:lnTo>
                    <a:pt x="961" y="474"/>
                  </a:lnTo>
                  <a:lnTo>
                    <a:pt x="948" y="460"/>
                  </a:lnTo>
                  <a:lnTo>
                    <a:pt x="933" y="467"/>
                  </a:lnTo>
                  <a:lnTo>
                    <a:pt x="948" y="456"/>
                  </a:lnTo>
                  <a:lnTo>
                    <a:pt x="934" y="439"/>
                  </a:lnTo>
                  <a:lnTo>
                    <a:pt x="937" y="432"/>
                  </a:lnTo>
                  <a:lnTo>
                    <a:pt x="935" y="415"/>
                  </a:lnTo>
                  <a:lnTo>
                    <a:pt x="943" y="392"/>
                  </a:lnTo>
                  <a:lnTo>
                    <a:pt x="953" y="370"/>
                  </a:lnTo>
                  <a:lnTo>
                    <a:pt x="929" y="368"/>
                  </a:lnTo>
                  <a:lnTo>
                    <a:pt x="906" y="367"/>
                  </a:lnTo>
                  <a:lnTo>
                    <a:pt x="900" y="371"/>
                  </a:lnTo>
                  <a:lnTo>
                    <a:pt x="909" y="365"/>
                  </a:lnTo>
                  <a:lnTo>
                    <a:pt x="891" y="356"/>
                  </a:lnTo>
                  <a:lnTo>
                    <a:pt x="874" y="348"/>
                  </a:lnTo>
                  <a:lnTo>
                    <a:pt x="853" y="329"/>
                  </a:lnTo>
                  <a:lnTo>
                    <a:pt x="829" y="320"/>
                  </a:lnTo>
                  <a:lnTo>
                    <a:pt x="798" y="329"/>
                  </a:lnTo>
                  <a:lnTo>
                    <a:pt x="799" y="326"/>
                  </a:lnTo>
                  <a:lnTo>
                    <a:pt x="793" y="328"/>
                  </a:lnTo>
                  <a:lnTo>
                    <a:pt x="809" y="300"/>
                  </a:lnTo>
                  <a:lnTo>
                    <a:pt x="808" y="288"/>
                  </a:lnTo>
                  <a:lnTo>
                    <a:pt x="791" y="290"/>
                  </a:lnTo>
                  <a:lnTo>
                    <a:pt x="783" y="299"/>
                  </a:lnTo>
                  <a:lnTo>
                    <a:pt x="790" y="287"/>
                  </a:lnTo>
                  <a:lnTo>
                    <a:pt x="789" y="278"/>
                  </a:lnTo>
                  <a:lnTo>
                    <a:pt x="815" y="246"/>
                  </a:lnTo>
                  <a:lnTo>
                    <a:pt x="852" y="220"/>
                  </a:lnTo>
                  <a:lnTo>
                    <a:pt x="855" y="214"/>
                  </a:lnTo>
                  <a:lnTo>
                    <a:pt x="873" y="208"/>
                  </a:lnTo>
                  <a:lnTo>
                    <a:pt x="868" y="205"/>
                  </a:lnTo>
                  <a:lnTo>
                    <a:pt x="876" y="208"/>
                  </a:lnTo>
                  <a:lnTo>
                    <a:pt x="883" y="200"/>
                  </a:lnTo>
                  <a:lnTo>
                    <a:pt x="894" y="198"/>
                  </a:lnTo>
                  <a:lnTo>
                    <a:pt x="894" y="194"/>
                  </a:lnTo>
                  <a:lnTo>
                    <a:pt x="923" y="190"/>
                  </a:lnTo>
                  <a:lnTo>
                    <a:pt x="925" y="182"/>
                  </a:lnTo>
                  <a:lnTo>
                    <a:pt x="905" y="176"/>
                  </a:lnTo>
                  <a:lnTo>
                    <a:pt x="907" y="175"/>
                  </a:lnTo>
                  <a:lnTo>
                    <a:pt x="888" y="172"/>
                  </a:lnTo>
                  <a:lnTo>
                    <a:pt x="888" y="167"/>
                  </a:lnTo>
                  <a:lnTo>
                    <a:pt x="915" y="172"/>
                  </a:lnTo>
                  <a:lnTo>
                    <a:pt x="940" y="176"/>
                  </a:lnTo>
                  <a:lnTo>
                    <a:pt x="947" y="169"/>
                  </a:lnTo>
                  <a:lnTo>
                    <a:pt x="953" y="166"/>
                  </a:lnTo>
                  <a:lnTo>
                    <a:pt x="963" y="169"/>
                  </a:lnTo>
                  <a:lnTo>
                    <a:pt x="963" y="164"/>
                  </a:lnTo>
                  <a:lnTo>
                    <a:pt x="973" y="167"/>
                  </a:lnTo>
                  <a:lnTo>
                    <a:pt x="1012" y="146"/>
                  </a:lnTo>
                  <a:lnTo>
                    <a:pt x="1017" y="142"/>
                  </a:lnTo>
                  <a:lnTo>
                    <a:pt x="982" y="136"/>
                  </a:lnTo>
                  <a:lnTo>
                    <a:pt x="960" y="126"/>
                  </a:lnTo>
                  <a:lnTo>
                    <a:pt x="1000" y="133"/>
                  </a:lnTo>
                  <a:lnTo>
                    <a:pt x="1012" y="139"/>
                  </a:lnTo>
                  <a:lnTo>
                    <a:pt x="1049" y="12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14" name="Freeform 242"/>
            <p:cNvSpPr>
              <a:spLocks/>
            </p:cNvSpPr>
            <p:nvPr/>
          </p:nvSpPr>
          <p:spPr bwMode="auto">
            <a:xfrm>
              <a:off x="1967" y="1197"/>
              <a:ext cx="91" cy="83"/>
            </a:xfrm>
            <a:custGeom>
              <a:avLst/>
              <a:gdLst>
                <a:gd name="T0" fmla="*/ 1 w 128"/>
                <a:gd name="T1" fmla="*/ 1 h 118"/>
                <a:gd name="T2" fmla="*/ 1 w 128"/>
                <a:gd name="T3" fmla="*/ 1 h 118"/>
                <a:gd name="T4" fmla="*/ 1 w 128"/>
                <a:gd name="T5" fmla="*/ 1 h 118"/>
                <a:gd name="T6" fmla="*/ 0 w 128"/>
                <a:gd name="T7" fmla="*/ 1 h 118"/>
                <a:gd name="T8" fmla="*/ 1 w 128"/>
                <a:gd name="T9" fmla="*/ 1 h 118"/>
                <a:gd name="T10" fmla="*/ 1 w 128"/>
                <a:gd name="T11" fmla="*/ 1 h 118"/>
                <a:gd name="T12" fmla="*/ 1 w 128"/>
                <a:gd name="T13" fmla="*/ 1 h 118"/>
                <a:gd name="T14" fmla="*/ 1 w 128"/>
                <a:gd name="T15" fmla="*/ 1 h 118"/>
                <a:gd name="T16" fmla="*/ 1 w 128"/>
                <a:gd name="T17" fmla="*/ 1 h 118"/>
                <a:gd name="T18" fmla="*/ 1 w 128"/>
                <a:gd name="T19" fmla="*/ 1 h 118"/>
                <a:gd name="T20" fmla="*/ 1 w 128"/>
                <a:gd name="T21" fmla="*/ 1 h 118"/>
                <a:gd name="T22" fmla="*/ 1 w 128"/>
                <a:gd name="T23" fmla="*/ 1 h 118"/>
                <a:gd name="T24" fmla="*/ 1 w 128"/>
                <a:gd name="T25" fmla="*/ 1 h 118"/>
                <a:gd name="T26" fmla="*/ 1 w 128"/>
                <a:gd name="T27" fmla="*/ 1 h 118"/>
                <a:gd name="T28" fmla="*/ 1 w 128"/>
                <a:gd name="T29" fmla="*/ 1 h 118"/>
                <a:gd name="T30" fmla="*/ 1 w 128"/>
                <a:gd name="T31" fmla="*/ 0 h 118"/>
                <a:gd name="T32" fmla="*/ 1 w 128"/>
                <a:gd name="T33" fmla="*/ 0 h 118"/>
                <a:gd name="T34" fmla="*/ 1 w 128"/>
                <a:gd name="T35" fmla="*/ 1 h 118"/>
                <a:gd name="T36" fmla="*/ 1 w 128"/>
                <a:gd name="T37" fmla="*/ 1 h 118"/>
                <a:gd name="T38" fmla="*/ 1 w 128"/>
                <a:gd name="T39" fmla="*/ 1 h 118"/>
                <a:gd name="T40" fmla="*/ 1 w 128"/>
                <a:gd name="T41" fmla="*/ 1 h 118"/>
                <a:gd name="T42" fmla="*/ 1 w 128"/>
                <a:gd name="T43" fmla="*/ 1 h 118"/>
                <a:gd name="T44" fmla="*/ 1 w 128"/>
                <a:gd name="T45" fmla="*/ 1 h 118"/>
                <a:gd name="T46" fmla="*/ 1 w 128"/>
                <a:gd name="T47" fmla="*/ 1 h 118"/>
                <a:gd name="T48" fmla="*/ 1 w 128"/>
                <a:gd name="T49" fmla="*/ 1 h 118"/>
                <a:gd name="T50" fmla="*/ 1 w 128"/>
                <a:gd name="T51" fmla="*/ 1 h 118"/>
                <a:gd name="T52" fmla="*/ 1 w 128"/>
                <a:gd name="T53" fmla="*/ 1 h 118"/>
                <a:gd name="T54" fmla="*/ 1 w 128"/>
                <a:gd name="T55" fmla="*/ 1 h 118"/>
                <a:gd name="T56" fmla="*/ 1 w 128"/>
                <a:gd name="T57" fmla="*/ 1 h 118"/>
                <a:gd name="T58" fmla="*/ 1 w 128"/>
                <a:gd name="T59" fmla="*/ 1 h 118"/>
                <a:gd name="T60" fmla="*/ 1 w 128"/>
                <a:gd name="T61" fmla="*/ 1 h 118"/>
                <a:gd name="T62" fmla="*/ 1 w 128"/>
                <a:gd name="T63" fmla="*/ 1 h 118"/>
                <a:gd name="T64" fmla="*/ 1 w 128"/>
                <a:gd name="T65" fmla="*/ 1 h 118"/>
                <a:gd name="T66" fmla="*/ 1 w 128"/>
                <a:gd name="T67" fmla="*/ 1 h 118"/>
                <a:gd name="T68" fmla="*/ 1 w 128"/>
                <a:gd name="T69" fmla="*/ 1 h 118"/>
                <a:gd name="T70" fmla="*/ 1 w 128"/>
                <a:gd name="T71" fmla="*/ 1 h 118"/>
                <a:gd name="T72" fmla="*/ 1 w 128"/>
                <a:gd name="T73" fmla="*/ 1 h 118"/>
                <a:gd name="T74" fmla="*/ 1 w 128"/>
                <a:gd name="T75" fmla="*/ 1 h 118"/>
                <a:gd name="T76" fmla="*/ 1 w 128"/>
                <a:gd name="T77" fmla="*/ 1 h 118"/>
                <a:gd name="T78" fmla="*/ 1 w 128"/>
                <a:gd name="T79" fmla="*/ 1 h 118"/>
                <a:gd name="T80" fmla="*/ 1 w 128"/>
                <a:gd name="T81" fmla="*/ 1 h 118"/>
                <a:gd name="T82" fmla="*/ 1 w 128"/>
                <a:gd name="T83" fmla="*/ 1 h 118"/>
                <a:gd name="T84" fmla="*/ 1 w 128"/>
                <a:gd name="T85" fmla="*/ 1 h 118"/>
                <a:gd name="T86" fmla="*/ 1 w 128"/>
                <a:gd name="T87" fmla="*/ 1 h 118"/>
                <a:gd name="T88" fmla="*/ 1 w 128"/>
                <a:gd name="T89" fmla="*/ 1 h 118"/>
                <a:gd name="T90" fmla="*/ 1 w 128"/>
                <a:gd name="T91" fmla="*/ 1 h 118"/>
                <a:gd name="T92" fmla="*/ 1 w 128"/>
                <a:gd name="T93" fmla="*/ 1 h 118"/>
                <a:gd name="T94" fmla="*/ 1 w 128"/>
                <a:gd name="T95" fmla="*/ 1 h 118"/>
                <a:gd name="T96" fmla="*/ 1 w 128"/>
                <a:gd name="T97" fmla="*/ 1 h 118"/>
                <a:gd name="T98" fmla="*/ 1 w 128"/>
                <a:gd name="T99" fmla="*/ 1 h 118"/>
                <a:gd name="T100" fmla="*/ 1 w 128"/>
                <a:gd name="T101" fmla="*/ 1 h 118"/>
                <a:gd name="T102" fmla="*/ 1 w 128"/>
                <a:gd name="T103" fmla="*/ 1 h 118"/>
                <a:gd name="T104" fmla="*/ 1 w 128"/>
                <a:gd name="T105" fmla="*/ 1 h 118"/>
                <a:gd name="T106" fmla="*/ 1 w 128"/>
                <a:gd name="T107" fmla="*/ 1 h 118"/>
                <a:gd name="T108" fmla="*/ 1 w 128"/>
                <a:gd name="T109" fmla="*/ 1 h 118"/>
                <a:gd name="T110" fmla="*/ 1 w 128"/>
                <a:gd name="T111" fmla="*/ 1 h 118"/>
                <a:gd name="T112" fmla="*/ 1 w 128"/>
                <a:gd name="T113" fmla="*/ 1 h 118"/>
                <a:gd name="T114" fmla="*/ 1 w 128"/>
                <a:gd name="T115" fmla="*/ 1 h 118"/>
                <a:gd name="T116" fmla="*/ 1 w 128"/>
                <a:gd name="T117" fmla="*/ 1 h 118"/>
                <a:gd name="T118" fmla="*/ 1 w 128"/>
                <a:gd name="T119" fmla="*/ 1 h 1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28"/>
                <a:gd name="T181" fmla="*/ 0 h 118"/>
                <a:gd name="T182" fmla="*/ 128 w 128"/>
                <a:gd name="T183" fmla="*/ 118 h 11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28" h="118">
                  <a:moveTo>
                    <a:pt x="67" y="94"/>
                  </a:moveTo>
                  <a:lnTo>
                    <a:pt x="67" y="89"/>
                  </a:lnTo>
                  <a:lnTo>
                    <a:pt x="31" y="94"/>
                  </a:lnTo>
                  <a:lnTo>
                    <a:pt x="0" y="91"/>
                  </a:lnTo>
                  <a:lnTo>
                    <a:pt x="8" y="82"/>
                  </a:lnTo>
                  <a:lnTo>
                    <a:pt x="23" y="72"/>
                  </a:lnTo>
                  <a:lnTo>
                    <a:pt x="7" y="72"/>
                  </a:lnTo>
                  <a:lnTo>
                    <a:pt x="14" y="68"/>
                  </a:lnTo>
                  <a:lnTo>
                    <a:pt x="32" y="59"/>
                  </a:lnTo>
                  <a:lnTo>
                    <a:pt x="33" y="60"/>
                  </a:lnTo>
                  <a:lnTo>
                    <a:pt x="38" y="54"/>
                  </a:lnTo>
                  <a:lnTo>
                    <a:pt x="33" y="50"/>
                  </a:lnTo>
                  <a:lnTo>
                    <a:pt x="42" y="47"/>
                  </a:lnTo>
                  <a:lnTo>
                    <a:pt x="62" y="20"/>
                  </a:lnTo>
                  <a:lnTo>
                    <a:pt x="84" y="2"/>
                  </a:lnTo>
                  <a:lnTo>
                    <a:pt x="95" y="0"/>
                  </a:lnTo>
                  <a:lnTo>
                    <a:pt x="102" y="0"/>
                  </a:lnTo>
                  <a:lnTo>
                    <a:pt x="89" y="6"/>
                  </a:lnTo>
                  <a:lnTo>
                    <a:pt x="92" y="11"/>
                  </a:lnTo>
                  <a:lnTo>
                    <a:pt x="84" y="18"/>
                  </a:lnTo>
                  <a:lnTo>
                    <a:pt x="61" y="47"/>
                  </a:lnTo>
                  <a:lnTo>
                    <a:pt x="79" y="34"/>
                  </a:lnTo>
                  <a:lnTo>
                    <a:pt x="75" y="38"/>
                  </a:lnTo>
                  <a:lnTo>
                    <a:pt x="90" y="37"/>
                  </a:lnTo>
                  <a:lnTo>
                    <a:pt x="77" y="44"/>
                  </a:lnTo>
                  <a:lnTo>
                    <a:pt x="77" y="48"/>
                  </a:lnTo>
                  <a:lnTo>
                    <a:pt x="90" y="50"/>
                  </a:lnTo>
                  <a:lnTo>
                    <a:pt x="87" y="56"/>
                  </a:lnTo>
                  <a:lnTo>
                    <a:pt x="105" y="49"/>
                  </a:lnTo>
                  <a:lnTo>
                    <a:pt x="104" y="53"/>
                  </a:lnTo>
                  <a:lnTo>
                    <a:pt x="121" y="52"/>
                  </a:lnTo>
                  <a:lnTo>
                    <a:pt x="109" y="64"/>
                  </a:lnTo>
                  <a:lnTo>
                    <a:pt x="113" y="70"/>
                  </a:lnTo>
                  <a:lnTo>
                    <a:pt x="105" y="74"/>
                  </a:lnTo>
                  <a:lnTo>
                    <a:pt x="128" y="70"/>
                  </a:lnTo>
                  <a:lnTo>
                    <a:pt x="107" y="83"/>
                  </a:lnTo>
                  <a:lnTo>
                    <a:pt x="110" y="86"/>
                  </a:lnTo>
                  <a:lnTo>
                    <a:pt x="108" y="86"/>
                  </a:lnTo>
                  <a:lnTo>
                    <a:pt x="108" y="94"/>
                  </a:lnTo>
                  <a:lnTo>
                    <a:pt x="127" y="80"/>
                  </a:lnTo>
                  <a:lnTo>
                    <a:pt x="119" y="94"/>
                  </a:lnTo>
                  <a:lnTo>
                    <a:pt x="127" y="89"/>
                  </a:lnTo>
                  <a:lnTo>
                    <a:pt x="128" y="96"/>
                  </a:lnTo>
                  <a:lnTo>
                    <a:pt x="111" y="118"/>
                  </a:lnTo>
                  <a:lnTo>
                    <a:pt x="104" y="114"/>
                  </a:lnTo>
                  <a:lnTo>
                    <a:pt x="104" y="107"/>
                  </a:lnTo>
                  <a:lnTo>
                    <a:pt x="93" y="112"/>
                  </a:lnTo>
                  <a:lnTo>
                    <a:pt x="103" y="94"/>
                  </a:lnTo>
                  <a:lnTo>
                    <a:pt x="99" y="88"/>
                  </a:lnTo>
                  <a:lnTo>
                    <a:pt x="89" y="100"/>
                  </a:lnTo>
                  <a:lnTo>
                    <a:pt x="93" y="95"/>
                  </a:lnTo>
                  <a:lnTo>
                    <a:pt x="63" y="112"/>
                  </a:lnTo>
                  <a:lnTo>
                    <a:pt x="62" y="107"/>
                  </a:lnTo>
                  <a:lnTo>
                    <a:pt x="87" y="92"/>
                  </a:lnTo>
                  <a:lnTo>
                    <a:pt x="81" y="95"/>
                  </a:lnTo>
                  <a:lnTo>
                    <a:pt x="85" y="90"/>
                  </a:lnTo>
                  <a:lnTo>
                    <a:pt x="75" y="92"/>
                  </a:lnTo>
                  <a:lnTo>
                    <a:pt x="67" y="97"/>
                  </a:lnTo>
                  <a:lnTo>
                    <a:pt x="60" y="96"/>
                  </a:lnTo>
                  <a:lnTo>
                    <a:pt x="67" y="9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15" name="Freeform 243"/>
            <p:cNvSpPr>
              <a:spLocks/>
            </p:cNvSpPr>
            <p:nvPr/>
          </p:nvSpPr>
          <p:spPr bwMode="auto">
            <a:xfrm>
              <a:off x="2476" y="1134"/>
              <a:ext cx="55" cy="62"/>
            </a:xfrm>
            <a:custGeom>
              <a:avLst/>
              <a:gdLst>
                <a:gd name="T0" fmla="*/ 1 w 78"/>
                <a:gd name="T1" fmla="*/ 1 h 89"/>
                <a:gd name="T2" fmla="*/ 1 w 78"/>
                <a:gd name="T3" fmla="*/ 1 h 89"/>
                <a:gd name="T4" fmla="*/ 1 w 78"/>
                <a:gd name="T5" fmla="*/ 1 h 89"/>
                <a:gd name="T6" fmla="*/ 1 w 78"/>
                <a:gd name="T7" fmla="*/ 1 h 89"/>
                <a:gd name="T8" fmla="*/ 1 w 78"/>
                <a:gd name="T9" fmla="*/ 1 h 89"/>
                <a:gd name="T10" fmla="*/ 1 w 78"/>
                <a:gd name="T11" fmla="*/ 1 h 89"/>
                <a:gd name="T12" fmla="*/ 1 w 78"/>
                <a:gd name="T13" fmla="*/ 1 h 89"/>
                <a:gd name="T14" fmla="*/ 1 w 78"/>
                <a:gd name="T15" fmla="*/ 0 h 89"/>
                <a:gd name="T16" fmla="*/ 1 w 78"/>
                <a:gd name="T17" fmla="*/ 1 h 89"/>
                <a:gd name="T18" fmla="*/ 1 w 78"/>
                <a:gd name="T19" fmla="*/ 1 h 89"/>
                <a:gd name="T20" fmla="*/ 1 w 78"/>
                <a:gd name="T21" fmla="*/ 1 h 89"/>
                <a:gd name="T22" fmla="*/ 1 w 78"/>
                <a:gd name="T23" fmla="*/ 1 h 89"/>
                <a:gd name="T24" fmla="*/ 1 w 78"/>
                <a:gd name="T25" fmla="*/ 1 h 89"/>
                <a:gd name="T26" fmla="*/ 1 w 78"/>
                <a:gd name="T27" fmla="*/ 1 h 89"/>
                <a:gd name="T28" fmla="*/ 1 w 78"/>
                <a:gd name="T29" fmla="*/ 1 h 89"/>
                <a:gd name="T30" fmla="*/ 1 w 78"/>
                <a:gd name="T31" fmla="*/ 1 h 89"/>
                <a:gd name="T32" fmla="*/ 1 w 78"/>
                <a:gd name="T33" fmla="*/ 1 h 89"/>
                <a:gd name="T34" fmla="*/ 1 w 78"/>
                <a:gd name="T35" fmla="*/ 1 h 89"/>
                <a:gd name="T36" fmla="*/ 1 w 78"/>
                <a:gd name="T37" fmla="*/ 1 h 89"/>
                <a:gd name="T38" fmla="*/ 1 w 78"/>
                <a:gd name="T39" fmla="*/ 1 h 89"/>
                <a:gd name="T40" fmla="*/ 0 w 78"/>
                <a:gd name="T41" fmla="*/ 1 h 89"/>
                <a:gd name="T42" fmla="*/ 1 w 78"/>
                <a:gd name="T43" fmla="*/ 1 h 89"/>
                <a:gd name="T44" fmla="*/ 0 w 78"/>
                <a:gd name="T45" fmla="*/ 1 h 89"/>
                <a:gd name="T46" fmla="*/ 1 w 78"/>
                <a:gd name="T47" fmla="*/ 1 h 89"/>
                <a:gd name="T48" fmla="*/ 1 w 78"/>
                <a:gd name="T49" fmla="*/ 1 h 89"/>
                <a:gd name="T50" fmla="*/ 1 w 78"/>
                <a:gd name="T51" fmla="*/ 1 h 89"/>
                <a:gd name="T52" fmla="*/ 1 w 78"/>
                <a:gd name="T53" fmla="*/ 1 h 89"/>
                <a:gd name="T54" fmla="*/ 1 w 78"/>
                <a:gd name="T55" fmla="*/ 1 h 89"/>
                <a:gd name="T56" fmla="*/ 1 w 78"/>
                <a:gd name="T57" fmla="*/ 1 h 89"/>
                <a:gd name="T58" fmla="*/ 1 w 78"/>
                <a:gd name="T59" fmla="*/ 1 h 89"/>
                <a:gd name="T60" fmla="*/ 1 w 78"/>
                <a:gd name="T61" fmla="*/ 1 h 8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78"/>
                <a:gd name="T94" fmla="*/ 0 h 89"/>
                <a:gd name="T95" fmla="*/ 78 w 78"/>
                <a:gd name="T96" fmla="*/ 89 h 89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78" h="89">
                  <a:moveTo>
                    <a:pt x="78" y="65"/>
                  </a:moveTo>
                  <a:lnTo>
                    <a:pt x="78" y="47"/>
                  </a:lnTo>
                  <a:lnTo>
                    <a:pt x="78" y="29"/>
                  </a:lnTo>
                  <a:lnTo>
                    <a:pt x="66" y="23"/>
                  </a:lnTo>
                  <a:lnTo>
                    <a:pt x="61" y="25"/>
                  </a:lnTo>
                  <a:lnTo>
                    <a:pt x="47" y="23"/>
                  </a:lnTo>
                  <a:lnTo>
                    <a:pt x="60" y="6"/>
                  </a:lnTo>
                  <a:lnTo>
                    <a:pt x="62" y="0"/>
                  </a:lnTo>
                  <a:lnTo>
                    <a:pt x="55" y="5"/>
                  </a:lnTo>
                  <a:lnTo>
                    <a:pt x="49" y="4"/>
                  </a:lnTo>
                  <a:lnTo>
                    <a:pt x="35" y="13"/>
                  </a:lnTo>
                  <a:lnTo>
                    <a:pt x="39" y="17"/>
                  </a:lnTo>
                  <a:lnTo>
                    <a:pt x="33" y="23"/>
                  </a:lnTo>
                  <a:lnTo>
                    <a:pt x="11" y="26"/>
                  </a:lnTo>
                  <a:lnTo>
                    <a:pt x="13" y="34"/>
                  </a:lnTo>
                  <a:lnTo>
                    <a:pt x="5" y="42"/>
                  </a:lnTo>
                  <a:lnTo>
                    <a:pt x="25" y="48"/>
                  </a:lnTo>
                  <a:lnTo>
                    <a:pt x="9" y="64"/>
                  </a:lnTo>
                  <a:lnTo>
                    <a:pt x="26" y="60"/>
                  </a:lnTo>
                  <a:lnTo>
                    <a:pt x="9" y="70"/>
                  </a:lnTo>
                  <a:lnTo>
                    <a:pt x="0" y="73"/>
                  </a:lnTo>
                  <a:lnTo>
                    <a:pt x="6" y="76"/>
                  </a:lnTo>
                  <a:lnTo>
                    <a:pt x="0" y="79"/>
                  </a:lnTo>
                  <a:lnTo>
                    <a:pt x="8" y="83"/>
                  </a:lnTo>
                  <a:lnTo>
                    <a:pt x="6" y="86"/>
                  </a:lnTo>
                  <a:lnTo>
                    <a:pt x="13" y="86"/>
                  </a:lnTo>
                  <a:lnTo>
                    <a:pt x="12" y="89"/>
                  </a:lnTo>
                  <a:lnTo>
                    <a:pt x="32" y="86"/>
                  </a:lnTo>
                  <a:lnTo>
                    <a:pt x="51" y="78"/>
                  </a:lnTo>
                  <a:lnTo>
                    <a:pt x="69" y="74"/>
                  </a:lnTo>
                  <a:lnTo>
                    <a:pt x="78" y="65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16" name="Freeform 244"/>
            <p:cNvSpPr>
              <a:spLocks/>
            </p:cNvSpPr>
            <p:nvPr/>
          </p:nvSpPr>
          <p:spPr bwMode="auto">
            <a:xfrm>
              <a:off x="2535" y="1080"/>
              <a:ext cx="100" cy="141"/>
            </a:xfrm>
            <a:custGeom>
              <a:avLst/>
              <a:gdLst>
                <a:gd name="T0" fmla="*/ 1 w 140"/>
                <a:gd name="T1" fmla="*/ 1 h 200"/>
                <a:gd name="T2" fmla="*/ 1 w 140"/>
                <a:gd name="T3" fmla="*/ 1 h 200"/>
                <a:gd name="T4" fmla="*/ 1 w 140"/>
                <a:gd name="T5" fmla="*/ 1 h 200"/>
                <a:gd name="T6" fmla="*/ 1 w 140"/>
                <a:gd name="T7" fmla="*/ 1 h 200"/>
                <a:gd name="T8" fmla="*/ 1 w 140"/>
                <a:gd name="T9" fmla="*/ 1 h 200"/>
                <a:gd name="T10" fmla="*/ 1 w 140"/>
                <a:gd name="T11" fmla="*/ 1 h 200"/>
                <a:gd name="T12" fmla="*/ 1 w 140"/>
                <a:gd name="T13" fmla="*/ 1 h 200"/>
                <a:gd name="T14" fmla="*/ 1 w 140"/>
                <a:gd name="T15" fmla="*/ 1 h 200"/>
                <a:gd name="T16" fmla="*/ 1 w 140"/>
                <a:gd name="T17" fmla="*/ 1 h 200"/>
                <a:gd name="T18" fmla="*/ 1 w 140"/>
                <a:gd name="T19" fmla="*/ 1 h 200"/>
                <a:gd name="T20" fmla="*/ 1 w 140"/>
                <a:gd name="T21" fmla="*/ 1 h 200"/>
                <a:gd name="T22" fmla="*/ 1 w 140"/>
                <a:gd name="T23" fmla="*/ 1 h 200"/>
                <a:gd name="T24" fmla="*/ 1 w 140"/>
                <a:gd name="T25" fmla="*/ 1 h 200"/>
                <a:gd name="T26" fmla="*/ 1 w 140"/>
                <a:gd name="T27" fmla="*/ 1 h 200"/>
                <a:gd name="T28" fmla="*/ 1 w 140"/>
                <a:gd name="T29" fmla="*/ 1 h 200"/>
                <a:gd name="T30" fmla="*/ 1 w 140"/>
                <a:gd name="T31" fmla="*/ 1 h 200"/>
                <a:gd name="T32" fmla="*/ 1 w 140"/>
                <a:gd name="T33" fmla="*/ 1 h 200"/>
                <a:gd name="T34" fmla="*/ 1 w 140"/>
                <a:gd name="T35" fmla="*/ 1 h 200"/>
                <a:gd name="T36" fmla="*/ 1 w 140"/>
                <a:gd name="T37" fmla="*/ 1 h 200"/>
                <a:gd name="T38" fmla="*/ 1 w 140"/>
                <a:gd name="T39" fmla="*/ 1 h 200"/>
                <a:gd name="T40" fmla="*/ 1 w 140"/>
                <a:gd name="T41" fmla="*/ 1 h 200"/>
                <a:gd name="T42" fmla="*/ 1 w 140"/>
                <a:gd name="T43" fmla="*/ 1 h 200"/>
                <a:gd name="T44" fmla="*/ 1 w 140"/>
                <a:gd name="T45" fmla="*/ 1 h 200"/>
                <a:gd name="T46" fmla="*/ 1 w 140"/>
                <a:gd name="T47" fmla="*/ 1 h 200"/>
                <a:gd name="T48" fmla="*/ 1 w 140"/>
                <a:gd name="T49" fmla="*/ 1 h 200"/>
                <a:gd name="T50" fmla="*/ 1 w 140"/>
                <a:gd name="T51" fmla="*/ 1 h 200"/>
                <a:gd name="T52" fmla="*/ 1 w 140"/>
                <a:gd name="T53" fmla="*/ 0 h 200"/>
                <a:gd name="T54" fmla="*/ 1 w 140"/>
                <a:gd name="T55" fmla="*/ 1 h 200"/>
                <a:gd name="T56" fmla="*/ 1 w 140"/>
                <a:gd name="T57" fmla="*/ 1 h 200"/>
                <a:gd name="T58" fmla="*/ 1 w 140"/>
                <a:gd name="T59" fmla="*/ 1 h 200"/>
                <a:gd name="T60" fmla="*/ 1 w 140"/>
                <a:gd name="T61" fmla="*/ 1 h 200"/>
                <a:gd name="T62" fmla="*/ 1 w 140"/>
                <a:gd name="T63" fmla="*/ 1 h 200"/>
                <a:gd name="T64" fmla="*/ 1 w 140"/>
                <a:gd name="T65" fmla="*/ 1 h 20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40"/>
                <a:gd name="T100" fmla="*/ 0 h 200"/>
                <a:gd name="T101" fmla="*/ 140 w 140"/>
                <a:gd name="T102" fmla="*/ 200 h 20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40" h="200">
                  <a:moveTo>
                    <a:pt x="1" y="76"/>
                  </a:moveTo>
                  <a:lnTo>
                    <a:pt x="12" y="60"/>
                  </a:lnTo>
                  <a:lnTo>
                    <a:pt x="18" y="60"/>
                  </a:lnTo>
                  <a:lnTo>
                    <a:pt x="23" y="62"/>
                  </a:lnTo>
                  <a:lnTo>
                    <a:pt x="20" y="68"/>
                  </a:lnTo>
                  <a:lnTo>
                    <a:pt x="17" y="80"/>
                  </a:lnTo>
                  <a:lnTo>
                    <a:pt x="19" y="90"/>
                  </a:lnTo>
                  <a:lnTo>
                    <a:pt x="28" y="88"/>
                  </a:lnTo>
                  <a:lnTo>
                    <a:pt x="48" y="84"/>
                  </a:lnTo>
                  <a:lnTo>
                    <a:pt x="42" y="92"/>
                  </a:lnTo>
                  <a:lnTo>
                    <a:pt x="52" y="102"/>
                  </a:lnTo>
                  <a:lnTo>
                    <a:pt x="53" y="122"/>
                  </a:lnTo>
                  <a:lnTo>
                    <a:pt x="47" y="123"/>
                  </a:lnTo>
                  <a:lnTo>
                    <a:pt x="22" y="132"/>
                  </a:lnTo>
                  <a:lnTo>
                    <a:pt x="26" y="134"/>
                  </a:lnTo>
                  <a:lnTo>
                    <a:pt x="32" y="141"/>
                  </a:lnTo>
                  <a:lnTo>
                    <a:pt x="14" y="154"/>
                  </a:lnTo>
                  <a:lnTo>
                    <a:pt x="12" y="160"/>
                  </a:lnTo>
                  <a:lnTo>
                    <a:pt x="31" y="162"/>
                  </a:lnTo>
                  <a:lnTo>
                    <a:pt x="40" y="167"/>
                  </a:lnTo>
                  <a:lnTo>
                    <a:pt x="61" y="161"/>
                  </a:lnTo>
                  <a:lnTo>
                    <a:pt x="53" y="168"/>
                  </a:lnTo>
                  <a:lnTo>
                    <a:pt x="37" y="172"/>
                  </a:lnTo>
                  <a:lnTo>
                    <a:pt x="18" y="185"/>
                  </a:lnTo>
                  <a:lnTo>
                    <a:pt x="0" y="198"/>
                  </a:lnTo>
                  <a:lnTo>
                    <a:pt x="6" y="200"/>
                  </a:lnTo>
                  <a:lnTo>
                    <a:pt x="11" y="198"/>
                  </a:lnTo>
                  <a:lnTo>
                    <a:pt x="35" y="196"/>
                  </a:lnTo>
                  <a:lnTo>
                    <a:pt x="42" y="190"/>
                  </a:lnTo>
                  <a:lnTo>
                    <a:pt x="59" y="186"/>
                  </a:lnTo>
                  <a:lnTo>
                    <a:pt x="80" y="184"/>
                  </a:lnTo>
                  <a:lnTo>
                    <a:pt x="113" y="184"/>
                  </a:lnTo>
                  <a:lnTo>
                    <a:pt x="134" y="171"/>
                  </a:lnTo>
                  <a:lnTo>
                    <a:pt x="119" y="166"/>
                  </a:lnTo>
                  <a:lnTo>
                    <a:pt x="124" y="160"/>
                  </a:lnTo>
                  <a:lnTo>
                    <a:pt x="140" y="143"/>
                  </a:lnTo>
                  <a:lnTo>
                    <a:pt x="134" y="134"/>
                  </a:lnTo>
                  <a:lnTo>
                    <a:pt x="113" y="135"/>
                  </a:lnTo>
                  <a:lnTo>
                    <a:pt x="114" y="129"/>
                  </a:lnTo>
                  <a:lnTo>
                    <a:pt x="100" y="114"/>
                  </a:lnTo>
                  <a:lnTo>
                    <a:pt x="106" y="116"/>
                  </a:lnTo>
                  <a:lnTo>
                    <a:pt x="104" y="106"/>
                  </a:lnTo>
                  <a:lnTo>
                    <a:pt x="90" y="93"/>
                  </a:lnTo>
                  <a:lnTo>
                    <a:pt x="70" y="63"/>
                  </a:lnTo>
                  <a:lnTo>
                    <a:pt x="44" y="60"/>
                  </a:lnTo>
                  <a:lnTo>
                    <a:pt x="59" y="56"/>
                  </a:lnTo>
                  <a:lnTo>
                    <a:pt x="50" y="52"/>
                  </a:lnTo>
                  <a:lnTo>
                    <a:pt x="56" y="50"/>
                  </a:lnTo>
                  <a:lnTo>
                    <a:pt x="76" y="24"/>
                  </a:lnTo>
                  <a:lnTo>
                    <a:pt x="40" y="23"/>
                  </a:lnTo>
                  <a:lnTo>
                    <a:pt x="32" y="22"/>
                  </a:lnTo>
                  <a:lnTo>
                    <a:pt x="37" y="18"/>
                  </a:lnTo>
                  <a:lnTo>
                    <a:pt x="53" y="3"/>
                  </a:lnTo>
                  <a:lnTo>
                    <a:pt x="23" y="0"/>
                  </a:lnTo>
                  <a:lnTo>
                    <a:pt x="17" y="8"/>
                  </a:lnTo>
                  <a:lnTo>
                    <a:pt x="16" y="15"/>
                  </a:lnTo>
                  <a:lnTo>
                    <a:pt x="8" y="17"/>
                  </a:lnTo>
                  <a:lnTo>
                    <a:pt x="7" y="24"/>
                  </a:lnTo>
                  <a:lnTo>
                    <a:pt x="7" y="28"/>
                  </a:lnTo>
                  <a:lnTo>
                    <a:pt x="7" y="32"/>
                  </a:lnTo>
                  <a:lnTo>
                    <a:pt x="0" y="42"/>
                  </a:lnTo>
                  <a:lnTo>
                    <a:pt x="2" y="45"/>
                  </a:lnTo>
                  <a:lnTo>
                    <a:pt x="0" y="46"/>
                  </a:lnTo>
                  <a:lnTo>
                    <a:pt x="13" y="44"/>
                  </a:lnTo>
                  <a:lnTo>
                    <a:pt x="12" y="45"/>
                  </a:lnTo>
                  <a:lnTo>
                    <a:pt x="1" y="76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17" name="Freeform 245"/>
            <p:cNvSpPr>
              <a:spLocks/>
            </p:cNvSpPr>
            <p:nvPr/>
          </p:nvSpPr>
          <p:spPr bwMode="auto">
            <a:xfrm>
              <a:off x="2508" y="1135"/>
              <a:ext cx="31" cy="19"/>
            </a:xfrm>
            <a:custGeom>
              <a:avLst/>
              <a:gdLst>
                <a:gd name="T0" fmla="*/ 1 w 43"/>
                <a:gd name="T1" fmla="*/ 1 h 28"/>
                <a:gd name="T2" fmla="*/ 1 w 43"/>
                <a:gd name="T3" fmla="*/ 1 h 28"/>
                <a:gd name="T4" fmla="*/ 1 w 43"/>
                <a:gd name="T5" fmla="*/ 0 h 28"/>
                <a:gd name="T6" fmla="*/ 1 w 43"/>
                <a:gd name="T7" fmla="*/ 1 h 28"/>
                <a:gd name="T8" fmla="*/ 0 w 43"/>
                <a:gd name="T9" fmla="*/ 1 h 28"/>
                <a:gd name="T10" fmla="*/ 1 w 43"/>
                <a:gd name="T11" fmla="*/ 1 h 28"/>
                <a:gd name="T12" fmla="*/ 1 w 43"/>
                <a:gd name="T13" fmla="*/ 1 h 28"/>
                <a:gd name="T14" fmla="*/ 1 w 43"/>
                <a:gd name="T15" fmla="*/ 1 h 28"/>
                <a:gd name="T16" fmla="*/ 1 w 43"/>
                <a:gd name="T17" fmla="*/ 1 h 2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3"/>
                <a:gd name="T28" fmla="*/ 0 h 28"/>
                <a:gd name="T29" fmla="*/ 43 w 43"/>
                <a:gd name="T30" fmla="*/ 28 h 2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3" h="28">
                  <a:moveTo>
                    <a:pt x="43" y="19"/>
                  </a:moveTo>
                  <a:lnTo>
                    <a:pt x="40" y="13"/>
                  </a:lnTo>
                  <a:lnTo>
                    <a:pt x="28" y="0"/>
                  </a:lnTo>
                  <a:lnTo>
                    <a:pt x="13" y="5"/>
                  </a:lnTo>
                  <a:lnTo>
                    <a:pt x="0" y="22"/>
                  </a:lnTo>
                  <a:lnTo>
                    <a:pt x="14" y="24"/>
                  </a:lnTo>
                  <a:lnTo>
                    <a:pt x="19" y="22"/>
                  </a:lnTo>
                  <a:lnTo>
                    <a:pt x="31" y="28"/>
                  </a:lnTo>
                  <a:lnTo>
                    <a:pt x="43" y="19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18" name="Freeform 246"/>
            <p:cNvSpPr>
              <a:spLocks/>
            </p:cNvSpPr>
            <p:nvPr/>
          </p:nvSpPr>
          <p:spPr bwMode="auto">
            <a:xfrm>
              <a:off x="2526" y="1097"/>
              <a:ext cx="13" cy="7"/>
            </a:xfrm>
            <a:custGeom>
              <a:avLst/>
              <a:gdLst>
                <a:gd name="T0" fmla="*/ 1 w 18"/>
                <a:gd name="T1" fmla="*/ 1 h 10"/>
                <a:gd name="T2" fmla="*/ 1 w 18"/>
                <a:gd name="T3" fmla="*/ 0 h 10"/>
                <a:gd name="T4" fmla="*/ 0 w 18"/>
                <a:gd name="T5" fmla="*/ 1 h 10"/>
                <a:gd name="T6" fmla="*/ 1 w 18"/>
                <a:gd name="T7" fmla="*/ 1 h 10"/>
                <a:gd name="T8" fmla="*/ 1 w 18"/>
                <a:gd name="T9" fmla="*/ 1 h 10"/>
                <a:gd name="T10" fmla="*/ 1 w 18"/>
                <a:gd name="T11" fmla="*/ 1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8"/>
                <a:gd name="T19" fmla="*/ 0 h 10"/>
                <a:gd name="T20" fmla="*/ 18 w 18"/>
                <a:gd name="T21" fmla="*/ 10 h 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8" h="10">
                  <a:moveTo>
                    <a:pt x="11" y="2"/>
                  </a:moveTo>
                  <a:lnTo>
                    <a:pt x="6" y="0"/>
                  </a:lnTo>
                  <a:lnTo>
                    <a:pt x="0" y="5"/>
                  </a:lnTo>
                  <a:lnTo>
                    <a:pt x="16" y="10"/>
                  </a:lnTo>
                  <a:lnTo>
                    <a:pt x="18" y="8"/>
                  </a:lnTo>
                  <a:lnTo>
                    <a:pt x="11" y="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19" name="Freeform 247"/>
            <p:cNvSpPr>
              <a:spLocks/>
            </p:cNvSpPr>
            <p:nvPr/>
          </p:nvSpPr>
          <p:spPr bwMode="auto">
            <a:xfrm>
              <a:off x="2524" y="1085"/>
              <a:ext cx="11" cy="7"/>
            </a:xfrm>
            <a:custGeom>
              <a:avLst/>
              <a:gdLst>
                <a:gd name="T0" fmla="*/ 1 w 16"/>
                <a:gd name="T1" fmla="*/ 1 h 11"/>
                <a:gd name="T2" fmla="*/ 1 w 16"/>
                <a:gd name="T3" fmla="*/ 0 h 11"/>
                <a:gd name="T4" fmla="*/ 1 w 16"/>
                <a:gd name="T5" fmla="*/ 1 h 11"/>
                <a:gd name="T6" fmla="*/ 0 w 16"/>
                <a:gd name="T7" fmla="*/ 1 h 11"/>
                <a:gd name="T8" fmla="*/ 1 w 16"/>
                <a:gd name="T9" fmla="*/ 1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11"/>
                <a:gd name="T17" fmla="*/ 16 w 16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11">
                  <a:moveTo>
                    <a:pt x="16" y="4"/>
                  </a:moveTo>
                  <a:lnTo>
                    <a:pt x="15" y="0"/>
                  </a:lnTo>
                  <a:lnTo>
                    <a:pt x="4" y="5"/>
                  </a:lnTo>
                  <a:lnTo>
                    <a:pt x="0" y="11"/>
                  </a:lnTo>
                  <a:lnTo>
                    <a:pt x="16" y="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20" name="Freeform 248"/>
            <p:cNvSpPr>
              <a:spLocks/>
            </p:cNvSpPr>
            <p:nvPr/>
          </p:nvSpPr>
          <p:spPr bwMode="auto">
            <a:xfrm>
              <a:off x="2594" y="1051"/>
              <a:ext cx="4" cy="7"/>
            </a:xfrm>
            <a:custGeom>
              <a:avLst/>
              <a:gdLst>
                <a:gd name="T0" fmla="*/ 1 w 7"/>
                <a:gd name="T1" fmla="*/ 0 h 11"/>
                <a:gd name="T2" fmla="*/ 1 w 7"/>
                <a:gd name="T3" fmla="*/ 1 h 11"/>
                <a:gd name="T4" fmla="*/ 0 w 7"/>
                <a:gd name="T5" fmla="*/ 1 h 11"/>
                <a:gd name="T6" fmla="*/ 1 w 7"/>
                <a:gd name="T7" fmla="*/ 1 h 11"/>
                <a:gd name="T8" fmla="*/ 1 w 7"/>
                <a:gd name="T9" fmla="*/ 0 h 11"/>
                <a:gd name="T10" fmla="*/ 1 w 7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11"/>
                <a:gd name="T20" fmla="*/ 7 w 7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11">
                  <a:moveTo>
                    <a:pt x="2" y="0"/>
                  </a:moveTo>
                  <a:lnTo>
                    <a:pt x="1" y="4"/>
                  </a:lnTo>
                  <a:lnTo>
                    <a:pt x="0" y="7"/>
                  </a:lnTo>
                  <a:lnTo>
                    <a:pt x="2" y="11"/>
                  </a:lnTo>
                  <a:lnTo>
                    <a:pt x="7" y="0"/>
                  </a:lnTo>
                  <a:lnTo>
                    <a:pt x="2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21" name="Freeform 249"/>
            <p:cNvSpPr>
              <a:spLocks/>
            </p:cNvSpPr>
            <p:nvPr/>
          </p:nvSpPr>
          <p:spPr bwMode="auto">
            <a:xfrm>
              <a:off x="2533" y="1114"/>
              <a:ext cx="6" cy="4"/>
            </a:xfrm>
            <a:custGeom>
              <a:avLst/>
              <a:gdLst>
                <a:gd name="T0" fmla="*/ 1 w 10"/>
                <a:gd name="T1" fmla="*/ 2 h 5"/>
                <a:gd name="T2" fmla="*/ 1 w 10"/>
                <a:gd name="T3" fmla="*/ 2 h 5"/>
                <a:gd name="T4" fmla="*/ 0 w 10"/>
                <a:gd name="T5" fmla="*/ 0 h 5"/>
                <a:gd name="T6" fmla="*/ 1 w 10"/>
                <a:gd name="T7" fmla="*/ 2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"/>
                <a:gd name="T13" fmla="*/ 0 h 5"/>
                <a:gd name="T14" fmla="*/ 10 w 10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" h="5">
                  <a:moveTo>
                    <a:pt x="2" y="5"/>
                  </a:moveTo>
                  <a:lnTo>
                    <a:pt x="10" y="2"/>
                  </a:lnTo>
                  <a:lnTo>
                    <a:pt x="0" y="0"/>
                  </a:lnTo>
                  <a:lnTo>
                    <a:pt x="2" y="5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22" name="Freeform 250"/>
            <p:cNvSpPr>
              <a:spLocks/>
            </p:cNvSpPr>
            <p:nvPr/>
          </p:nvSpPr>
          <p:spPr bwMode="auto">
            <a:xfrm>
              <a:off x="2553" y="1165"/>
              <a:ext cx="6" cy="4"/>
            </a:xfrm>
            <a:custGeom>
              <a:avLst/>
              <a:gdLst>
                <a:gd name="T0" fmla="*/ 3 w 7"/>
                <a:gd name="T1" fmla="*/ 1 h 6"/>
                <a:gd name="T2" fmla="*/ 1 w 7"/>
                <a:gd name="T3" fmla="*/ 0 h 6"/>
                <a:gd name="T4" fmla="*/ 0 w 7"/>
                <a:gd name="T5" fmla="*/ 1 h 6"/>
                <a:gd name="T6" fmla="*/ 3 w 7"/>
                <a:gd name="T7" fmla="*/ 1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6"/>
                <a:gd name="T14" fmla="*/ 7 w 7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6">
                  <a:moveTo>
                    <a:pt x="7" y="5"/>
                  </a:moveTo>
                  <a:lnTo>
                    <a:pt x="1" y="0"/>
                  </a:lnTo>
                  <a:lnTo>
                    <a:pt x="0" y="6"/>
                  </a:lnTo>
                  <a:lnTo>
                    <a:pt x="7" y="5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23" name="Freeform 251"/>
            <p:cNvSpPr>
              <a:spLocks/>
            </p:cNvSpPr>
            <p:nvPr/>
          </p:nvSpPr>
          <p:spPr bwMode="auto">
            <a:xfrm>
              <a:off x="2633" y="1349"/>
              <a:ext cx="4" cy="1"/>
            </a:xfrm>
            <a:custGeom>
              <a:avLst/>
              <a:gdLst>
                <a:gd name="T0" fmla="*/ 1 w 6"/>
                <a:gd name="T1" fmla="*/ 0 h 2"/>
                <a:gd name="T2" fmla="*/ 0 w 6"/>
                <a:gd name="T3" fmla="*/ 0 h 2"/>
                <a:gd name="T4" fmla="*/ 0 w 6"/>
                <a:gd name="T5" fmla="*/ 1 h 2"/>
                <a:gd name="T6" fmla="*/ 1 w 6"/>
                <a:gd name="T7" fmla="*/ 1 h 2"/>
                <a:gd name="T8" fmla="*/ 1 w 6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"/>
                <a:gd name="T17" fmla="*/ 6 w 6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">
                  <a:moveTo>
                    <a:pt x="6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5" y="2"/>
                  </a:lnTo>
                  <a:lnTo>
                    <a:pt x="6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24" name="Freeform 252"/>
            <p:cNvSpPr>
              <a:spLocks/>
            </p:cNvSpPr>
            <p:nvPr/>
          </p:nvSpPr>
          <p:spPr bwMode="auto">
            <a:xfrm>
              <a:off x="2476" y="1359"/>
              <a:ext cx="46" cy="86"/>
            </a:xfrm>
            <a:custGeom>
              <a:avLst/>
              <a:gdLst>
                <a:gd name="T0" fmla="*/ 1 w 66"/>
                <a:gd name="T1" fmla="*/ 0 h 123"/>
                <a:gd name="T2" fmla="*/ 1 w 66"/>
                <a:gd name="T3" fmla="*/ 1 h 123"/>
                <a:gd name="T4" fmla="*/ 1 w 66"/>
                <a:gd name="T5" fmla="*/ 1 h 123"/>
                <a:gd name="T6" fmla="*/ 1 w 66"/>
                <a:gd name="T7" fmla="*/ 1 h 123"/>
                <a:gd name="T8" fmla="*/ 1 w 66"/>
                <a:gd name="T9" fmla="*/ 1 h 123"/>
                <a:gd name="T10" fmla="*/ 0 w 66"/>
                <a:gd name="T11" fmla="*/ 1 h 123"/>
                <a:gd name="T12" fmla="*/ 1 w 66"/>
                <a:gd name="T13" fmla="*/ 1 h 123"/>
                <a:gd name="T14" fmla="*/ 1 w 66"/>
                <a:gd name="T15" fmla="*/ 1 h 123"/>
                <a:gd name="T16" fmla="*/ 1 w 66"/>
                <a:gd name="T17" fmla="*/ 1 h 123"/>
                <a:gd name="T18" fmla="*/ 1 w 66"/>
                <a:gd name="T19" fmla="*/ 1 h 123"/>
                <a:gd name="T20" fmla="*/ 1 w 66"/>
                <a:gd name="T21" fmla="*/ 1 h 123"/>
                <a:gd name="T22" fmla="*/ 1 w 66"/>
                <a:gd name="T23" fmla="*/ 1 h 123"/>
                <a:gd name="T24" fmla="*/ 1 w 66"/>
                <a:gd name="T25" fmla="*/ 1 h 123"/>
                <a:gd name="T26" fmla="*/ 1 w 66"/>
                <a:gd name="T27" fmla="*/ 1 h 123"/>
                <a:gd name="T28" fmla="*/ 1 w 66"/>
                <a:gd name="T29" fmla="*/ 1 h 123"/>
                <a:gd name="T30" fmla="*/ 1 w 66"/>
                <a:gd name="T31" fmla="*/ 1 h 123"/>
                <a:gd name="T32" fmla="*/ 1 w 66"/>
                <a:gd name="T33" fmla="*/ 1 h 123"/>
                <a:gd name="T34" fmla="*/ 1 w 66"/>
                <a:gd name="T35" fmla="*/ 1 h 123"/>
                <a:gd name="T36" fmla="*/ 1 w 66"/>
                <a:gd name="T37" fmla="*/ 1 h 123"/>
                <a:gd name="T38" fmla="*/ 1 w 66"/>
                <a:gd name="T39" fmla="*/ 1 h 123"/>
                <a:gd name="T40" fmla="*/ 1 w 66"/>
                <a:gd name="T41" fmla="*/ 0 h 12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6"/>
                <a:gd name="T64" fmla="*/ 0 h 123"/>
                <a:gd name="T65" fmla="*/ 66 w 66"/>
                <a:gd name="T66" fmla="*/ 123 h 12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6" h="123">
                  <a:moveTo>
                    <a:pt x="30" y="0"/>
                  </a:moveTo>
                  <a:lnTo>
                    <a:pt x="18" y="2"/>
                  </a:lnTo>
                  <a:lnTo>
                    <a:pt x="19" y="30"/>
                  </a:lnTo>
                  <a:lnTo>
                    <a:pt x="12" y="47"/>
                  </a:lnTo>
                  <a:lnTo>
                    <a:pt x="3" y="65"/>
                  </a:lnTo>
                  <a:lnTo>
                    <a:pt x="0" y="81"/>
                  </a:lnTo>
                  <a:lnTo>
                    <a:pt x="9" y="88"/>
                  </a:lnTo>
                  <a:lnTo>
                    <a:pt x="14" y="88"/>
                  </a:lnTo>
                  <a:lnTo>
                    <a:pt x="12" y="123"/>
                  </a:lnTo>
                  <a:lnTo>
                    <a:pt x="41" y="119"/>
                  </a:lnTo>
                  <a:lnTo>
                    <a:pt x="41" y="112"/>
                  </a:lnTo>
                  <a:lnTo>
                    <a:pt x="48" y="98"/>
                  </a:lnTo>
                  <a:lnTo>
                    <a:pt x="47" y="92"/>
                  </a:lnTo>
                  <a:lnTo>
                    <a:pt x="49" y="78"/>
                  </a:lnTo>
                  <a:lnTo>
                    <a:pt x="41" y="59"/>
                  </a:lnTo>
                  <a:lnTo>
                    <a:pt x="48" y="58"/>
                  </a:lnTo>
                  <a:lnTo>
                    <a:pt x="55" y="28"/>
                  </a:lnTo>
                  <a:lnTo>
                    <a:pt x="66" y="15"/>
                  </a:lnTo>
                  <a:lnTo>
                    <a:pt x="62" y="4"/>
                  </a:lnTo>
                  <a:lnTo>
                    <a:pt x="36" y="3"/>
                  </a:lnTo>
                  <a:lnTo>
                    <a:pt x="30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25" name="Freeform 253"/>
            <p:cNvSpPr>
              <a:spLocks/>
            </p:cNvSpPr>
            <p:nvPr/>
          </p:nvSpPr>
          <p:spPr bwMode="auto">
            <a:xfrm>
              <a:off x="2484" y="1329"/>
              <a:ext cx="172" cy="131"/>
            </a:xfrm>
            <a:custGeom>
              <a:avLst/>
              <a:gdLst>
                <a:gd name="T0" fmla="*/ 1 w 244"/>
                <a:gd name="T1" fmla="*/ 1 h 186"/>
                <a:gd name="T2" fmla="*/ 1 w 244"/>
                <a:gd name="T3" fmla="*/ 1 h 186"/>
                <a:gd name="T4" fmla="*/ 1 w 244"/>
                <a:gd name="T5" fmla="*/ 1 h 186"/>
                <a:gd name="T6" fmla="*/ 1 w 244"/>
                <a:gd name="T7" fmla="*/ 1 h 186"/>
                <a:gd name="T8" fmla="*/ 1 w 244"/>
                <a:gd name="T9" fmla="*/ 1 h 186"/>
                <a:gd name="T10" fmla="*/ 1 w 244"/>
                <a:gd name="T11" fmla="*/ 1 h 186"/>
                <a:gd name="T12" fmla="*/ 1 w 244"/>
                <a:gd name="T13" fmla="*/ 1 h 186"/>
                <a:gd name="T14" fmla="*/ 0 w 244"/>
                <a:gd name="T15" fmla="*/ 1 h 186"/>
                <a:gd name="T16" fmla="*/ 0 w 244"/>
                <a:gd name="T17" fmla="*/ 1 h 186"/>
                <a:gd name="T18" fmla="*/ 1 w 244"/>
                <a:gd name="T19" fmla="*/ 0 h 186"/>
                <a:gd name="T20" fmla="*/ 1 w 244"/>
                <a:gd name="T21" fmla="*/ 1 h 186"/>
                <a:gd name="T22" fmla="*/ 1 w 244"/>
                <a:gd name="T23" fmla="*/ 1 h 186"/>
                <a:gd name="T24" fmla="*/ 1 w 244"/>
                <a:gd name="T25" fmla="*/ 1 h 186"/>
                <a:gd name="T26" fmla="*/ 1 w 244"/>
                <a:gd name="T27" fmla="*/ 1 h 186"/>
                <a:gd name="T28" fmla="*/ 1 w 244"/>
                <a:gd name="T29" fmla="*/ 1 h 186"/>
                <a:gd name="T30" fmla="*/ 1 w 244"/>
                <a:gd name="T31" fmla="*/ 1 h 186"/>
                <a:gd name="T32" fmla="*/ 1 w 244"/>
                <a:gd name="T33" fmla="*/ 1 h 186"/>
                <a:gd name="T34" fmla="*/ 1 w 244"/>
                <a:gd name="T35" fmla="*/ 1 h 186"/>
                <a:gd name="T36" fmla="*/ 1 w 244"/>
                <a:gd name="T37" fmla="*/ 1 h 186"/>
                <a:gd name="T38" fmla="*/ 2 w 244"/>
                <a:gd name="T39" fmla="*/ 1 h 186"/>
                <a:gd name="T40" fmla="*/ 2 w 244"/>
                <a:gd name="T41" fmla="*/ 1 h 186"/>
                <a:gd name="T42" fmla="*/ 1 w 244"/>
                <a:gd name="T43" fmla="*/ 1 h 186"/>
                <a:gd name="T44" fmla="*/ 1 w 244"/>
                <a:gd name="T45" fmla="*/ 1 h 186"/>
                <a:gd name="T46" fmla="*/ 1 w 244"/>
                <a:gd name="T47" fmla="*/ 1 h 186"/>
                <a:gd name="T48" fmla="*/ 1 w 244"/>
                <a:gd name="T49" fmla="*/ 1 h 186"/>
                <a:gd name="T50" fmla="*/ 1 w 244"/>
                <a:gd name="T51" fmla="*/ 1 h 186"/>
                <a:gd name="T52" fmla="*/ 1 w 244"/>
                <a:gd name="T53" fmla="*/ 1 h 186"/>
                <a:gd name="T54" fmla="*/ 1 w 244"/>
                <a:gd name="T55" fmla="*/ 1 h 186"/>
                <a:gd name="T56" fmla="*/ 1 w 244"/>
                <a:gd name="T57" fmla="*/ 1 h 186"/>
                <a:gd name="T58" fmla="*/ 1 w 244"/>
                <a:gd name="T59" fmla="*/ 1 h 186"/>
                <a:gd name="T60" fmla="*/ 1 w 244"/>
                <a:gd name="T61" fmla="*/ 1 h 186"/>
                <a:gd name="T62" fmla="*/ 1 w 244"/>
                <a:gd name="T63" fmla="*/ 1 h 186"/>
                <a:gd name="T64" fmla="*/ 1 w 244"/>
                <a:gd name="T65" fmla="*/ 1 h 186"/>
                <a:gd name="T66" fmla="*/ 1 w 244"/>
                <a:gd name="T67" fmla="*/ 1 h 186"/>
                <a:gd name="T68" fmla="*/ 1 w 244"/>
                <a:gd name="T69" fmla="*/ 1 h 186"/>
                <a:gd name="T70" fmla="*/ 1 w 244"/>
                <a:gd name="T71" fmla="*/ 1 h 186"/>
                <a:gd name="T72" fmla="*/ 1 w 244"/>
                <a:gd name="T73" fmla="*/ 1 h 186"/>
                <a:gd name="T74" fmla="*/ 1 w 244"/>
                <a:gd name="T75" fmla="*/ 1 h 186"/>
                <a:gd name="T76" fmla="*/ 1 w 244"/>
                <a:gd name="T77" fmla="*/ 1 h 186"/>
                <a:gd name="T78" fmla="*/ 1 w 244"/>
                <a:gd name="T79" fmla="*/ 1 h 186"/>
                <a:gd name="T80" fmla="*/ 1 w 244"/>
                <a:gd name="T81" fmla="*/ 1 h 186"/>
                <a:gd name="T82" fmla="*/ 1 w 244"/>
                <a:gd name="T83" fmla="*/ 1 h 186"/>
                <a:gd name="T84" fmla="*/ 1 w 244"/>
                <a:gd name="T85" fmla="*/ 1 h 186"/>
                <a:gd name="T86" fmla="*/ 1 w 244"/>
                <a:gd name="T87" fmla="*/ 1 h 186"/>
                <a:gd name="T88" fmla="*/ 1 w 244"/>
                <a:gd name="T89" fmla="*/ 1 h 186"/>
                <a:gd name="T90" fmla="*/ 1 w 244"/>
                <a:gd name="T91" fmla="*/ 1 h 18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44"/>
                <a:gd name="T139" fmla="*/ 0 h 186"/>
                <a:gd name="T140" fmla="*/ 244 w 244"/>
                <a:gd name="T141" fmla="*/ 186 h 18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44" h="186">
                  <a:moveTo>
                    <a:pt x="49" y="46"/>
                  </a:moveTo>
                  <a:lnTo>
                    <a:pt x="23" y="45"/>
                  </a:lnTo>
                  <a:lnTo>
                    <a:pt x="17" y="42"/>
                  </a:lnTo>
                  <a:lnTo>
                    <a:pt x="5" y="44"/>
                  </a:lnTo>
                  <a:lnTo>
                    <a:pt x="5" y="36"/>
                  </a:lnTo>
                  <a:lnTo>
                    <a:pt x="2" y="30"/>
                  </a:lnTo>
                  <a:lnTo>
                    <a:pt x="2" y="28"/>
                  </a:lnTo>
                  <a:lnTo>
                    <a:pt x="0" y="23"/>
                  </a:lnTo>
                  <a:lnTo>
                    <a:pt x="0" y="12"/>
                  </a:lnTo>
                  <a:lnTo>
                    <a:pt x="30" y="0"/>
                  </a:lnTo>
                  <a:lnTo>
                    <a:pt x="55" y="4"/>
                  </a:lnTo>
                  <a:lnTo>
                    <a:pt x="78" y="5"/>
                  </a:lnTo>
                  <a:lnTo>
                    <a:pt x="100" y="5"/>
                  </a:lnTo>
                  <a:lnTo>
                    <a:pt x="122" y="6"/>
                  </a:lnTo>
                  <a:lnTo>
                    <a:pt x="145" y="8"/>
                  </a:lnTo>
                  <a:lnTo>
                    <a:pt x="155" y="16"/>
                  </a:lnTo>
                  <a:lnTo>
                    <a:pt x="210" y="28"/>
                  </a:lnTo>
                  <a:lnTo>
                    <a:pt x="210" y="30"/>
                  </a:lnTo>
                  <a:lnTo>
                    <a:pt x="215" y="30"/>
                  </a:lnTo>
                  <a:lnTo>
                    <a:pt x="244" y="32"/>
                  </a:lnTo>
                  <a:lnTo>
                    <a:pt x="240" y="48"/>
                  </a:lnTo>
                  <a:lnTo>
                    <a:pt x="218" y="60"/>
                  </a:lnTo>
                  <a:lnTo>
                    <a:pt x="196" y="72"/>
                  </a:lnTo>
                  <a:lnTo>
                    <a:pt x="185" y="89"/>
                  </a:lnTo>
                  <a:lnTo>
                    <a:pt x="173" y="107"/>
                  </a:lnTo>
                  <a:lnTo>
                    <a:pt x="181" y="125"/>
                  </a:lnTo>
                  <a:lnTo>
                    <a:pt x="164" y="146"/>
                  </a:lnTo>
                  <a:lnTo>
                    <a:pt x="160" y="152"/>
                  </a:lnTo>
                  <a:lnTo>
                    <a:pt x="143" y="161"/>
                  </a:lnTo>
                  <a:lnTo>
                    <a:pt x="133" y="171"/>
                  </a:lnTo>
                  <a:lnTo>
                    <a:pt x="109" y="173"/>
                  </a:lnTo>
                  <a:lnTo>
                    <a:pt x="85" y="177"/>
                  </a:lnTo>
                  <a:lnTo>
                    <a:pt x="70" y="186"/>
                  </a:lnTo>
                  <a:lnTo>
                    <a:pt x="55" y="186"/>
                  </a:lnTo>
                  <a:lnTo>
                    <a:pt x="50" y="168"/>
                  </a:lnTo>
                  <a:lnTo>
                    <a:pt x="35" y="161"/>
                  </a:lnTo>
                  <a:lnTo>
                    <a:pt x="28" y="161"/>
                  </a:lnTo>
                  <a:lnTo>
                    <a:pt x="28" y="154"/>
                  </a:lnTo>
                  <a:lnTo>
                    <a:pt x="35" y="140"/>
                  </a:lnTo>
                  <a:lnTo>
                    <a:pt x="34" y="134"/>
                  </a:lnTo>
                  <a:lnTo>
                    <a:pt x="36" y="120"/>
                  </a:lnTo>
                  <a:lnTo>
                    <a:pt x="28" y="101"/>
                  </a:lnTo>
                  <a:lnTo>
                    <a:pt x="35" y="100"/>
                  </a:lnTo>
                  <a:lnTo>
                    <a:pt x="43" y="70"/>
                  </a:lnTo>
                  <a:lnTo>
                    <a:pt x="53" y="57"/>
                  </a:lnTo>
                  <a:lnTo>
                    <a:pt x="49" y="46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26" name="Freeform 254"/>
            <p:cNvSpPr>
              <a:spLocks/>
            </p:cNvSpPr>
            <p:nvPr/>
          </p:nvSpPr>
          <p:spPr bwMode="auto">
            <a:xfrm>
              <a:off x="2647" y="1397"/>
              <a:ext cx="14" cy="8"/>
            </a:xfrm>
            <a:custGeom>
              <a:avLst/>
              <a:gdLst>
                <a:gd name="T0" fmla="*/ 1 w 21"/>
                <a:gd name="T1" fmla="*/ 1 h 12"/>
                <a:gd name="T2" fmla="*/ 1 w 21"/>
                <a:gd name="T3" fmla="*/ 1 h 12"/>
                <a:gd name="T4" fmla="*/ 0 w 21"/>
                <a:gd name="T5" fmla="*/ 1 h 12"/>
                <a:gd name="T6" fmla="*/ 1 w 21"/>
                <a:gd name="T7" fmla="*/ 0 h 12"/>
                <a:gd name="T8" fmla="*/ 1 w 21"/>
                <a:gd name="T9" fmla="*/ 1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"/>
                <a:gd name="T16" fmla="*/ 0 h 12"/>
                <a:gd name="T17" fmla="*/ 21 w 21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" h="12">
                  <a:moveTo>
                    <a:pt x="21" y="4"/>
                  </a:moveTo>
                  <a:lnTo>
                    <a:pt x="10" y="12"/>
                  </a:lnTo>
                  <a:lnTo>
                    <a:pt x="0" y="5"/>
                  </a:lnTo>
                  <a:lnTo>
                    <a:pt x="14" y="0"/>
                  </a:lnTo>
                  <a:lnTo>
                    <a:pt x="21" y="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27" name="Freeform 255"/>
            <p:cNvSpPr>
              <a:spLocks/>
            </p:cNvSpPr>
            <p:nvPr/>
          </p:nvSpPr>
          <p:spPr bwMode="auto">
            <a:xfrm>
              <a:off x="1009" y="1234"/>
              <a:ext cx="840" cy="417"/>
            </a:xfrm>
            <a:custGeom>
              <a:avLst/>
              <a:gdLst>
                <a:gd name="T0" fmla="*/ 9 w 1194"/>
                <a:gd name="T1" fmla="*/ 1 h 594"/>
                <a:gd name="T2" fmla="*/ 8 w 1194"/>
                <a:gd name="T3" fmla="*/ 1 h 594"/>
                <a:gd name="T4" fmla="*/ 8 w 1194"/>
                <a:gd name="T5" fmla="*/ 1 h 594"/>
                <a:gd name="T6" fmla="*/ 6 w 1194"/>
                <a:gd name="T7" fmla="*/ 1 h 594"/>
                <a:gd name="T8" fmla="*/ 6 w 1194"/>
                <a:gd name="T9" fmla="*/ 1 h 594"/>
                <a:gd name="T10" fmla="*/ 6 w 1194"/>
                <a:gd name="T11" fmla="*/ 1 h 594"/>
                <a:gd name="T12" fmla="*/ 6 w 1194"/>
                <a:gd name="T13" fmla="*/ 1 h 594"/>
                <a:gd name="T14" fmla="*/ 6 w 1194"/>
                <a:gd name="T15" fmla="*/ 1 h 594"/>
                <a:gd name="T16" fmla="*/ 4 w 1194"/>
                <a:gd name="T17" fmla="*/ 1 h 594"/>
                <a:gd name="T18" fmla="*/ 3 w 1194"/>
                <a:gd name="T19" fmla="*/ 1 h 594"/>
                <a:gd name="T20" fmla="*/ 2 w 1194"/>
                <a:gd name="T21" fmla="*/ 1 h 594"/>
                <a:gd name="T22" fmla="*/ 1 w 1194"/>
                <a:gd name="T23" fmla="*/ 1 h 594"/>
                <a:gd name="T24" fmla="*/ 1 w 1194"/>
                <a:gd name="T25" fmla="*/ 1 h 594"/>
                <a:gd name="T26" fmla="*/ 1 w 1194"/>
                <a:gd name="T27" fmla="*/ 1 h 594"/>
                <a:gd name="T28" fmla="*/ 1 w 1194"/>
                <a:gd name="T29" fmla="*/ 1 h 594"/>
                <a:gd name="T30" fmla="*/ 1 w 1194"/>
                <a:gd name="T31" fmla="*/ 1 h 594"/>
                <a:gd name="T32" fmla="*/ 0 w 1194"/>
                <a:gd name="T33" fmla="*/ 2 h 594"/>
                <a:gd name="T34" fmla="*/ 1 w 1194"/>
                <a:gd name="T35" fmla="*/ 2 h 594"/>
                <a:gd name="T36" fmla="*/ 1 w 1194"/>
                <a:gd name="T37" fmla="*/ 2 h 594"/>
                <a:gd name="T38" fmla="*/ 1 w 1194"/>
                <a:gd name="T39" fmla="*/ 3 h 594"/>
                <a:gd name="T40" fmla="*/ 1 w 1194"/>
                <a:gd name="T41" fmla="*/ 3 h 594"/>
                <a:gd name="T42" fmla="*/ 1 w 1194"/>
                <a:gd name="T43" fmla="*/ 3 h 594"/>
                <a:gd name="T44" fmla="*/ 2 w 1194"/>
                <a:gd name="T45" fmla="*/ 4 h 594"/>
                <a:gd name="T46" fmla="*/ 3 w 1194"/>
                <a:gd name="T47" fmla="*/ 4 h 594"/>
                <a:gd name="T48" fmla="*/ 3 w 1194"/>
                <a:gd name="T49" fmla="*/ 4 h 594"/>
                <a:gd name="T50" fmla="*/ 3 w 1194"/>
                <a:gd name="T51" fmla="*/ 4 h 594"/>
                <a:gd name="T52" fmla="*/ 4 w 1194"/>
                <a:gd name="T53" fmla="*/ 4 h 594"/>
                <a:gd name="T54" fmla="*/ 4 w 1194"/>
                <a:gd name="T55" fmla="*/ 4 h 594"/>
                <a:gd name="T56" fmla="*/ 4 w 1194"/>
                <a:gd name="T57" fmla="*/ 4 h 594"/>
                <a:gd name="T58" fmla="*/ 4 w 1194"/>
                <a:gd name="T59" fmla="*/ 4 h 594"/>
                <a:gd name="T60" fmla="*/ 4 w 1194"/>
                <a:gd name="T61" fmla="*/ 4 h 594"/>
                <a:gd name="T62" fmla="*/ 4 w 1194"/>
                <a:gd name="T63" fmla="*/ 3 h 594"/>
                <a:gd name="T64" fmla="*/ 5 w 1194"/>
                <a:gd name="T65" fmla="*/ 3 h 594"/>
                <a:gd name="T66" fmla="*/ 6 w 1194"/>
                <a:gd name="T67" fmla="*/ 4 h 594"/>
                <a:gd name="T68" fmla="*/ 6 w 1194"/>
                <a:gd name="T69" fmla="*/ 4 h 594"/>
                <a:gd name="T70" fmla="*/ 6 w 1194"/>
                <a:gd name="T71" fmla="*/ 4 h 594"/>
                <a:gd name="T72" fmla="*/ 6 w 1194"/>
                <a:gd name="T73" fmla="*/ 4 h 594"/>
                <a:gd name="T74" fmla="*/ 6 w 1194"/>
                <a:gd name="T75" fmla="*/ 4 h 594"/>
                <a:gd name="T76" fmla="*/ 6 w 1194"/>
                <a:gd name="T77" fmla="*/ 4 h 594"/>
                <a:gd name="T78" fmla="*/ 6 w 1194"/>
                <a:gd name="T79" fmla="*/ 3 h 594"/>
                <a:gd name="T80" fmla="*/ 6 w 1194"/>
                <a:gd name="T81" fmla="*/ 3 h 594"/>
                <a:gd name="T82" fmla="*/ 6 w 1194"/>
                <a:gd name="T83" fmla="*/ 3 h 594"/>
                <a:gd name="T84" fmla="*/ 7 w 1194"/>
                <a:gd name="T85" fmla="*/ 2 h 594"/>
                <a:gd name="T86" fmla="*/ 6 w 1194"/>
                <a:gd name="T87" fmla="*/ 2 h 594"/>
                <a:gd name="T88" fmla="*/ 7 w 1194"/>
                <a:gd name="T89" fmla="*/ 2 h 594"/>
                <a:gd name="T90" fmla="*/ 7 w 1194"/>
                <a:gd name="T91" fmla="*/ 2 h 594"/>
                <a:gd name="T92" fmla="*/ 7 w 1194"/>
                <a:gd name="T93" fmla="*/ 2 h 594"/>
                <a:gd name="T94" fmla="*/ 7 w 1194"/>
                <a:gd name="T95" fmla="*/ 2 h 594"/>
                <a:gd name="T96" fmla="*/ 7 w 1194"/>
                <a:gd name="T97" fmla="*/ 2 h 594"/>
                <a:gd name="T98" fmla="*/ 8 w 1194"/>
                <a:gd name="T99" fmla="*/ 2 h 594"/>
                <a:gd name="T100" fmla="*/ 8 w 1194"/>
                <a:gd name="T101" fmla="*/ 2 h 594"/>
                <a:gd name="T102" fmla="*/ 8 w 1194"/>
                <a:gd name="T103" fmla="*/ 1 h 594"/>
                <a:gd name="T104" fmla="*/ 8 w 1194"/>
                <a:gd name="T105" fmla="*/ 1 h 594"/>
                <a:gd name="T106" fmla="*/ 8 w 1194"/>
                <a:gd name="T107" fmla="*/ 1 h 594"/>
                <a:gd name="T108" fmla="*/ 8 w 1194"/>
                <a:gd name="T109" fmla="*/ 1 h 594"/>
                <a:gd name="T110" fmla="*/ 8 w 1194"/>
                <a:gd name="T111" fmla="*/ 1 h 59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94"/>
                <a:gd name="T169" fmla="*/ 0 h 594"/>
                <a:gd name="T170" fmla="*/ 1194 w 1194"/>
                <a:gd name="T171" fmla="*/ 594 h 59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94" h="594">
                  <a:moveTo>
                    <a:pt x="1192" y="109"/>
                  </a:moveTo>
                  <a:lnTo>
                    <a:pt x="1191" y="100"/>
                  </a:lnTo>
                  <a:lnTo>
                    <a:pt x="1185" y="85"/>
                  </a:lnTo>
                  <a:lnTo>
                    <a:pt x="1194" y="55"/>
                  </a:lnTo>
                  <a:lnTo>
                    <a:pt x="1181" y="50"/>
                  </a:lnTo>
                  <a:lnTo>
                    <a:pt x="1172" y="50"/>
                  </a:lnTo>
                  <a:lnTo>
                    <a:pt x="1170" y="45"/>
                  </a:lnTo>
                  <a:lnTo>
                    <a:pt x="1154" y="63"/>
                  </a:lnTo>
                  <a:lnTo>
                    <a:pt x="1137" y="81"/>
                  </a:lnTo>
                  <a:lnTo>
                    <a:pt x="1118" y="97"/>
                  </a:lnTo>
                  <a:lnTo>
                    <a:pt x="1104" y="104"/>
                  </a:lnTo>
                  <a:lnTo>
                    <a:pt x="1066" y="106"/>
                  </a:lnTo>
                  <a:lnTo>
                    <a:pt x="1028" y="109"/>
                  </a:lnTo>
                  <a:lnTo>
                    <a:pt x="1008" y="123"/>
                  </a:lnTo>
                  <a:lnTo>
                    <a:pt x="988" y="139"/>
                  </a:lnTo>
                  <a:lnTo>
                    <a:pt x="964" y="140"/>
                  </a:lnTo>
                  <a:lnTo>
                    <a:pt x="940" y="142"/>
                  </a:lnTo>
                  <a:lnTo>
                    <a:pt x="938" y="158"/>
                  </a:lnTo>
                  <a:lnTo>
                    <a:pt x="917" y="165"/>
                  </a:lnTo>
                  <a:lnTo>
                    <a:pt x="896" y="172"/>
                  </a:lnTo>
                  <a:lnTo>
                    <a:pt x="875" y="180"/>
                  </a:lnTo>
                  <a:lnTo>
                    <a:pt x="854" y="187"/>
                  </a:lnTo>
                  <a:lnTo>
                    <a:pt x="848" y="177"/>
                  </a:lnTo>
                  <a:lnTo>
                    <a:pt x="872" y="153"/>
                  </a:lnTo>
                  <a:lnTo>
                    <a:pt x="882" y="140"/>
                  </a:lnTo>
                  <a:lnTo>
                    <a:pt x="886" y="118"/>
                  </a:lnTo>
                  <a:lnTo>
                    <a:pt x="891" y="97"/>
                  </a:lnTo>
                  <a:lnTo>
                    <a:pt x="875" y="85"/>
                  </a:lnTo>
                  <a:lnTo>
                    <a:pt x="878" y="78"/>
                  </a:lnTo>
                  <a:lnTo>
                    <a:pt x="870" y="79"/>
                  </a:lnTo>
                  <a:lnTo>
                    <a:pt x="869" y="68"/>
                  </a:lnTo>
                  <a:lnTo>
                    <a:pt x="852" y="58"/>
                  </a:lnTo>
                  <a:lnTo>
                    <a:pt x="836" y="48"/>
                  </a:lnTo>
                  <a:lnTo>
                    <a:pt x="819" y="37"/>
                  </a:lnTo>
                  <a:lnTo>
                    <a:pt x="802" y="26"/>
                  </a:lnTo>
                  <a:lnTo>
                    <a:pt x="776" y="33"/>
                  </a:lnTo>
                  <a:lnTo>
                    <a:pt x="760" y="26"/>
                  </a:lnTo>
                  <a:lnTo>
                    <a:pt x="743" y="30"/>
                  </a:lnTo>
                  <a:lnTo>
                    <a:pt x="714" y="18"/>
                  </a:lnTo>
                  <a:lnTo>
                    <a:pt x="693" y="13"/>
                  </a:lnTo>
                  <a:lnTo>
                    <a:pt x="695" y="0"/>
                  </a:lnTo>
                  <a:lnTo>
                    <a:pt x="687" y="8"/>
                  </a:lnTo>
                  <a:lnTo>
                    <a:pt x="653" y="8"/>
                  </a:lnTo>
                  <a:lnTo>
                    <a:pt x="621" y="8"/>
                  </a:lnTo>
                  <a:lnTo>
                    <a:pt x="587" y="8"/>
                  </a:lnTo>
                  <a:lnTo>
                    <a:pt x="555" y="8"/>
                  </a:lnTo>
                  <a:lnTo>
                    <a:pt x="521" y="8"/>
                  </a:lnTo>
                  <a:lnTo>
                    <a:pt x="489" y="8"/>
                  </a:lnTo>
                  <a:lnTo>
                    <a:pt x="455" y="8"/>
                  </a:lnTo>
                  <a:lnTo>
                    <a:pt x="423" y="8"/>
                  </a:lnTo>
                  <a:lnTo>
                    <a:pt x="389" y="8"/>
                  </a:lnTo>
                  <a:lnTo>
                    <a:pt x="357" y="8"/>
                  </a:lnTo>
                  <a:lnTo>
                    <a:pt x="323" y="8"/>
                  </a:lnTo>
                  <a:lnTo>
                    <a:pt x="289" y="8"/>
                  </a:lnTo>
                  <a:lnTo>
                    <a:pt x="257" y="8"/>
                  </a:lnTo>
                  <a:lnTo>
                    <a:pt x="223" y="8"/>
                  </a:lnTo>
                  <a:lnTo>
                    <a:pt x="191" y="8"/>
                  </a:lnTo>
                  <a:lnTo>
                    <a:pt x="157" y="8"/>
                  </a:lnTo>
                  <a:lnTo>
                    <a:pt x="150" y="28"/>
                  </a:lnTo>
                  <a:lnTo>
                    <a:pt x="142" y="48"/>
                  </a:lnTo>
                  <a:lnTo>
                    <a:pt x="125" y="55"/>
                  </a:lnTo>
                  <a:lnTo>
                    <a:pt x="129" y="49"/>
                  </a:lnTo>
                  <a:lnTo>
                    <a:pt x="130" y="52"/>
                  </a:lnTo>
                  <a:lnTo>
                    <a:pt x="145" y="34"/>
                  </a:lnTo>
                  <a:lnTo>
                    <a:pt x="129" y="48"/>
                  </a:lnTo>
                  <a:lnTo>
                    <a:pt x="126" y="48"/>
                  </a:lnTo>
                  <a:lnTo>
                    <a:pt x="137" y="38"/>
                  </a:lnTo>
                  <a:lnTo>
                    <a:pt x="144" y="30"/>
                  </a:lnTo>
                  <a:lnTo>
                    <a:pt x="113" y="22"/>
                  </a:lnTo>
                  <a:lnTo>
                    <a:pt x="103" y="55"/>
                  </a:lnTo>
                  <a:lnTo>
                    <a:pt x="101" y="60"/>
                  </a:lnTo>
                  <a:lnTo>
                    <a:pt x="100" y="63"/>
                  </a:lnTo>
                  <a:lnTo>
                    <a:pt x="99" y="68"/>
                  </a:lnTo>
                  <a:lnTo>
                    <a:pt x="97" y="64"/>
                  </a:lnTo>
                  <a:lnTo>
                    <a:pt x="91" y="74"/>
                  </a:lnTo>
                  <a:lnTo>
                    <a:pt x="105" y="76"/>
                  </a:lnTo>
                  <a:lnTo>
                    <a:pt x="94" y="76"/>
                  </a:lnTo>
                  <a:lnTo>
                    <a:pt x="84" y="88"/>
                  </a:lnTo>
                  <a:lnTo>
                    <a:pt x="60" y="121"/>
                  </a:lnTo>
                  <a:lnTo>
                    <a:pt x="36" y="153"/>
                  </a:lnTo>
                  <a:lnTo>
                    <a:pt x="29" y="174"/>
                  </a:lnTo>
                  <a:lnTo>
                    <a:pt x="22" y="193"/>
                  </a:lnTo>
                  <a:lnTo>
                    <a:pt x="1" y="217"/>
                  </a:lnTo>
                  <a:lnTo>
                    <a:pt x="4" y="225"/>
                  </a:lnTo>
                  <a:lnTo>
                    <a:pt x="0" y="243"/>
                  </a:lnTo>
                  <a:lnTo>
                    <a:pt x="3" y="259"/>
                  </a:lnTo>
                  <a:lnTo>
                    <a:pt x="6" y="276"/>
                  </a:lnTo>
                  <a:lnTo>
                    <a:pt x="4" y="271"/>
                  </a:lnTo>
                  <a:lnTo>
                    <a:pt x="3" y="276"/>
                  </a:lnTo>
                  <a:lnTo>
                    <a:pt x="12" y="277"/>
                  </a:lnTo>
                  <a:lnTo>
                    <a:pt x="17" y="277"/>
                  </a:lnTo>
                  <a:lnTo>
                    <a:pt x="15" y="289"/>
                  </a:lnTo>
                  <a:lnTo>
                    <a:pt x="10" y="285"/>
                  </a:lnTo>
                  <a:lnTo>
                    <a:pt x="6" y="289"/>
                  </a:lnTo>
                  <a:lnTo>
                    <a:pt x="12" y="303"/>
                  </a:lnTo>
                  <a:lnTo>
                    <a:pt x="6" y="312"/>
                  </a:lnTo>
                  <a:lnTo>
                    <a:pt x="11" y="326"/>
                  </a:lnTo>
                  <a:lnTo>
                    <a:pt x="16" y="340"/>
                  </a:lnTo>
                  <a:lnTo>
                    <a:pt x="12" y="362"/>
                  </a:lnTo>
                  <a:lnTo>
                    <a:pt x="24" y="364"/>
                  </a:lnTo>
                  <a:lnTo>
                    <a:pt x="45" y="375"/>
                  </a:lnTo>
                  <a:lnTo>
                    <a:pt x="66" y="392"/>
                  </a:lnTo>
                  <a:lnTo>
                    <a:pt x="66" y="412"/>
                  </a:lnTo>
                  <a:lnTo>
                    <a:pt x="91" y="411"/>
                  </a:lnTo>
                  <a:lnTo>
                    <a:pt x="117" y="410"/>
                  </a:lnTo>
                  <a:lnTo>
                    <a:pt x="133" y="418"/>
                  </a:lnTo>
                  <a:lnTo>
                    <a:pt x="150" y="426"/>
                  </a:lnTo>
                  <a:lnTo>
                    <a:pt x="166" y="434"/>
                  </a:lnTo>
                  <a:lnTo>
                    <a:pt x="183" y="442"/>
                  </a:lnTo>
                  <a:lnTo>
                    <a:pt x="213" y="442"/>
                  </a:lnTo>
                  <a:lnTo>
                    <a:pt x="243" y="442"/>
                  </a:lnTo>
                  <a:lnTo>
                    <a:pt x="246" y="432"/>
                  </a:lnTo>
                  <a:lnTo>
                    <a:pt x="281" y="432"/>
                  </a:lnTo>
                  <a:lnTo>
                    <a:pt x="299" y="456"/>
                  </a:lnTo>
                  <a:lnTo>
                    <a:pt x="306" y="480"/>
                  </a:lnTo>
                  <a:lnTo>
                    <a:pt x="319" y="490"/>
                  </a:lnTo>
                  <a:lnTo>
                    <a:pt x="331" y="501"/>
                  </a:lnTo>
                  <a:lnTo>
                    <a:pt x="347" y="482"/>
                  </a:lnTo>
                  <a:lnTo>
                    <a:pt x="376" y="484"/>
                  </a:lnTo>
                  <a:lnTo>
                    <a:pt x="385" y="507"/>
                  </a:lnTo>
                  <a:lnTo>
                    <a:pt x="395" y="530"/>
                  </a:lnTo>
                  <a:lnTo>
                    <a:pt x="402" y="559"/>
                  </a:lnTo>
                  <a:lnTo>
                    <a:pt x="417" y="571"/>
                  </a:lnTo>
                  <a:lnTo>
                    <a:pt x="442" y="576"/>
                  </a:lnTo>
                  <a:lnTo>
                    <a:pt x="441" y="547"/>
                  </a:lnTo>
                  <a:lnTo>
                    <a:pt x="438" y="543"/>
                  </a:lnTo>
                  <a:lnTo>
                    <a:pt x="437" y="538"/>
                  </a:lnTo>
                  <a:lnTo>
                    <a:pt x="444" y="542"/>
                  </a:lnTo>
                  <a:lnTo>
                    <a:pt x="448" y="529"/>
                  </a:lnTo>
                  <a:lnTo>
                    <a:pt x="453" y="525"/>
                  </a:lnTo>
                  <a:lnTo>
                    <a:pt x="465" y="517"/>
                  </a:lnTo>
                  <a:lnTo>
                    <a:pt x="471" y="512"/>
                  </a:lnTo>
                  <a:lnTo>
                    <a:pt x="471" y="508"/>
                  </a:lnTo>
                  <a:lnTo>
                    <a:pt x="482" y="510"/>
                  </a:lnTo>
                  <a:lnTo>
                    <a:pt x="476" y="513"/>
                  </a:lnTo>
                  <a:lnTo>
                    <a:pt x="488" y="507"/>
                  </a:lnTo>
                  <a:lnTo>
                    <a:pt x="483" y="507"/>
                  </a:lnTo>
                  <a:lnTo>
                    <a:pt x="508" y="490"/>
                  </a:lnTo>
                  <a:lnTo>
                    <a:pt x="510" y="483"/>
                  </a:lnTo>
                  <a:lnTo>
                    <a:pt x="516" y="487"/>
                  </a:lnTo>
                  <a:lnTo>
                    <a:pt x="514" y="489"/>
                  </a:lnTo>
                  <a:lnTo>
                    <a:pt x="531" y="480"/>
                  </a:lnTo>
                  <a:lnTo>
                    <a:pt x="534" y="480"/>
                  </a:lnTo>
                  <a:lnTo>
                    <a:pt x="551" y="482"/>
                  </a:lnTo>
                  <a:lnTo>
                    <a:pt x="568" y="483"/>
                  </a:lnTo>
                  <a:lnTo>
                    <a:pt x="580" y="482"/>
                  </a:lnTo>
                  <a:lnTo>
                    <a:pt x="586" y="490"/>
                  </a:lnTo>
                  <a:lnTo>
                    <a:pt x="598" y="494"/>
                  </a:lnTo>
                  <a:lnTo>
                    <a:pt x="610" y="495"/>
                  </a:lnTo>
                  <a:lnTo>
                    <a:pt x="609" y="486"/>
                  </a:lnTo>
                  <a:lnTo>
                    <a:pt x="626" y="496"/>
                  </a:lnTo>
                  <a:lnTo>
                    <a:pt x="622" y="502"/>
                  </a:lnTo>
                  <a:lnTo>
                    <a:pt x="629" y="494"/>
                  </a:lnTo>
                  <a:lnTo>
                    <a:pt x="620" y="483"/>
                  </a:lnTo>
                  <a:lnTo>
                    <a:pt x="627" y="478"/>
                  </a:lnTo>
                  <a:lnTo>
                    <a:pt x="624" y="476"/>
                  </a:lnTo>
                  <a:lnTo>
                    <a:pt x="622" y="474"/>
                  </a:lnTo>
                  <a:lnTo>
                    <a:pt x="608" y="470"/>
                  </a:lnTo>
                  <a:lnTo>
                    <a:pt x="622" y="470"/>
                  </a:lnTo>
                  <a:lnTo>
                    <a:pt x="657" y="468"/>
                  </a:lnTo>
                  <a:lnTo>
                    <a:pt x="662" y="457"/>
                  </a:lnTo>
                  <a:lnTo>
                    <a:pt x="660" y="469"/>
                  </a:lnTo>
                  <a:lnTo>
                    <a:pt x="671" y="468"/>
                  </a:lnTo>
                  <a:lnTo>
                    <a:pt x="681" y="463"/>
                  </a:lnTo>
                  <a:lnTo>
                    <a:pt x="676" y="466"/>
                  </a:lnTo>
                  <a:lnTo>
                    <a:pt x="696" y="465"/>
                  </a:lnTo>
                  <a:lnTo>
                    <a:pt x="690" y="465"/>
                  </a:lnTo>
                  <a:lnTo>
                    <a:pt x="704" y="469"/>
                  </a:lnTo>
                  <a:lnTo>
                    <a:pt x="707" y="469"/>
                  </a:lnTo>
                  <a:lnTo>
                    <a:pt x="711" y="475"/>
                  </a:lnTo>
                  <a:lnTo>
                    <a:pt x="707" y="472"/>
                  </a:lnTo>
                  <a:lnTo>
                    <a:pt x="711" y="483"/>
                  </a:lnTo>
                  <a:lnTo>
                    <a:pt x="742" y="472"/>
                  </a:lnTo>
                  <a:lnTo>
                    <a:pt x="753" y="489"/>
                  </a:lnTo>
                  <a:lnTo>
                    <a:pt x="764" y="505"/>
                  </a:lnTo>
                  <a:lnTo>
                    <a:pt x="758" y="534"/>
                  </a:lnTo>
                  <a:lnTo>
                    <a:pt x="756" y="529"/>
                  </a:lnTo>
                  <a:lnTo>
                    <a:pt x="759" y="532"/>
                  </a:lnTo>
                  <a:lnTo>
                    <a:pt x="762" y="526"/>
                  </a:lnTo>
                  <a:lnTo>
                    <a:pt x="759" y="542"/>
                  </a:lnTo>
                  <a:lnTo>
                    <a:pt x="765" y="552"/>
                  </a:lnTo>
                  <a:lnTo>
                    <a:pt x="767" y="553"/>
                  </a:lnTo>
                  <a:lnTo>
                    <a:pt x="768" y="561"/>
                  </a:lnTo>
                  <a:lnTo>
                    <a:pt x="772" y="556"/>
                  </a:lnTo>
                  <a:lnTo>
                    <a:pt x="770" y="562"/>
                  </a:lnTo>
                  <a:lnTo>
                    <a:pt x="773" y="577"/>
                  </a:lnTo>
                  <a:lnTo>
                    <a:pt x="783" y="594"/>
                  </a:lnTo>
                  <a:lnTo>
                    <a:pt x="796" y="591"/>
                  </a:lnTo>
                  <a:lnTo>
                    <a:pt x="803" y="571"/>
                  </a:lnTo>
                  <a:lnTo>
                    <a:pt x="810" y="552"/>
                  </a:lnTo>
                  <a:lnTo>
                    <a:pt x="807" y="530"/>
                  </a:lnTo>
                  <a:lnTo>
                    <a:pt x="803" y="508"/>
                  </a:lnTo>
                  <a:lnTo>
                    <a:pt x="806" y="529"/>
                  </a:lnTo>
                  <a:lnTo>
                    <a:pt x="804" y="508"/>
                  </a:lnTo>
                  <a:lnTo>
                    <a:pt x="802" y="488"/>
                  </a:lnTo>
                  <a:lnTo>
                    <a:pt x="801" y="469"/>
                  </a:lnTo>
                  <a:lnTo>
                    <a:pt x="800" y="448"/>
                  </a:lnTo>
                  <a:lnTo>
                    <a:pt x="807" y="444"/>
                  </a:lnTo>
                  <a:lnTo>
                    <a:pt x="807" y="441"/>
                  </a:lnTo>
                  <a:lnTo>
                    <a:pt x="816" y="429"/>
                  </a:lnTo>
                  <a:lnTo>
                    <a:pt x="822" y="418"/>
                  </a:lnTo>
                  <a:lnTo>
                    <a:pt x="824" y="416"/>
                  </a:lnTo>
                  <a:lnTo>
                    <a:pt x="831" y="414"/>
                  </a:lnTo>
                  <a:lnTo>
                    <a:pt x="860" y="394"/>
                  </a:lnTo>
                  <a:lnTo>
                    <a:pt x="862" y="393"/>
                  </a:lnTo>
                  <a:lnTo>
                    <a:pt x="884" y="379"/>
                  </a:lnTo>
                  <a:lnTo>
                    <a:pt x="892" y="375"/>
                  </a:lnTo>
                  <a:lnTo>
                    <a:pt x="908" y="362"/>
                  </a:lnTo>
                  <a:lnTo>
                    <a:pt x="933" y="352"/>
                  </a:lnTo>
                  <a:lnTo>
                    <a:pt x="917" y="348"/>
                  </a:lnTo>
                  <a:lnTo>
                    <a:pt x="927" y="349"/>
                  </a:lnTo>
                  <a:lnTo>
                    <a:pt x="930" y="344"/>
                  </a:lnTo>
                  <a:lnTo>
                    <a:pt x="921" y="338"/>
                  </a:lnTo>
                  <a:lnTo>
                    <a:pt x="942" y="339"/>
                  </a:lnTo>
                  <a:lnTo>
                    <a:pt x="948" y="328"/>
                  </a:lnTo>
                  <a:lnTo>
                    <a:pt x="942" y="332"/>
                  </a:lnTo>
                  <a:lnTo>
                    <a:pt x="938" y="327"/>
                  </a:lnTo>
                  <a:lnTo>
                    <a:pt x="930" y="324"/>
                  </a:lnTo>
                  <a:lnTo>
                    <a:pt x="932" y="322"/>
                  </a:lnTo>
                  <a:lnTo>
                    <a:pt x="940" y="324"/>
                  </a:lnTo>
                  <a:lnTo>
                    <a:pt x="946" y="322"/>
                  </a:lnTo>
                  <a:lnTo>
                    <a:pt x="951" y="325"/>
                  </a:lnTo>
                  <a:lnTo>
                    <a:pt x="952" y="309"/>
                  </a:lnTo>
                  <a:lnTo>
                    <a:pt x="954" y="332"/>
                  </a:lnTo>
                  <a:lnTo>
                    <a:pt x="947" y="303"/>
                  </a:lnTo>
                  <a:lnTo>
                    <a:pt x="940" y="301"/>
                  </a:lnTo>
                  <a:lnTo>
                    <a:pt x="933" y="294"/>
                  </a:lnTo>
                  <a:lnTo>
                    <a:pt x="946" y="300"/>
                  </a:lnTo>
                  <a:lnTo>
                    <a:pt x="941" y="289"/>
                  </a:lnTo>
                  <a:lnTo>
                    <a:pt x="950" y="294"/>
                  </a:lnTo>
                  <a:lnTo>
                    <a:pt x="939" y="274"/>
                  </a:lnTo>
                  <a:lnTo>
                    <a:pt x="952" y="283"/>
                  </a:lnTo>
                  <a:lnTo>
                    <a:pt x="941" y="267"/>
                  </a:lnTo>
                  <a:lnTo>
                    <a:pt x="936" y="267"/>
                  </a:lnTo>
                  <a:lnTo>
                    <a:pt x="945" y="258"/>
                  </a:lnTo>
                  <a:lnTo>
                    <a:pt x="941" y="266"/>
                  </a:lnTo>
                  <a:lnTo>
                    <a:pt x="954" y="273"/>
                  </a:lnTo>
                  <a:lnTo>
                    <a:pt x="951" y="260"/>
                  </a:lnTo>
                  <a:lnTo>
                    <a:pt x="954" y="268"/>
                  </a:lnTo>
                  <a:lnTo>
                    <a:pt x="958" y="247"/>
                  </a:lnTo>
                  <a:lnTo>
                    <a:pt x="971" y="241"/>
                  </a:lnTo>
                  <a:lnTo>
                    <a:pt x="963" y="254"/>
                  </a:lnTo>
                  <a:lnTo>
                    <a:pt x="962" y="261"/>
                  </a:lnTo>
                  <a:lnTo>
                    <a:pt x="958" y="267"/>
                  </a:lnTo>
                  <a:lnTo>
                    <a:pt x="965" y="271"/>
                  </a:lnTo>
                  <a:lnTo>
                    <a:pt x="962" y="278"/>
                  </a:lnTo>
                  <a:lnTo>
                    <a:pt x="963" y="283"/>
                  </a:lnTo>
                  <a:lnTo>
                    <a:pt x="959" y="286"/>
                  </a:lnTo>
                  <a:lnTo>
                    <a:pt x="954" y="295"/>
                  </a:lnTo>
                  <a:lnTo>
                    <a:pt x="981" y="267"/>
                  </a:lnTo>
                  <a:lnTo>
                    <a:pt x="978" y="241"/>
                  </a:lnTo>
                  <a:lnTo>
                    <a:pt x="990" y="230"/>
                  </a:lnTo>
                  <a:lnTo>
                    <a:pt x="980" y="237"/>
                  </a:lnTo>
                  <a:lnTo>
                    <a:pt x="988" y="247"/>
                  </a:lnTo>
                  <a:lnTo>
                    <a:pt x="987" y="254"/>
                  </a:lnTo>
                  <a:lnTo>
                    <a:pt x="1012" y="230"/>
                  </a:lnTo>
                  <a:lnTo>
                    <a:pt x="1011" y="232"/>
                  </a:lnTo>
                  <a:lnTo>
                    <a:pt x="1016" y="217"/>
                  </a:lnTo>
                  <a:lnTo>
                    <a:pt x="1025" y="199"/>
                  </a:lnTo>
                  <a:lnTo>
                    <a:pt x="1023" y="206"/>
                  </a:lnTo>
                  <a:lnTo>
                    <a:pt x="1030" y="202"/>
                  </a:lnTo>
                  <a:lnTo>
                    <a:pt x="1053" y="198"/>
                  </a:lnTo>
                  <a:lnTo>
                    <a:pt x="1074" y="194"/>
                  </a:lnTo>
                  <a:lnTo>
                    <a:pt x="1079" y="187"/>
                  </a:lnTo>
                  <a:lnTo>
                    <a:pt x="1083" y="187"/>
                  </a:lnTo>
                  <a:lnTo>
                    <a:pt x="1084" y="188"/>
                  </a:lnTo>
                  <a:lnTo>
                    <a:pt x="1092" y="192"/>
                  </a:lnTo>
                  <a:lnTo>
                    <a:pt x="1096" y="193"/>
                  </a:lnTo>
                  <a:lnTo>
                    <a:pt x="1109" y="187"/>
                  </a:lnTo>
                  <a:lnTo>
                    <a:pt x="1109" y="177"/>
                  </a:lnTo>
                  <a:lnTo>
                    <a:pt x="1109" y="183"/>
                  </a:lnTo>
                  <a:lnTo>
                    <a:pt x="1097" y="178"/>
                  </a:lnTo>
                  <a:lnTo>
                    <a:pt x="1100" y="165"/>
                  </a:lnTo>
                  <a:lnTo>
                    <a:pt x="1101" y="160"/>
                  </a:lnTo>
                  <a:lnTo>
                    <a:pt x="1124" y="135"/>
                  </a:lnTo>
                  <a:lnTo>
                    <a:pt x="1131" y="132"/>
                  </a:lnTo>
                  <a:lnTo>
                    <a:pt x="1134" y="133"/>
                  </a:lnTo>
                  <a:lnTo>
                    <a:pt x="1152" y="117"/>
                  </a:lnTo>
                  <a:lnTo>
                    <a:pt x="1152" y="120"/>
                  </a:lnTo>
                  <a:lnTo>
                    <a:pt x="1157" y="118"/>
                  </a:lnTo>
                  <a:lnTo>
                    <a:pt x="1167" y="121"/>
                  </a:lnTo>
                  <a:lnTo>
                    <a:pt x="1192" y="109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28" name="Freeform 256"/>
            <p:cNvSpPr>
              <a:spLocks/>
            </p:cNvSpPr>
            <p:nvPr/>
          </p:nvSpPr>
          <p:spPr bwMode="auto">
            <a:xfrm>
              <a:off x="670" y="886"/>
              <a:ext cx="535" cy="256"/>
            </a:xfrm>
            <a:custGeom>
              <a:avLst/>
              <a:gdLst>
                <a:gd name="T0" fmla="*/ 4 w 760"/>
                <a:gd name="T1" fmla="*/ 2 h 365"/>
                <a:gd name="T2" fmla="*/ 4 w 760"/>
                <a:gd name="T3" fmla="*/ 2 h 365"/>
                <a:gd name="T4" fmla="*/ 4 w 760"/>
                <a:gd name="T5" fmla="*/ 2 h 365"/>
                <a:gd name="T6" fmla="*/ 4 w 760"/>
                <a:gd name="T7" fmla="*/ 1 h 365"/>
                <a:gd name="T8" fmla="*/ 6 w 760"/>
                <a:gd name="T9" fmla="*/ 1 h 365"/>
                <a:gd name="T10" fmla="*/ 6 w 760"/>
                <a:gd name="T11" fmla="*/ 1 h 365"/>
                <a:gd name="T12" fmla="*/ 4 w 760"/>
                <a:gd name="T13" fmla="*/ 1 h 365"/>
                <a:gd name="T14" fmla="*/ 4 w 760"/>
                <a:gd name="T15" fmla="*/ 1 h 365"/>
                <a:gd name="T16" fmla="*/ 4 w 760"/>
                <a:gd name="T17" fmla="*/ 1 h 365"/>
                <a:gd name="T18" fmla="*/ 3 w 760"/>
                <a:gd name="T19" fmla="*/ 1 h 365"/>
                <a:gd name="T20" fmla="*/ 2 w 760"/>
                <a:gd name="T21" fmla="*/ 1 h 365"/>
                <a:gd name="T22" fmla="*/ 3 w 760"/>
                <a:gd name="T23" fmla="*/ 1 h 365"/>
                <a:gd name="T24" fmla="*/ 3 w 760"/>
                <a:gd name="T25" fmla="*/ 1 h 365"/>
                <a:gd name="T26" fmla="*/ 2 w 760"/>
                <a:gd name="T27" fmla="*/ 1 h 365"/>
                <a:gd name="T28" fmla="*/ 1 w 760"/>
                <a:gd name="T29" fmla="*/ 1 h 365"/>
                <a:gd name="T30" fmla="*/ 2 w 760"/>
                <a:gd name="T31" fmla="*/ 1 h 365"/>
                <a:gd name="T32" fmla="*/ 2 w 760"/>
                <a:gd name="T33" fmla="*/ 1 h 365"/>
                <a:gd name="T34" fmla="*/ 1 w 760"/>
                <a:gd name="T35" fmla="*/ 1 h 365"/>
                <a:gd name="T36" fmla="*/ 1 w 760"/>
                <a:gd name="T37" fmla="*/ 1 h 365"/>
                <a:gd name="T38" fmla="*/ 1 w 760"/>
                <a:gd name="T39" fmla="*/ 1 h 365"/>
                <a:gd name="T40" fmla="*/ 1 w 760"/>
                <a:gd name="T41" fmla="*/ 1 h 365"/>
                <a:gd name="T42" fmla="*/ 1 w 760"/>
                <a:gd name="T43" fmla="*/ 1 h 365"/>
                <a:gd name="T44" fmla="*/ 1 w 760"/>
                <a:gd name="T45" fmla="*/ 2 h 365"/>
                <a:gd name="T46" fmla="*/ 1 w 760"/>
                <a:gd name="T47" fmla="*/ 2 h 365"/>
                <a:gd name="T48" fmla="*/ 1 w 760"/>
                <a:gd name="T49" fmla="*/ 2 h 365"/>
                <a:gd name="T50" fmla="*/ 1 w 760"/>
                <a:gd name="T51" fmla="*/ 2 h 365"/>
                <a:gd name="T52" fmla="*/ 1 w 760"/>
                <a:gd name="T53" fmla="*/ 2 h 365"/>
                <a:gd name="T54" fmla="*/ 1 w 760"/>
                <a:gd name="T55" fmla="*/ 3 h 365"/>
                <a:gd name="T56" fmla="*/ 1 w 760"/>
                <a:gd name="T57" fmla="*/ 3 h 365"/>
                <a:gd name="T58" fmla="*/ 1 w 760"/>
                <a:gd name="T59" fmla="*/ 3 h 365"/>
                <a:gd name="T60" fmla="*/ 1 w 760"/>
                <a:gd name="T61" fmla="*/ 3 h 365"/>
                <a:gd name="T62" fmla="*/ 1 w 760"/>
                <a:gd name="T63" fmla="*/ 3 h 365"/>
                <a:gd name="T64" fmla="*/ 2 w 760"/>
                <a:gd name="T65" fmla="*/ 2 h 365"/>
                <a:gd name="T66" fmla="*/ 2 w 760"/>
                <a:gd name="T67" fmla="*/ 2 h 365"/>
                <a:gd name="T68" fmla="*/ 3 w 760"/>
                <a:gd name="T69" fmla="*/ 1 h 365"/>
                <a:gd name="T70" fmla="*/ 3 w 760"/>
                <a:gd name="T71" fmla="*/ 1 h 365"/>
                <a:gd name="T72" fmla="*/ 3 w 760"/>
                <a:gd name="T73" fmla="*/ 2 h 365"/>
                <a:gd name="T74" fmla="*/ 3 w 760"/>
                <a:gd name="T75" fmla="*/ 2 h 365"/>
                <a:gd name="T76" fmla="*/ 3 w 760"/>
                <a:gd name="T77" fmla="*/ 2 h 365"/>
                <a:gd name="T78" fmla="*/ 3 w 760"/>
                <a:gd name="T79" fmla="*/ 1 h 365"/>
                <a:gd name="T80" fmla="*/ 3 w 760"/>
                <a:gd name="T81" fmla="*/ 1 h 365"/>
                <a:gd name="T82" fmla="*/ 3 w 760"/>
                <a:gd name="T83" fmla="*/ 1 h 365"/>
                <a:gd name="T84" fmla="*/ 3 w 760"/>
                <a:gd name="T85" fmla="*/ 2 h 365"/>
                <a:gd name="T86" fmla="*/ 4 w 760"/>
                <a:gd name="T87" fmla="*/ 2 h 365"/>
                <a:gd name="T88" fmla="*/ 4 w 760"/>
                <a:gd name="T89" fmla="*/ 2 h 365"/>
                <a:gd name="T90" fmla="*/ 4 w 760"/>
                <a:gd name="T91" fmla="*/ 2 h 365"/>
                <a:gd name="T92" fmla="*/ 4 w 760"/>
                <a:gd name="T93" fmla="*/ 2 h 365"/>
                <a:gd name="T94" fmla="*/ 4 w 760"/>
                <a:gd name="T95" fmla="*/ 2 h 365"/>
                <a:gd name="T96" fmla="*/ 4 w 760"/>
                <a:gd name="T97" fmla="*/ 2 h 365"/>
                <a:gd name="T98" fmla="*/ 4 w 760"/>
                <a:gd name="T99" fmla="*/ 2 h 365"/>
                <a:gd name="T100" fmla="*/ 4 w 760"/>
                <a:gd name="T101" fmla="*/ 2 h 365"/>
                <a:gd name="T102" fmla="*/ 4 w 760"/>
                <a:gd name="T103" fmla="*/ 2 h 365"/>
                <a:gd name="T104" fmla="*/ 4 w 760"/>
                <a:gd name="T105" fmla="*/ 3 h 365"/>
                <a:gd name="T106" fmla="*/ 4 w 760"/>
                <a:gd name="T107" fmla="*/ 3 h 36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760"/>
                <a:gd name="T163" fmla="*/ 0 h 365"/>
                <a:gd name="T164" fmla="*/ 760 w 760"/>
                <a:gd name="T165" fmla="*/ 365 h 36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760" h="365">
                  <a:moveTo>
                    <a:pt x="616" y="353"/>
                  </a:moveTo>
                  <a:lnTo>
                    <a:pt x="629" y="339"/>
                  </a:lnTo>
                  <a:lnTo>
                    <a:pt x="620" y="328"/>
                  </a:lnTo>
                  <a:lnTo>
                    <a:pt x="611" y="317"/>
                  </a:lnTo>
                  <a:lnTo>
                    <a:pt x="616" y="295"/>
                  </a:lnTo>
                  <a:lnTo>
                    <a:pt x="619" y="274"/>
                  </a:lnTo>
                  <a:lnTo>
                    <a:pt x="613" y="250"/>
                  </a:lnTo>
                  <a:lnTo>
                    <a:pt x="589" y="257"/>
                  </a:lnTo>
                  <a:lnTo>
                    <a:pt x="576" y="264"/>
                  </a:lnTo>
                  <a:lnTo>
                    <a:pt x="559" y="270"/>
                  </a:lnTo>
                  <a:lnTo>
                    <a:pt x="559" y="247"/>
                  </a:lnTo>
                  <a:lnTo>
                    <a:pt x="554" y="243"/>
                  </a:lnTo>
                  <a:lnTo>
                    <a:pt x="563" y="237"/>
                  </a:lnTo>
                  <a:lnTo>
                    <a:pt x="528" y="238"/>
                  </a:lnTo>
                  <a:lnTo>
                    <a:pt x="557" y="211"/>
                  </a:lnTo>
                  <a:lnTo>
                    <a:pt x="584" y="186"/>
                  </a:lnTo>
                  <a:lnTo>
                    <a:pt x="613" y="160"/>
                  </a:lnTo>
                  <a:lnTo>
                    <a:pt x="641" y="133"/>
                  </a:lnTo>
                  <a:lnTo>
                    <a:pt x="671" y="108"/>
                  </a:lnTo>
                  <a:lnTo>
                    <a:pt x="700" y="84"/>
                  </a:lnTo>
                  <a:lnTo>
                    <a:pt x="730" y="59"/>
                  </a:lnTo>
                  <a:lnTo>
                    <a:pt x="760" y="34"/>
                  </a:lnTo>
                  <a:lnTo>
                    <a:pt x="722" y="25"/>
                  </a:lnTo>
                  <a:lnTo>
                    <a:pt x="689" y="22"/>
                  </a:lnTo>
                  <a:lnTo>
                    <a:pt x="655" y="18"/>
                  </a:lnTo>
                  <a:lnTo>
                    <a:pt x="611" y="16"/>
                  </a:lnTo>
                  <a:lnTo>
                    <a:pt x="608" y="12"/>
                  </a:lnTo>
                  <a:lnTo>
                    <a:pt x="592" y="9"/>
                  </a:lnTo>
                  <a:lnTo>
                    <a:pt x="582" y="9"/>
                  </a:lnTo>
                  <a:lnTo>
                    <a:pt x="577" y="6"/>
                  </a:lnTo>
                  <a:lnTo>
                    <a:pt x="560" y="9"/>
                  </a:lnTo>
                  <a:lnTo>
                    <a:pt x="571" y="3"/>
                  </a:lnTo>
                  <a:lnTo>
                    <a:pt x="559" y="0"/>
                  </a:lnTo>
                  <a:lnTo>
                    <a:pt x="515" y="11"/>
                  </a:lnTo>
                  <a:lnTo>
                    <a:pt x="506" y="10"/>
                  </a:lnTo>
                  <a:lnTo>
                    <a:pt x="491" y="13"/>
                  </a:lnTo>
                  <a:lnTo>
                    <a:pt x="488" y="17"/>
                  </a:lnTo>
                  <a:lnTo>
                    <a:pt x="479" y="23"/>
                  </a:lnTo>
                  <a:lnTo>
                    <a:pt x="485" y="15"/>
                  </a:lnTo>
                  <a:lnTo>
                    <a:pt x="448" y="22"/>
                  </a:lnTo>
                  <a:lnTo>
                    <a:pt x="408" y="36"/>
                  </a:lnTo>
                  <a:lnTo>
                    <a:pt x="370" y="49"/>
                  </a:lnTo>
                  <a:lnTo>
                    <a:pt x="337" y="51"/>
                  </a:lnTo>
                  <a:lnTo>
                    <a:pt x="317" y="61"/>
                  </a:lnTo>
                  <a:lnTo>
                    <a:pt x="331" y="83"/>
                  </a:lnTo>
                  <a:lnTo>
                    <a:pt x="325" y="88"/>
                  </a:lnTo>
                  <a:lnTo>
                    <a:pt x="352" y="93"/>
                  </a:lnTo>
                  <a:lnTo>
                    <a:pt x="344" y="101"/>
                  </a:lnTo>
                  <a:lnTo>
                    <a:pt x="365" y="101"/>
                  </a:lnTo>
                  <a:lnTo>
                    <a:pt x="338" y="101"/>
                  </a:lnTo>
                  <a:lnTo>
                    <a:pt x="337" y="93"/>
                  </a:lnTo>
                  <a:lnTo>
                    <a:pt x="332" y="105"/>
                  </a:lnTo>
                  <a:lnTo>
                    <a:pt x="341" y="109"/>
                  </a:lnTo>
                  <a:lnTo>
                    <a:pt x="328" y="111"/>
                  </a:lnTo>
                  <a:lnTo>
                    <a:pt x="290" y="107"/>
                  </a:lnTo>
                  <a:lnTo>
                    <a:pt x="306" y="99"/>
                  </a:lnTo>
                  <a:lnTo>
                    <a:pt x="263" y="107"/>
                  </a:lnTo>
                  <a:lnTo>
                    <a:pt x="208" y="120"/>
                  </a:lnTo>
                  <a:lnTo>
                    <a:pt x="227" y="127"/>
                  </a:lnTo>
                  <a:lnTo>
                    <a:pt x="215" y="130"/>
                  </a:lnTo>
                  <a:lnTo>
                    <a:pt x="211" y="143"/>
                  </a:lnTo>
                  <a:lnTo>
                    <a:pt x="258" y="143"/>
                  </a:lnTo>
                  <a:lnTo>
                    <a:pt x="264" y="147"/>
                  </a:lnTo>
                  <a:lnTo>
                    <a:pt x="304" y="135"/>
                  </a:lnTo>
                  <a:lnTo>
                    <a:pt x="295" y="144"/>
                  </a:lnTo>
                  <a:lnTo>
                    <a:pt x="288" y="147"/>
                  </a:lnTo>
                  <a:lnTo>
                    <a:pt x="278" y="160"/>
                  </a:lnTo>
                  <a:lnTo>
                    <a:pt x="250" y="167"/>
                  </a:lnTo>
                  <a:lnTo>
                    <a:pt x="206" y="178"/>
                  </a:lnTo>
                  <a:lnTo>
                    <a:pt x="214" y="173"/>
                  </a:lnTo>
                  <a:lnTo>
                    <a:pt x="198" y="177"/>
                  </a:lnTo>
                  <a:lnTo>
                    <a:pt x="178" y="186"/>
                  </a:lnTo>
                  <a:lnTo>
                    <a:pt x="181" y="186"/>
                  </a:lnTo>
                  <a:lnTo>
                    <a:pt x="173" y="190"/>
                  </a:lnTo>
                  <a:lnTo>
                    <a:pt x="143" y="202"/>
                  </a:lnTo>
                  <a:lnTo>
                    <a:pt x="133" y="204"/>
                  </a:lnTo>
                  <a:lnTo>
                    <a:pt x="134" y="207"/>
                  </a:lnTo>
                  <a:lnTo>
                    <a:pt x="124" y="210"/>
                  </a:lnTo>
                  <a:lnTo>
                    <a:pt x="127" y="217"/>
                  </a:lnTo>
                  <a:lnTo>
                    <a:pt x="149" y="210"/>
                  </a:lnTo>
                  <a:lnTo>
                    <a:pt x="130" y="220"/>
                  </a:lnTo>
                  <a:lnTo>
                    <a:pt x="130" y="222"/>
                  </a:lnTo>
                  <a:lnTo>
                    <a:pt x="151" y="225"/>
                  </a:lnTo>
                  <a:lnTo>
                    <a:pt x="143" y="226"/>
                  </a:lnTo>
                  <a:lnTo>
                    <a:pt x="148" y="229"/>
                  </a:lnTo>
                  <a:lnTo>
                    <a:pt x="133" y="229"/>
                  </a:lnTo>
                  <a:lnTo>
                    <a:pt x="126" y="226"/>
                  </a:lnTo>
                  <a:lnTo>
                    <a:pt x="112" y="233"/>
                  </a:lnTo>
                  <a:lnTo>
                    <a:pt x="119" y="250"/>
                  </a:lnTo>
                  <a:lnTo>
                    <a:pt x="150" y="240"/>
                  </a:lnTo>
                  <a:lnTo>
                    <a:pt x="170" y="231"/>
                  </a:lnTo>
                  <a:lnTo>
                    <a:pt x="150" y="245"/>
                  </a:lnTo>
                  <a:lnTo>
                    <a:pt x="138" y="259"/>
                  </a:lnTo>
                  <a:lnTo>
                    <a:pt x="132" y="265"/>
                  </a:lnTo>
                  <a:lnTo>
                    <a:pt x="132" y="267"/>
                  </a:lnTo>
                  <a:lnTo>
                    <a:pt x="120" y="276"/>
                  </a:lnTo>
                  <a:lnTo>
                    <a:pt x="157" y="270"/>
                  </a:lnTo>
                  <a:lnTo>
                    <a:pt x="167" y="271"/>
                  </a:lnTo>
                  <a:lnTo>
                    <a:pt x="167" y="281"/>
                  </a:lnTo>
                  <a:lnTo>
                    <a:pt x="190" y="267"/>
                  </a:lnTo>
                  <a:lnTo>
                    <a:pt x="196" y="268"/>
                  </a:lnTo>
                  <a:lnTo>
                    <a:pt x="184" y="273"/>
                  </a:lnTo>
                  <a:lnTo>
                    <a:pt x="185" y="277"/>
                  </a:lnTo>
                  <a:lnTo>
                    <a:pt x="218" y="268"/>
                  </a:lnTo>
                  <a:lnTo>
                    <a:pt x="188" y="286"/>
                  </a:lnTo>
                  <a:lnTo>
                    <a:pt x="193" y="286"/>
                  </a:lnTo>
                  <a:lnTo>
                    <a:pt x="188" y="286"/>
                  </a:lnTo>
                  <a:lnTo>
                    <a:pt x="170" y="300"/>
                  </a:lnTo>
                  <a:lnTo>
                    <a:pt x="161" y="303"/>
                  </a:lnTo>
                  <a:lnTo>
                    <a:pt x="131" y="319"/>
                  </a:lnTo>
                  <a:lnTo>
                    <a:pt x="83" y="333"/>
                  </a:lnTo>
                  <a:lnTo>
                    <a:pt x="78" y="341"/>
                  </a:lnTo>
                  <a:lnTo>
                    <a:pt x="71" y="341"/>
                  </a:lnTo>
                  <a:lnTo>
                    <a:pt x="66" y="343"/>
                  </a:lnTo>
                  <a:lnTo>
                    <a:pt x="66" y="340"/>
                  </a:lnTo>
                  <a:lnTo>
                    <a:pt x="50" y="340"/>
                  </a:lnTo>
                  <a:lnTo>
                    <a:pt x="0" y="361"/>
                  </a:lnTo>
                  <a:lnTo>
                    <a:pt x="2" y="359"/>
                  </a:lnTo>
                  <a:lnTo>
                    <a:pt x="6" y="361"/>
                  </a:lnTo>
                  <a:lnTo>
                    <a:pt x="17" y="357"/>
                  </a:lnTo>
                  <a:lnTo>
                    <a:pt x="20" y="359"/>
                  </a:lnTo>
                  <a:lnTo>
                    <a:pt x="42" y="348"/>
                  </a:lnTo>
                  <a:lnTo>
                    <a:pt x="54" y="348"/>
                  </a:lnTo>
                  <a:lnTo>
                    <a:pt x="45" y="349"/>
                  </a:lnTo>
                  <a:lnTo>
                    <a:pt x="70" y="345"/>
                  </a:lnTo>
                  <a:lnTo>
                    <a:pt x="85" y="343"/>
                  </a:lnTo>
                  <a:lnTo>
                    <a:pt x="89" y="342"/>
                  </a:lnTo>
                  <a:lnTo>
                    <a:pt x="112" y="336"/>
                  </a:lnTo>
                  <a:lnTo>
                    <a:pt x="118" y="335"/>
                  </a:lnTo>
                  <a:lnTo>
                    <a:pt x="122" y="330"/>
                  </a:lnTo>
                  <a:lnTo>
                    <a:pt x="181" y="309"/>
                  </a:lnTo>
                  <a:lnTo>
                    <a:pt x="232" y="291"/>
                  </a:lnTo>
                  <a:lnTo>
                    <a:pt x="277" y="271"/>
                  </a:lnTo>
                  <a:lnTo>
                    <a:pt x="268" y="265"/>
                  </a:lnTo>
                  <a:lnTo>
                    <a:pt x="306" y="249"/>
                  </a:lnTo>
                  <a:lnTo>
                    <a:pt x="314" y="246"/>
                  </a:lnTo>
                  <a:lnTo>
                    <a:pt x="320" y="239"/>
                  </a:lnTo>
                  <a:lnTo>
                    <a:pt x="354" y="226"/>
                  </a:lnTo>
                  <a:lnTo>
                    <a:pt x="386" y="216"/>
                  </a:lnTo>
                  <a:lnTo>
                    <a:pt x="410" y="211"/>
                  </a:lnTo>
                  <a:lnTo>
                    <a:pt x="395" y="217"/>
                  </a:lnTo>
                  <a:lnTo>
                    <a:pt x="398" y="223"/>
                  </a:lnTo>
                  <a:lnTo>
                    <a:pt x="391" y="223"/>
                  </a:lnTo>
                  <a:lnTo>
                    <a:pt x="358" y="228"/>
                  </a:lnTo>
                  <a:lnTo>
                    <a:pt x="325" y="252"/>
                  </a:lnTo>
                  <a:lnTo>
                    <a:pt x="341" y="250"/>
                  </a:lnTo>
                  <a:lnTo>
                    <a:pt x="316" y="259"/>
                  </a:lnTo>
                  <a:lnTo>
                    <a:pt x="329" y="262"/>
                  </a:lnTo>
                  <a:lnTo>
                    <a:pt x="353" y="251"/>
                  </a:lnTo>
                  <a:lnTo>
                    <a:pt x="346" y="256"/>
                  </a:lnTo>
                  <a:lnTo>
                    <a:pt x="354" y="251"/>
                  </a:lnTo>
                  <a:lnTo>
                    <a:pt x="360" y="252"/>
                  </a:lnTo>
                  <a:lnTo>
                    <a:pt x="362" y="249"/>
                  </a:lnTo>
                  <a:lnTo>
                    <a:pt x="364" y="251"/>
                  </a:lnTo>
                  <a:lnTo>
                    <a:pt x="376" y="244"/>
                  </a:lnTo>
                  <a:lnTo>
                    <a:pt x="385" y="246"/>
                  </a:lnTo>
                  <a:lnTo>
                    <a:pt x="408" y="235"/>
                  </a:lnTo>
                  <a:lnTo>
                    <a:pt x="404" y="233"/>
                  </a:lnTo>
                  <a:lnTo>
                    <a:pt x="412" y="231"/>
                  </a:lnTo>
                  <a:lnTo>
                    <a:pt x="407" y="228"/>
                  </a:lnTo>
                  <a:lnTo>
                    <a:pt x="418" y="225"/>
                  </a:lnTo>
                  <a:lnTo>
                    <a:pt x="436" y="216"/>
                  </a:lnTo>
                  <a:lnTo>
                    <a:pt x="421" y="223"/>
                  </a:lnTo>
                  <a:lnTo>
                    <a:pt x="431" y="222"/>
                  </a:lnTo>
                  <a:lnTo>
                    <a:pt x="430" y="225"/>
                  </a:lnTo>
                  <a:lnTo>
                    <a:pt x="456" y="220"/>
                  </a:lnTo>
                  <a:lnTo>
                    <a:pt x="449" y="221"/>
                  </a:lnTo>
                  <a:lnTo>
                    <a:pt x="448" y="226"/>
                  </a:lnTo>
                  <a:lnTo>
                    <a:pt x="443" y="227"/>
                  </a:lnTo>
                  <a:lnTo>
                    <a:pt x="451" y="228"/>
                  </a:lnTo>
                  <a:lnTo>
                    <a:pt x="452" y="229"/>
                  </a:lnTo>
                  <a:lnTo>
                    <a:pt x="446" y="234"/>
                  </a:lnTo>
                  <a:lnTo>
                    <a:pt x="454" y="237"/>
                  </a:lnTo>
                  <a:lnTo>
                    <a:pt x="470" y="231"/>
                  </a:lnTo>
                  <a:lnTo>
                    <a:pt x="464" y="235"/>
                  </a:lnTo>
                  <a:lnTo>
                    <a:pt x="469" y="241"/>
                  </a:lnTo>
                  <a:lnTo>
                    <a:pt x="493" y="243"/>
                  </a:lnTo>
                  <a:lnTo>
                    <a:pt x="517" y="244"/>
                  </a:lnTo>
                  <a:lnTo>
                    <a:pt x="518" y="251"/>
                  </a:lnTo>
                  <a:lnTo>
                    <a:pt x="542" y="246"/>
                  </a:lnTo>
                  <a:lnTo>
                    <a:pt x="553" y="249"/>
                  </a:lnTo>
                  <a:lnTo>
                    <a:pt x="544" y="252"/>
                  </a:lnTo>
                  <a:lnTo>
                    <a:pt x="548" y="246"/>
                  </a:lnTo>
                  <a:lnTo>
                    <a:pt x="538" y="253"/>
                  </a:lnTo>
                  <a:lnTo>
                    <a:pt x="550" y="269"/>
                  </a:lnTo>
                  <a:lnTo>
                    <a:pt x="562" y="285"/>
                  </a:lnTo>
                  <a:lnTo>
                    <a:pt x="571" y="283"/>
                  </a:lnTo>
                  <a:lnTo>
                    <a:pt x="566" y="270"/>
                  </a:lnTo>
                  <a:lnTo>
                    <a:pt x="575" y="271"/>
                  </a:lnTo>
                  <a:lnTo>
                    <a:pt x="583" y="269"/>
                  </a:lnTo>
                  <a:lnTo>
                    <a:pt x="586" y="270"/>
                  </a:lnTo>
                  <a:lnTo>
                    <a:pt x="580" y="277"/>
                  </a:lnTo>
                  <a:lnTo>
                    <a:pt x="581" y="281"/>
                  </a:lnTo>
                  <a:lnTo>
                    <a:pt x="582" y="285"/>
                  </a:lnTo>
                  <a:lnTo>
                    <a:pt x="601" y="263"/>
                  </a:lnTo>
                  <a:lnTo>
                    <a:pt x="599" y="276"/>
                  </a:lnTo>
                  <a:lnTo>
                    <a:pt x="602" y="286"/>
                  </a:lnTo>
                  <a:lnTo>
                    <a:pt x="607" y="285"/>
                  </a:lnTo>
                  <a:lnTo>
                    <a:pt x="607" y="288"/>
                  </a:lnTo>
                  <a:lnTo>
                    <a:pt x="602" y="292"/>
                  </a:lnTo>
                  <a:lnTo>
                    <a:pt x="613" y="293"/>
                  </a:lnTo>
                  <a:lnTo>
                    <a:pt x="607" y="293"/>
                  </a:lnTo>
                  <a:lnTo>
                    <a:pt x="607" y="300"/>
                  </a:lnTo>
                  <a:lnTo>
                    <a:pt x="601" y="298"/>
                  </a:lnTo>
                  <a:lnTo>
                    <a:pt x="602" y="306"/>
                  </a:lnTo>
                  <a:lnTo>
                    <a:pt x="595" y="307"/>
                  </a:lnTo>
                  <a:lnTo>
                    <a:pt x="598" y="310"/>
                  </a:lnTo>
                  <a:lnTo>
                    <a:pt x="600" y="321"/>
                  </a:lnTo>
                  <a:lnTo>
                    <a:pt x="608" y="333"/>
                  </a:lnTo>
                  <a:lnTo>
                    <a:pt x="601" y="333"/>
                  </a:lnTo>
                  <a:lnTo>
                    <a:pt x="582" y="347"/>
                  </a:lnTo>
                  <a:lnTo>
                    <a:pt x="590" y="343"/>
                  </a:lnTo>
                  <a:lnTo>
                    <a:pt x="614" y="335"/>
                  </a:lnTo>
                  <a:lnTo>
                    <a:pt x="600" y="353"/>
                  </a:lnTo>
                  <a:lnTo>
                    <a:pt x="594" y="355"/>
                  </a:lnTo>
                  <a:lnTo>
                    <a:pt x="608" y="353"/>
                  </a:lnTo>
                  <a:lnTo>
                    <a:pt x="599" y="358"/>
                  </a:lnTo>
                  <a:lnTo>
                    <a:pt x="594" y="365"/>
                  </a:lnTo>
                  <a:lnTo>
                    <a:pt x="616" y="35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29" name="Freeform 257"/>
            <p:cNvSpPr>
              <a:spLocks/>
            </p:cNvSpPr>
            <p:nvPr/>
          </p:nvSpPr>
          <p:spPr bwMode="auto">
            <a:xfrm>
              <a:off x="1725" y="1376"/>
              <a:ext cx="34" cy="7"/>
            </a:xfrm>
            <a:custGeom>
              <a:avLst/>
              <a:gdLst>
                <a:gd name="T0" fmla="*/ 1 w 47"/>
                <a:gd name="T1" fmla="*/ 0 h 11"/>
                <a:gd name="T2" fmla="*/ 1 w 47"/>
                <a:gd name="T3" fmla="*/ 1 h 11"/>
                <a:gd name="T4" fmla="*/ 1 w 47"/>
                <a:gd name="T5" fmla="*/ 0 h 11"/>
                <a:gd name="T6" fmla="*/ 0 w 47"/>
                <a:gd name="T7" fmla="*/ 1 h 11"/>
                <a:gd name="T8" fmla="*/ 1 w 47"/>
                <a:gd name="T9" fmla="*/ 1 h 11"/>
                <a:gd name="T10" fmla="*/ 1 w 47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7"/>
                <a:gd name="T19" fmla="*/ 0 h 11"/>
                <a:gd name="T20" fmla="*/ 47 w 47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7" h="11">
                  <a:moveTo>
                    <a:pt x="47" y="0"/>
                  </a:moveTo>
                  <a:lnTo>
                    <a:pt x="34" y="4"/>
                  </a:lnTo>
                  <a:lnTo>
                    <a:pt x="36" y="0"/>
                  </a:lnTo>
                  <a:lnTo>
                    <a:pt x="0" y="11"/>
                  </a:lnTo>
                  <a:lnTo>
                    <a:pt x="23" y="6"/>
                  </a:lnTo>
                  <a:lnTo>
                    <a:pt x="47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30" name="Freeform 258"/>
            <p:cNvSpPr>
              <a:spLocks/>
            </p:cNvSpPr>
            <p:nvPr/>
          </p:nvSpPr>
          <p:spPr bwMode="auto">
            <a:xfrm>
              <a:off x="2353" y="1609"/>
              <a:ext cx="130" cy="120"/>
            </a:xfrm>
            <a:custGeom>
              <a:avLst/>
              <a:gdLst>
                <a:gd name="T0" fmla="*/ 1 w 183"/>
                <a:gd name="T1" fmla="*/ 2 h 170"/>
                <a:gd name="T2" fmla="*/ 0 w 183"/>
                <a:gd name="T3" fmla="*/ 2 h 170"/>
                <a:gd name="T4" fmla="*/ 1 w 183"/>
                <a:gd name="T5" fmla="*/ 2 h 170"/>
                <a:gd name="T6" fmla="*/ 1 w 183"/>
                <a:gd name="T7" fmla="*/ 1 h 170"/>
                <a:gd name="T8" fmla="*/ 1 w 183"/>
                <a:gd name="T9" fmla="*/ 1 h 170"/>
                <a:gd name="T10" fmla="*/ 1 w 183"/>
                <a:gd name="T11" fmla="*/ 1 h 170"/>
                <a:gd name="T12" fmla="*/ 1 w 183"/>
                <a:gd name="T13" fmla="*/ 1 h 170"/>
                <a:gd name="T14" fmla="*/ 1 w 183"/>
                <a:gd name="T15" fmla="*/ 1 h 170"/>
                <a:gd name="T16" fmla="*/ 1 w 183"/>
                <a:gd name="T17" fmla="*/ 1 h 170"/>
                <a:gd name="T18" fmla="*/ 1 w 183"/>
                <a:gd name="T19" fmla="*/ 1 h 170"/>
                <a:gd name="T20" fmla="*/ 1 w 183"/>
                <a:gd name="T21" fmla="*/ 0 h 170"/>
                <a:gd name="T22" fmla="*/ 1 w 183"/>
                <a:gd name="T23" fmla="*/ 0 h 170"/>
                <a:gd name="T24" fmla="*/ 1 w 183"/>
                <a:gd name="T25" fmla="*/ 0 h 170"/>
                <a:gd name="T26" fmla="*/ 2 w 183"/>
                <a:gd name="T27" fmla="*/ 0 h 170"/>
                <a:gd name="T28" fmla="*/ 2 w 183"/>
                <a:gd name="T29" fmla="*/ 0 h 170"/>
                <a:gd name="T30" fmla="*/ 2 w 183"/>
                <a:gd name="T31" fmla="*/ 1 h 170"/>
                <a:gd name="T32" fmla="*/ 2 w 183"/>
                <a:gd name="T33" fmla="*/ 1 h 170"/>
                <a:gd name="T34" fmla="*/ 2 w 183"/>
                <a:gd name="T35" fmla="*/ 1 h 170"/>
                <a:gd name="T36" fmla="*/ 1 w 183"/>
                <a:gd name="T37" fmla="*/ 1 h 170"/>
                <a:gd name="T38" fmla="*/ 1 w 183"/>
                <a:gd name="T39" fmla="*/ 1 h 170"/>
                <a:gd name="T40" fmla="*/ 1 w 183"/>
                <a:gd name="T41" fmla="*/ 1 h 170"/>
                <a:gd name="T42" fmla="*/ 1 w 183"/>
                <a:gd name="T43" fmla="*/ 1 h 170"/>
                <a:gd name="T44" fmla="*/ 1 w 183"/>
                <a:gd name="T45" fmla="*/ 1 h 170"/>
                <a:gd name="T46" fmla="*/ 1 w 183"/>
                <a:gd name="T47" fmla="*/ 1 h 170"/>
                <a:gd name="T48" fmla="*/ 1 w 183"/>
                <a:gd name="T49" fmla="*/ 1 h 170"/>
                <a:gd name="T50" fmla="*/ 1 w 183"/>
                <a:gd name="T51" fmla="*/ 2 h 170"/>
                <a:gd name="T52" fmla="*/ 1 w 183"/>
                <a:gd name="T53" fmla="*/ 2 h 170"/>
                <a:gd name="T54" fmla="*/ 1 w 183"/>
                <a:gd name="T55" fmla="*/ 2 h 170"/>
                <a:gd name="T56" fmla="*/ 1 w 183"/>
                <a:gd name="T57" fmla="*/ 2 h 170"/>
                <a:gd name="T58" fmla="*/ 1 w 183"/>
                <a:gd name="T59" fmla="*/ 2 h 17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83"/>
                <a:gd name="T91" fmla="*/ 0 h 170"/>
                <a:gd name="T92" fmla="*/ 183 w 183"/>
                <a:gd name="T93" fmla="*/ 170 h 170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83" h="170">
                  <a:moveTo>
                    <a:pt x="3" y="157"/>
                  </a:moveTo>
                  <a:lnTo>
                    <a:pt x="0" y="170"/>
                  </a:lnTo>
                  <a:lnTo>
                    <a:pt x="1" y="157"/>
                  </a:lnTo>
                  <a:lnTo>
                    <a:pt x="15" y="126"/>
                  </a:lnTo>
                  <a:lnTo>
                    <a:pt x="30" y="96"/>
                  </a:lnTo>
                  <a:lnTo>
                    <a:pt x="26" y="98"/>
                  </a:lnTo>
                  <a:lnTo>
                    <a:pt x="43" y="79"/>
                  </a:lnTo>
                  <a:lnTo>
                    <a:pt x="50" y="60"/>
                  </a:lnTo>
                  <a:lnTo>
                    <a:pt x="59" y="40"/>
                  </a:lnTo>
                  <a:lnTo>
                    <a:pt x="75" y="25"/>
                  </a:lnTo>
                  <a:lnTo>
                    <a:pt x="87" y="0"/>
                  </a:lnTo>
                  <a:lnTo>
                    <a:pt x="111" y="0"/>
                  </a:lnTo>
                  <a:lnTo>
                    <a:pt x="135" y="0"/>
                  </a:lnTo>
                  <a:lnTo>
                    <a:pt x="159" y="0"/>
                  </a:lnTo>
                  <a:lnTo>
                    <a:pt x="183" y="0"/>
                  </a:lnTo>
                  <a:lnTo>
                    <a:pt x="183" y="9"/>
                  </a:lnTo>
                  <a:lnTo>
                    <a:pt x="182" y="40"/>
                  </a:lnTo>
                  <a:lnTo>
                    <a:pt x="165" y="40"/>
                  </a:lnTo>
                  <a:lnTo>
                    <a:pt x="147" y="40"/>
                  </a:lnTo>
                  <a:lnTo>
                    <a:pt x="129" y="40"/>
                  </a:lnTo>
                  <a:lnTo>
                    <a:pt x="111" y="40"/>
                  </a:lnTo>
                  <a:lnTo>
                    <a:pt x="110" y="73"/>
                  </a:lnTo>
                  <a:lnTo>
                    <a:pt x="110" y="104"/>
                  </a:lnTo>
                  <a:lnTo>
                    <a:pt x="89" y="115"/>
                  </a:lnTo>
                  <a:lnTo>
                    <a:pt x="89" y="135"/>
                  </a:lnTo>
                  <a:lnTo>
                    <a:pt x="87" y="157"/>
                  </a:lnTo>
                  <a:lnTo>
                    <a:pt x="67" y="157"/>
                  </a:lnTo>
                  <a:lnTo>
                    <a:pt x="45" y="157"/>
                  </a:lnTo>
                  <a:lnTo>
                    <a:pt x="24" y="157"/>
                  </a:lnTo>
                  <a:lnTo>
                    <a:pt x="3" y="15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7174" name="Freeform 276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511175" y="2617788"/>
            <a:ext cx="2074863" cy="1497012"/>
          </a:xfrm>
          <a:custGeom>
            <a:avLst/>
            <a:gdLst>
              <a:gd name="T0" fmla="*/ 2147483647 w 1307"/>
              <a:gd name="T1" fmla="*/ 2147483647 h 943"/>
              <a:gd name="T2" fmla="*/ 0 w 1307"/>
              <a:gd name="T3" fmla="*/ 2147483647 h 943"/>
              <a:gd name="T4" fmla="*/ 0 w 1307"/>
              <a:gd name="T5" fmla="*/ 2147483647 h 943"/>
              <a:gd name="T6" fmla="*/ 2147483647 w 1307"/>
              <a:gd name="T7" fmla="*/ 2147483647 h 943"/>
              <a:gd name="T8" fmla="*/ 2147483647 w 1307"/>
              <a:gd name="T9" fmla="*/ 2147483647 h 943"/>
              <a:gd name="T10" fmla="*/ 2147483647 w 1307"/>
              <a:gd name="T11" fmla="*/ 2147483647 h 943"/>
              <a:gd name="T12" fmla="*/ 2147483647 w 1307"/>
              <a:gd name="T13" fmla="*/ 2147483647 h 943"/>
              <a:gd name="T14" fmla="*/ 2147483647 w 1307"/>
              <a:gd name="T15" fmla="*/ 2147483647 h 943"/>
              <a:gd name="T16" fmla="*/ 2147483647 w 1307"/>
              <a:gd name="T17" fmla="*/ 2147483647 h 943"/>
              <a:gd name="T18" fmla="*/ 2147483647 w 1307"/>
              <a:gd name="T19" fmla="*/ 2147483647 h 943"/>
              <a:gd name="T20" fmla="*/ 2147483647 w 1307"/>
              <a:gd name="T21" fmla="*/ 2147483647 h 943"/>
              <a:gd name="T22" fmla="*/ 2147483647 w 1307"/>
              <a:gd name="T23" fmla="*/ 2147483647 h 943"/>
              <a:gd name="T24" fmla="*/ 2147483647 w 1307"/>
              <a:gd name="T25" fmla="*/ 2147483647 h 943"/>
              <a:gd name="T26" fmla="*/ 2147483647 w 1307"/>
              <a:gd name="T27" fmla="*/ 2147483647 h 943"/>
              <a:gd name="T28" fmla="*/ 2147483647 w 1307"/>
              <a:gd name="T29" fmla="*/ 2147483647 h 943"/>
              <a:gd name="T30" fmla="*/ 2147483647 w 1307"/>
              <a:gd name="T31" fmla="*/ 2147483647 h 943"/>
              <a:gd name="T32" fmla="*/ 2147483647 w 1307"/>
              <a:gd name="T33" fmla="*/ 2147483647 h 943"/>
              <a:gd name="T34" fmla="*/ 2147483647 w 1307"/>
              <a:gd name="T35" fmla="*/ 2147483647 h 943"/>
              <a:gd name="T36" fmla="*/ 2147483647 w 1307"/>
              <a:gd name="T37" fmla="*/ 2147483647 h 943"/>
              <a:gd name="T38" fmla="*/ 2147483647 w 1307"/>
              <a:gd name="T39" fmla="*/ 2147483647 h 943"/>
              <a:gd name="T40" fmla="*/ 2147483647 w 1307"/>
              <a:gd name="T41" fmla="*/ 2147483647 h 943"/>
              <a:gd name="T42" fmla="*/ 2147483647 w 1307"/>
              <a:gd name="T43" fmla="*/ 2147483647 h 943"/>
              <a:gd name="T44" fmla="*/ 2147483647 w 1307"/>
              <a:gd name="T45" fmla="*/ 2147483647 h 943"/>
              <a:gd name="T46" fmla="*/ 2147483647 w 1307"/>
              <a:gd name="T47" fmla="*/ 2147483647 h 943"/>
              <a:gd name="T48" fmla="*/ 2147483647 w 1307"/>
              <a:gd name="T49" fmla="*/ 2147483647 h 943"/>
              <a:gd name="T50" fmla="*/ 2147483647 w 1307"/>
              <a:gd name="T51" fmla="*/ 2147483647 h 943"/>
              <a:gd name="T52" fmla="*/ 2147483647 w 1307"/>
              <a:gd name="T53" fmla="*/ 0 h 943"/>
              <a:gd name="T54" fmla="*/ 2147483647 w 1307"/>
              <a:gd name="T55" fmla="*/ 0 h 943"/>
              <a:gd name="T56" fmla="*/ 2147483647 w 1307"/>
              <a:gd name="T57" fmla="*/ 0 h 943"/>
              <a:gd name="T58" fmla="*/ 2147483647 w 1307"/>
              <a:gd name="T59" fmla="*/ 0 h 943"/>
              <a:gd name="T60" fmla="*/ 2147483647 w 1307"/>
              <a:gd name="T61" fmla="*/ 0 h 943"/>
              <a:gd name="T62" fmla="*/ 2147483647 w 1307"/>
              <a:gd name="T63" fmla="*/ 2147483647 h 943"/>
              <a:gd name="T64" fmla="*/ 2147483647 w 1307"/>
              <a:gd name="T65" fmla="*/ 2147483647 h 943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307"/>
              <a:gd name="T100" fmla="*/ 0 h 943"/>
              <a:gd name="T101" fmla="*/ 1307 w 1307"/>
              <a:gd name="T102" fmla="*/ 943 h 943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307" h="943">
                <a:moveTo>
                  <a:pt x="27" y="18"/>
                </a:moveTo>
                <a:lnTo>
                  <a:pt x="15" y="29"/>
                </a:lnTo>
                <a:lnTo>
                  <a:pt x="8" y="42"/>
                </a:lnTo>
                <a:lnTo>
                  <a:pt x="0" y="65"/>
                </a:lnTo>
                <a:lnTo>
                  <a:pt x="1" y="118"/>
                </a:lnTo>
                <a:lnTo>
                  <a:pt x="0" y="149"/>
                </a:lnTo>
                <a:lnTo>
                  <a:pt x="1" y="181"/>
                </a:lnTo>
                <a:lnTo>
                  <a:pt x="1" y="245"/>
                </a:lnTo>
                <a:lnTo>
                  <a:pt x="1" y="291"/>
                </a:lnTo>
                <a:lnTo>
                  <a:pt x="1" y="339"/>
                </a:lnTo>
                <a:lnTo>
                  <a:pt x="1" y="391"/>
                </a:lnTo>
                <a:lnTo>
                  <a:pt x="1" y="426"/>
                </a:lnTo>
                <a:lnTo>
                  <a:pt x="1" y="463"/>
                </a:lnTo>
                <a:lnTo>
                  <a:pt x="1" y="517"/>
                </a:lnTo>
                <a:lnTo>
                  <a:pt x="7" y="537"/>
                </a:lnTo>
                <a:lnTo>
                  <a:pt x="14" y="552"/>
                </a:lnTo>
                <a:lnTo>
                  <a:pt x="27" y="561"/>
                </a:lnTo>
                <a:lnTo>
                  <a:pt x="45" y="571"/>
                </a:lnTo>
                <a:lnTo>
                  <a:pt x="71" y="574"/>
                </a:lnTo>
                <a:lnTo>
                  <a:pt x="99" y="577"/>
                </a:lnTo>
                <a:lnTo>
                  <a:pt x="135" y="579"/>
                </a:lnTo>
                <a:lnTo>
                  <a:pt x="271" y="579"/>
                </a:lnTo>
                <a:lnTo>
                  <a:pt x="324" y="579"/>
                </a:lnTo>
                <a:lnTo>
                  <a:pt x="383" y="579"/>
                </a:lnTo>
                <a:lnTo>
                  <a:pt x="574" y="579"/>
                </a:lnTo>
                <a:lnTo>
                  <a:pt x="658" y="579"/>
                </a:lnTo>
                <a:lnTo>
                  <a:pt x="739" y="579"/>
                </a:lnTo>
                <a:lnTo>
                  <a:pt x="940" y="579"/>
                </a:lnTo>
                <a:lnTo>
                  <a:pt x="1012" y="943"/>
                </a:lnTo>
                <a:lnTo>
                  <a:pt x="1084" y="579"/>
                </a:lnTo>
                <a:lnTo>
                  <a:pt x="1208" y="578"/>
                </a:lnTo>
                <a:lnTo>
                  <a:pt x="1236" y="578"/>
                </a:lnTo>
                <a:lnTo>
                  <a:pt x="1262" y="574"/>
                </a:lnTo>
                <a:lnTo>
                  <a:pt x="1283" y="566"/>
                </a:lnTo>
                <a:lnTo>
                  <a:pt x="1296" y="555"/>
                </a:lnTo>
                <a:lnTo>
                  <a:pt x="1305" y="540"/>
                </a:lnTo>
                <a:lnTo>
                  <a:pt x="1307" y="516"/>
                </a:lnTo>
                <a:lnTo>
                  <a:pt x="1307" y="467"/>
                </a:lnTo>
                <a:lnTo>
                  <a:pt x="1307" y="437"/>
                </a:lnTo>
                <a:lnTo>
                  <a:pt x="1307" y="408"/>
                </a:lnTo>
                <a:lnTo>
                  <a:pt x="1307" y="345"/>
                </a:lnTo>
                <a:lnTo>
                  <a:pt x="1307" y="294"/>
                </a:lnTo>
                <a:lnTo>
                  <a:pt x="1307" y="243"/>
                </a:lnTo>
                <a:lnTo>
                  <a:pt x="1307" y="190"/>
                </a:lnTo>
                <a:lnTo>
                  <a:pt x="1307" y="149"/>
                </a:lnTo>
                <a:lnTo>
                  <a:pt x="1307" y="109"/>
                </a:lnTo>
                <a:lnTo>
                  <a:pt x="1307" y="66"/>
                </a:lnTo>
                <a:lnTo>
                  <a:pt x="1307" y="44"/>
                </a:lnTo>
                <a:lnTo>
                  <a:pt x="1301" y="28"/>
                </a:lnTo>
                <a:lnTo>
                  <a:pt x="1287" y="14"/>
                </a:lnTo>
                <a:lnTo>
                  <a:pt x="1264" y="5"/>
                </a:lnTo>
                <a:lnTo>
                  <a:pt x="1237" y="1"/>
                </a:lnTo>
                <a:lnTo>
                  <a:pt x="1209" y="0"/>
                </a:lnTo>
                <a:lnTo>
                  <a:pt x="1066" y="0"/>
                </a:lnTo>
                <a:lnTo>
                  <a:pt x="1006" y="0"/>
                </a:lnTo>
                <a:lnTo>
                  <a:pt x="941" y="0"/>
                </a:lnTo>
                <a:lnTo>
                  <a:pt x="748" y="0"/>
                </a:lnTo>
                <a:lnTo>
                  <a:pt x="658" y="0"/>
                </a:lnTo>
                <a:lnTo>
                  <a:pt x="568" y="0"/>
                </a:lnTo>
                <a:lnTo>
                  <a:pt x="366" y="0"/>
                </a:lnTo>
                <a:lnTo>
                  <a:pt x="298" y="0"/>
                </a:lnTo>
                <a:lnTo>
                  <a:pt x="230" y="0"/>
                </a:lnTo>
                <a:lnTo>
                  <a:pt x="98" y="0"/>
                </a:lnTo>
                <a:lnTo>
                  <a:pt x="66" y="4"/>
                </a:lnTo>
                <a:lnTo>
                  <a:pt x="44" y="9"/>
                </a:lnTo>
                <a:lnTo>
                  <a:pt x="27" y="18"/>
                </a:lnTo>
                <a:close/>
              </a:path>
            </a:pathLst>
          </a:custGeom>
          <a:solidFill>
            <a:schemeClr val="bg1">
              <a:alpha val="79999"/>
            </a:schemeClr>
          </a:solidFill>
          <a:ln w="12700">
            <a:solidFill>
              <a:schemeClr val="hlink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endParaRPr lang="en-US"/>
          </a:p>
        </p:txBody>
      </p:sp>
      <p:sp>
        <p:nvSpPr>
          <p:cNvPr id="7175" name="Rectangle 27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17538" y="2708275"/>
            <a:ext cx="1863725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eaLnBrk="0" hangingPunct="0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s-ES_tradnl" sz="1200" i="1">
                <a:cs typeface="Arial" pitchFamily="34" charset="0"/>
              </a:rPr>
              <a:t>Began with McKinsey-based BPC format for 15 competitions between 2002 and 2006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03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1" name="think-cell Slide" r:id="rId20" imgW="0" imgH="0" progId="TCLayout.ActiveDocument.1">
                  <p:embed/>
                </p:oleObj>
              </mc:Choice>
              <mc:Fallback>
                <p:oleObj name="think-cell Slide" r:id="rId20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28"/>
          <p:cNvGrpSpPr>
            <a:grpSpLocks/>
          </p:cNvGrpSpPr>
          <p:nvPr/>
        </p:nvGrpSpPr>
        <p:grpSpPr bwMode="auto">
          <a:xfrm>
            <a:off x="1165225" y="2354263"/>
            <a:ext cx="2205038" cy="4318000"/>
            <a:chOff x="734" y="1483"/>
            <a:chExt cx="1389" cy="2720"/>
          </a:xfrm>
        </p:grpSpPr>
        <p:sp>
          <p:nvSpPr>
            <p:cNvPr id="44052" name="AutoShape 8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 rot="5400000">
              <a:off x="1269" y="1021"/>
              <a:ext cx="320" cy="1389"/>
            </a:xfrm>
            <a:prstGeom prst="homePlate">
              <a:avLst>
                <a:gd name="adj" fmla="val 17190"/>
              </a:avLst>
            </a:prstGeom>
            <a:gradFill rotWithShape="1">
              <a:gsLst>
                <a:gs pos="0">
                  <a:schemeClr val="bg1"/>
                </a:gs>
                <a:gs pos="100000">
                  <a:srgbClr val="CCCCCC"/>
                </a:gs>
              </a:gsLst>
              <a:lin ang="5400000" scaled="1"/>
            </a:gra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rot="10800000" vert="eaVert" lIns="37477" tIns="37477" rIns="37477" bIns="37477" anchor="ctr"/>
            <a:lstStyle/>
            <a:p>
              <a:pPr algn="ctr" defTabSz="952500">
                <a:lnSpc>
                  <a:spcPct val="90000"/>
                </a:lnSpc>
              </a:pPr>
              <a:r>
                <a:rPr lang="en-US" sz="1300" b="1">
                  <a:cs typeface="Arial" pitchFamily="34" charset="0"/>
                </a:rPr>
                <a:t>Supply Chain Development Programs</a:t>
              </a:r>
            </a:p>
          </p:txBody>
        </p:sp>
        <p:sp>
          <p:nvSpPr>
            <p:cNvPr id="44053" name="Rectangle 11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743" y="1911"/>
              <a:ext cx="1369" cy="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marL="147638" lvl="1" indent="-146050" defTabSz="912813" eaLnBrk="0" hangingPunct="0"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US" sz="1300">
                  <a:cs typeface="Arial" pitchFamily="34" charset="0"/>
                </a:rPr>
                <a:t>Focused on training and developing suppliers to strategically support a specific value chain</a:t>
              </a:r>
            </a:p>
            <a:p>
              <a:pPr marL="147638" lvl="1" indent="-146050" defTabSz="912813" eaLnBrk="0" hangingPunct="0"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US" altLang="ja-JP" sz="1300">
                  <a:cs typeface="Arial" pitchFamily="34" charset="0"/>
                </a:rPr>
                <a:t>Usually large number of commodity type producers involved</a:t>
              </a:r>
              <a:endParaRPr lang="en-US" sz="1300">
                <a:cs typeface="Arial" pitchFamily="34" charset="0"/>
              </a:endParaRPr>
            </a:p>
          </p:txBody>
        </p:sp>
        <p:sp>
          <p:nvSpPr>
            <p:cNvPr id="44054" name="Oval 55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735" y="1483"/>
              <a:ext cx="146" cy="143"/>
            </a:xfrm>
            <a:prstGeom prst="ellipse">
              <a:avLst/>
            </a:prstGeom>
            <a:gradFill rotWithShape="1">
              <a:gsLst>
                <a:gs pos="0">
                  <a:schemeClr val="accent2"/>
                </a:gs>
                <a:gs pos="100000">
                  <a:srgbClr val="2E1A38"/>
                </a:gs>
              </a:gsLst>
              <a:path path="shape">
                <a:fillToRect l="50000" t="50000" r="50000" b="50000"/>
              </a:path>
            </a:gradFill>
            <a:ln w="19050">
              <a:solidFill>
                <a:srgbClr val="CCCCCC"/>
              </a:solidFill>
              <a:round/>
              <a:headEnd/>
              <a:tailEnd/>
            </a:ln>
          </p:spPr>
          <p:txBody>
            <a:bodyPr wrap="none" lIns="93296" tIns="46648" rIns="93296" bIns="46648" anchor="ctr"/>
            <a:lstStyle/>
            <a:p>
              <a:pPr algn="ctr" defTabSz="933450"/>
              <a:r>
                <a:rPr lang="en-US" sz="1400" b="1">
                  <a:solidFill>
                    <a:schemeClr val="bg1"/>
                  </a:solidFill>
                  <a:cs typeface="Arial" pitchFamily="34" charset="0"/>
                </a:rPr>
                <a:t>1</a:t>
              </a:r>
              <a:endParaRPr lang="es-ES_tradnl" sz="1400" b="1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44055" name="AutoShape 48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 rot="10800000">
              <a:off x="860" y="3080"/>
              <a:ext cx="1131" cy="105"/>
            </a:xfrm>
            <a:prstGeom prst="triangle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3296" tIns="46648" rIns="93296" bIns="46648" anchor="ctr"/>
            <a:lstStyle/>
            <a:p>
              <a:pPr defTabSz="933450"/>
              <a:endParaRPr lang="en-US" sz="1600">
                <a:latin typeface="Trebuchet MS" pitchFamily="34" charset="0"/>
              </a:endParaRPr>
            </a:p>
          </p:txBody>
        </p:sp>
        <p:pic>
          <p:nvPicPr>
            <p:cNvPr id="44056" name="Picture 8" descr="Photo 2 (edited)"/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0" y="3270"/>
              <a:ext cx="818" cy="933"/>
            </a:xfrm>
            <a:prstGeom prst="rect">
              <a:avLst/>
            </a:prstGeom>
            <a:noFill/>
            <a:ln w="19050">
              <a:solidFill>
                <a:srgbClr val="C0C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" name="Group 30"/>
          <p:cNvGrpSpPr>
            <a:grpSpLocks/>
          </p:cNvGrpSpPr>
          <p:nvPr/>
        </p:nvGrpSpPr>
        <p:grpSpPr bwMode="auto">
          <a:xfrm>
            <a:off x="6348413" y="2354263"/>
            <a:ext cx="2212975" cy="4318000"/>
            <a:chOff x="3999" y="1483"/>
            <a:chExt cx="1394" cy="2720"/>
          </a:xfrm>
        </p:grpSpPr>
        <p:sp>
          <p:nvSpPr>
            <p:cNvPr id="44047" name="AutoShape 10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 rot="5400000">
              <a:off x="4538" y="1020"/>
              <a:ext cx="320" cy="1391"/>
            </a:xfrm>
            <a:prstGeom prst="homePlate">
              <a:avLst>
                <a:gd name="adj" fmla="val 17190"/>
              </a:avLst>
            </a:prstGeom>
            <a:gradFill rotWithShape="1">
              <a:gsLst>
                <a:gs pos="0">
                  <a:schemeClr val="bg1"/>
                </a:gs>
                <a:gs pos="100000">
                  <a:srgbClr val="CCCCCC"/>
                </a:gs>
              </a:gsLst>
              <a:lin ang="5400000" scaled="1"/>
            </a:gra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rot="10800000" vert="eaVert" lIns="37477" tIns="37477" rIns="37477" bIns="37477" anchor="ctr"/>
            <a:lstStyle/>
            <a:p>
              <a:pPr algn="ctr" defTabSz="952500">
                <a:lnSpc>
                  <a:spcPct val="90000"/>
                </a:lnSpc>
              </a:pPr>
              <a:r>
                <a:rPr lang="en-US" sz="1300" b="1">
                  <a:cs typeface="Arial" pitchFamily="34" charset="0"/>
                </a:rPr>
                <a:t>Entrepreneurship</a:t>
              </a:r>
            </a:p>
          </p:txBody>
        </p:sp>
        <p:sp>
          <p:nvSpPr>
            <p:cNvPr id="44048" name="Rectangle 1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4002" y="1911"/>
              <a:ext cx="1369" cy="10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marL="133350" lvl="1" indent="-131763" defTabSz="912813" eaLnBrk="0" hangingPunct="0"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US" sz="1300">
                  <a:cs typeface="Arial" pitchFamily="34" charset="0"/>
                </a:rPr>
                <a:t>Convene efforts to attract entrepreneurs with ideas or existing businesses</a:t>
              </a:r>
            </a:p>
            <a:p>
              <a:pPr marL="133350" lvl="1" indent="-131763" defTabSz="912813" eaLnBrk="0" hangingPunct="0"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US" sz="1300">
                  <a:cs typeface="Arial" pitchFamily="34" charset="0"/>
                </a:rPr>
                <a:t>Through competitions, large number of entrepreneurs convened, trained and reduced in order to provide support</a:t>
              </a:r>
            </a:p>
          </p:txBody>
        </p:sp>
        <p:sp>
          <p:nvSpPr>
            <p:cNvPr id="44049" name="AutoShape 48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 rot="10800000">
              <a:off x="4124" y="3080"/>
              <a:ext cx="1135" cy="105"/>
            </a:xfrm>
            <a:prstGeom prst="triangle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3296" tIns="46648" rIns="93296" bIns="46648" anchor="ctr"/>
            <a:lstStyle/>
            <a:p>
              <a:pPr defTabSz="933450"/>
              <a:endParaRPr lang="en-US" sz="1600">
                <a:latin typeface="Trebuchet MS" pitchFamily="34" charset="0"/>
              </a:endParaRPr>
            </a:p>
          </p:txBody>
        </p:sp>
        <p:sp>
          <p:nvSpPr>
            <p:cNvPr id="44050" name="Oval 5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999" y="1483"/>
              <a:ext cx="146" cy="143"/>
            </a:xfrm>
            <a:prstGeom prst="ellipse">
              <a:avLst/>
            </a:prstGeom>
            <a:gradFill rotWithShape="1">
              <a:gsLst>
                <a:gs pos="0">
                  <a:schemeClr val="accent2"/>
                </a:gs>
                <a:gs pos="100000">
                  <a:srgbClr val="2E1A38"/>
                </a:gs>
              </a:gsLst>
              <a:path path="shape">
                <a:fillToRect l="50000" t="50000" r="50000" b="50000"/>
              </a:path>
            </a:gradFill>
            <a:ln w="19050">
              <a:solidFill>
                <a:srgbClr val="CCCCCC"/>
              </a:solidFill>
              <a:round/>
              <a:headEnd/>
              <a:tailEnd/>
            </a:ln>
          </p:spPr>
          <p:txBody>
            <a:bodyPr wrap="none" lIns="93296" tIns="46648" rIns="93296" bIns="46648" anchor="ctr"/>
            <a:lstStyle/>
            <a:p>
              <a:pPr algn="ctr" defTabSz="933450"/>
              <a:r>
                <a:rPr lang="en-US" sz="1400" b="1">
                  <a:solidFill>
                    <a:schemeClr val="bg1"/>
                  </a:solidFill>
                  <a:cs typeface="Arial" pitchFamily="34" charset="0"/>
                </a:rPr>
                <a:t>3</a:t>
              </a:r>
              <a:endParaRPr lang="es-ES_tradnl" sz="1400" b="1">
                <a:solidFill>
                  <a:schemeClr val="bg1"/>
                </a:solidFill>
                <a:cs typeface="Arial" pitchFamily="34" charset="0"/>
              </a:endParaRPr>
            </a:p>
          </p:txBody>
        </p:sp>
        <p:pic>
          <p:nvPicPr>
            <p:cNvPr id="44051" name="Picture 23"/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90" y="3270"/>
              <a:ext cx="1198" cy="933"/>
            </a:xfrm>
            <a:prstGeom prst="rect">
              <a:avLst/>
            </a:prstGeom>
            <a:noFill/>
            <a:ln w="19050">
              <a:solidFill>
                <a:srgbClr val="C0C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" name="Group 29"/>
          <p:cNvGrpSpPr>
            <a:grpSpLocks/>
          </p:cNvGrpSpPr>
          <p:nvPr/>
        </p:nvGrpSpPr>
        <p:grpSpPr bwMode="auto">
          <a:xfrm>
            <a:off x="3730625" y="2354263"/>
            <a:ext cx="2241550" cy="4318000"/>
            <a:chOff x="2350" y="1483"/>
            <a:chExt cx="1412" cy="2720"/>
          </a:xfrm>
        </p:grpSpPr>
        <p:sp>
          <p:nvSpPr>
            <p:cNvPr id="44042" name="AutoShape 9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 rot="5400000">
              <a:off x="2903" y="1022"/>
              <a:ext cx="320" cy="1387"/>
            </a:xfrm>
            <a:prstGeom prst="homePlate">
              <a:avLst>
                <a:gd name="adj" fmla="val 17190"/>
              </a:avLst>
            </a:prstGeom>
            <a:gradFill rotWithShape="1">
              <a:gsLst>
                <a:gs pos="0">
                  <a:schemeClr val="bg1"/>
                </a:gs>
                <a:gs pos="100000">
                  <a:srgbClr val="CCCCCC"/>
                </a:gs>
              </a:gsLst>
              <a:lin ang="5400000" scaled="1"/>
            </a:gra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rot="10800000" vert="eaVert" lIns="37477" tIns="37477" rIns="37477" bIns="37477" anchor="ctr"/>
            <a:lstStyle/>
            <a:p>
              <a:pPr algn="ctr" defTabSz="952500">
                <a:lnSpc>
                  <a:spcPct val="90000"/>
                </a:lnSpc>
              </a:pPr>
              <a:r>
                <a:rPr lang="en-US" sz="1300" b="1">
                  <a:cs typeface="Arial" pitchFamily="34" charset="0"/>
                </a:rPr>
                <a:t>Local Economic Development</a:t>
              </a:r>
            </a:p>
          </p:txBody>
        </p:sp>
        <p:sp>
          <p:nvSpPr>
            <p:cNvPr id="44043" name="Rectangle 12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350" y="1911"/>
              <a:ext cx="1412" cy="10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marL="147638" lvl="1" indent="-146050" defTabSz="912813" eaLnBrk="0" hangingPunct="0"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US" sz="1300">
                  <a:cs typeface="Arial" pitchFamily="34" charset="0"/>
                </a:rPr>
                <a:t>Aimed at promoting productive business ventures to improve livelihoods in a specific area</a:t>
              </a:r>
            </a:p>
            <a:p>
              <a:pPr marL="147638" lvl="1" indent="-146050" defTabSz="912813" eaLnBrk="0" hangingPunct="0"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US" sz="1300">
                  <a:cs typeface="Arial" pitchFamily="34" charset="0"/>
                </a:rPr>
                <a:t>A small number of existing agro-producers or suppliers promoted to become rainmakers</a:t>
              </a:r>
            </a:p>
          </p:txBody>
        </p:sp>
        <p:sp>
          <p:nvSpPr>
            <p:cNvPr id="44044" name="AutoShape 48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 rot="10800000">
              <a:off x="2485" y="3080"/>
              <a:ext cx="1130" cy="105"/>
            </a:xfrm>
            <a:prstGeom prst="triangle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3296" tIns="46648" rIns="93296" bIns="46648" anchor="ctr"/>
            <a:lstStyle/>
            <a:p>
              <a:pPr defTabSz="933450"/>
              <a:endParaRPr lang="en-US" sz="1600">
                <a:latin typeface="Trebuchet MS" pitchFamily="34" charset="0"/>
              </a:endParaRPr>
            </a:p>
          </p:txBody>
        </p:sp>
        <p:sp>
          <p:nvSpPr>
            <p:cNvPr id="44045" name="Oval 5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353" y="1483"/>
              <a:ext cx="146" cy="143"/>
            </a:xfrm>
            <a:prstGeom prst="ellipse">
              <a:avLst/>
            </a:prstGeom>
            <a:gradFill rotWithShape="1">
              <a:gsLst>
                <a:gs pos="0">
                  <a:schemeClr val="accent2"/>
                </a:gs>
                <a:gs pos="100000">
                  <a:srgbClr val="2E1A38"/>
                </a:gs>
              </a:gsLst>
              <a:path path="shape">
                <a:fillToRect l="50000" t="50000" r="50000" b="50000"/>
              </a:path>
            </a:gradFill>
            <a:ln w="19050">
              <a:solidFill>
                <a:srgbClr val="CCCCCC"/>
              </a:solidFill>
              <a:round/>
              <a:headEnd/>
              <a:tailEnd/>
            </a:ln>
          </p:spPr>
          <p:txBody>
            <a:bodyPr wrap="none" lIns="93296" tIns="46648" rIns="93296" bIns="46648" anchor="ctr"/>
            <a:lstStyle/>
            <a:p>
              <a:pPr algn="ctr" defTabSz="933450"/>
              <a:r>
                <a:rPr lang="en-US" sz="1400" b="1">
                  <a:solidFill>
                    <a:schemeClr val="bg1"/>
                  </a:solidFill>
                  <a:cs typeface="Arial" pitchFamily="34" charset="0"/>
                </a:rPr>
                <a:t>2</a:t>
              </a:r>
              <a:endParaRPr lang="es-ES_tradnl" sz="1400" b="1">
                <a:solidFill>
                  <a:schemeClr val="bg1"/>
                </a:solidFill>
                <a:cs typeface="Arial" pitchFamily="34" charset="0"/>
              </a:endParaRPr>
            </a:p>
          </p:txBody>
        </p:sp>
        <p:pic>
          <p:nvPicPr>
            <p:cNvPr id="44046" name="Picture 25" descr="Imagen 008"/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42" y="3267"/>
              <a:ext cx="1204" cy="936"/>
            </a:xfrm>
            <a:prstGeom prst="rect">
              <a:avLst/>
            </a:prstGeom>
            <a:noFill/>
            <a:ln w="19050">
              <a:solidFill>
                <a:srgbClr val="C0C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4038" name="AutoShape 2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320088" y="1865313"/>
            <a:ext cx="681037" cy="15240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349250" indent="-349250" algn="r" defTabSz="912813" eaLnBrk="0" hangingPunct="0">
              <a:buSzPct val="120000"/>
            </a:pPr>
            <a:r>
              <a:rPr lang="en-US" sz="1000">
                <a:solidFill>
                  <a:srgbClr val="666666"/>
                </a:solidFill>
                <a:cs typeface="Arial" pitchFamily="34" charset="0"/>
              </a:rPr>
              <a:t>EXAMPLES</a:t>
            </a:r>
          </a:p>
        </p:txBody>
      </p:sp>
      <p:cxnSp>
        <p:nvCxnSpPr>
          <p:cNvPr id="44039" name="AutoShape 24"/>
          <p:cNvCxnSpPr>
            <a:cxnSpLocks noChangeShapeType="1"/>
            <a:stCxn id="44038" idx="2"/>
            <a:endCxn id="44038" idx="0"/>
          </p:cNvCxnSpPr>
          <p:nvPr>
            <p:custDataLst>
              <p:tags r:id="rId4"/>
            </p:custDataLst>
          </p:nvPr>
        </p:nvCxnSpPr>
        <p:spPr bwMode="auto">
          <a:xfrm>
            <a:off x="8320088" y="1865313"/>
            <a:ext cx="681037" cy="0"/>
          </a:xfrm>
          <a:prstGeom prst="straightConnector1">
            <a:avLst/>
          </a:prstGeom>
          <a:noFill/>
          <a:ln w="9525">
            <a:solidFill>
              <a:srgbClr val="6666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4040" name="AutoShape 25"/>
          <p:cNvCxnSpPr>
            <a:cxnSpLocks noChangeShapeType="1"/>
            <a:stCxn id="44038" idx="4"/>
            <a:endCxn id="44038" idx="6"/>
          </p:cNvCxnSpPr>
          <p:nvPr>
            <p:custDataLst>
              <p:tags r:id="rId5"/>
            </p:custDataLst>
          </p:nvPr>
        </p:nvCxnSpPr>
        <p:spPr bwMode="auto">
          <a:xfrm>
            <a:off x="8320088" y="2017713"/>
            <a:ext cx="681037" cy="0"/>
          </a:xfrm>
          <a:prstGeom prst="straightConnector1">
            <a:avLst/>
          </a:prstGeom>
          <a:noFill/>
          <a:ln w="9525">
            <a:solidFill>
              <a:srgbClr val="6666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4041" name="Rectangle 2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>
                <a:ea typeface="ＭＳ Ｐゴシック" pitchFamily="34" charset="-128"/>
                <a:cs typeface="Arial" pitchFamily="34" charset="0"/>
              </a:rPr>
              <a:t>TechnoServe</a:t>
            </a:r>
            <a:r>
              <a:rPr lang="es-ES_tradnl" altLang="en-US" smtClean="0">
                <a:ea typeface="ＭＳ Ｐゴシック" pitchFamily="34" charset="-128"/>
                <a:cs typeface="Arial" pitchFamily="34" charset="0"/>
              </a:rPr>
              <a:t>’</a:t>
            </a:r>
            <a:r>
              <a:rPr lang="es-ES_tradnl" smtClean="0">
                <a:ea typeface="ＭＳ Ｐゴシック" pitchFamily="34" charset="-128"/>
                <a:cs typeface="Arial" pitchFamily="34" charset="0"/>
              </a:rPr>
              <a:t>s main lines to promote entrepreneurship</a:t>
            </a:r>
            <a:endParaRPr lang="en-US" smtClean="0">
              <a:ea typeface="ＭＳ Ｐゴシック" pitchFamily="34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295" name="Group 39"/>
          <p:cNvGraphicFramePr>
            <a:graphicFrameLocks noGrp="1"/>
          </p:cNvGraphicFramePr>
          <p:nvPr/>
        </p:nvGraphicFramePr>
        <p:xfrm>
          <a:off x="3009900" y="2520950"/>
          <a:ext cx="3883025" cy="3305175"/>
        </p:xfrm>
        <a:graphic>
          <a:graphicData uri="http://schemas.openxmlformats.org/drawingml/2006/table">
            <a:tbl>
              <a:tblPr/>
              <a:tblGrid>
                <a:gridCol w="1295400"/>
                <a:gridCol w="1293813"/>
                <a:gridCol w="1293812"/>
              </a:tblGrid>
              <a:tr h="1101725">
                <a:tc>
                  <a:txBody>
                    <a:bodyPr/>
                    <a:lstStyle/>
                    <a:p>
                      <a:pPr marL="0" marR="0" lvl="0" indent="0" algn="l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Generate businesses that can increase residual income</a:t>
                      </a:r>
                    </a:p>
                  </a:txBody>
                  <a:tcPr marL="93296" marR="93296" marT="46648" marB="46648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Establish access to new products or services</a:t>
                      </a:r>
                    </a:p>
                  </a:txBody>
                  <a:tcPr marL="93296" marR="93296" marT="46648" marB="46648" anchor="ctr" horzOverflow="overflow">
                    <a:lnL w="952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Influence the community</a:t>
                      </a:r>
                    </a:p>
                  </a:txBody>
                  <a:tcPr marL="93296" marR="93296" marT="46648" marB="46648" anchor="ctr" horzOverflow="overflow">
                    <a:lnL w="952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5F5"/>
                    </a:solidFill>
                  </a:tcPr>
                </a:tc>
              </a:tr>
              <a:tr h="1101725">
                <a:tc>
                  <a:txBody>
                    <a:bodyPr/>
                    <a:lstStyle/>
                    <a:p>
                      <a:pPr marL="0" marR="0" lvl="0" indent="0" algn="l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Create business training and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know-how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0"/>
                        <a:cs typeface="Arial" charset="0"/>
                      </a:endParaRPr>
                    </a:p>
                  </a:txBody>
                  <a:tcPr marL="93296" marR="93296" marT="46648" marB="46648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Improve quality of life through self assurance</a:t>
                      </a:r>
                    </a:p>
                  </a:txBody>
                  <a:tcPr marL="93296" marR="93296" marT="46648" marB="46648" anchor="ctr" horzOverflow="overflow">
                    <a:lnL w="952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Convey knowledge to the community</a:t>
                      </a:r>
                    </a:p>
                  </a:txBody>
                  <a:tcPr marL="93296" marR="93296" marT="46648" marB="46648" anchor="ctr" horzOverflow="overflow">
                    <a:lnL w="952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5F5"/>
                    </a:solidFill>
                  </a:tcPr>
                </a:tc>
              </a:tr>
              <a:tr h="1101725">
                <a:tc>
                  <a:txBody>
                    <a:bodyPr/>
                    <a:lstStyle/>
                    <a:p>
                      <a:pPr marL="0" marR="0" lvl="0" indent="0" algn="l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Obtain respect from others</a:t>
                      </a:r>
                    </a:p>
                  </a:txBody>
                  <a:tcPr marL="93296" marR="93296" marT="46648" marB="46648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Develop close ties with business environment</a:t>
                      </a:r>
                    </a:p>
                  </a:txBody>
                  <a:tcPr marL="93296" marR="93296" marT="46648" marB="46648" anchor="ctr" horzOverflow="overflow">
                    <a:lnL w="952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Promote community integration and growth (gender)</a:t>
                      </a:r>
                    </a:p>
                  </a:txBody>
                  <a:tcPr marL="93296" marR="93296" marT="46648" marB="46648" anchor="ctr" horzOverflow="overflow">
                    <a:lnL w="952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5F5"/>
                    </a:solidFill>
                  </a:tcPr>
                </a:tc>
              </a:tr>
            </a:tbl>
          </a:graphicData>
        </a:graphic>
      </p:graphicFrame>
      <p:sp>
        <p:nvSpPr>
          <p:cNvPr id="45076" name="Line 22"/>
          <p:cNvSpPr>
            <a:spLocks noChangeShapeType="1"/>
          </p:cNvSpPr>
          <p:nvPr/>
        </p:nvSpPr>
        <p:spPr bwMode="auto">
          <a:xfrm>
            <a:off x="2979738" y="6378575"/>
            <a:ext cx="395287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077" name="Rectangle 23"/>
          <p:cNvSpPr>
            <a:spLocks noChangeArrowheads="1"/>
          </p:cNvSpPr>
          <p:nvPr/>
        </p:nvSpPr>
        <p:spPr bwMode="auto">
          <a:xfrm>
            <a:off x="3036888" y="5948363"/>
            <a:ext cx="1177925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33450">
              <a:lnSpc>
                <a:spcPct val="90000"/>
              </a:lnSpc>
            </a:pPr>
            <a:r>
              <a:rPr lang="en-US" sz="1400">
                <a:cs typeface="Arial" pitchFamily="34" charset="0"/>
              </a:rPr>
              <a:t>Business Opportunities</a:t>
            </a:r>
          </a:p>
        </p:txBody>
      </p:sp>
      <p:sp>
        <p:nvSpPr>
          <p:cNvPr id="45078" name="Rectangle 24"/>
          <p:cNvSpPr>
            <a:spLocks noChangeArrowheads="1"/>
          </p:cNvSpPr>
          <p:nvPr/>
        </p:nvSpPr>
        <p:spPr bwMode="auto">
          <a:xfrm>
            <a:off x="4356100" y="5948363"/>
            <a:ext cx="1177925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33450">
              <a:lnSpc>
                <a:spcPct val="90000"/>
              </a:lnSpc>
            </a:pPr>
            <a:r>
              <a:rPr lang="en-US" sz="1400">
                <a:cs typeface="Arial" pitchFamily="34" charset="0"/>
              </a:rPr>
              <a:t>Products or Services</a:t>
            </a:r>
          </a:p>
        </p:txBody>
      </p:sp>
      <p:sp>
        <p:nvSpPr>
          <p:cNvPr id="45079" name="Rectangle 25"/>
          <p:cNvSpPr>
            <a:spLocks noChangeArrowheads="1"/>
          </p:cNvSpPr>
          <p:nvPr/>
        </p:nvSpPr>
        <p:spPr bwMode="auto">
          <a:xfrm>
            <a:off x="5675313" y="5948363"/>
            <a:ext cx="1177925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33450">
              <a:lnSpc>
                <a:spcPct val="90000"/>
              </a:lnSpc>
            </a:pPr>
            <a:r>
              <a:rPr lang="en-US" sz="1400">
                <a:cs typeface="Arial" pitchFamily="34" charset="0"/>
              </a:rPr>
              <a:t>Local </a:t>
            </a:r>
            <a:br>
              <a:rPr lang="en-US" sz="1400">
                <a:cs typeface="Arial" pitchFamily="34" charset="0"/>
              </a:rPr>
            </a:br>
            <a:r>
              <a:rPr lang="en-US" sz="1400">
                <a:cs typeface="Arial" pitchFamily="34" charset="0"/>
              </a:rPr>
              <a:t>Community</a:t>
            </a:r>
          </a:p>
        </p:txBody>
      </p:sp>
      <p:sp>
        <p:nvSpPr>
          <p:cNvPr id="45080" name="Rectangle 26"/>
          <p:cNvSpPr>
            <a:spLocks noChangeArrowheads="1"/>
          </p:cNvSpPr>
          <p:nvPr/>
        </p:nvSpPr>
        <p:spPr bwMode="auto">
          <a:xfrm>
            <a:off x="4356100" y="6450013"/>
            <a:ext cx="1177925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33450">
              <a:lnSpc>
                <a:spcPct val="90000"/>
              </a:lnSpc>
            </a:pPr>
            <a:r>
              <a:rPr lang="en-US" sz="1400" b="1">
                <a:solidFill>
                  <a:schemeClr val="accent2"/>
                </a:solidFill>
                <a:cs typeface="Arial" pitchFamily="34" charset="0"/>
              </a:rPr>
              <a:t>Focus</a:t>
            </a:r>
          </a:p>
        </p:txBody>
      </p:sp>
      <p:sp>
        <p:nvSpPr>
          <p:cNvPr id="45081" name="Rectangle 27"/>
          <p:cNvSpPr>
            <a:spLocks noChangeArrowheads="1"/>
          </p:cNvSpPr>
          <p:nvPr/>
        </p:nvSpPr>
        <p:spPr bwMode="auto">
          <a:xfrm>
            <a:off x="2022475" y="3052763"/>
            <a:ext cx="836613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r" defTabSz="933450">
              <a:lnSpc>
                <a:spcPct val="90000"/>
              </a:lnSpc>
            </a:pPr>
            <a:r>
              <a:rPr lang="en-US" sz="1400">
                <a:cs typeface="Arial" pitchFamily="34" charset="0"/>
              </a:rPr>
              <a:t>Economic </a:t>
            </a:r>
          </a:p>
        </p:txBody>
      </p:sp>
      <p:sp>
        <p:nvSpPr>
          <p:cNvPr id="45082" name="Rectangle 28"/>
          <p:cNvSpPr>
            <a:spLocks noChangeArrowheads="1"/>
          </p:cNvSpPr>
          <p:nvPr/>
        </p:nvSpPr>
        <p:spPr bwMode="auto">
          <a:xfrm>
            <a:off x="2022475" y="4140200"/>
            <a:ext cx="8366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r" defTabSz="933450">
              <a:lnSpc>
                <a:spcPct val="90000"/>
              </a:lnSpc>
            </a:pPr>
            <a:r>
              <a:rPr lang="en-US" sz="1400">
                <a:cs typeface="Arial" pitchFamily="34" charset="0"/>
              </a:rPr>
              <a:t>Capability </a:t>
            </a:r>
          </a:p>
        </p:txBody>
      </p:sp>
      <p:sp>
        <p:nvSpPr>
          <p:cNvPr id="45083" name="Rectangle 29"/>
          <p:cNvSpPr>
            <a:spLocks noChangeArrowheads="1"/>
          </p:cNvSpPr>
          <p:nvPr/>
        </p:nvSpPr>
        <p:spPr bwMode="auto">
          <a:xfrm>
            <a:off x="2022475" y="5233988"/>
            <a:ext cx="836613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r" defTabSz="933450">
              <a:lnSpc>
                <a:spcPct val="90000"/>
              </a:lnSpc>
            </a:pPr>
            <a:r>
              <a:rPr lang="en-US" sz="1400">
                <a:cs typeface="Arial" pitchFamily="34" charset="0"/>
              </a:rPr>
              <a:t>Relational </a:t>
            </a:r>
          </a:p>
        </p:txBody>
      </p:sp>
      <p:sp>
        <p:nvSpPr>
          <p:cNvPr id="45084" name="Rectangle 30"/>
          <p:cNvSpPr>
            <a:spLocks noChangeArrowheads="1"/>
          </p:cNvSpPr>
          <p:nvPr/>
        </p:nvSpPr>
        <p:spPr bwMode="auto">
          <a:xfrm rot="-5400000">
            <a:off x="1270000" y="4086225"/>
            <a:ext cx="11255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33450">
              <a:lnSpc>
                <a:spcPct val="90000"/>
              </a:lnSpc>
            </a:pPr>
            <a:r>
              <a:rPr lang="en-US" sz="1400" b="1">
                <a:solidFill>
                  <a:schemeClr val="accent2"/>
                </a:solidFill>
                <a:cs typeface="Arial" pitchFamily="34" charset="0"/>
              </a:rPr>
              <a:t>Wellbeing</a:t>
            </a:r>
          </a:p>
        </p:txBody>
      </p:sp>
      <p:sp>
        <p:nvSpPr>
          <p:cNvPr id="45085" name="Line 31"/>
          <p:cNvSpPr>
            <a:spLocks noChangeShapeType="1"/>
          </p:cNvSpPr>
          <p:nvPr/>
        </p:nvSpPr>
        <p:spPr bwMode="auto">
          <a:xfrm rot="-5400000">
            <a:off x="365125" y="4183063"/>
            <a:ext cx="33020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086" name="Rectangle 32"/>
          <p:cNvSpPr>
            <a:spLocks noChangeArrowheads="1"/>
          </p:cNvSpPr>
          <p:nvPr/>
        </p:nvSpPr>
        <p:spPr bwMode="auto">
          <a:xfrm>
            <a:off x="3014663" y="2217738"/>
            <a:ext cx="2892425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933450">
              <a:lnSpc>
                <a:spcPct val="90000"/>
              </a:lnSpc>
            </a:pPr>
            <a:r>
              <a:rPr lang="en-US" sz="1400" b="1" dirty="0" smtClean="0">
                <a:solidFill>
                  <a:schemeClr val="accent2"/>
                </a:solidFill>
                <a:cs typeface="Arial" pitchFamily="34" charset="0"/>
              </a:rPr>
              <a:t>TNS’</a:t>
            </a:r>
            <a:r>
              <a:rPr lang="en-US" altLang="ja-JP" sz="1400" b="1" dirty="0" smtClean="0">
                <a:solidFill>
                  <a:schemeClr val="accent2"/>
                </a:solidFill>
                <a:cs typeface="Arial" pitchFamily="34" charset="0"/>
              </a:rPr>
              <a:t>s </a:t>
            </a:r>
            <a:r>
              <a:rPr lang="en-US" altLang="ja-JP" sz="1400" b="1" dirty="0">
                <a:solidFill>
                  <a:schemeClr val="accent2"/>
                </a:solidFill>
                <a:cs typeface="Arial" pitchFamily="34" charset="0"/>
              </a:rPr>
              <a:t>Economic Inclusion Model</a:t>
            </a:r>
            <a:endParaRPr lang="en-US" sz="1400" b="1" dirty="0">
              <a:solidFill>
                <a:schemeClr val="accent2"/>
              </a:solidFill>
              <a:cs typeface="Arial" pitchFamily="34" charset="0"/>
            </a:endParaRPr>
          </a:p>
        </p:txBody>
      </p:sp>
      <p:sp>
        <p:nvSpPr>
          <p:cNvPr id="45087" name="Rectangle 33"/>
          <p:cNvSpPr>
            <a:spLocks noGrp="1" noChangeArrowheads="1"/>
          </p:cNvSpPr>
          <p:nvPr>
            <p:ph type="title" idx="4294967295"/>
          </p:nvPr>
        </p:nvSpPr>
        <p:spPr>
          <a:xfrm>
            <a:off x="685800" y="1447800"/>
            <a:ext cx="8220075" cy="609600"/>
          </a:xfrm>
        </p:spPr>
        <p:txBody>
          <a:bodyPr/>
          <a:lstStyle/>
          <a:p>
            <a:r>
              <a:rPr lang="en-US" smtClean="0">
                <a:ea typeface="ＭＳ Ｐゴシック" pitchFamily="34" charset="-128"/>
                <a:cs typeface="Arial" pitchFamily="34" charset="0"/>
              </a:rPr>
              <a:t>TechnoServe model is based on three critical aspect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082" name="Group 18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0" y="1320800"/>
            <a:ext cx="9144000" cy="1879600"/>
            <a:chOff x="0" y="2280"/>
            <a:chExt cx="5760" cy="1160"/>
          </a:xfrm>
        </p:grpSpPr>
        <p:sp>
          <p:nvSpPr>
            <p:cNvPr id="46083" name="Rectangle 12"/>
            <p:cNvSpPr>
              <a:spLocks noChangeArrowheads="1"/>
            </p:cNvSpPr>
            <p:nvPr/>
          </p:nvSpPr>
          <p:spPr bwMode="auto">
            <a:xfrm>
              <a:off x="0" y="2280"/>
              <a:ext cx="5760" cy="1160"/>
            </a:xfrm>
            <a:prstGeom prst="rect">
              <a:avLst/>
            </a:prstGeom>
            <a:gradFill rotWithShape="1">
              <a:gsLst>
                <a:gs pos="0">
                  <a:schemeClr val="accent2"/>
                </a:gs>
                <a:gs pos="100000">
                  <a:srgbClr val="2E1A38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762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3296" tIns="46648" rIns="93296" bIns="46648" anchor="ctr"/>
            <a:lstStyle/>
            <a:p>
              <a:pPr defTabSz="933450"/>
              <a:endParaRPr lang="es-ES_tradnl" sz="1600">
                <a:solidFill>
                  <a:schemeClr val="bg1"/>
                </a:solidFill>
                <a:latin typeface="Franklin Gothic Medium" pitchFamily="34" charset="0"/>
              </a:endParaRPr>
            </a:p>
          </p:txBody>
        </p:sp>
        <p:sp>
          <p:nvSpPr>
            <p:cNvPr id="46084" name="Rectangle 20"/>
            <p:cNvSpPr>
              <a:spLocks noChangeArrowheads="1"/>
            </p:cNvSpPr>
            <p:nvPr/>
          </p:nvSpPr>
          <p:spPr bwMode="auto">
            <a:xfrm>
              <a:off x="1876" y="2439"/>
              <a:ext cx="2777" cy="5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defTabSz="952500"/>
              <a:r>
                <a:rPr lang="en-US" sz="6100" b="1">
                  <a:solidFill>
                    <a:schemeClr val="bg1"/>
                  </a:solidFill>
                  <a:cs typeface="Arial" pitchFamily="34" charset="0"/>
                </a:rPr>
                <a:t>Thank you</a:t>
              </a:r>
            </a:p>
          </p:txBody>
        </p:sp>
        <p:sp>
          <p:nvSpPr>
            <p:cNvPr id="46085" name="Rectangle 20"/>
            <p:cNvSpPr>
              <a:spLocks noChangeArrowheads="1"/>
            </p:cNvSpPr>
            <p:nvPr/>
          </p:nvSpPr>
          <p:spPr bwMode="auto">
            <a:xfrm>
              <a:off x="2788" y="2919"/>
              <a:ext cx="2348" cy="3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algn="r" defTabSz="952500"/>
              <a:r>
                <a:rPr lang="en-US" sz="3600">
                  <a:solidFill>
                    <a:schemeClr val="bg1"/>
                  </a:solidFill>
                  <a:cs typeface="Arial" pitchFamily="34" charset="0"/>
                </a:rPr>
                <a:t>for your attention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8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5" name="4 Marcador de número de diapositiva"/>
          <p:cNvSpPr txBox="1"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8153400" y="6648450"/>
            <a:ext cx="885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2C1A185A-958D-4406-B5CF-79F1C49C4A4C}" type="slidenum">
              <a:rPr lang="en-US" sz="900">
                <a:solidFill>
                  <a:srgbClr val="7F329A"/>
                </a:solidFill>
                <a:cs typeface="Arial" pitchFamily="34" charset="0"/>
              </a:rPr>
              <a:pPr algn="r" eaLnBrk="1" hangingPunct="1"/>
              <a:t>4</a:t>
            </a:fld>
            <a:endParaRPr lang="en-US" sz="900">
              <a:solidFill>
                <a:srgbClr val="7F329A"/>
              </a:solidFill>
              <a:cs typeface="Arial" pitchFamily="34" charset="0"/>
            </a:endParaRPr>
          </a:p>
        </p:txBody>
      </p:sp>
      <p:sp>
        <p:nvSpPr>
          <p:cNvPr id="8196" name="Rectangle 5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smtClean="0">
                <a:ea typeface="ＭＳ Ｐゴシック" pitchFamily="34" charset="-128"/>
                <a:cs typeface="Arial" pitchFamily="34" charset="0"/>
              </a:rPr>
              <a:t>From BPC we evolved to SME Promotion, and then to Business Accelerator</a:t>
            </a:r>
          </a:p>
        </p:txBody>
      </p:sp>
      <p:sp>
        <p:nvSpPr>
          <p:cNvPr id="8197" name="Freeform 4"/>
          <p:cNvSpPr>
            <a:spLocks/>
          </p:cNvSpPr>
          <p:nvPr/>
        </p:nvSpPr>
        <p:spPr bwMode="auto">
          <a:xfrm>
            <a:off x="7434263" y="4699000"/>
            <a:ext cx="9525" cy="1588"/>
          </a:xfrm>
          <a:custGeom>
            <a:avLst/>
            <a:gdLst>
              <a:gd name="T0" fmla="*/ 2147483647 w 9"/>
              <a:gd name="T1" fmla="*/ 0 h 3"/>
              <a:gd name="T2" fmla="*/ 0 w 9"/>
              <a:gd name="T3" fmla="*/ 0 h 3"/>
              <a:gd name="T4" fmla="*/ 2147483647 w 9"/>
              <a:gd name="T5" fmla="*/ 0 h 3"/>
              <a:gd name="T6" fmla="*/ 2147483647 w 9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9"/>
              <a:gd name="T13" fmla="*/ 0 h 3"/>
              <a:gd name="T14" fmla="*/ 9 w 9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9" h="3">
                <a:moveTo>
                  <a:pt x="9" y="1"/>
                </a:moveTo>
                <a:lnTo>
                  <a:pt x="0" y="3"/>
                </a:lnTo>
                <a:lnTo>
                  <a:pt x="1" y="0"/>
                </a:lnTo>
                <a:lnTo>
                  <a:pt x="9" y="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198" name="Freeform 5"/>
          <p:cNvSpPr>
            <a:spLocks/>
          </p:cNvSpPr>
          <p:nvPr/>
        </p:nvSpPr>
        <p:spPr bwMode="auto">
          <a:xfrm>
            <a:off x="7185025" y="4557713"/>
            <a:ext cx="317500" cy="387350"/>
          </a:xfrm>
          <a:custGeom>
            <a:avLst/>
            <a:gdLst>
              <a:gd name="T0" fmla="*/ 2147483647 w 240"/>
              <a:gd name="T1" fmla="*/ 2147483647 h 282"/>
              <a:gd name="T2" fmla="*/ 2147483647 w 240"/>
              <a:gd name="T3" fmla="*/ 2147483647 h 282"/>
              <a:gd name="T4" fmla="*/ 2147483647 w 240"/>
              <a:gd name="T5" fmla="*/ 2147483647 h 282"/>
              <a:gd name="T6" fmla="*/ 2147483647 w 240"/>
              <a:gd name="T7" fmla="*/ 2147483647 h 282"/>
              <a:gd name="T8" fmla="*/ 2147483647 w 240"/>
              <a:gd name="T9" fmla="*/ 2147483647 h 282"/>
              <a:gd name="T10" fmla="*/ 2147483647 w 240"/>
              <a:gd name="T11" fmla="*/ 2147483647 h 282"/>
              <a:gd name="T12" fmla="*/ 2147483647 w 240"/>
              <a:gd name="T13" fmla="*/ 2147483647 h 282"/>
              <a:gd name="T14" fmla="*/ 2147483647 w 240"/>
              <a:gd name="T15" fmla="*/ 2147483647 h 282"/>
              <a:gd name="T16" fmla="*/ 2147483647 w 240"/>
              <a:gd name="T17" fmla="*/ 2147483647 h 282"/>
              <a:gd name="T18" fmla="*/ 2147483647 w 240"/>
              <a:gd name="T19" fmla="*/ 2147483647 h 282"/>
              <a:gd name="T20" fmla="*/ 2147483647 w 240"/>
              <a:gd name="T21" fmla="*/ 2147483647 h 282"/>
              <a:gd name="T22" fmla="*/ 2147483647 w 240"/>
              <a:gd name="T23" fmla="*/ 2147483647 h 282"/>
              <a:gd name="T24" fmla="*/ 2147483647 w 240"/>
              <a:gd name="T25" fmla="*/ 2147483647 h 282"/>
              <a:gd name="T26" fmla="*/ 2147483647 w 240"/>
              <a:gd name="T27" fmla="*/ 2147483647 h 282"/>
              <a:gd name="T28" fmla="*/ 2147483647 w 240"/>
              <a:gd name="T29" fmla="*/ 2147483647 h 282"/>
              <a:gd name="T30" fmla="*/ 2147483647 w 240"/>
              <a:gd name="T31" fmla="*/ 2147483647 h 282"/>
              <a:gd name="T32" fmla="*/ 2147483647 w 240"/>
              <a:gd name="T33" fmla="*/ 2147483647 h 282"/>
              <a:gd name="T34" fmla="*/ 2147483647 w 240"/>
              <a:gd name="T35" fmla="*/ 2147483647 h 282"/>
              <a:gd name="T36" fmla="*/ 2147483647 w 240"/>
              <a:gd name="T37" fmla="*/ 2147483647 h 282"/>
              <a:gd name="T38" fmla="*/ 2147483647 w 240"/>
              <a:gd name="T39" fmla="*/ 2147483647 h 282"/>
              <a:gd name="T40" fmla="*/ 2147483647 w 240"/>
              <a:gd name="T41" fmla="*/ 2147483647 h 282"/>
              <a:gd name="T42" fmla="*/ 2147483647 w 240"/>
              <a:gd name="T43" fmla="*/ 2147483647 h 282"/>
              <a:gd name="T44" fmla="*/ 2147483647 w 240"/>
              <a:gd name="T45" fmla="*/ 2147483647 h 282"/>
              <a:gd name="T46" fmla="*/ 2147483647 w 240"/>
              <a:gd name="T47" fmla="*/ 2147483647 h 282"/>
              <a:gd name="T48" fmla="*/ 0 w 240"/>
              <a:gd name="T49" fmla="*/ 0 h 282"/>
              <a:gd name="T50" fmla="*/ 2147483647 w 240"/>
              <a:gd name="T51" fmla="*/ 2147483647 h 282"/>
              <a:gd name="T52" fmla="*/ 2147483647 w 240"/>
              <a:gd name="T53" fmla="*/ 2147483647 h 282"/>
              <a:gd name="T54" fmla="*/ 2147483647 w 240"/>
              <a:gd name="T55" fmla="*/ 2147483647 h 282"/>
              <a:gd name="T56" fmla="*/ 2147483647 w 240"/>
              <a:gd name="T57" fmla="*/ 2147483647 h 282"/>
              <a:gd name="T58" fmla="*/ 2147483647 w 240"/>
              <a:gd name="T59" fmla="*/ 2147483647 h 282"/>
              <a:gd name="T60" fmla="*/ 2147483647 w 240"/>
              <a:gd name="T61" fmla="*/ 2147483647 h 282"/>
              <a:gd name="T62" fmla="*/ 2147483647 w 240"/>
              <a:gd name="T63" fmla="*/ 2147483647 h 282"/>
              <a:gd name="T64" fmla="*/ 2147483647 w 240"/>
              <a:gd name="T65" fmla="*/ 2147483647 h 282"/>
              <a:gd name="T66" fmla="*/ 2147483647 w 240"/>
              <a:gd name="T67" fmla="*/ 2147483647 h 282"/>
              <a:gd name="T68" fmla="*/ 2147483647 w 240"/>
              <a:gd name="T69" fmla="*/ 2147483647 h 282"/>
              <a:gd name="T70" fmla="*/ 2147483647 w 240"/>
              <a:gd name="T71" fmla="*/ 2147483647 h 282"/>
              <a:gd name="T72" fmla="*/ 2147483647 w 240"/>
              <a:gd name="T73" fmla="*/ 2147483647 h 282"/>
              <a:gd name="T74" fmla="*/ 2147483647 w 240"/>
              <a:gd name="T75" fmla="*/ 2147483647 h 282"/>
              <a:gd name="T76" fmla="*/ 2147483647 w 240"/>
              <a:gd name="T77" fmla="*/ 2147483647 h 282"/>
              <a:gd name="T78" fmla="*/ 2147483647 w 240"/>
              <a:gd name="T79" fmla="*/ 2147483647 h 282"/>
              <a:gd name="T80" fmla="*/ 2147483647 w 240"/>
              <a:gd name="T81" fmla="*/ 2147483647 h 282"/>
              <a:gd name="T82" fmla="*/ 2147483647 w 240"/>
              <a:gd name="T83" fmla="*/ 2147483647 h 282"/>
              <a:gd name="T84" fmla="*/ 2147483647 w 240"/>
              <a:gd name="T85" fmla="*/ 2147483647 h 282"/>
              <a:gd name="T86" fmla="*/ 2147483647 w 240"/>
              <a:gd name="T87" fmla="*/ 2147483647 h 282"/>
              <a:gd name="T88" fmla="*/ 2147483647 w 240"/>
              <a:gd name="T89" fmla="*/ 2147483647 h 282"/>
              <a:gd name="T90" fmla="*/ 2147483647 w 240"/>
              <a:gd name="T91" fmla="*/ 2147483647 h 282"/>
              <a:gd name="T92" fmla="*/ 2147483647 w 240"/>
              <a:gd name="T93" fmla="*/ 2147483647 h 282"/>
              <a:gd name="T94" fmla="*/ 2147483647 w 240"/>
              <a:gd name="T95" fmla="*/ 2147483647 h 282"/>
              <a:gd name="T96" fmla="*/ 2147483647 w 240"/>
              <a:gd name="T97" fmla="*/ 2147483647 h 282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240"/>
              <a:gd name="T148" fmla="*/ 0 h 282"/>
              <a:gd name="T149" fmla="*/ 240 w 240"/>
              <a:gd name="T150" fmla="*/ 282 h 282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240" h="282">
                <a:moveTo>
                  <a:pt x="240" y="217"/>
                </a:moveTo>
                <a:lnTo>
                  <a:pt x="238" y="220"/>
                </a:lnTo>
                <a:lnTo>
                  <a:pt x="234" y="251"/>
                </a:lnTo>
                <a:lnTo>
                  <a:pt x="230" y="282"/>
                </a:lnTo>
                <a:lnTo>
                  <a:pt x="221" y="273"/>
                </a:lnTo>
                <a:lnTo>
                  <a:pt x="218" y="279"/>
                </a:lnTo>
                <a:lnTo>
                  <a:pt x="208" y="274"/>
                </a:lnTo>
                <a:lnTo>
                  <a:pt x="208" y="282"/>
                </a:lnTo>
                <a:lnTo>
                  <a:pt x="186" y="261"/>
                </a:lnTo>
                <a:lnTo>
                  <a:pt x="174" y="249"/>
                </a:lnTo>
                <a:lnTo>
                  <a:pt x="162" y="237"/>
                </a:lnTo>
                <a:lnTo>
                  <a:pt x="150" y="225"/>
                </a:lnTo>
                <a:lnTo>
                  <a:pt x="139" y="213"/>
                </a:lnTo>
                <a:lnTo>
                  <a:pt x="130" y="192"/>
                </a:lnTo>
                <a:lnTo>
                  <a:pt x="120" y="172"/>
                </a:lnTo>
                <a:lnTo>
                  <a:pt x="116" y="168"/>
                </a:lnTo>
                <a:lnTo>
                  <a:pt x="106" y="150"/>
                </a:lnTo>
                <a:lnTo>
                  <a:pt x="94" y="131"/>
                </a:lnTo>
                <a:lnTo>
                  <a:pt x="86" y="114"/>
                </a:lnTo>
                <a:lnTo>
                  <a:pt x="80" y="99"/>
                </a:lnTo>
                <a:lnTo>
                  <a:pt x="62" y="81"/>
                </a:lnTo>
                <a:lnTo>
                  <a:pt x="48" y="61"/>
                </a:lnTo>
                <a:lnTo>
                  <a:pt x="31" y="45"/>
                </a:lnTo>
                <a:lnTo>
                  <a:pt x="14" y="28"/>
                </a:lnTo>
                <a:lnTo>
                  <a:pt x="0" y="0"/>
                </a:lnTo>
                <a:lnTo>
                  <a:pt x="16" y="1"/>
                </a:lnTo>
                <a:lnTo>
                  <a:pt x="31" y="5"/>
                </a:lnTo>
                <a:lnTo>
                  <a:pt x="48" y="7"/>
                </a:lnTo>
                <a:lnTo>
                  <a:pt x="68" y="30"/>
                </a:lnTo>
                <a:lnTo>
                  <a:pt x="71" y="36"/>
                </a:lnTo>
                <a:lnTo>
                  <a:pt x="90" y="53"/>
                </a:lnTo>
                <a:lnTo>
                  <a:pt x="109" y="71"/>
                </a:lnTo>
                <a:lnTo>
                  <a:pt x="126" y="89"/>
                </a:lnTo>
                <a:lnTo>
                  <a:pt x="125" y="81"/>
                </a:lnTo>
                <a:lnTo>
                  <a:pt x="144" y="96"/>
                </a:lnTo>
                <a:lnTo>
                  <a:pt x="156" y="109"/>
                </a:lnTo>
                <a:lnTo>
                  <a:pt x="176" y="124"/>
                </a:lnTo>
                <a:lnTo>
                  <a:pt x="179" y="125"/>
                </a:lnTo>
                <a:lnTo>
                  <a:pt x="192" y="137"/>
                </a:lnTo>
                <a:lnTo>
                  <a:pt x="184" y="142"/>
                </a:lnTo>
                <a:lnTo>
                  <a:pt x="185" y="147"/>
                </a:lnTo>
                <a:lnTo>
                  <a:pt x="184" y="150"/>
                </a:lnTo>
                <a:lnTo>
                  <a:pt x="186" y="159"/>
                </a:lnTo>
                <a:lnTo>
                  <a:pt x="203" y="162"/>
                </a:lnTo>
                <a:lnTo>
                  <a:pt x="206" y="181"/>
                </a:lnTo>
                <a:lnTo>
                  <a:pt x="211" y="186"/>
                </a:lnTo>
                <a:lnTo>
                  <a:pt x="211" y="197"/>
                </a:lnTo>
                <a:lnTo>
                  <a:pt x="229" y="197"/>
                </a:lnTo>
                <a:lnTo>
                  <a:pt x="240" y="21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199" name="Freeform 6"/>
          <p:cNvSpPr>
            <a:spLocks/>
          </p:cNvSpPr>
          <p:nvPr/>
        </p:nvSpPr>
        <p:spPr bwMode="auto">
          <a:xfrm>
            <a:off x="7477125" y="4948238"/>
            <a:ext cx="265113" cy="96837"/>
          </a:xfrm>
          <a:custGeom>
            <a:avLst/>
            <a:gdLst>
              <a:gd name="T0" fmla="*/ 2147483647 w 200"/>
              <a:gd name="T1" fmla="*/ 2147483647 h 68"/>
              <a:gd name="T2" fmla="*/ 2147483647 w 200"/>
              <a:gd name="T3" fmla="*/ 2147483647 h 68"/>
              <a:gd name="T4" fmla="*/ 2147483647 w 200"/>
              <a:gd name="T5" fmla="*/ 2147483647 h 68"/>
              <a:gd name="T6" fmla="*/ 2147483647 w 200"/>
              <a:gd name="T7" fmla="*/ 2147483647 h 68"/>
              <a:gd name="T8" fmla="*/ 2147483647 w 200"/>
              <a:gd name="T9" fmla="*/ 2147483647 h 68"/>
              <a:gd name="T10" fmla="*/ 2147483647 w 200"/>
              <a:gd name="T11" fmla="*/ 2147483647 h 68"/>
              <a:gd name="T12" fmla="*/ 2147483647 w 200"/>
              <a:gd name="T13" fmla="*/ 2147483647 h 68"/>
              <a:gd name="T14" fmla="*/ 2147483647 w 200"/>
              <a:gd name="T15" fmla="*/ 2147483647 h 68"/>
              <a:gd name="T16" fmla="*/ 2147483647 w 200"/>
              <a:gd name="T17" fmla="*/ 2147483647 h 68"/>
              <a:gd name="T18" fmla="*/ 2147483647 w 200"/>
              <a:gd name="T19" fmla="*/ 2147483647 h 68"/>
              <a:gd name="T20" fmla="*/ 2147483647 w 200"/>
              <a:gd name="T21" fmla="*/ 2147483647 h 68"/>
              <a:gd name="T22" fmla="*/ 2147483647 w 200"/>
              <a:gd name="T23" fmla="*/ 2147483647 h 68"/>
              <a:gd name="T24" fmla="*/ 2147483647 w 200"/>
              <a:gd name="T25" fmla="*/ 0 h 68"/>
              <a:gd name="T26" fmla="*/ 2147483647 w 200"/>
              <a:gd name="T27" fmla="*/ 0 h 68"/>
              <a:gd name="T28" fmla="*/ 2147483647 w 200"/>
              <a:gd name="T29" fmla="*/ 2147483647 h 68"/>
              <a:gd name="T30" fmla="*/ 0 w 200"/>
              <a:gd name="T31" fmla="*/ 2147483647 h 68"/>
              <a:gd name="T32" fmla="*/ 2147483647 w 200"/>
              <a:gd name="T33" fmla="*/ 2147483647 h 68"/>
              <a:gd name="T34" fmla="*/ 2147483647 w 200"/>
              <a:gd name="T35" fmla="*/ 2147483647 h 68"/>
              <a:gd name="T36" fmla="*/ 2147483647 w 200"/>
              <a:gd name="T37" fmla="*/ 2147483647 h 68"/>
              <a:gd name="T38" fmla="*/ 2147483647 w 200"/>
              <a:gd name="T39" fmla="*/ 2147483647 h 68"/>
              <a:gd name="T40" fmla="*/ 2147483647 w 200"/>
              <a:gd name="T41" fmla="*/ 2147483647 h 68"/>
              <a:gd name="T42" fmla="*/ 2147483647 w 200"/>
              <a:gd name="T43" fmla="*/ 2147483647 h 68"/>
              <a:gd name="T44" fmla="*/ 2147483647 w 200"/>
              <a:gd name="T45" fmla="*/ 2147483647 h 68"/>
              <a:gd name="T46" fmla="*/ 2147483647 w 200"/>
              <a:gd name="T47" fmla="*/ 2147483647 h 68"/>
              <a:gd name="T48" fmla="*/ 2147483647 w 200"/>
              <a:gd name="T49" fmla="*/ 2147483647 h 68"/>
              <a:gd name="T50" fmla="*/ 2147483647 w 200"/>
              <a:gd name="T51" fmla="*/ 2147483647 h 6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200"/>
              <a:gd name="T79" fmla="*/ 0 h 68"/>
              <a:gd name="T80" fmla="*/ 200 w 200"/>
              <a:gd name="T81" fmla="*/ 68 h 68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200" h="68">
                <a:moveTo>
                  <a:pt x="200" y="68"/>
                </a:moveTo>
                <a:lnTo>
                  <a:pt x="198" y="65"/>
                </a:lnTo>
                <a:lnTo>
                  <a:pt x="198" y="45"/>
                </a:lnTo>
                <a:lnTo>
                  <a:pt x="182" y="43"/>
                </a:lnTo>
                <a:lnTo>
                  <a:pt x="165" y="41"/>
                </a:lnTo>
                <a:lnTo>
                  <a:pt x="159" y="26"/>
                </a:lnTo>
                <a:lnTo>
                  <a:pt x="133" y="18"/>
                </a:lnTo>
                <a:lnTo>
                  <a:pt x="123" y="11"/>
                </a:lnTo>
                <a:lnTo>
                  <a:pt x="114" y="21"/>
                </a:lnTo>
                <a:lnTo>
                  <a:pt x="97" y="21"/>
                </a:lnTo>
                <a:lnTo>
                  <a:pt x="79" y="21"/>
                </a:lnTo>
                <a:lnTo>
                  <a:pt x="70" y="12"/>
                </a:lnTo>
                <a:lnTo>
                  <a:pt x="45" y="0"/>
                </a:lnTo>
                <a:lnTo>
                  <a:pt x="18" y="0"/>
                </a:lnTo>
                <a:lnTo>
                  <a:pt x="7" y="15"/>
                </a:lnTo>
                <a:lnTo>
                  <a:pt x="0" y="18"/>
                </a:lnTo>
                <a:lnTo>
                  <a:pt x="22" y="25"/>
                </a:lnTo>
                <a:lnTo>
                  <a:pt x="22" y="31"/>
                </a:lnTo>
                <a:lnTo>
                  <a:pt x="45" y="37"/>
                </a:lnTo>
                <a:lnTo>
                  <a:pt x="68" y="43"/>
                </a:lnTo>
                <a:lnTo>
                  <a:pt x="87" y="47"/>
                </a:lnTo>
                <a:lnTo>
                  <a:pt x="108" y="51"/>
                </a:lnTo>
                <a:lnTo>
                  <a:pt x="136" y="55"/>
                </a:lnTo>
                <a:lnTo>
                  <a:pt x="164" y="57"/>
                </a:lnTo>
                <a:lnTo>
                  <a:pt x="182" y="63"/>
                </a:lnTo>
                <a:lnTo>
                  <a:pt x="200" y="6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00" name="Freeform 7"/>
          <p:cNvSpPr>
            <a:spLocks/>
          </p:cNvSpPr>
          <p:nvPr/>
        </p:nvSpPr>
        <p:spPr bwMode="auto">
          <a:xfrm>
            <a:off x="7477125" y="4795838"/>
            <a:ext cx="47625" cy="52387"/>
          </a:xfrm>
          <a:custGeom>
            <a:avLst/>
            <a:gdLst>
              <a:gd name="T0" fmla="*/ 2147483647 w 36"/>
              <a:gd name="T1" fmla="*/ 2147483647 h 38"/>
              <a:gd name="T2" fmla="*/ 2147483647 w 36"/>
              <a:gd name="T3" fmla="*/ 2147483647 h 38"/>
              <a:gd name="T4" fmla="*/ 2147483647 w 36"/>
              <a:gd name="T5" fmla="*/ 2147483647 h 38"/>
              <a:gd name="T6" fmla="*/ 2147483647 w 36"/>
              <a:gd name="T7" fmla="*/ 2147483647 h 38"/>
              <a:gd name="T8" fmla="*/ 0 w 36"/>
              <a:gd name="T9" fmla="*/ 2147483647 h 38"/>
              <a:gd name="T10" fmla="*/ 2147483647 w 36"/>
              <a:gd name="T11" fmla="*/ 2147483647 h 38"/>
              <a:gd name="T12" fmla="*/ 2147483647 w 36"/>
              <a:gd name="T13" fmla="*/ 0 h 38"/>
              <a:gd name="T14" fmla="*/ 2147483647 w 36"/>
              <a:gd name="T15" fmla="*/ 2147483647 h 38"/>
              <a:gd name="T16" fmla="*/ 2147483647 w 36"/>
              <a:gd name="T17" fmla="*/ 2147483647 h 3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6"/>
              <a:gd name="T28" fmla="*/ 0 h 38"/>
              <a:gd name="T29" fmla="*/ 36 w 36"/>
              <a:gd name="T30" fmla="*/ 38 h 3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6" h="38">
                <a:moveTo>
                  <a:pt x="36" y="26"/>
                </a:moveTo>
                <a:lnTo>
                  <a:pt x="33" y="38"/>
                </a:lnTo>
                <a:lnTo>
                  <a:pt x="15" y="27"/>
                </a:lnTo>
                <a:lnTo>
                  <a:pt x="8" y="14"/>
                </a:lnTo>
                <a:lnTo>
                  <a:pt x="0" y="10"/>
                </a:lnTo>
                <a:lnTo>
                  <a:pt x="11" y="3"/>
                </a:lnTo>
                <a:lnTo>
                  <a:pt x="14" y="0"/>
                </a:lnTo>
                <a:lnTo>
                  <a:pt x="23" y="21"/>
                </a:lnTo>
                <a:lnTo>
                  <a:pt x="36" y="26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01" name="Freeform 8"/>
          <p:cNvSpPr>
            <a:spLocks/>
          </p:cNvSpPr>
          <p:nvPr/>
        </p:nvSpPr>
        <p:spPr bwMode="auto">
          <a:xfrm>
            <a:off x="7324725" y="4518025"/>
            <a:ext cx="128588" cy="180975"/>
          </a:xfrm>
          <a:custGeom>
            <a:avLst/>
            <a:gdLst>
              <a:gd name="T0" fmla="*/ 2147483647 w 95"/>
              <a:gd name="T1" fmla="*/ 2147483647 h 128"/>
              <a:gd name="T2" fmla="*/ 2147483647 w 95"/>
              <a:gd name="T3" fmla="*/ 2147483647 h 128"/>
              <a:gd name="T4" fmla="*/ 2147483647 w 95"/>
              <a:gd name="T5" fmla="*/ 2147483647 h 128"/>
              <a:gd name="T6" fmla="*/ 2147483647 w 95"/>
              <a:gd name="T7" fmla="*/ 2147483647 h 128"/>
              <a:gd name="T8" fmla="*/ 2147483647 w 95"/>
              <a:gd name="T9" fmla="*/ 2147483647 h 128"/>
              <a:gd name="T10" fmla="*/ 0 w 95"/>
              <a:gd name="T11" fmla="*/ 2147483647 h 128"/>
              <a:gd name="T12" fmla="*/ 2147483647 w 95"/>
              <a:gd name="T13" fmla="*/ 0 h 128"/>
              <a:gd name="T14" fmla="*/ 2147483647 w 95"/>
              <a:gd name="T15" fmla="*/ 2147483647 h 128"/>
              <a:gd name="T16" fmla="*/ 2147483647 w 95"/>
              <a:gd name="T17" fmla="*/ 2147483647 h 128"/>
              <a:gd name="T18" fmla="*/ 2147483647 w 95"/>
              <a:gd name="T19" fmla="*/ 2147483647 h 128"/>
              <a:gd name="T20" fmla="*/ 2147483647 w 95"/>
              <a:gd name="T21" fmla="*/ 2147483647 h 128"/>
              <a:gd name="T22" fmla="*/ 2147483647 w 95"/>
              <a:gd name="T23" fmla="*/ 2147483647 h 128"/>
              <a:gd name="T24" fmla="*/ 2147483647 w 95"/>
              <a:gd name="T25" fmla="*/ 2147483647 h 128"/>
              <a:gd name="T26" fmla="*/ 2147483647 w 95"/>
              <a:gd name="T27" fmla="*/ 2147483647 h 128"/>
              <a:gd name="T28" fmla="*/ 2147483647 w 95"/>
              <a:gd name="T29" fmla="*/ 2147483647 h 128"/>
              <a:gd name="T30" fmla="*/ 2147483647 w 95"/>
              <a:gd name="T31" fmla="*/ 2147483647 h 128"/>
              <a:gd name="T32" fmla="*/ 2147483647 w 95"/>
              <a:gd name="T33" fmla="*/ 2147483647 h 128"/>
              <a:gd name="T34" fmla="*/ 2147483647 w 95"/>
              <a:gd name="T35" fmla="*/ 2147483647 h 128"/>
              <a:gd name="T36" fmla="*/ 2147483647 w 95"/>
              <a:gd name="T37" fmla="*/ 2147483647 h 128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95"/>
              <a:gd name="T58" fmla="*/ 0 h 128"/>
              <a:gd name="T59" fmla="*/ 95 w 95"/>
              <a:gd name="T60" fmla="*/ 128 h 128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95" h="128">
                <a:moveTo>
                  <a:pt x="80" y="128"/>
                </a:moveTo>
                <a:lnTo>
                  <a:pt x="54" y="110"/>
                </a:lnTo>
                <a:lnTo>
                  <a:pt x="29" y="91"/>
                </a:lnTo>
                <a:lnTo>
                  <a:pt x="17" y="63"/>
                </a:lnTo>
                <a:lnTo>
                  <a:pt x="8" y="33"/>
                </a:lnTo>
                <a:lnTo>
                  <a:pt x="0" y="3"/>
                </a:lnTo>
                <a:lnTo>
                  <a:pt x="1" y="0"/>
                </a:lnTo>
                <a:lnTo>
                  <a:pt x="18" y="8"/>
                </a:lnTo>
                <a:lnTo>
                  <a:pt x="19" y="19"/>
                </a:lnTo>
                <a:lnTo>
                  <a:pt x="33" y="19"/>
                </a:lnTo>
                <a:lnTo>
                  <a:pt x="43" y="8"/>
                </a:lnTo>
                <a:lnTo>
                  <a:pt x="56" y="23"/>
                </a:lnTo>
                <a:lnTo>
                  <a:pt x="71" y="37"/>
                </a:lnTo>
                <a:lnTo>
                  <a:pt x="73" y="61"/>
                </a:lnTo>
                <a:lnTo>
                  <a:pt x="75" y="84"/>
                </a:lnTo>
                <a:lnTo>
                  <a:pt x="85" y="105"/>
                </a:lnTo>
                <a:lnTo>
                  <a:pt x="95" y="127"/>
                </a:lnTo>
                <a:lnTo>
                  <a:pt x="87" y="123"/>
                </a:lnTo>
                <a:lnTo>
                  <a:pt x="80" y="12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02" name="Freeform 9"/>
          <p:cNvSpPr>
            <a:spLocks/>
          </p:cNvSpPr>
          <p:nvPr/>
        </p:nvSpPr>
        <p:spPr bwMode="auto">
          <a:xfrm>
            <a:off x="6911975" y="3840163"/>
            <a:ext cx="144463" cy="192087"/>
          </a:xfrm>
          <a:custGeom>
            <a:avLst/>
            <a:gdLst>
              <a:gd name="T0" fmla="*/ 2147483647 w 109"/>
              <a:gd name="T1" fmla="*/ 2147483647 h 141"/>
              <a:gd name="T2" fmla="*/ 2147483647 w 109"/>
              <a:gd name="T3" fmla="*/ 2147483647 h 141"/>
              <a:gd name="T4" fmla="*/ 2147483647 w 109"/>
              <a:gd name="T5" fmla="*/ 2147483647 h 141"/>
              <a:gd name="T6" fmla="*/ 2147483647 w 109"/>
              <a:gd name="T7" fmla="*/ 2147483647 h 141"/>
              <a:gd name="T8" fmla="*/ 2147483647 w 109"/>
              <a:gd name="T9" fmla="*/ 2147483647 h 141"/>
              <a:gd name="T10" fmla="*/ 2147483647 w 109"/>
              <a:gd name="T11" fmla="*/ 2147483647 h 141"/>
              <a:gd name="T12" fmla="*/ 2147483647 w 109"/>
              <a:gd name="T13" fmla="*/ 2147483647 h 141"/>
              <a:gd name="T14" fmla="*/ 2147483647 w 109"/>
              <a:gd name="T15" fmla="*/ 2147483647 h 141"/>
              <a:gd name="T16" fmla="*/ 2147483647 w 109"/>
              <a:gd name="T17" fmla="*/ 2147483647 h 141"/>
              <a:gd name="T18" fmla="*/ 2147483647 w 109"/>
              <a:gd name="T19" fmla="*/ 2147483647 h 141"/>
              <a:gd name="T20" fmla="*/ 0 w 109"/>
              <a:gd name="T21" fmla="*/ 2147483647 h 141"/>
              <a:gd name="T22" fmla="*/ 0 w 109"/>
              <a:gd name="T23" fmla="*/ 0 h 141"/>
              <a:gd name="T24" fmla="*/ 2147483647 w 109"/>
              <a:gd name="T25" fmla="*/ 2147483647 h 141"/>
              <a:gd name="T26" fmla="*/ 2147483647 w 109"/>
              <a:gd name="T27" fmla="*/ 2147483647 h 141"/>
              <a:gd name="T28" fmla="*/ 2147483647 w 109"/>
              <a:gd name="T29" fmla="*/ 2147483647 h 141"/>
              <a:gd name="T30" fmla="*/ 2147483647 w 109"/>
              <a:gd name="T31" fmla="*/ 2147483647 h 141"/>
              <a:gd name="T32" fmla="*/ 2147483647 w 109"/>
              <a:gd name="T33" fmla="*/ 2147483647 h 141"/>
              <a:gd name="T34" fmla="*/ 2147483647 w 109"/>
              <a:gd name="T35" fmla="*/ 2147483647 h 141"/>
              <a:gd name="T36" fmla="*/ 2147483647 w 109"/>
              <a:gd name="T37" fmla="*/ 2147483647 h 141"/>
              <a:gd name="T38" fmla="*/ 2147483647 w 109"/>
              <a:gd name="T39" fmla="*/ 2147483647 h 141"/>
              <a:gd name="T40" fmla="*/ 2147483647 w 109"/>
              <a:gd name="T41" fmla="*/ 2147483647 h 141"/>
              <a:gd name="T42" fmla="*/ 2147483647 w 109"/>
              <a:gd name="T43" fmla="*/ 2147483647 h 141"/>
              <a:gd name="T44" fmla="*/ 2147483647 w 109"/>
              <a:gd name="T45" fmla="*/ 2147483647 h 141"/>
              <a:gd name="T46" fmla="*/ 2147483647 w 109"/>
              <a:gd name="T47" fmla="*/ 2147483647 h 141"/>
              <a:gd name="T48" fmla="*/ 2147483647 w 109"/>
              <a:gd name="T49" fmla="*/ 2147483647 h 141"/>
              <a:gd name="T50" fmla="*/ 2147483647 w 109"/>
              <a:gd name="T51" fmla="*/ 2147483647 h 141"/>
              <a:gd name="T52" fmla="*/ 2147483647 w 109"/>
              <a:gd name="T53" fmla="*/ 2147483647 h 141"/>
              <a:gd name="T54" fmla="*/ 2147483647 w 109"/>
              <a:gd name="T55" fmla="*/ 2147483647 h 141"/>
              <a:gd name="T56" fmla="*/ 2147483647 w 109"/>
              <a:gd name="T57" fmla="*/ 2147483647 h 141"/>
              <a:gd name="T58" fmla="*/ 2147483647 w 109"/>
              <a:gd name="T59" fmla="*/ 2147483647 h 141"/>
              <a:gd name="T60" fmla="*/ 2147483647 w 109"/>
              <a:gd name="T61" fmla="*/ 2147483647 h 141"/>
              <a:gd name="T62" fmla="*/ 2147483647 w 109"/>
              <a:gd name="T63" fmla="*/ 2147483647 h 141"/>
              <a:gd name="T64" fmla="*/ 2147483647 w 109"/>
              <a:gd name="T65" fmla="*/ 2147483647 h 141"/>
              <a:gd name="T66" fmla="*/ 2147483647 w 109"/>
              <a:gd name="T67" fmla="*/ 2147483647 h 141"/>
              <a:gd name="T68" fmla="*/ 2147483647 w 109"/>
              <a:gd name="T69" fmla="*/ 2147483647 h 141"/>
              <a:gd name="T70" fmla="*/ 2147483647 w 109"/>
              <a:gd name="T71" fmla="*/ 2147483647 h 141"/>
              <a:gd name="T72" fmla="*/ 2147483647 w 109"/>
              <a:gd name="T73" fmla="*/ 2147483647 h 141"/>
              <a:gd name="T74" fmla="*/ 2147483647 w 109"/>
              <a:gd name="T75" fmla="*/ 2147483647 h 141"/>
              <a:gd name="T76" fmla="*/ 2147483647 w 109"/>
              <a:gd name="T77" fmla="*/ 2147483647 h 141"/>
              <a:gd name="T78" fmla="*/ 2147483647 w 109"/>
              <a:gd name="T79" fmla="*/ 2147483647 h 141"/>
              <a:gd name="T80" fmla="*/ 2147483647 w 109"/>
              <a:gd name="T81" fmla="*/ 2147483647 h 141"/>
              <a:gd name="T82" fmla="*/ 2147483647 w 109"/>
              <a:gd name="T83" fmla="*/ 2147483647 h 141"/>
              <a:gd name="T84" fmla="*/ 2147483647 w 109"/>
              <a:gd name="T85" fmla="*/ 2147483647 h 14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09"/>
              <a:gd name="T130" fmla="*/ 0 h 141"/>
              <a:gd name="T131" fmla="*/ 109 w 109"/>
              <a:gd name="T132" fmla="*/ 141 h 141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09" h="141">
                <a:moveTo>
                  <a:pt x="39" y="117"/>
                </a:moveTo>
                <a:lnTo>
                  <a:pt x="38" y="119"/>
                </a:lnTo>
                <a:lnTo>
                  <a:pt x="32" y="113"/>
                </a:lnTo>
                <a:lnTo>
                  <a:pt x="32" y="114"/>
                </a:lnTo>
                <a:lnTo>
                  <a:pt x="26" y="95"/>
                </a:lnTo>
                <a:lnTo>
                  <a:pt x="20" y="77"/>
                </a:lnTo>
                <a:lnTo>
                  <a:pt x="18" y="63"/>
                </a:lnTo>
                <a:lnTo>
                  <a:pt x="2" y="48"/>
                </a:lnTo>
                <a:lnTo>
                  <a:pt x="7" y="39"/>
                </a:lnTo>
                <a:lnTo>
                  <a:pt x="16" y="34"/>
                </a:lnTo>
                <a:lnTo>
                  <a:pt x="0" y="18"/>
                </a:lnTo>
                <a:lnTo>
                  <a:pt x="0" y="0"/>
                </a:lnTo>
                <a:lnTo>
                  <a:pt x="14" y="6"/>
                </a:lnTo>
                <a:lnTo>
                  <a:pt x="21" y="13"/>
                </a:lnTo>
                <a:lnTo>
                  <a:pt x="26" y="9"/>
                </a:lnTo>
                <a:lnTo>
                  <a:pt x="34" y="29"/>
                </a:lnTo>
                <a:lnTo>
                  <a:pt x="58" y="31"/>
                </a:lnTo>
                <a:lnTo>
                  <a:pt x="81" y="34"/>
                </a:lnTo>
                <a:lnTo>
                  <a:pt x="92" y="42"/>
                </a:lnTo>
                <a:lnTo>
                  <a:pt x="88" y="53"/>
                </a:lnTo>
                <a:lnTo>
                  <a:pt x="73" y="64"/>
                </a:lnTo>
                <a:lnTo>
                  <a:pt x="76" y="83"/>
                </a:lnTo>
                <a:lnTo>
                  <a:pt x="81" y="88"/>
                </a:lnTo>
                <a:lnTo>
                  <a:pt x="91" y="70"/>
                </a:lnTo>
                <a:lnTo>
                  <a:pt x="99" y="91"/>
                </a:lnTo>
                <a:lnTo>
                  <a:pt x="108" y="113"/>
                </a:lnTo>
                <a:lnTo>
                  <a:pt x="109" y="129"/>
                </a:lnTo>
                <a:lnTo>
                  <a:pt x="102" y="133"/>
                </a:lnTo>
                <a:lnTo>
                  <a:pt x="105" y="141"/>
                </a:lnTo>
                <a:lnTo>
                  <a:pt x="92" y="117"/>
                </a:lnTo>
                <a:lnTo>
                  <a:pt x="80" y="94"/>
                </a:lnTo>
                <a:lnTo>
                  <a:pt x="67" y="91"/>
                </a:lnTo>
                <a:lnTo>
                  <a:pt x="58" y="77"/>
                </a:lnTo>
                <a:lnTo>
                  <a:pt x="38" y="64"/>
                </a:lnTo>
                <a:lnTo>
                  <a:pt x="31" y="65"/>
                </a:lnTo>
                <a:lnTo>
                  <a:pt x="54" y="78"/>
                </a:lnTo>
                <a:lnTo>
                  <a:pt x="61" y="93"/>
                </a:lnTo>
                <a:lnTo>
                  <a:pt x="62" y="100"/>
                </a:lnTo>
                <a:lnTo>
                  <a:pt x="57" y="118"/>
                </a:lnTo>
                <a:lnTo>
                  <a:pt x="54" y="112"/>
                </a:lnTo>
                <a:lnTo>
                  <a:pt x="49" y="112"/>
                </a:lnTo>
                <a:lnTo>
                  <a:pt x="44" y="117"/>
                </a:lnTo>
                <a:lnTo>
                  <a:pt x="39" y="11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03" name="Freeform 10"/>
          <p:cNvSpPr>
            <a:spLocks/>
          </p:cNvSpPr>
          <p:nvPr/>
        </p:nvSpPr>
        <p:spPr bwMode="auto">
          <a:xfrm>
            <a:off x="6919913" y="3781425"/>
            <a:ext cx="92075" cy="47625"/>
          </a:xfrm>
          <a:custGeom>
            <a:avLst/>
            <a:gdLst>
              <a:gd name="T0" fmla="*/ 2147483647 w 69"/>
              <a:gd name="T1" fmla="*/ 2147483647 h 34"/>
              <a:gd name="T2" fmla="*/ 2147483647 w 69"/>
              <a:gd name="T3" fmla="*/ 0 h 34"/>
              <a:gd name="T4" fmla="*/ 0 w 69"/>
              <a:gd name="T5" fmla="*/ 2147483647 h 34"/>
              <a:gd name="T6" fmla="*/ 2147483647 w 69"/>
              <a:gd name="T7" fmla="*/ 2147483647 h 34"/>
              <a:gd name="T8" fmla="*/ 2147483647 w 69"/>
              <a:gd name="T9" fmla="*/ 2147483647 h 34"/>
              <a:gd name="T10" fmla="*/ 2147483647 w 69"/>
              <a:gd name="T11" fmla="*/ 2147483647 h 34"/>
              <a:gd name="T12" fmla="*/ 2147483647 w 69"/>
              <a:gd name="T13" fmla="*/ 2147483647 h 34"/>
              <a:gd name="T14" fmla="*/ 2147483647 w 69"/>
              <a:gd name="T15" fmla="*/ 2147483647 h 34"/>
              <a:gd name="T16" fmla="*/ 2147483647 w 69"/>
              <a:gd name="T17" fmla="*/ 2147483647 h 34"/>
              <a:gd name="T18" fmla="*/ 2147483647 w 69"/>
              <a:gd name="T19" fmla="*/ 2147483647 h 34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69"/>
              <a:gd name="T31" fmla="*/ 0 h 34"/>
              <a:gd name="T32" fmla="*/ 69 w 69"/>
              <a:gd name="T33" fmla="*/ 34 h 34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69" h="34">
                <a:moveTo>
                  <a:pt x="45" y="3"/>
                </a:moveTo>
                <a:lnTo>
                  <a:pt x="14" y="0"/>
                </a:lnTo>
                <a:lnTo>
                  <a:pt x="0" y="22"/>
                </a:lnTo>
                <a:lnTo>
                  <a:pt x="3" y="32"/>
                </a:lnTo>
                <a:lnTo>
                  <a:pt x="30" y="34"/>
                </a:lnTo>
                <a:lnTo>
                  <a:pt x="50" y="33"/>
                </a:lnTo>
                <a:lnTo>
                  <a:pt x="69" y="32"/>
                </a:lnTo>
                <a:lnTo>
                  <a:pt x="62" y="18"/>
                </a:lnTo>
                <a:lnTo>
                  <a:pt x="56" y="11"/>
                </a:lnTo>
                <a:lnTo>
                  <a:pt x="45" y="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04" name="Freeform 11"/>
          <p:cNvSpPr>
            <a:spLocks/>
          </p:cNvSpPr>
          <p:nvPr/>
        </p:nvSpPr>
        <p:spPr bwMode="auto">
          <a:xfrm>
            <a:off x="7372350" y="4244975"/>
            <a:ext cx="149225" cy="144463"/>
          </a:xfrm>
          <a:custGeom>
            <a:avLst/>
            <a:gdLst>
              <a:gd name="T0" fmla="*/ 2147483647 w 112"/>
              <a:gd name="T1" fmla="*/ 2147483647 h 107"/>
              <a:gd name="T2" fmla="*/ 2147483647 w 112"/>
              <a:gd name="T3" fmla="*/ 2147483647 h 107"/>
              <a:gd name="T4" fmla="*/ 2147483647 w 112"/>
              <a:gd name="T5" fmla="*/ 2147483647 h 107"/>
              <a:gd name="T6" fmla="*/ 2147483647 w 112"/>
              <a:gd name="T7" fmla="*/ 2147483647 h 107"/>
              <a:gd name="T8" fmla="*/ 2147483647 w 112"/>
              <a:gd name="T9" fmla="*/ 2147483647 h 107"/>
              <a:gd name="T10" fmla="*/ 2147483647 w 112"/>
              <a:gd name="T11" fmla="*/ 2147483647 h 107"/>
              <a:gd name="T12" fmla="*/ 2147483647 w 112"/>
              <a:gd name="T13" fmla="*/ 2147483647 h 107"/>
              <a:gd name="T14" fmla="*/ 2147483647 w 112"/>
              <a:gd name="T15" fmla="*/ 2147483647 h 107"/>
              <a:gd name="T16" fmla="*/ 2147483647 w 112"/>
              <a:gd name="T17" fmla="*/ 2147483647 h 107"/>
              <a:gd name="T18" fmla="*/ 2147483647 w 112"/>
              <a:gd name="T19" fmla="*/ 2147483647 h 107"/>
              <a:gd name="T20" fmla="*/ 2147483647 w 112"/>
              <a:gd name="T21" fmla="*/ 2147483647 h 107"/>
              <a:gd name="T22" fmla="*/ 2147483647 w 112"/>
              <a:gd name="T23" fmla="*/ 2147483647 h 107"/>
              <a:gd name="T24" fmla="*/ 0 w 112"/>
              <a:gd name="T25" fmla="*/ 2147483647 h 107"/>
              <a:gd name="T26" fmla="*/ 2147483647 w 112"/>
              <a:gd name="T27" fmla="*/ 2147483647 h 107"/>
              <a:gd name="T28" fmla="*/ 2147483647 w 112"/>
              <a:gd name="T29" fmla="*/ 2147483647 h 107"/>
              <a:gd name="T30" fmla="*/ 2147483647 w 112"/>
              <a:gd name="T31" fmla="*/ 2147483647 h 107"/>
              <a:gd name="T32" fmla="*/ 2147483647 w 112"/>
              <a:gd name="T33" fmla="*/ 2147483647 h 107"/>
              <a:gd name="T34" fmla="*/ 2147483647 w 112"/>
              <a:gd name="T35" fmla="*/ 2147483647 h 107"/>
              <a:gd name="T36" fmla="*/ 2147483647 w 112"/>
              <a:gd name="T37" fmla="*/ 2147483647 h 107"/>
              <a:gd name="T38" fmla="*/ 2147483647 w 112"/>
              <a:gd name="T39" fmla="*/ 2147483647 h 107"/>
              <a:gd name="T40" fmla="*/ 2147483647 w 112"/>
              <a:gd name="T41" fmla="*/ 0 h 107"/>
              <a:gd name="T42" fmla="*/ 2147483647 w 112"/>
              <a:gd name="T43" fmla="*/ 2147483647 h 107"/>
              <a:gd name="T44" fmla="*/ 2147483647 w 112"/>
              <a:gd name="T45" fmla="*/ 2147483647 h 107"/>
              <a:gd name="T46" fmla="*/ 2147483647 w 112"/>
              <a:gd name="T47" fmla="*/ 2147483647 h 107"/>
              <a:gd name="T48" fmla="*/ 2147483647 w 112"/>
              <a:gd name="T49" fmla="*/ 2147483647 h 107"/>
              <a:gd name="T50" fmla="*/ 2147483647 w 112"/>
              <a:gd name="T51" fmla="*/ 2147483647 h 10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12"/>
              <a:gd name="T79" fmla="*/ 0 h 107"/>
              <a:gd name="T80" fmla="*/ 112 w 112"/>
              <a:gd name="T81" fmla="*/ 107 h 107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12" h="107">
                <a:moveTo>
                  <a:pt x="81" y="78"/>
                </a:moveTo>
                <a:lnTo>
                  <a:pt x="87" y="97"/>
                </a:lnTo>
                <a:lnTo>
                  <a:pt x="72" y="95"/>
                </a:lnTo>
                <a:lnTo>
                  <a:pt x="66" y="97"/>
                </a:lnTo>
                <a:lnTo>
                  <a:pt x="52" y="107"/>
                </a:lnTo>
                <a:lnTo>
                  <a:pt x="39" y="103"/>
                </a:lnTo>
                <a:lnTo>
                  <a:pt x="32" y="99"/>
                </a:lnTo>
                <a:lnTo>
                  <a:pt x="30" y="89"/>
                </a:lnTo>
                <a:lnTo>
                  <a:pt x="22" y="95"/>
                </a:lnTo>
                <a:lnTo>
                  <a:pt x="18" y="78"/>
                </a:lnTo>
                <a:lnTo>
                  <a:pt x="16" y="76"/>
                </a:lnTo>
                <a:lnTo>
                  <a:pt x="8" y="55"/>
                </a:lnTo>
                <a:lnTo>
                  <a:pt x="0" y="35"/>
                </a:lnTo>
                <a:lnTo>
                  <a:pt x="14" y="10"/>
                </a:lnTo>
                <a:lnTo>
                  <a:pt x="37" y="10"/>
                </a:lnTo>
                <a:lnTo>
                  <a:pt x="60" y="9"/>
                </a:lnTo>
                <a:lnTo>
                  <a:pt x="78" y="19"/>
                </a:lnTo>
                <a:lnTo>
                  <a:pt x="78" y="12"/>
                </a:lnTo>
                <a:lnTo>
                  <a:pt x="86" y="5"/>
                </a:lnTo>
                <a:lnTo>
                  <a:pt x="94" y="9"/>
                </a:lnTo>
                <a:lnTo>
                  <a:pt x="109" y="0"/>
                </a:lnTo>
                <a:lnTo>
                  <a:pt x="110" y="23"/>
                </a:lnTo>
                <a:lnTo>
                  <a:pt x="111" y="42"/>
                </a:lnTo>
                <a:lnTo>
                  <a:pt x="112" y="61"/>
                </a:lnTo>
                <a:lnTo>
                  <a:pt x="93" y="72"/>
                </a:lnTo>
                <a:lnTo>
                  <a:pt x="81" y="7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05" name="Freeform 12"/>
          <p:cNvSpPr>
            <a:spLocks/>
          </p:cNvSpPr>
          <p:nvPr/>
        </p:nvSpPr>
        <p:spPr bwMode="auto">
          <a:xfrm>
            <a:off x="7278688" y="3981450"/>
            <a:ext cx="238125" cy="287338"/>
          </a:xfrm>
          <a:custGeom>
            <a:avLst/>
            <a:gdLst>
              <a:gd name="T0" fmla="*/ 2147483647 w 181"/>
              <a:gd name="T1" fmla="*/ 2147483647 h 210"/>
              <a:gd name="T2" fmla="*/ 2147483647 w 181"/>
              <a:gd name="T3" fmla="*/ 2147483647 h 210"/>
              <a:gd name="T4" fmla="*/ 2147483647 w 181"/>
              <a:gd name="T5" fmla="*/ 2147483647 h 210"/>
              <a:gd name="T6" fmla="*/ 2147483647 w 181"/>
              <a:gd name="T7" fmla="*/ 2147483647 h 210"/>
              <a:gd name="T8" fmla="*/ 2147483647 w 181"/>
              <a:gd name="T9" fmla="*/ 2147483647 h 210"/>
              <a:gd name="T10" fmla="*/ 2147483647 w 181"/>
              <a:gd name="T11" fmla="*/ 2147483647 h 210"/>
              <a:gd name="T12" fmla="*/ 2147483647 w 181"/>
              <a:gd name="T13" fmla="*/ 0 h 210"/>
              <a:gd name="T14" fmla="*/ 2147483647 w 181"/>
              <a:gd name="T15" fmla="*/ 0 h 210"/>
              <a:gd name="T16" fmla="*/ 2147483647 w 181"/>
              <a:gd name="T17" fmla="*/ 2147483647 h 210"/>
              <a:gd name="T18" fmla="*/ 2147483647 w 181"/>
              <a:gd name="T19" fmla="*/ 2147483647 h 210"/>
              <a:gd name="T20" fmla="*/ 2147483647 w 181"/>
              <a:gd name="T21" fmla="*/ 2147483647 h 210"/>
              <a:gd name="T22" fmla="*/ 2147483647 w 181"/>
              <a:gd name="T23" fmla="*/ 2147483647 h 210"/>
              <a:gd name="T24" fmla="*/ 0 w 181"/>
              <a:gd name="T25" fmla="*/ 2147483647 h 210"/>
              <a:gd name="T26" fmla="*/ 2147483647 w 181"/>
              <a:gd name="T27" fmla="*/ 2147483647 h 210"/>
              <a:gd name="T28" fmla="*/ 2147483647 w 181"/>
              <a:gd name="T29" fmla="*/ 2147483647 h 210"/>
              <a:gd name="T30" fmla="*/ 2147483647 w 181"/>
              <a:gd name="T31" fmla="*/ 2147483647 h 210"/>
              <a:gd name="T32" fmla="*/ 2147483647 w 181"/>
              <a:gd name="T33" fmla="*/ 2147483647 h 210"/>
              <a:gd name="T34" fmla="*/ 2147483647 w 181"/>
              <a:gd name="T35" fmla="*/ 2147483647 h 210"/>
              <a:gd name="T36" fmla="*/ 2147483647 w 181"/>
              <a:gd name="T37" fmla="*/ 2147483647 h 210"/>
              <a:gd name="T38" fmla="*/ 2147483647 w 181"/>
              <a:gd name="T39" fmla="*/ 2147483647 h 210"/>
              <a:gd name="T40" fmla="*/ 2147483647 w 181"/>
              <a:gd name="T41" fmla="*/ 2147483647 h 210"/>
              <a:gd name="T42" fmla="*/ 2147483647 w 181"/>
              <a:gd name="T43" fmla="*/ 2147483647 h 210"/>
              <a:gd name="T44" fmla="*/ 2147483647 w 181"/>
              <a:gd name="T45" fmla="*/ 2147483647 h 210"/>
              <a:gd name="T46" fmla="*/ 2147483647 w 181"/>
              <a:gd name="T47" fmla="*/ 2147483647 h 210"/>
              <a:gd name="T48" fmla="*/ 2147483647 w 181"/>
              <a:gd name="T49" fmla="*/ 2147483647 h 210"/>
              <a:gd name="T50" fmla="*/ 2147483647 w 181"/>
              <a:gd name="T51" fmla="*/ 2147483647 h 210"/>
              <a:gd name="T52" fmla="*/ 2147483647 w 181"/>
              <a:gd name="T53" fmla="*/ 2147483647 h 210"/>
              <a:gd name="T54" fmla="*/ 2147483647 w 181"/>
              <a:gd name="T55" fmla="*/ 2147483647 h 210"/>
              <a:gd name="T56" fmla="*/ 2147483647 w 181"/>
              <a:gd name="T57" fmla="*/ 2147483647 h 210"/>
              <a:gd name="T58" fmla="*/ 2147483647 w 181"/>
              <a:gd name="T59" fmla="*/ 2147483647 h 210"/>
              <a:gd name="T60" fmla="*/ 2147483647 w 181"/>
              <a:gd name="T61" fmla="*/ 2147483647 h 210"/>
              <a:gd name="T62" fmla="*/ 2147483647 w 181"/>
              <a:gd name="T63" fmla="*/ 2147483647 h 210"/>
              <a:gd name="T64" fmla="*/ 2147483647 w 181"/>
              <a:gd name="T65" fmla="*/ 2147483647 h 210"/>
              <a:gd name="T66" fmla="*/ 2147483647 w 181"/>
              <a:gd name="T67" fmla="*/ 2147483647 h 210"/>
              <a:gd name="T68" fmla="*/ 2147483647 w 181"/>
              <a:gd name="T69" fmla="*/ 2147483647 h 210"/>
              <a:gd name="T70" fmla="*/ 2147483647 w 181"/>
              <a:gd name="T71" fmla="*/ 2147483647 h 210"/>
              <a:gd name="T72" fmla="*/ 2147483647 w 181"/>
              <a:gd name="T73" fmla="*/ 2147483647 h 210"/>
              <a:gd name="T74" fmla="*/ 2147483647 w 181"/>
              <a:gd name="T75" fmla="*/ 2147483647 h 210"/>
              <a:gd name="T76" fmla="*/ 2147483647 w 181"/>
              <a:gd name="T77" fmla="*/ 2147483647 h 210"/>
              <a:gd name="T78" fmla="*/ 2147483647 w 181"/>
              <a:gd name="T79" fmla="*/ 2147483647 h 210"/>
              <a:gd name="T80" fmla="*/ 2147483647 w 181"/>
              <a:gd name="T81" fmla="*/ 2147483647 h 210"/>
              <a:gd name="T82" fmla="*/ 2147483647 w 181"/>
              <a:gd name="T83" fmla="*/ 2147483647 h 210"/>
              <a:gd name="T84" fmla="*/ 2147483647 w 181"/>
              <a:gd name="T85" fmla="*/ 2147483647 h 21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81"/>
              <a:gd name="T130" fmla="*/ 0 h 210"/>
              <a:gd name="T131" fmla="*/ 181 w 181"/>
              <a:gd name="T132" fmla="*/ 210 h 210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81" h="210">
                <a:moveTo>
                  <a:pt x="102" y="54"/>
                </a:moveTo>
                <a:lnTo>
                  <a:pt x="96" y="47"/>
                </a:lnTo>
                <a:lnTo>
                  <a:pt x="84" y="36"/>
                </a:lnTo>
                <a:lnTo>
                  <a:pt x="72" y="41"/>
                </a:lnTo>
                <a:lnTo>
                  <a:pt x="56" y="27"/>
                </a:lnTo>
                <a:lnTo>
                  <a:pt x="52" y="16"/>
                </a:lnTo>
                <a:lnTo>
                  <a:pt x="36" y="0"/>
                </a:lnTo>
                <a:lnTo>
                  <a:pt x="25" y="0"/>
                </a:lnTo>
                <a:lnTo>
                  <a:pt x="31" y="30"/>
                </a:lnTo>
                <a:lnTo>
                  <a:pt x="21" y="26"/>
                </a:lnTo>
                <a:lnTo>
                  <a:pt x="18" y="21"/>
                </a:lnTo>
                <a:lnTo>
                  <a:pt x="8" y="38"/>
                </a:lnTo>
                <a:lnTo>
                  <a:pt x="0" y="51"/>
                </a:lnTo>
                <a:lnTo>
                  <a:pt x="8" y="54"/>
                </a:lnTo>
                <a:lnTo>
                  <a:pt x="10" y="69"/>
                </a:lnTo>
                <a:lnTo>
                  <a:pt x="27" y="70"/>
                </a:lnTo>
                <a:lnTo>
                  <a:pt x="28" y="95"/>
                </a:lnTo>
                <a:lnTo>
                  <a:pt x="31" y="120"/>
                </a:lnTo>
                <a:lnTo>
                  <a:pt x="49" y="106"/>
                </a:lnTo>
                <a:lnTo>
                  <a:pt x="63" y="111"/>
                </a:lnTo>
                <a:lnTo>
                  <a:pt x="73" y="106"/>
                </a:lnTo>
                <a:lnTo>
                  <a:pt x="82" y="99"/>
                </a:lnTo>
                <a:lnTo>
                  <a:pt x="109" y="120"/>
                </a:lnTo>
                <a:lnTo>
                  <a:pt x="114" y="140"/>
                </a:lnTo>
                <a:lnTo>
                  <a:pt x="133" y="165"/>
                </a:lnTo>
                <a:lnTo>
                  <a:pt x="138" y="186"/>
                </a:lnTo>
                <a:lnTo>
                  <a:pt x="132" y="200"/>
                </a:lnTo>
                <a:lnTo>
                  <a:pt x="150" y="210"/>
                </a:lnTo>
                <a:lnTo>
                  <a:pt x="150" y="203"/>
                </a:lnTo>
                <a:lnTo>
                  <a:pt x="158" y="196"/>
                </a:lnTo>
                <a:lnTo>
                  <a:pt x="166" y="200"/>
                </a:lnTo>
                <a:lnTo>
                  <a:pt x="181" y="191"/>
                </a:lnTo>
                <a:lnTo>
                  <a:pt x="178" y="171"/>
                </a:lnTo>
                <a:lnTo>
                  <a:pt x="171" y="162"/>
                </a:lnTo>
                <a:lnTo>
                  <a:pt x="172" y="158"/>
                </a:lnTo>
                <a:lnTo>
                  <a:pt x="153" y="142"/>
                </a:lnTo>
                <a:lnTo>
                  <a:pt x="144" y="128"/>
                </a:lnTo>
                <a:lnTo>
                  <a:pt x="129" y="111"/>
                </a:lnTo>
                <a:lnTo>
                  <a:pt x="116" y="94"/>
                </a:lnTo>
                <a:lnTo>
                  <a:pt x="88" y="74"/>
                </a:lnTo>
                <a:lnTo>
                  <a:pt x="92" y="68"/>
                </a:lnTo>
                <a:lnTo>
                  <a:pt x="104" y="63"/>
                </a:lnTo>
                <a:lnTo>
                  <a:pt x="102" y="5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06" name="Freeform 13"/>
          <p:cNvSpPr>
            <a:spLocks/>
          </p:cNvSpPr>
          <p:nvPr/>
        </p:nvSpPr>
        <p:spPr bwMode="auto">
          <a:xfrm>
            <a:off x="7045325" y="3767138"/>
            <a:ext cx="255588" cy="630237"/>
          </a:xfrm>
          <a:custGeom>
            <a:avLst/>
            <a:gdLst>
              <a:gd name="T0" fmla="*/ 2147483647 w 191"/>
              <a:gd name="T1" fmla="*/ 2147483647 h 457"/>
              <a:gd name="T2" fmla="*/ 2147483647 w 191"/>
              <a:gd name="T3" fmla="*/ 2147483647 h 457"/>
              <a:gd name="T4" fmla="*/ 2147483647 w 191"/>
              <a:gd name="T5" fmla="*/ 2147483647 h 457"/>
              <a:gd name="T6" fmla="*/ 2147483647 w 191"/>
              <a:gd name="T7" fmla="*/ 2147483647 h 457"/>
              <a:gd name="T8" fmla="*/ 2147483647 w 191"/>
              <a:gd name="T9" fmla="*/ 0 h 457"/>
              <a:gd name="T10" fmla="*/ 2147483647 w 191"/>
              <a:gd name="T11" fmla="*/ 2147483647 h 457"/>
              <a:gd name="T12" fmla="*/ 2147483647 w 191"/>
              <a:gd name="T13" fmla="*/ 2147483647 h 457"/>
              <a:gd name="T14" fmla="*/ 2147483647 w 191"/>
              <a:gd name="T15" fmla="*/ 2147483647 h 457"/>
              <a:gd name="T16" fmla="*/ 2147483647 w 191"/>
              <a:gd name="T17" fmla="*/ 2147483647 h 457"/>
              <a:gd name="T18" fmla="*/ 2147483647 w 191"/>
              <a:gd name="T19" fmla="*/ 2147483647 h 457"/>
              <a:gd name="T20" fmla="*/ 2147483647 w 191"/>
              <a:gd name="T21" fmla="*/ 2147483647 h 457"/>
              <a:gd name="T22" fmla="*/ 2147483647 w 191"/>
              <a:gd name="T23" fmla="*/ 2147483647 h 457"/>
              <a:gd name="T24" fmla="*/ 0 w 191"/>
              <a:gd name="T25" fmla="*/ 2147483647 h 457"/>
              <a:gd name="T26" fmla="*/ 2147483647 w 191"/>
              <a:gd name="T27" fmla="*/ 2147483647 h 457"/>
              <a:gd name="T28" fmla="*/ 2147483647 w 191"/>
              <a:gd name="T29" fmla="*/ 2147483647 h 457"/>
              <a:gd name="T30" fmla="*/ 2147483647 w 191"/>
              <a:gd name="T31" fmla="*/ 2147483647 h 457"/>
              <a:gd name="T32" fmla="*/ 2147483647 w 191"/>
              <a:gd name="T33" fmla="*/ 2147483647 h 457"/>
              <a:gd name="T34" fmla="*/ 2147483647 w 191"/>
              <a:gd name="T35" fmla="*/ 2147483647 h 457"/>
              <a:gd name="T36" fmla="*/ 2147483647 w 191"/>
              <a:gd name="T37" fmla="*/ 2147483647 h 457"/>
              <a:gd name="T38" fmla="*/ 2147483647 w 191"/>
              <a:gd name="T39" fmla="*/ 2147483647 h 457"/>
              <a:gd name="T40" fmla="*/ 2147483647 w 191"/>
              <a:gd name="T41" fmla="*/ 2147483647 h 457"/>
              <a:gd name="T42" fmla="*/ 2147483647 w 191"/>
              <a:gd name="T43" fmla="*/ 2147483647 h 457"/>
              <a:gd name="T44" fmla="*/ 2147483647 w 191"/>
              <a:gd name="T45" fmla="*/ 2147483647 h 457"/>
              <a:gd name="T46" fmla="*/ 2147483647 w 191"/>
              <a:gd name="T47" fmla="*/ 2147483647 h 457"/>
              <a:gd name="T48" fmla="*/ 2147483647 w 191"/>
              <a:gd name="T49" fmla="*/ 2147483647 h 457"/>
              <a:gd name="T50" fmla="*/ 2147483647 w 191"/>
              <a:gd name="T51" fmla="*/ 2147483647 h 457"/>
              <a:gd name="T52" fmla="*/ 2147483647 w 191"/>
              <a:gd name="T53" fmla="*/ 2147483647 h 457"/>
              <a:gd name="T54" fmla="*/ 2147483647 w 191"/>
              <a:gd name="T55" fmla="*/ 2147483647 h 457"/>
              <a:gd name="T56" fmla="*/ 2147483647 w 191"/>
              <a:gd name="T57" fmla="*/ 2147483647 h 457"/>
              <a:gd name="T58" fmla="*/ 2147483647 w 191"/>
              <a:gd name="T59" fmla="*/ 2147483647 h 457"/>
              <a:gd name="T60" fmla="*/ 2147483647 w 191"/>
              <a:gd name="T61" fmla="*/ 2147483647 h 457"/>
              <a:gd name="T62" fmla="*/ 2147483647 w 191"/>
              <a:gd name="T63" fmla="*/ 2147483647 h 457"/>
              <a:gd name="T64" fmla="*/ 2147483647 w 191"/>
              <a:gd name="T65" fmla="*/ 2147483647 h 457"/>
              <a:gd name="T66" fmla="*/ 2147483647 w 191"/>
              <a:gd name="T67" fmla="*/ 2147483647 h 457"/>
              <a:gd name="T68" fmla="*/ 2147483647 w 191"/>
              <a:gd name="T69" fmla="*/ 2147483647 h 457"/>
              <a:gd name="T70" fmla="*/ 2147483647 w 191"/>
              <a:gd name="T71" fmla="*/ 2147483647 h 457"/>
              <a:gd name="T72" fmla="*/ 2147483647 w 191"/>
              <a:gd name="T73" fmla="*/ 2147483647 h 457"/>
              <a:gd name="T74" fmla="*/ 2147483647 w 191"/>
              <a:gd name="T75" fmla="*/ 2147483647 h 457"/>
              <a:gd name="T76" fmla="*/ 2147483647 w 191"/>
              <a:gd name="T77" fmla="*/ 2147483647 h 457"/>
              <a:gd name="T78" fmla="*/ 2147483647 w 191"/>
              <a:gd name="T79" fmla="*/ 2147483647 h 457"/>
              <a:gd name="T80" fmla="*/ 2147483647 w 191"/>
              <a:gd name="T81" fmla="*/ 2147483647 h 457"/>
              <a:gd name="T82" fmla="*/ 2147483647 w 191"/>
              <a:gd name="T83" fmla="*/ 2147483647 h 457"/>
              <a:gd name="T84" fmla="*/ 2147483647 w 191"/>
              <a:gd name="T85" fmla="*/ 2147483647 h 457"/>
              <a:gd name="T86" fmla="*/ 2147483647 w 191"/>
              <a:gd name="T87" fmla="*/ 2147483647 h 45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91"/>
              <a:gd name="T133" fmla="*/ 0 h 457"/>
              <a:gd name="T134" fmla="*/ 191 w 191"/>
              <a:gd name="T135" fmla="*/ 457 h 457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91" h="457">
                <a:moveTo>
                  <a:pt x="128" y="110"/>
                </a:moveTo>
                <a:lnTo>
                  <a:pt x="105" y="114"/>
                </a:lnTo>
                <a:lnTo>
                  <a:pt x="104" y="103"/>
                </a:lnTo>
                <a:lnTo>
                  <a:pt x="103" y="92"/>
                </a:lnTo>
                <a:lnTo>
                  <a:pt x="114" y="75"/>
                </a:lnTo>
                <a:lnTo>
                  <a:pt x="117" y="63"/>
                </a:lnTo>
                <a:lnTo>
                  <a:pt x="113" y="44"/>
                </a:lnTo>
                <a:lnTo>
                  <a:pt x="108" y="24"/>
                </a:lnTo>
                <a:lnTo>
                  <a:pt x="98" y="19"/>
                </a:lnTo>
                <a:lnTo>
                  <a:pt x="80" y="0"/>
                </a:lnTo>
                <a:lnTo>
                  <a:pt x="78" y="8"/>
                </a:lnTo>
                <a:lnTo>
                  <a:pt x="75" y="20"/>
                </a:lnTo>
                <a:lnTo>
                  <a:pt x="73" y="27"/>
                </a:lnTo>
                <a:lnTo>
                  <a:pt x="76" y="36"/>
                </a:lnTo>
                <a:lnTo>
                  <a:pt x="61" y="32"/>
                </a:lnTo>
                <a:lnTo>
                  <a:pt x="40" y="54"/>
                </a:lnTo>
                <a:lnTo>
                  <a:pt x="39" y="74"/>
                </a:lnTo>
                <a:lnTo>
                  <a:pt x="39" y="85"/>
                </a:lnTo>
                <a:lnTo>
                  <a:pt x="28" y="115"/>
                </a:lnTo>
                <a:lnTo>
                  <a:pt x="15" y="115"/>
                </a:lnTo>
                <a:lnTo>
                  <a:pt x="14" y="137"/>
                </a:lnTo>
                <a:lnTo>
                  <a:pt x="14" y="163"/>
                </a:lnTo>
                <a:lnTo>
                  <a:pt x="7" y="163"/>
                </a:lnTo>
                <a:lnTo>
                  <a:pt x="6" y="163"/>
                </a:lnTo>
                <a:lnTo>
                  <a:pt x="7" y="179"/>
                </a:lnTo>
                <a:lnTo>
                  <a:pt x="0" y="183"/>
                </a:lnTo>
                <a:lnTo>
                  <a:pt x="14" y="205"/>
                </a:lnTo>
                <a:lnTo>
                  <a:pt x="15" y="207"/>
                </a:lnTo>
                <a:lnTo>
                  <a:pt x="20" y="201"/>
                </a:lnTo>
                <a:lnTo>
                  <a:pt x="25" y="216"/>
                </a:lnTo>
                <a:lnTo>
                  <a:pt x="27" y="217"/>
                </a:lnTo>
                <a:lnTo>
                  <a:pt x="36" y="216"/>
                </a:lnTo>
                <a:lnTo>
                  <a:pt x="43" y="225"/>
                </a:lnTo>
                <a:lnTo>
                  <a:pt x="37" y="229"/>
                </a:lnTo>
                <a:lnTo>
                  <a:pt x="43" y="239"/>
                </a:lnTo>
                <a:lnTo>
                  <a:pt x="46" y="230"/>
                </a:lnTo>
                <a:lnTo>
                  <a:pt x="55" y="249"/>
                </a:lnTo>
                <a:lnTo>
                  <a:pt x="62" y="269"/>
                </a:lnTo>
                <a:lnTo>
                  <a:pt x="61" y="290"/>
                </a:lnTo>
                <a:lnTo>
                  <a:pt x="60" y="311"/>
                </a:lnTo>
                <a:lnTo>
                  <a:pt x="69" y="299"/>
                </a:lnTo>
                <a:lnTo>
                  <a:pt x="72" y="312"/>
                </a:lnTo>
                <a:lnTo>
                  <a:pt x="75" y="315"/>
                </a:lnTo>
                <a:lnTo>
                  <a:pt x="80" y="314"/>
                </a:lnTo>
                <a:lnTo>
                  <a:pt x="85" y="312"/>
                </a:lnTo>
                <a:lnTo>
                  <a:pt x="85" y="315"/>
                </a:lnTo>
                <a:lnTo>
                  <a:pt x="100" y="303"/>
                </a:lnTo>
                <a:lnTo>
                  <a:pt x="103" y="296"/>
                </a:lnTo>
                <a:lnTo>
                  <a:pt x="109" y="300"/>
                </a:lnTo>
                <a:lnTo>
                  <a:pt x="115" y="279"/>
                </a:lnTo>
                <a:lnTo>
                  <a:pt x="123" y="291"/>
                </a:lnTo>
                <a:lnTo>
                  <a:pt x="133" y="300"/>
                </a:lnTo>
                <a:lnTo>
                  <a:pt x="143" y="335"/>
                </a:lnTo>
                <a:lnTo>
                  <a:pt x="152" y="369"/>
                </a:lnTo>
                <a:lnTo>
                  <a:pt x="152" y="363"/>
                </a:lnTo>
                <a:lnTo>
                  <a:pt x="159" y="381"/>
                </a:lnTo>
                <a:lnTo>
                  <a:pt x="165" y="399"/>
                </a:lnTo>
                <a:lnTo>
                  <a:pt x="169" y="417"/>
                </a:lnTo>
                <a:lnTo>
                  <a:pt x="169" y="438"/>
                </a:lnTo>
                <a:lnTo>
                  <a:pt x="169" y="457"/>
                </a:lnTo>
                <a:lnTo>
                  <a:pt x="174" y="452"/>
                </a:lnTo>
                <a:lnTo>
                  <a:pt x="181" y="437"/>
                </a:lnTo>
                <a:lnTo>
                  <a:pt x="188" y="420"/>
                </a:lnTo>
                <a:lnTo>
                  <a:pt x="182" y="396"/>
                </a:lnTo>
                <a:lnTo>
                  <a:pt x="176" y="374"/>
                </a:lnTo>
                <a:lnTo>
                  <a:pt x="165" y="360"/>
                </a:lnTo>
                <a:lnTo>
                  <a:pt x="153" y="344"/>
                </a:lnTo>
                <a:lnTo>
                  <a:pt x="153" y="330"/>
                </a:lnTo>
                <a:lnTo>
                  <a:pt x="156" y="319"/>
                </a:lnTo>
                <a:lnTo>
                  <a:pt x="162" y="305"/>
                </a:lnTo>
                <a:lnTo>
                  <a:pt x="156" y="302"/>
                </a:lnTo>
                <a:lnTo>
                  <a:pt x="138" y="276"/>
                </a:lnTo>
                <a:lnTo>
                  <a:pt x="120" y="248"/>
                </a:lnTo>
                <a:lnTo>
                  <a:pt x="126" y="249"/>
                </a:lnTo>
                <a:lnTo>
                  <a:pt x="131" y="222"/>
                </a:lnTo>
                <a:lnTo>
                  <a:pt x="152" y="217"/>
                </a:lnTo>
                <a:lnTo>
                  <a:pt x="161" y="206"/>
                </a:lnTo>
                <a:lnTo>
                  <a:pt x="173" y="204"/>
                </a:lnTo>
                <a:lnTo>
                  <a:pt x="181" y="191"/>
                </a:lnTo>
                <a:lnTo>
                  <a:pt x="191" y="174"/>
                </a:lnTo>
                <a:lnTo>
                  <a:pt x="185" y="171"/>
                </a:lnTo>
                <a:lnTo>
                  <a:pt x="169" y="175"/>
                </a:lnTo>
                <a:lnTo>
                  <a:pt x="159" y="162"/>
                </a:lnTo>
                <a:lnTo>
                  <a:pt x="147" y="156"/>
                </a:lnTo>
                <a:lnTo>
                  <a:pt x="150" y="137"/>
                </a:lnTo>
                <a:lnTo>
                  <a:pt x="135" y="129"/>
                </a:lnTo>
                <a:lnTo>
                  <a:pt x="129" y="114"/>
                </a:lnTo>
                <a:lnTo>
                  <a:pt x="128" y="11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07" name="Freeform 14"/>
          <p:cNvSpPr>
            <a:spLocks/>
          </p:cNvSpPr>
          <p:nvPr/>
        </p:nvSpPr>
        <p:spPr bwMode="auto">
          <a:xfrm>
            <a:off x="7205663" y="4049713"/>
            <a:ext cx="255587" cy="496887"/>
          </a:xfrm>
          <a:custGeom>
            <a:avLst/>
            <a:gdLst>
              <a:gd name="T0" fmla="*/ 2147483647 w 191"/>
              <a:gd name="T1" fmla="*/ 2147483647 h 361"/>
              <a:gd name="T2" fmla="*/ 2147483647 w 191"/>
              <a:gd name="T3" fmla="*/ 2147483647 h 361"/>
              <a:gd name="T4" fmla="*/ 2147483647 w 191"/>
              <a:gd name="T5" fmla="*/ 2147483647 h 361"/>
              <a:gd name="T6" fmla="*/ 2147483647 w 191"/>
              <a:gd name="T7" fmla="*/ 2147483647 h 361"/>
              <a:gd name="T8" fmla="*/ 2147483647 w 191"/>
              <a:gd name="T9" fmla="*/ 2147483647 h 361"/>
              <a:gd name="T10" fmla="*/ 2147483647 w 191"/>
              <a:gd name="T11" fmla="*/ 2147483647 h 361"/>
              <a:gd name="T12" fmla="*/ 2147483647 w 191"/>
              <a:gd name="T13" fmla="*/ 2147483647 h 361"/>
              <a:gd name="T14" fmla="*/ 2147483647 w 191"/>
              <a:gd name="T15" fmla="*/ 2147483647 h 361"/>
              <a:gd name="T16" fmla="*/ 2147483647 w 191"/>
              <a:gd name="T17" fmla="*/ 2147483647 h 361"/>
              <a:gd name="T18" fmla="*/ 2147483647 w 191"/>
              <a:gd name="T19" fmla="*/ 2147483647 h 361"/>
              <a:gd name="T20" fmla="*/ 2147483647 w 191"/>
              <a:gd name="T21" fmla="*/ 2147483647 h 361"/>
              <a:gd name="T22" fmla="*/ 2147483647 w 191"/>
              <a:gd name="T23" fmla="*/ 2147483647 h 361"/>
              <a:gd name="T24" fmla="*/ 2147483647 w 191"/>
              <a:gd name="T25" fmla="*/ 2147483647 h 361"/>
              <a:gd name="T26" fmla="*/ 2147483647 w 191"/>
              <a:gd name="T27" fmla="*/ 2147483647 h 361"/>
              <a:gd name="T28" fmla="*/ 2147483647 w 191"/>
              <a:gd name="T29" fmla="*/ 0 h 361"/>
              <a:gd name="T30" fmla="*/ 2147483647 w 191"/>
              <a:gd name="T31" fmla="*/ 2147483647 h 361"/>
              <a:gd name="T32" fmla="*/ 2147483647 w 191"/>
              <a:gd name="T33" fmla="*/ 2147483647 h 361"/>
              <a:gd name="T34" fmla="*/ 2147483647 w 191"/>
              <a:gd name="T35" fmla="*/ 2147483647 h 361"/>
              <a:gd name="T36" fmla="*/ 2147483647 w 191"/>
              <a:gd name="T37" fmla="*/ 2147483647 h 361"/>
              <a:gd name="T38" fmla="*/ 2147483647 w 191"/>
              <a:gd name="T39" fmla="*/ 2147483647 h 361"/>
              <a:gd name="T40" fmla="*/ 2147483647 w 191"/>
              <a:gd name="T41" fmla="*/ 2147483647 h 361"/>
              <a:gd name="T42" fmla="*/ 2147483647 w 191"/>
              <a:gd name="T43" fmla="*/ 2147483647 h 361"/>
              <a:gd name="T44" fmla="*/ 2147483647 w 191"/>
              <a:gd name="T45" fmla="*/ 2147483647 h 361"/>
              <a:gd name="T46" fmla="*/ 2147483647 w 191"/>
              <a:gd name="T47" fmla="*/ 2147483647 h 361"/>
              <a:gd name="T48" fmla="*/ 2147483647 w 191"/>
              <a:gd name="T49" fmla="*/ 2147483647 h 361"/>
              <a:gd name="T50" fmla="*/ 2147483647 w 191"/>
              <a:gd name="T51" fmla="*/ 2147483647 h 361"/>
              <a:gd name="T52" fmla="*/ 2147483647 w 191"/>
              <a:gd name="T53" fmla="*/ 2147483647 h 361"/>
              <a:gd name="T54" fmla="*/ 2147483647 w 191"/>
              <a:gd name="T55" fmla="*/ 2147483647 h 361"/>
              <a:gd name="T56" fmla="*/ 2147483647 w 191"/>
              <a:gd name="T57" fmla="*/ 2147483647 h 361"/>
              <a:gd name="T58" fmla="*/ 2147483647 w 191"/>
              <a:gd name="T59" fmla="*/ 2147483647 h 361"/>
              <a:gd name="T60" fmla="*/ 2147483647 w 191"/>
              <a:gd name="T61" fmla="*/ 2147483647 h 361"/>
              <a:gd name="T62" fmla="*/ 2147483647 w 191"/>
              <a:gd name="T63" fmla="*/ 2147483647 h 361"/>
              <a:gd name="T64" fmla="*/ 2147483647 w 191"/>
              <a:gd name="T65" fmla="*/ 2147483647 h 36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91"/>
              <a:gd name="T100" fmla="*/ 0 h 361"/>
              <a:gd name="T101" fmla="*/ 191 w 191"/>
              <a:gd name="T102" fmla="*/ 361 h 361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91" h="361">
                <a:moveTo>
                  <a:pt x="68" y="277"/>
                </a:moveTo>
                <a:lnTo>
                  <a:pt x="63" y="258"/>
                </a:lnTo>
                <a:lnTo>
                  <a:pt x="68" y="235"/>
                </a:lnTo>
                <a:lnTo>
                  <a:pt x="73" y="213"/>
                </a:lnTo>
                <a:lnTo>
                  <a:pt x="73" y="194"/>
                </a:lnTo>
                <a:lnTo>
                  <a:pt x="74" y="174"/>
                </a:lnTo>
                <a:lnTo>
                  <a:pt x="93" y="170"/>
                </a:lnTo>
                <a:lnTo>
                  <a:pt x="95" y="188"/>
                </a:lnTo>
                <a:lnTo>
                  <a:pt x="111" y="191"/>
                </a:lnTo>
                <a:lnTo>
                  <a:pt x="133" y="206"/>
                </a:lnTo>
                <a:lnTo>
                  <a:pt x="141" y="216"/>
                </a:lnTo>
                <a:lnTo>
                  <a:pt x="133" y="195"/>
                </a:lnTo>
                <a:lnTo>
                  <a:pt x="125" y="175"/>
                </a:lnTo>
                <a:lnTo>
                  <a:pt x="139" y="150"/>
                </a:lnTo>
                <a:lnTo>
                  <a:pt x="162" y="150"/>
                </a:lnTo>
                <a:lnTo>
                  <a:pt x="185" y="149"/>
                </a:lnTo>
                <a:lnTo>
                  <a:pt x="191" y="135"/>
                </a:lnTo>
                <a:lnTo>
                  <a:pt x="186" y="114"/>
                </a:lnTo>
                <a:lnTo>
                  <a:pt x="167" y="89"/>
                </a:lnTo>
                <a:lnTo>
                  <a:pt x="162" y="69"/>
                </a:lnTo>
                <a:lnTo>
                  <a:pt x="135" y="48"/>
                </a:lnTo>
                <a:lnTo>
                  <a:pt x="126" y="55"/>
                </a:lnTo>
                <a:lnTo>
                  <a:pt x="116" y="60"/>
                </a:lnTo>
                <a:lnTo>
                  <a:pt x="102" y="55"/>
                </a:lnTo>
                <a:lnTo>
                  <a:pt x="84" y="69"/>
                </a:lnTo>
                <a:lnTo>
                  <a:pt x="81" y="44"/>
                </a:lnTo>
                <a:lnTo>
                  <a:pt x="80" y="19"/>
                </a:lnTo>
                <a:lnTo>
                  <a:pt x="63" y="18"/>
                </a:lnTo>
                <a:lnTo>
                  <a:pt x="61" y="3"/>
                </a:lnTo>
                <a:lnTo>
                  <a:pt x="53" y="0"/>
                </a:lnTo>
                <a:lnTo>
                  <a:pt x="41" y="2"/>
                </a:lnTo>
                <a:lnTo>
                  <a:pt x="32" y="13"/>
                </a:lnTo>
                <a:lnTo>
                  <a:pt x="11" y="18"/>
                </a:lnTo>
                <a:lnTo>
                  <a:pt x="6" y="45"/>
                </a:lnTo>
                <a:lnTo>
                  <a:pt x="0" y="44"/>
                </a:lnTo>
                <a:lnTo>
                  <a:pt x="18" y="72"/>
                </a:lnTo>
                <a:lnTo>
                  <a:pt x="36" y="98"/>
                </a:lnTo>
                <a:lnTo>
                  <a:pt x="42" y="101"/>
                </a:lnTo>
                <a:lnTo>
                  <a:pt x="36" y="115"/>
                </a:lnTo>
                <a:lnTo>
                  <a:pt x="33" y="126"/>
                </a:lnTo>
                <a:lnTo>
                  <a:pt x="33" y="140"/>
                </a:lnTo>
                <a:lnTo>
                  <a:pt x="45" y="156"/>
                </a:lnTo>
                <a:lnTo>
                  <a:pt x="56" y="170"/>
                </a:lnTo>
                <a:lnTo>
                  <a:pt x="62" y="192"/>
                </a:lnTo>
                <a:lnTo>
                  <a:pt x="68" y="216"/>
                </a:lnTo>
                <a:lnTo>
                  <a:pt x="61" y="233"/>
                </a:lnTo>
                <a:lnTo>
                  <a:pt x="54" y="248"/>
                </a:lnTo>
                <a:lnTo>
                  <a:pt x="53" y="253"/>
                </a:lnTo>
                <a:lnTo>
                  <a:pt x="50" y="277"/>
                </a:lnTo>
                <a:lnTo>
                  <a:pt x="47" y="301"/>
                </a:lnTo>
                <a:lnTo>
                  <a:pt x="50" y="299"/>
                </a:lnTo>
                <a:lnTo>
                  <a:pt x="62" y="312"/>
                </a:lnTo>
                <a:lnTo>
                  <a:pt x="74" y="325"/>
                </a:lnTo>
                <a:lnTo>
                  <a:pt x="79" y="331"/>
                </a:lnTo>
                <a:lnTo>
                  <a:pt x="90" y="345"/>
                </a:lnTo>
                <a:lnTo>
                  <a:pt x="91" y="342"/>
                </a:lnTo>
                <a:lnTo>
                  <a:pt x="108" y="350"/>
                </a:lnTo>
                <a:lnTo>
                  <a:pt x="109" y="361"/>
                </a:lnTo>
                <a:lnTo>
                  <a:pt x="123" y="361"/>
                </a:lnTo>
                <a:lnTo>
                  <a:pt x="133" y="350"/>
                </a:lnTo>
                <a:lnTo>
                  <a:pt x="120" y="336"/>
                </a:lnTo>
                <a:lnTo>
                  <a:pt x="104" y="332"/>
                </a:lnTo>
                <a:lnTo>
                  <a:pt x="92" y="319"/>
                </a:lnTo>
                <a:lnTo>
                  <a:pt x="87" y="301"/>
                </a:lnTo>
                <a:lnTo>
                  <a:pt x="80" y="278"/>
                </a:lnTo>
                <a:lnTo>
                  <a:pt x="68" y="27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08" name="Freeform 15"/>
          <p:cNvSpPr>
            <a:spLocks/>
          </p:cNvSpPr>
          <p:nvPr/>
        </p:nvSpPr>
        <p:spPr bwMode="auto">
          <a:xfrm>
            <a:off x="7324725" y="3949700"/>
            <a:ext cx="254000" cy="498475"/>
          </a:xfrm>
          <a:custGeom>
            <a:avLst/>
            <a:gdLst>
              <a:gd name="T0" fmla="*/ 2147483647 w 190"/>
              <a:gd name="T1" fmla="*/ 2147483647 h 361"/>
              <a:gd name="T2" fmla="*/ 2147483647 w 190"/>
              <a:gd name="T3" fmla="*/ 2147483647 h 361"/>
              <a:gd name="T4" fmla="*/ 2147483647 w 190"/>
              <a:gd name="T5" fmla="*/ 2147483647 h 361"/>
              <a:gd name="T6" fmla="*/ 2147483647 w 190"/>
              <a:gd name="T7" fmla="*/ 2147483647 h 361"/>
              <a:gd name="T8" fmla="*/ 2147483647 w 190"/>
              <a:gd name="T9" fmla="*/ 2147483647 h 361"/>
              <a:gd name="T10" fmla="*/ 2147483647 w 190"/>
              <a:gd name="T11" fmla="*/ 2147483647 h 361"/>
              <a:gd name="T12" fmla="*/ 2147483647 w 190"/>
              <a:gd name="T13" fmla="*/ 2147483647 h 361"/>
              <a:gd name="T14" fmla="*/ 2147483647 w 190"/>
              <a:gd name="T15" fmla="*/ 2147483647 h 361"/>
              <a:gd name="T16" fmla="*/ 2147483647 w 190"/>
              <a:gd name="T17" fmla="*/ 2147483647 h 361"/>
              <a:gd name="T18" fmla="*/ 2147483647 w 190"/>
              <a:gd name="T19" fmla="*/ 2147483647 h 361"/>
              <a:gd name="T20" fmla="*/ 2147483647 w 190"/>
              <a:gd name="T21" fmla="*/ 2147483647 h 361"/>
              <a:gd name="T22" fmla="*/ 2147483647 w 190"/>
              <a:gd name="T23" fmla="*/ 2147483647 h 361"/>
              <a:gd name="T24" fmla="*/ 2147483647 w 190"/>
              <a:gd name="T25" fmla="*/ 2147483647 h 361"/>
              <a:gd name="T26" fmla="*/ 2147483647 w 190"/>
              <a:gd name="T27" fmla="*/ 2147483647 h 361"/>
              <a:gd name="T28" fmla="*/ 2147483647 w 190"/>
              <a:gd name="T29" fmla="*/ 2147483647 h 361"/>
              <a:gd name="T30" fmla="*/ 2147483647 w 190"/>
              <a:gd name="T31" fmla="*/ 2147483647 h 361"/>
              <a:gd name="T32" fmla="*/ 2147483647 w 190"/>
              <a:gd name="T33" fmla="*/ 2147483647 h 361"/>
              <a:gd name="T34" fmla="*/ 2147483647 w 190"/>
              <a:gd name="T35" fmla="*/ 2147483647 h 361"/>
              <a:gd name="T36" fmla="*/ 2147483647 w 190"/>
              <a:gd name="T37" fmla="*/ 2147483647 h 361"/>
              <a:gd name="T38" fmla="*/ 2147483647 w 190"/>
              <a:gd name="T39" fmla="*/ 2147483647 h 361"/>
              <a:gd name="T40" fmla="*/ 2147483647 w 190"/>
              <a:gd name="T41" fmla="*/ 2147483647 h 361"/>
              <a:gd name="T42" fmla="*/ 2147483647 w 190"/>
              <a:gd name="T43" fmla="*/ 2147483647 h 361"/>
              <a:gd name="T44" fmla="*/ 2147483647 w 190"/>
              <a:gd name="T45" fmla="*/ 2147483647 h 361"/>
              <a:gd name="T46" fmla="*/ 2147483647 w 190"/>
              <a:gd name="T47" fmla="*/ 2147483647 h 361"/>
              <a:gd name="T48" fmla="*/ 2147483647 w 190"/>
              <a:gd name="T49" fmla="*/ 2147483647 h 361"/>
              <a:gd name="T50" fmla="*/ 2147483647 w 190"/>
              <a:gd name="T51" fmla="*/ 2147483647 h 361"/>
              <a:gd name="T52" fmla="*/ 2147483647 w 190"/>
              <a:gd name="T53" fmla="*/ 2147483647 h 361"/>
              <a:gd name="T54" fmla="*/ 2147483647 w 190"/>
              <a:gd name="T55" fmla="*/ 2147483647 h 361"/>
              <a:gd name="T56" fmla="*/ 2147483647 w 190"/>
              <a:gd name="T57" fmla="*/ 2147483647 h 361"/>
              <a:gd name="T58" fmla="*/ 2147483647 w 190"/>
              <a:gd name="T59" fmla="*/ 2147483647 h 361"/>
              <a:gd name="T60" fmla="*/ 2147483647 w 190"/>
              <a:gd name="T61" fmla="*/ 2147483647 h 361"/>
              <a:gd name="T62" fmla="*/ 2147483647 w 190"/>
              <a:gd name="T63" fmla="*/ 2147483647 h 361"/>
              <a:gd name="T64" fmla="*/ 2147483647 w 190"/>
              <a:gd name="T65" fmla="*/ 2147483647 h 361"/>
              <a:gd name="T66" fmla="*/ 2147483647 w 190"/>
              <a:gd name="T67" fmla="*/ 2147483647 h 361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90"/>
              <a:gd name="T103" fmla="*/ 0 h 361"/>
              <a:gd name="T104" fmla="*/ 190 w 190"/>
              <a:gd name="T105" fmla="*/ 361 h 361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90" h="361">
                <a:moveTo>
                  <a:pt x="66" y="75"/>
                </a:moveTo>
                <a:lnTo>
                  <a:pt x="60" y="68"/>
                </a:lnTo>
                <a:lnTo>
                  <a:pt x="48" y="57"/>
                </a:lnTo>
                <a:lnTo>
                  <a:pt x="36" y="62"/>
                </a:lnTo>
                <a:lnTo>
                  <a:pt x="20" y="48"/>
                </a:lnTo>
                <a:lnTo>
                  <a:pt x="16" y="37"/>
                </a:lnTo>
                <a:lnTo>
                  <a:pt x="0" y="21"/>
                </a:lnTo>
                <a:lnTo>
                  <a:pt x="4" y="15"/>
                </a:lnTo>
                <a:lnTo>
                  <a:pt x="16" y="19"/>
                </a:lnTo>
                <a:lnTo>
                  <a:pt x="21" y="15"/>
                </a:lnTo>
                <a:lnTo>
                  <a:pt x="30" y="15"/>
                </a:lnTo>
                <a:lnTo>
                  <a:pt x="36" y="17"/>
                </a:lnTo>
                <a:lnTo>
                  <a:pt x="39" y="14"/>
                </a:lnTo>
                <a:lnTo>
                  <a:pt x="46" y="14"/>
                </a:lnTo>
                <a:lnTo>
                  <a:pt x="60" y="0"/>
                </a:lnTo>
                <a:lnTo>
                  <a:pt x="68" y="1"/>
                </a:lnTo>
                <a:lnTo>
                  <a:pt x="94" y="9"/>
                </a:lnTo>
                <a:lnTo>
                  <a:pt x="98" y="26"/>
                </a:lnTo>
                <a:lnTo>
                  <a:pt x="108" y="33"/>
                </a:lnTo>
                <a:lnTo>
                  <a:pt x="129" y="42"/>
                </a:lnTo>
                <a:lnTo>
                  <a:pt x="117" y="51"/>
                </a:lnTo>
                <a:lnTo>
                  <a:pt x="105" y="57"/>
                </a:lnTo>
                <a:lnTo>
                  <a:pt x="105" y="60"/>
                </a:lnTo>
                <a:lnTo>
                  <a:pt x="97" y="80"/>
                </a:lnTo>
                <a:lnTo>
                  <a:pt x="88" y="103"/>
                </a:lnTo>
                <a:lnTo>
                  <a:pt x="104" y="125"/>
                </a:lnTo>
                <a:lnTo>
                  <a:pt x="110" y="137"/>
                </a:lnTo>
                <a:lnTo>
                  <a:pt x="123" y="151"/>
                </a:lnTo>
                <a:lnTo>
                  <a:pt x="138" y="164"/>
                </a:lnTo>
                <a:lnTo>
                  <a:pt x="156" y="179"/>
                </a:lnTo>
                <a:lnTo>
                  <a:pt x="170" y="194"/>
                </a:lnTo>
                <a:lnTo>
                  <a:pt x="181" y="229"/>
                </a:lnTo>
                <a:lnTo>
                  <a:pt x="190" y="263"/>
                </a:lnTo>
                <a:lnTo>
                  <a:pt x="189" y="271"/>
                </a:lnTo>
                <a:lnTo>
                  <a:pt x="189" y="279"/>
                </a:lnTo>
                <a:lnTo>
                  <a:pt x="186" y="289"/>
                </a:lnTo>
                <a:lnTo>
                  <a:pt x="171" y="303"/>
                </a:lnTo>
                <a:lnTo>
                  <a:pt x="156" y="317"/>
                </a:lnTo>
                <a:lnTo>
                  <a:pt x="140" y="313"/>
                </a:lnTo>
                <a:lnTo>
                  <a:pt x="140" y="319"/>
                </a:lnTo>
                <a:lnTo>
                  <a:pt x="140" y="326"/>
                </a:lnTo>
                <a:lnTo>
                  <a:pt x="136" y="330"/>
                </a:lnTo>
                <a:lnTo>
                  <a:pt x="136" y="339"/>
                </a:lnTo>
                <a:lnTo>
                  <a:pt x="128" y="339"/>
                </a:lnTo>
                <a:lnTo>
                  <a:pt x="111" y="357"/>
                </a:lnTo>
                <a:lnTo>
                  <a:pt x="100" y="361"/>
                </a:lnTo>
                <a:lnTo>
                  <a:pt x="103" y="331"/>
                </a:lnTo>
                <a:lnTo>
                  <a:pt x="88" y="319"/>
                </a:lnTo>
                <a:lnTo>
                  <a:pt x="102" y="309"/>
                </a:lnTo>
                <a:lnTo>
                  <a:pt x="108" y="307"/>
                </a:lnTo>
                <a:lnTo>
                  <a:pt x="123" y="309"/>
                </a:lnTo>
                <a:lnTo>
                  <a:pt x="117" y="290"/>
                </a:lnTo>
                <a:lnTo>
                  <a:pt x="129" y="284"/>
                </a:lnTo>
                <a:lnTo>
                  <a:pt x="148" y="273"/>
                </a:lnTo>
                <a:lnTo>
                  <a:pt x="147" y="254"/>
                </a:lnTo>
                <a:lnTo>
                  <a:pt x="146" y="235"/>
                </a:lnTo>
                <a:lnTo>
                  <a:pt x="145" y="212"/>
                </a:lnTo>
                <a:lnTo>
                  <a:pt x="142" y="192"/>
                </a:lnTo>
                <a:lnTo>
                  <a:pt x="135" y="183"/>
                </a:lnTo>
                <a:lnTo>
                  <a:pt x="136" y="179"/>
                </a:lnTo>
                <a:lnTo>
                  <a:pt x="117" y="163"/>
                </a:lnTo>
                <a:lnTo>
                  <a:pt x="108" y="149"/>
                </a:lnTo>
                <a:lnTo>
                  <a:pt x="93" y="132"/>
                </a:lnTo>
                <a:lnTo>
                  <a:pt x="80" y="115"/>
                </a:lnTo>
                <a:lnTo>
                  <a:pt x="52" y="95"/>
                </a:lnTo>
                <a:lnTo>
                  <a:pt x="56" y="89"/>
                </a:lnTo>
                <a:lnTo>
                  <a:pt x="68" y="84"/>
                </a:lnTo>
                <a:lnTo>
                  <a:pt x="66" y="75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09" name="Freeform 16"/>
          <p:cNvSpPr>
            <a:spLocks/>
          </p:cNvSpPr>
          <p:nvPr/>
        </p:nvSpPr>
        <p:spPr bwMode="auto">
          <a:xfrm>
            <a:off x="5856288" y="3854450"/>
            <a:ext cx="22225" cy="52388"/>
          </a:xfrm>
          <a:custGeom>
            <a:avLst/>
            <a:gdLst>
              <a:gd name="T0" fmla="*/ 2147483647 w 16"/>
              <a:gd name="T1" fmla="*/ 2147483647 h 38"/>
              <a:gd name="T2" fmla="*/ 2147483647 w 16"/>
              <a:gd name="T3" fmla="*/ 2147483647 h 38"/>
              <a:gd name="T4" fmla="*/ 0 w 16"/>
              <a:gd name="T5" fmla="*/ 2147483647 h 38"/>
              <a:gd name="T6" fmla="*/ 0 w 16"/>
              <a:gd name="T7" fmla="*/ 2147483647 h 38"/>
              <a:gd name="T8" fmla="*/ 2147483647 w 16"/>
              <a:gd name="T9" fmla="*/ 0 h 38"/>
              <a:gd name="T10" fmla="*/ 2147483647 w 16"/>
              <a:gd name="T11" fmla="*/ 2147483647 h 38"/>
              <a:gd name="T12" fmla="*/ 2147483647 w 16"/>
              <a:gd name="T13" fmla="*/ 2147483647 h 3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6"/>
              <a:gd name="T22" fmla="*/ 0 h 38"/>
              <a:gd name="T23" fmla="*/ 16 w 16"/>
              <a:gd name="T24" fmla="*/ 38 h 3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6" h="38">
                <a:moveTo>
                  <a:pt x="8" y="37"/>
                </a:moveTo>
                <a:lnTo>
                  <a:pt x="7" y="38"/>
                </a:lnTo>
                <a:lnTo>
                  <a:pt x="0" y="34"/>
                </a:lnTo>
                <a:lnTo>
                  <a:pt x="0" y="12"/>
                </a:lnTo>
                <a:lnTo>
                  <a:pt x="7" y="0"/>
                </a:lnTo>
                <a:lnTo>
                  <a:pt x="16" y="20"/>
                </a:lnTo>
                <a:lnTo>
                  <a:pt x="8" y="3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10" name="Freeform 17"/>
          <p:cNvSpPr>
            <a:spLocks/>
          </p:cNvSpPr>
          <p:nvPr/>
        </p:nvSpPr>
        <p:spPr bwMode="auto">
          <a:xfrm>
            <a:off x="5607050" y="3389313"/>
            <a:ext cx="592138" cy="493712"/>
          </a:xfrm>
          <a:custGeom>
            <a:avLst/>
            <a:gdLst>
              <a:gd name="T0" fmla="*/ 2147483647 w 446"/>
              <a:gd name="T1" fmla="*/ 2147483647 h 360"/>
              <a:gd name="T2" fmla="*/ 2147483647 w 446"/>
              <a:gd name="T3" fmla="*/ 2147483647 h 360"/>
              <a:gd name="T4" fmla="*/ 2147483647 w 446"/>
              <a:gd name="T5" fmla="*/ 2147483647 h 360"/>
              <a:gd name="T6" fmla="*/ 2147483647 w 446"/>
              <a:gd name="T7" fmla="*/ 2147483647 h 360"/>
              <a:gd name="T8" fmla="*/ 0 w 446"/>
              <a:gd name="T9" fmla="*/ 2147483647 h 360"/>
              <a:gd name="T10" fmla="*/ 2147483647 w 446"/>
              <a:gd name="T11" fmla="*/ 2147483647 h 360"/>
              <a:gd name="T12" fmla="*/ 2147483647 w 446"/>
              <a:gd name="T13" fmla="*/ 2147483647 h 360"/>
              <a:gd name="T14" fmla="*/ 2147483647 w 446"/>
              <a:gd name="T15" fmla="*/ 2147483647 h 360"/>
              <a:gd name="T16" fmla="*/ 2147483647 w 446"/>
              <a:gd name="T17" fmla="*/ 2147483647 h 360"/>
              <a:gd name="T18" fmla="*/ 2147483647 w 446"/>
              <a:gd name="T19" fmla="*/ 2147483647 h 360"/>
              <a:gd name="T20" fmla="*/ 2147483647 w 446"/>
              <a:gd name="T21" fmla="*/ 2147483647 h 360"/>
              <a:gd name="T22" fmla="*/ 2147483647 w 446"/>
              <a:gd name="T23" fmla="*/ 2147483647 h 360"/>
              <a:gd name="T24" fmla="*/ 2147483647 w 446"/>
              <a:gd name="T25" fmla="*/ 2147483647 h 360"/>
              <a:gd name="T26" fmla="*/ 2147483647 w 446"/>
              <a:gd name="T27" fmla="*/ 2147483647 h 360"/>
              <a:gd name="T28" fmla="*/ 2147483647 w 446"/>
              <a:gd name="T29" fmla="*/ 2147483647 h 360"/>
              <a:gd name="T30" fmla="*/ 2147483647 w 446"/>
              <a:gd name="T31" fmla="*/ 2147483647 h 360"/>
              <a:gd name="T32" fmla="*/ 2147483647 w 446"/>
              <a:gd name="T33" fmla="*/ 2147483647 h 360"/>
              <a:gd name="T34" fmla="*/ 2147483647 w 446"/>
              <a:gd name="T35" fmla="*/ 2147483647 h 360"/>
              <a:gd name="T36" fmla="*/ 2147483647 w 446"/>
              <a:gd name="T37" fmla="*/ 2147483647 h 360"/>
              <a:gd name="T38" fmla="*/ 2147483647 w 446"/>
              <a:gd name="T39" fmla="*/ 2147483647 h 360"/>
              <a:gd name="T40" fmla="*/ 2147483647 w 446"/>
              <a:gd name="T41" fmla="*/ 2147483647 h 360"/>
              <a:gd name="T42" fmla="*/ 2147483647 w 446"/>
              <a:gd name="T43" fmla="*/ 2147483647 h 360"/>
              <a:gd name="T44" fmla="*/ 2147483647 w 446"/>
              <a:gd name="T45" fmla="*/ 2147483647 h 360"/>
              <a:gd name="T46" fmla="*/ 2147483647 w 446"/>
              <a:gd name="T47" fmla="*/ 2147483647 h 360"/>
              <a:gd name="T48" fmla="*/ 2147483647 w 446"/>
              <a:gd name="T49" fmla="*/ 2147483647 h 360"/>
              <a:gd name="T50" fmla="*/ 2147483647 w 446"/>
              <a:gd name="T51" fmla="*/ 2147483647 h 360"/>
              <a:gd name="T52" fmla="*/ 2147483647 w 446"/>
              <a:gd name="T53" fmla="*/ 2147483647 h 360"/>
              <a:gd name="T54" fmla="*/ 2147483647 w 446"/>
              <a:gd name="T55" fmla="*/ 2147483647 h 360"/>
              <a:gd name="T56" fmla="*/ 2147483647 w 446"/>
              <a:gd name="T57" fmla="*/ 2147483647 h 360"/>
              <a:gd name="T58" fmla="*/ 2147483647 w 446"/>
              <a:gd name="T59" fmla="*/ 2147483647 h 360"/>
              <a:gd name="T60" fmla="*/ 2147483647 w 446"/>
              <a:gd name="T61" fmla="*/ 2147483647 h 360"/>
              <a:gd name="T62" fmla="*/ 2147483647 w 446"/>
              <a:gd name="T63" fmla="*/ 2147483647 h 360"/>
              <a:gd name="T64" fmla="*/ 2147483647 w 446"/>
              <a:gd name="T65" fmla="*/ 2147483647 h 360"/>
              <a:gd name="T66" fmla="*/ 2147483647 w 446"/>
              <a:gd name="T67" fmla="*/ 2147483647 h 360"/>
              <a:gd name="T68" fmla="*/ 2147483647 w 446"/>
              <a:gd name="T69" fmla="*/ 2147483647 h 360"/>
              <a:gd name="T70" fmla="*/ 2147483647 w 446"/>
              <a:gd name="T71" fmla="*/ 2147483647 h 360"/>
              <a:gd name="T72" fmla="*/ 2147483647 w 446"/>
              <a:gd name="T73" fmla="*/ 2147483647 h 360"/>
              <a:gd name="T74" fmla="*/ 2147483647 w 446"/>
              <a:gd name="T75" fmla="*/ 2147483647 h 360"/>
              <a:gd name="T76" fmla="*/ 2147483647 w 446"/>
              <a:gd name="T77" fmla="*/ 2147483647 h 360"/>
              <a:gd name="T78" fmla="*/ 2147483647 w 446"/>
              <a:gd name="T79" fmla="*/ 2147483647 h 36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446"/>
              <a:gd name="T121" fmla="*/ 0 h 360"/>
              <a:gd name="T122" fmla="*/ 446 w 446"/>
              <a:gd name="T123" fmla="*/ 360 h 360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446" h="360">
                <a:moveTo>
                  <a:pt x="62" y="163"/>
                </a:moveTo>
                <a:lnTo>
                  <a:pt x="50" y="146"/>
                </a:lnTo>
                <a:lnTo>
                  <a:pt x="48" y="133"/>
                </a:lnTo>
                <a:lnTo>
                  <a:pt x="56" y="110"/>
                </a:lnTo>
                <a:lnTo>
                  <a:pt x="55" y="98"/>
                </a:lnTo>
                <a:lnTo>
                  <a:pt x="40" y="91"/>
                </a:lnTo>
                <a:lnTo>
                  <a:pt x="20" y="62"/>
                </a:lnTo>
                <a:lnTo>
                  <a:pt x="7" y="45"/>
                </a:lnTo>
                <a:lnTo>
                  <a:pt x="2" y="20"/>
                </a:lnTo>
                <a:lnTo>
                  <a:pt x="0" y="7"/>
                </a:lnTo>
                <a:lnTo>
                  <a:pt x="8" y="0"/>
                </a:lnTo>
                <a:lnTo>
                  <a:pt x="10" y="2"/>
                </a:lnTo>
                <a:lnTo>
                  <a:pt x="14" y="6"/>
                </a:lnTo>
                <a:lnTo>
                  <a:pt x="39" y="20"/>
                </a:lnTo>
                <a:lnTo>
                  <a:pt x="55" y="13"/>
                </a:lnTo>
                <a:lnTo>
                  <a:pt x="75" y="1"/>
                </a:lnTo>
                <a:lnTo>
                  <a:pt x="81" y="14"/>
                </a:lnTo>
                <a:lnTo>
                  <a:pt x="79" y="19"/>
                </a:lnTo>
                <a:lnTo>
                  <a:pt x="98" y="31"/>
                </a:lnTo>
                <a:lnTo>
                  <a:pt x="110" y="54"/>
                </a:lnTo>
                <a:lnTo>
                  <a:pt x="133" y="63"/>
                </a:lnTo>
                <a:lnTo>
                  <a:pt x="153" y="69"/>
                </a:lnTo>
                <a:lnTo>
                  <a:pt x="172" y="77"/>
                </a:lnTo>
                <a:lnTo>
                  <a:pt x="192" y="73"/>
                </a:lnTo>
                <a:lnTo>
                  <a:pt x="205" y="71"/>
                </a:lnTo>
                <a:lnTo>
                  <a:pt x="210" y="67"/>
                </a:lnTo>
                <a:lnTo>
                  <a:pt x="206" y="59"/>
                </a:lnTo>
                <a:lnTo>
                  <a:pt x="213" y="59"/>
                </a:lnTo>
                <a:lnTo>
                  <a:pt x="228" y="43"/>
                </a:lnTo>
                <a:lnTo>
                  <a:pt x="252" y="41"/>
                </a:lnTo>
                <a:lnTo>
                  <a:pt x="271" y="38"/>
                </a:lnTo>
                <a:lnTo>
                  <a:pt x="304" y="50"/>
                </a:lnTo>
                <a:lnTo>
                  <a:pt x="322" y="62"/>
                </a:lnTo>
                <a:lnTo>
                  <a:pt x="339" y="73"/>
                </a:lnTo>
                <a:lnTo>
                  <a:pt x="358" y="75"/>
                </a:lnTo>
                <a:lnTo>
                  <a:pt x="367" y="102"/>
                </a:lnTo>
                <a:lnTo>
                  <a:pt x="362" y="129"/>
                </a:lnTo>
                <a:lnTo>
                  <a:pt x="361" y="133"/>
                </a:lnTo>
                <a:lnTo>
                  <a:pt x="361" y="146"/>
                </a:lnTo>
                <a:lnTo>
                  <a:pt x="369" y="152"/>
                </a:lnTo>
                <a:lnTo>
                  <a:pt x="367" y="157"/>
                </a:lnTo>
                <a:lnTo>
                  <a:pt x="372" y="177"/>
                </a:lnTo>
                <a:lnTo>
                  <a:pt x="377" y="199"/>
                </a:lnTo>
                <a:lnTo>
                  <a:pt x="396" y="206"/>
                </a:lnTo>
                <a:lnTo>
                  <a:pt x="401" y="215"/>
                </a:lnTo>
                <a:lnTo>
                  <a:pt x="385" y="243"/>
                </a:lnTo>
                <a:lnTo>
                  <a:pt x="401" y="260"/>
                </a:lnTo>
                <a:lnTo>
                  <a:pt x="415" y="277"/>
                </a:lnTo>
                <a:lnTo>
                  <a:pt x="432" y="284"/>
                </a:lnTo>
                <a:lnTo>
                  <a:pt x="439" y="309"/>
                </a:lnTo>
                <a:lnTo>
                  <a:pt x="445" y="313"/>
                </a:lnTo>
                <a:lnTo>
                  <a:pt x="446" y="324"/>
                </a:lnTo>
                <a:lnTo>
                  <a:pt x="427" y="331"/>
                </a:lnTo>
                <a:lnTo>
                  <a:pt x="419" y="341"/>
                </a:lnTo>
                <a:lnTo>
                  <a:pt x="417" y="360"/>
                </a:lnTo>
                <a:lnTo>
                  <a:pt x="395" y="356"/>
                </a:lnTo>
                <a:lnTo>
                  <a:pt x="371" y="353"/>
                </a:lnTo>
                <a:lnTo>
                  <a:pt x="346" y="349"/>
                </a:lnTo>
                <a:lnTo>
                  <a:pt x="324" y="345"/>
                </a:lnTo>
                <a:lnTo>
                  <a:pt x="315" y="329"/>
                </a:lnTo>
                <a:lnTo>
                  <a:pt x="306" y="311"/>
                </a:lnTo>
                <a:lnTo>
                  <a:pt x="289" y="318"/>
                </a:lnTo>
                <a:lnTo>
                  <a:pt x="271" y="325"/>
                </a:lnTo>
                <a:lnTo>
                  <a:pt x="238" y="318"/>
                </a:lnTo>
                <a:lnTo>
                  <a:pt x="219" y="306"/>
                </a:lnTo>
                <a:lnTo>
                  <a:pt x="200" y="294"/>
                </a:lnTo>
                <a:lnTo>
                  <a:pt x="183" y="278"/>
                </a:lnTo>
                <a:lnTo>
                  <a:pt x="172" y="263"/>
                </a:lnTo>
                <a:lnTo>
                  <a:pt x="153" y="235"/>
                </a:lnTo>
                <a:lnTo>
                  <a:pt x="145" y="236"/>
                </a:lnTo>
                <a:lnTo>
                  <a:pt x="135" y="230"/>
                </a:lnTo>
                <a:lnTo>
                  <a:pt x="134" y="228"/>
                </a:lnTo>
                <a:lnTo>
                  <a:pt x="128" y="240"/>
                </a:lnTo>
                <a:lnTo>
                  <a:pt x="126" y="241"/>
                </a:lnTo>
                <a:lnTo>
                  <a:pt x="118" y="233"/>
                </a:lnTo>
                <a:lnTo>
                  <a:pt x="111" y="216"/>
                </a:lnTo>
                <a:lnTo>
                  <a:pt x="104" y="216"/>
                </a:lnTo>
                <a:lnTo>
                  <a:pt x="104" y="195"/>
                </a:lnTo>
                <a:lnTo>
                  <a:pt x="96" y="185"/>
                </a:lnTo>
                <a:lnTo>
                  <a:pt x="79" y="174"/>
                </a:lnTo>
                <a:lnTo>
                  <a:pt x="62" y="16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11" name="Freeform 18"/>
          <p:cNvSpPr>
            <a:spLocks/>
          </p:cNvSpPr>
          <p:nvPr/>
        </p:nvSpPr>
        <p:spPr bwMode="auto">
          <a:xfrm>
            <a:off x="5487988" y="3470275"/>
            <a:ext cx="287337" cy="282575"/>
          </a:xfrm>
          <a:custGeom>
            <a:avLst/>
            <a:gdLst>
              <a:gd name="T0" fmla="*/ 2147483647 w 216"/>
              <a:gd name="T1" fmla="*/ 2147483647 h 203"/>
              <a:gd name="T2" fmla="*/ 2147483647 w 216"/>
              <a:gd name="T3" fmla="*/ 2147483647 h 203"/>
              <a:gd name="T4" fmla="*/ 2147483647 w 216"/>
              <a:gd name="T5" fmla="*/ 2147483647 h 203"/>
              <a:gd name="T6" fmla="*/ 2147483647 w 216"/>
              <a:gd name="T7" fmla="*/ 2147483647 h 203"/>
              <a:gd name="T8" fmla="*/ 2147483647 w 216"/>
              <a:gd name="T9" fmla="*/ 2147483647 h 203"/>
              <a:gd name="T10" fmla="*/ 2147483647 w 216"/>
              <a:gd name="T11" fmla="*/ 2147483647 h 203"/>
              <a:gd name="T12" fmla="*/ 2147483647 w 216"/>
              <a:gd name="T13" fmla="*/ 2147483647 h 203"/>
              <a:gd name="T14" fmla="*/ 2147483647 w 216"/>
              <a:gd name="T15" fmla="*/ 0 h 203"/>
              <a:gd name="T16" fmla="*/ 2147483647 w 216"/>
              <a:gd name="T17" fmla="*/ 0 h 203"/>
              <a:gd name="T18" fmla="*/ 2147483647 w 216"/>
              <a:gd name="T19" fmla="*/ 2147483647 h 203"/>
              <a:gd name="T20" fmla="*/ 2147483647 w 216"/>
              <a:gd name="T21" fmla="*/ 2147483647 h 203"/>
              <a:gd name="T22" fmla="*/ 2147483647 w 216"/>
              <a:gd name="T23" fmla="*/ 2147483647 h 203"/>
              <a:gd name="T24" fmla="*/ 2147483647 w 216"/>
              <a:gd name="T25" fmla="*/ 2147483647 h 203"/>
              <a:gd name="T26" fmla="*/ 2147483647 w 216"/>
              <a:gd name="T27" fmla="*/ 2147483647 h 203"/>
              <a:gd name="T28" fmla="*/ 0 w 216"/>
              <a:gd name="T29" fmla="*/ 2147483647 h 203"/>
              <a:gd name="T30" fmla="*/ 2147483647 w 216"/>
              <a:gd name="T31" fmla="*/ 2147483647 h 203"/>
              <a:gd name="T32" fmla="*/ 2147483647 w 216"/>
              <a:gd name="T33" fmla="*/ 2147483647 h 203"/>
              <a:gd name="T34" fmla="*/ 2147483647 w 216"/>
              <a:gd name="T35" fmla="*/ 2147483647 h 203"/>
              <a:gd name="T36" fmla="*/ 2147483647 w 216"/>
              <a:gd name="T37" fmla="*/ 2147483647 h 203"/>
              <a:gd name="T38" fmla="*/ 2147483647 w 216"/>
              <a:gd name="T39" fmla="*/ 2147483647 h 203"/>
              <a:gd name="T40" fmla="*/ 2147483647 w 216"/>
              <a:gd name="T41" fmla="*/ 2147483647 h 203"/>
              <a:gd name="T42" fmla="*/ 2147483647 w 216"/>
              <a:gd name="T43" fmla="*/ 2147483647 h 203"/>
              <a:gd name="T44" fmla="*/ 2147483647 w 216"/>
              <a:gd name="T45" fmla="*/ 2147483647 h 203"/>
              <a:gd name="T46" fmla="*/ 2147483647 w 216"/>
              <a:gd name="T47" fmla="*/ 2147483647 h 203"/>
              <a:gd name="T48" fmla="*/ 2147483647 w 216"/>
              <a:gd name="T49" fmla="*/ 2147483647 h 203"/>
              <a:gd name="T50" fmla="*/ 2147483647 w 216"/>
              <a:gd name="T51" fmla="*/ 2147483647 h 203"/>
              <a:gd name="T52" fmla="*/ 2147483647 w 216"/>
              <a:gd name="T53" fmla="*/ 2147483647 h 203"/>
              <a:gd name="T54" fmla="*/ 2147483647 w 216"/>
              <a:gd name="T55" fmla="*/ 2147483647 h 203"/>
              <a:gd name="T56" fmla="*/ 2147483647 w 216"/>
              <a:gd name="T57" fmla="*/ 2147483647 h 203"/>
              <a:gd name="T58" fmla="*/ 2147483647 w 216"/>
              <a:gd name="T59" fmla="*/ 2147483647 h 203"/>
              <a:gd name="T60" fmla="*/ 2147483647 w 216"/>
              <a:gd name="T61" fmla="*/ 2147483647 h 203"/>
              <a:gd name="T62" fmla="*/ 2147483647 w 216"/>
              <a:gd name="T63" fmla="*/ 2147483647 h 203"/>
              <a:gd name="T64" fmla="*/ 2147483647 w 216"/>
              <a:gd name="T65" fmla="*/ 2147483647 h 203"/>
              <a:gd name="T66" fmla="*/ 2147483647 w 216"/>
              <a:gd name="T67" fmla="*/ 2147483647 h 20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16"/>
              <a:gd name="T103" fmla="*/ 0 h 203"/>
              <a:gd name="T104" fmla="*/ 216 w 216"/>
              <a:gd name="T105" fmla="*/ 203 h 203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16" h="203">
                <a:moveTo>
                  <a:pt x="140" y="86"/>
                </a:moveTo>
                <a:lnTo>
                  <a:pt x="138" y="73"/>
                </a:lnTo>
                <a:lnTo>
                  <a:pt x="146" y="50"/>
                </a:lnTo>
                <a:lnTo>
                  <a:pt x="145" y="38"/>
                </a:lnTo>
                <a:lnTo>
                  <a:pt x="130" y="31"/>
                </a:lnTo>
                <a:lnTo>
                  <a:pt x="110" y="2"/>
                </a:lnTo>
                <a:lnTo>
                  <a:pt x="98" y="5"/>
                </a:lnTo>
                <a:lnTo>
                  <a:pt x="93" y="0"/>
                </a:lnTo>
                <a:lnTo>
                  <a:pt x="66" y="0"/>
                </a:lnTo>
                <a:lnTo>
                  <a:pt x="61" y="5"/>
                </a:lnTo>
                <a:lnTo>
                  <a:pt x="42" y="23"/>
                </a:lnTo>
                <a:lnTo>
                  <a:pt x="43" y="47"/>
                </a:lnTo>
                <a:lnTo>
                  <a:pt x="43" y="71"/>
                </a:lnTo>
                <a:lnTo>
                  <a:pt x="21" y="84"/>
                </a:lnTo>
                <a:lnTo>
                  <a:pt x="0" y="97"/>
                </a:lnTo>
                <a:lnTo>
                  <a:pt x="14" y="125"/>
                </a:lnTo>
                <a:lnTo>
                  <a:pt x="34" y="134"/>
                </a:lnTo>
                <a:lnTo>
                  <a:pt x="55" y="144"/>
                </a:lnTo>
                <a:lnTo>
                  <a:pt x="75" y="153"/>
                </a:lnTo>
                <a:lnTo>
                  <a:pt x="96" y="162"/>
                </a:lnTo>
                <a:lnTo>
                  <a:pt x="115" y="181"/>
                </a:lnTo>
                <a:lnTo>
                  <a:pt x="136" y="200"/>
                </a:lnTo>
                <a:lnTo>
                  <a:pt x="176" y="203"/>
                </a:lnTo>
                <a:lnTo>
                  <a:pt x="186" y="182"/>
                </a:lnTo>
                <a:lnTo>
                  <a:pt x="202" y="180"/>
                </a:lnTo>
                <a:lnTo>
                  <a:pt x="216" y="181"/>
                </a:lnTo>
                <a:lnTo>
                  <a:pt x="208" y="173"/>
                </a:lnTo>
                <a:lnTo>
                  <a:pt x="201" y="156"/>
                </a:lnTo>
                <a:lnTo>
                  <a:pt x="194" y="156"/>
                </a:lnTo>
                <a:lnTo>
                  <a:pt x="194" y="135"/>
                </a:lnTo>
                <a:lnTo>
                  <a:pt x="186" y="125"/>
                </a:lnTo>
                <a:lnTo>
                  <a:pt x="169" y="114"/>
                </a:lnTo>
                <a:lnTo>
                  <a:pt x="152" y="103"/>
                </a:lnTo>
                <a:lnTo>
                  <a:pt x="140" y="86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12" name="Freeform 19"/>
          <p:cNvSpPr>
            <a:spLocks/>
          </p:cNvSpPr>
          <p:nvPr/>
        </p:nvSpPr>
        <p:spPr bwMode="auto">
          <a:xfrm>
            <a:off x="5721350" y="3719513"/>
            <a:ext cx="53975" cy="47625"/>
          </a:xfrm>
          <a:custGeom>
            <a:avLst/>
            <a:gdLst>
              <a:gd name="T0" fmla="*/ 2147483647 w 41"/>
              <a:gd name="T1" fmla="*/ 2147483647 h 36"/>
              <a:gd name="T2" fmla="*/ 2147483647 w 41"/>
              <a:gd name="T3" fmla="*/ 2147483647 h 36"/>
              <a:gd name="T4" fmla="*/ 2147483647 w 41"/>
              <a:gd name="T5" fmla="*/ 2147483647 h 36"/>
              <a:gd name="T6" fmla="*/ 2147483647 w 41"/>
              <a:gd name="T7" fmla="*/ 2147483647 h 36"/>
              <a:gd name="T8" fmla="*/ 2147483647 w 41"/>
              <a:gd name="T9" fmla="*/ 2147483647 h 36"/>
              <a:gd name="T10" fmla="*/ 2147483647 w 41"/>
              <a:gd name="T11" fmla="*/ 2147483647 h 36"/>
              <a:gd name="T12" fmla="*/ 0 w 41"/>
              <a:gd name="T13" fmla="*/ 2147483647 h 36"/>
              <a:gd name="T14" fmla="*/ 2147483647 w 41"/>
              <a:gd name="T15" fmla="*/ 2147483647 h 36"/>
              <a:gd name="T16" fmla="*/ 2147483647 w 41"/>
              <a:gd name="T17" fmla="*/ 0 h 36"/>
              <a:gd name="T18" fmla="*/ 2147483647 w 41"/>
              <a:gd name="T19" fmla="*/ 2147483647 h 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1"/>
              <a:gd name="T31" fmla="*/ 0 h 36"/>
              <a:gd name="T32" fmla="*/ 41 w 41"/>
              <a:gd name="T33" fmla="*/ 36 h 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1" h="36">
                <a:moveTo>
                  <a:pt x="32" y="11"/>
                </a:moveTo>
                <a:lnTo>
                  <a:pt x="26" y="12"/>
                </a:lnTo>
                <a:lnTo>
                  <a:pt x="28" y="17"/>
                </a:lnTo>
                <a:lnTo>
                  <a:pt x="41" y="36"/>
                </a:lnTo>
                <a:lnTo>
                  <a:pt x="23" y="32"/>
                </a:lnTo>
                <a:lnTo>
                  <a:pt x="19" y="25"/>
                </a:lnTo>
                <a:lnTo>
                  <a:pt x="0" y="23"/>
                </a:lnTo>
                <a:lnTo>
                  <a:pt x="10" y="2"/>
                </a:lnTo>
                <a:lnTo>
                  <a:pt x="26" y="0"/>
                </a:lnTo>
                <a:lnTo>
                  <a:pt x="32" y="1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13" name="Freeform 20"/>
          <p:cNvSpPr>
            <a:spLocks/>
          </p:cNvSpPr>
          <p:nvPr/>
        </p:nvSpPr>
        <p:spPr bwMode="auto">
          <a:xfrm>
            <a:off x="6664325" y="3705225"/>
            <a:ext cx="238125" cy="134938"/>
          </a:xfrm>
          <a:custGeom>
            <a:avLst/>
            <a:gdLst>
              <a:gd name="T0" fmla="*/ 2147483647 w 180"/>
              <a:gd name="T1" fmla="*/ 2147483647 h 98"/>
              <a:gd name="T2" fmla="*/ 2147483647 w 180"/>
              <a:gd name="T3" fmla="*/ 2147483647 h 98"/>
              <a:gd name="T4" fmla="*/ 2147483647 w 180"/>
              <a:gd name="T5" fmla="*/ 2147483647 h 98"/>
              <a:gd name="T6" fmla="*/ 2147483647 w 180"/>
              <a:gd name="T7" fmla="*/ 2147483647 h 98"/>
              <a:gd name="T8" fmla="*/ 0 w 180"/>
              <a:gd name="T9" fmla="*/ 2147483647 h 98"/>
              <a:gd name="T10" fmla="*/ 0 w 180"/>
              <a:gd name="T11" fmla="*/ 2147483647 h 98"/>
              <a:gd name="T12" fmla="*/ 2147483647 w 180"/>
              <a:gd name="T13" fmla="*/ 2147483647 h 98"/>
              <a:gd name="T14" fmla="*/ 2147483647 w 180"/>
              <a:gd name="T15" fmla="*/ 2147483647 h 98"/>
              <a:gd name="T16" fmla="*/ 2147483647 w 180"/>
              <a:gd name="T17" fmla="*/ 0 h 98"/>
              <a:gd name="T18" fmla="*/ 2147483647 w 180"/>
              <a:gd name="T19" fmla="*/ 2147483647 h 98"/>
              <a:gd name="T20" fmla="*/ 2147483647 w 180"/>
              <a:gd name="T21" fmla="*/ 2147483647 h 98"/>
              <a:gd name="T22" fmla="*/ 2147483647 w 180"/>
              <a:gd name="T23" fmla="*/ 2147483647 h 98"/>
              <a:gd name="T24" fmla="*/ 2147483647 w 180"/>
              <a:gd name="T25" fmla="*/ 2147483647 h 98"/>
              <a:gd name="T26" fmla="*/ 2147483647 w 180"/>
              <a:gd name="T27" fmla="*/ 2147483647 h 98"/>
              <a:gd name="T28" fmla="*/ 2147483647 w 180"/>
              <a:gd name="T29" fmla="*/ 2147483647 h 98"/>
              <a:gd name="T30" fmla="*/ 2147483647 w 180"/>
              <a:gd name="T31" fmla="*/ 2147483647 h 98"/>
              <a:gd name="T32" fmla="*/ 2147483647 w 180"/>
              <a:gd name="T33" fmla="*/ 2147483647 h 98"/>
              <a:gd name="T34" fmla="*/ 2147483647 w 180"/>
              <a:gd name="T35" fmla="*/ 2147483647 h 98"/>
              <a:gd name="T36" fmla="*/ 2147483647 w 180"/>
              <a:gd name="T37" fmla="*/ 2147483647 h 98"/>
              <a:gd name="T38" fmla="*/ 2147483647 w 180"/>
              <a:gd name="T39" fmla="*/ 2147483647 h 98"/>
              <a:gd name="T40" fmla="*/ 2147483647 w 180"/>
              <a:gd name="T41" fmla="*/ 2147483647 h 98"/>
              <a:gd name="T42" fmla="*/ 2147483647 w 180"/>
              <a:gd name="T43" fmla="*/ 2147483647 h 98"/>
              <a:gd name="T44" fmla="*/ 2147483647 w 180"/>
              <a:gd name="T45" fmla="*/ 2147483647 h 9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80"/>
              <a:gd name="T70" fmla="*/ 0 h 98"/>
              <a:gd name="T71" fmla="*/ 180 w 180"/>
              <a:gd name="T72" fmla="*/ 98 h 98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80" h="98">
                <a:moveTo>
                  <a:pt x="102" y="78"/>
                </a:moveTo>
                <a:lnTo>
                  <a:pt x="74" y="74"/>
                </a:lnTo>
                <a:lnTo>
                  <a:pt x="54" y="70"/>
                </a:lnTo>
                <a:lnTo>
                  <a:pt x="26" y="55"/>
                </a:lnTo>
                <a:lnTo>
                  <a:pt x="0" y="42"/>
                </a:lnTo>
                <a:lnTo>
                  <a:pt x="0" y="26"/>
                </a:lnTo>
                <a:lnTo>
                  <a:pt x="12" y="6"/>
                </a:lnTo>
                <a:lnTo>
                  <a:pt x="13" y="8"/>
                </a:lnTo>
                <a:lnTo>
                  <a:pt x="22" y="0"/>
                </a:lnTo>
                <a:lnTo>
                  <a:pt x="39" y="11"/>
                </a:lnTo>
                <a:lnTo>
                  <a:pt x="67" y="32"/>
                </a:lnTo>
                <a:lnTo>
                  <a:pt x="75" y="29"/>
                </a:lnTo>
                <a:lnTo>
                  <a:pt x="82" y="37"/>
                </a:lnTo>
                <a:lnTo>
                  <a:pt x="103" y="46"/>
                </a:lnTo>
                <a:lnTo>
                  <a:pt x="105" y="50"/>
                </a:lnTo>
                <a:lnTo>
                  <a:pt x="128" y="59"/>
                </a:lnTo>
                <a:lnTo>
                  <a:pt x="146" y="62"/>
                </a:lnTo>
                <a:lnTo>
                  <a:pt x="172" y="65"/>
                </a:lnTo>
                <a:lnTo>
                  <a:pt x="180" y="98"/>
                </a:lnTo>
                <a:lnTo>
                  <a:pt x="156" y="97"/>
                </a:lnTo>
                <a:lnTo>
                  <a:pt x="128" y="94"/>
                </a:lnTo>
                <a:lnTo>
                  <a:pt x="111" y="90"/>
                </a:lnTo>
                <a:lnTo>
                  <a:pt x="102" y="7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14" name="Freeform 21"/>
          <p:cNvSpPr>
            <a:spLocks/>
          </p:cNvSpPr>
          <p:nvPr/>
        </p:nvSpPr>
        <p:spPr bwMode="auto">
          <a:xfrm>
            <a:off x="6116638" y="3479800"/>
            <a:ext cx="430212" cy="454025"/>
          </a:xfrm>
          <a:custGeom>
            <a:avLst/>
            <a:gdLst>
              <a:gd name="T0" fmla="*/ 2147483647 w 324"/>
              <a:gd name="T1" fmla="*/ 2147483647 h 329"/>
              <a:gd name="T2" fmla="*/ 2147483647 w 324"/>
              <a:gd name="T3" fmla="*/ 2147483647 h 329"/>
              <a:gd name="T4" fmla="*/ 2147483647 w 324"/>
              <a:gd name="T5" fmla="*/ 2147483647 h 329"/>
              <a:gd name="T6" fmla="*/ 2147483647 w 324"/>
              <a:gd name="T7" fmla="*/ 2147483647 h 329"/>
              <a:gd name="T8" fmla="*/ 2147483647 w 324"/>
              <a:gd name="T9" fmla="*/ 2147483647 h 329"/>
              <a:gd name="T10" fmla="*/ 2147483647 w 324"/>
              <a:gd name="T11" fmla="*/ 2147483647 h 329"/>
              <a:gd name="T12" fmla="*/ 2147483647 w 324"/>
              <a:gd name="T13" fmla="*/ 2147483647 h 329"/>
              <a:gd name="T14" fmla="*/ 2147483647 w 324"/>
              <a:gd name="T15" fmla="*/ 2147483647 h 329"/>
              <a:gd name="T16" fmla="*/ 2147483647 w 324"/>
              <a:gd name="T17" fmla="*/ 2147483647 h 329"/>
              <a:gd name="T18" fmla="*/ 2147483647 w 324"/>
              <a:gd name="T19" fmla="*/ 2147483647 h 329"/>
              <a:gd name="T20" fmla="*/ 2147483647 w 324"/>
              <a:gd name="T21" fmla="*/ 2147483647 h 329"/>
              <a:gd name="T22" fmla="*/ 2147483647 w 324"/>
              <a:gd name="T23" fmla="*/ 2147483647 h 329"/>
              <a:gd name="T24" fmla="*/ 2147483647 w 324"/>
              <a:gd name="T25" fmla="*/ 2147483647 h 329"/>
              <a:gd name="T26" fmla="*/ 2147483647 w 324"/>
              <a:gd name="T27" fmla="*/ 2147483647 h 329"/>
              <a:gd name="T28" fmla="*/ 2147483647 w 324"/>
              <a:gd name="T29" fmla="*/ 2147483647 h 329"/>
              <a:gd name="T30" fmla="*/ 2147483647 w 324"/>
              <a:gd name="T31" fmla="*/ 2147483647 h 329"/>
              <a:gd name="T32" fmla="*/ 2147483647 w 324"/>
              <a:gd name="T33" fmla="*/ 2147483647 h 329"/>
              <a:gd name="T34" fmla="*/ 2147483647 w 324"/>
              <a:gd name="T35" fmla="*/ 2147483647 h 329"/>
              <a:gd name="T36" fmla="*/ 2147483647 w 324"/>
              <a:gd name="T37" fmla="*/ 2147483647 h 329"/>
              <a:gd name="T38" fmla="*/ 2147483647 w 324"/>
              <a:gd name="T39" fmla="*/ 2147483647 h 329"/>
              <a:gd name="T40" fmla="*/ 2147483647 w 324"/>
              <a:gd name="T41" fmla="*/ 2147483647 h 329"/>
              <a:gd name="T42" fmla="*/ 2147483647 w 324"/>
              <a:gd name="T43" fmla="*/ 2147483647 h 329"/>
              <a:gd name="T44" fmla="*/ 2147483647 w 324"/>
              <a:gd name="T45" fmla="*/ 2147483647 h 329"/>
              <a:gd name="T46" fmla="*/ 2147483647 w 324"/>
              <a:gd name="T47" fmla="*/ 2147483647 h 329"/>
              <a:gd name="T48" fmla="*/ 2147483647 w 324"/>
              <a:gd name="T49" fmla="*/ 2147483647 h 329"/>
              <a:gd name="T50" fmla="*/ 2147483647 w 324"/>
              <a:gd name="T51" fmla="*/ 2147483647 h 329"/>
              <a:gd name="T52" fmla="*/ 2147483647 w 324"/>
              <a:gd name="T53" fmla="*/ 2147483647 h 329"/>
              <a:gd name="T54" fmla="*/ 2147483647 w 324"/>
              <a:gd name="T55" fmla="*/ 2147483647 h 329"/>
              <a:gd name="T56" fmla="*/ 2147483647 w 324"/>
              <a:gd name="T57" fmla="*/ 2147483647 h 329"/>
              <a:gd name="T58" fmla="*/ 2147483647 w 324"/>
              <a:gd name="T59" fmla="*/ 2147483647 h 329"/>
              <a:gd name="T60" fmla="*/ 2147483647 w 324"/>
              <a:gd name="T61" fmla="*/ 2147483647 h 329"/>
              <a:gd name="T62" fmla="*/ 2147483647 w 324"/>
              <a:gd name="T63" fmla="*/ 2147483647 h 329"/>
              <a:gd name="T64" fmla="*/ 2147483647 w 324"/>
              <a:gd name="T65" fmla="*/ 2147483647 h 329"/>
              <a:gd name="T66" fmla="*/ 2147483647 w 324"/>
              <a:gd name="T67" fmla="*/ 2147483647 h 329"/>
              <a:gd name="T68" fmla="*/ 2147483647 w 324"/>
              <a:gd name="T69" fmla="*/ 2147483647 h 329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24"/>
              <a:gd name="T106" fmla="*/ 0 h 329"/>
              <a:gd name="T107" fmla="*/ 324 w 324"/>
              <a:gd name="T108" fmla="*/ 329 h 329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24" h="329">
                <a:moveTo>
                  <a:pt x="133" y="288"/>
                </a:moveTo>
                <a:lnTo>
                  <a:pt x="142" y="300"/>
                </a:lnTo>
                <a:lnTo>
                  <a:pt x="149" y="303"/>
                </a:lnTo>
                <a:lnTo>
                  <a:pt x="161" y="323"/>
                </a:lnTo>
                <a:lnTo>
                  <a:pt x="176" y="329"/>
                </a:lnTo>
                <a:lnTo>
                  <a:pt x="188" y="324"/>
                </a:lnTo>
                <a:lnTo>
                  <a:pt x="187" y="315"/>
                </a:lnTo>
                <a:lnTo>
                  <a:pt x="205" y="317"/>
                </a:lnTo>
                <a:lnTo>
                  <a:pt x="227" y="313"/>
                </a:lnTo>
                <a:lnTo>
                  <a:pt x="234" y="314"/>
                </a:lnTo>
                <a:lnTo>
                  <a:pt x="223" y="282"/>
                </a:lnTo>
                <a:lnTo>
                  <a:pt x="215" y="281"/>
                </a:lnTo>
                <a:lnTo>
                  <a:pt x="210" y="264"/>
                </a:lnTo>
                <a:lnTo>
                  <a:pt x="194" y="255"/>
                </a:lnTo>
                <a:lnTo>
                  <a:pt x="206" y="225"/>
                </a:lnTo>
                <a:lnTo>
                  <a:pt x="215" y="228"/>
                </a:lnTo>
                <a:lnTo>
                  <a:pt x="235" y="227"/>
                </a:lnTo>
                <a:lnTo>
                  <a:pt x="248" y="206"/>
                </a:lnTo>
                <a:lnTo>
                  <a:pt x="263" y="185"/>
                </a:lnTo>
                <a:lnTo>
                  <a:pt x="274" y="167"/>
                </a:lnTo>
                <a:lnTo>
                  <a:pt x="282" y="150"/>
                </a:lnTo>
                <a:lnTo>
                  <a:pt x="277" y="132"/>
                </a:lnTo>
                <a:lnTo>
                  <a:pt x="292" y="121"/>
                </a:lnTo>
                <a:lnTo>
                  <a:pt x="282" y="114"/>
                </a:lnTo>
                <a:lnTo>
                  <a:pt x="274" y="104"/>
                </a:lnTo>
                <a:lnTo>
                  <a:pt x="264" y="98"/>
                </a:lnTo>
                <a:lnTo>
                  <a:pt x="259" y="85"/>
                </a:lnTo>
                <a:lnTo>
                  <a:pt x="259" y="78"/>
                </a:lnTo>
                <a:lnTo>
                  <a:pt x="250" y="67"/>
                </a:lnTo>
                <a:lnTo>
                  <a:pt x="250" y="59"/>
                </a:lnTo>
                <a:lnTo>
                  <a:pt x="280" y="62"/>
                </a:lnTo>
                <a:lnTo>
                  <a:pt x="304" y="56"/>
                </a:lnTo>
                <a:lnTo>
                  <a:pt x="324" y="38"/>
                </a:lnTo>
                <a:lnTo>
                  <a:pt x="295" y="30"/>
                </a:lnTo>
                <a:lnTo>
                  <a:pt x="280" y="23"/>
                </a:lnTo>
                <a:lnTo>
                  <a:pt x="270" y="7"/>
                </a:lnTo>
                <a:lnTo>
                  <a:pt x="246" y="0"/>
                </a:lnTo>
                <a:lnTo>
                  <a:pt x="221" y="6"/>
                </a:lnTo>
                <a:lnTo>
                  <a:pt x="197" y="11"/>
                </a:lnTo>
                <a:lnTo>
                  <a:pt x="186" y="26"/>
                </a:lnTo>
                <a:lnTo>
                  <a:pt x="197" y="48"/>
                </a:lnTo>
                <a:lnTo>
                  <a:pt x="191" y="66"/>
                </a:lnTo>
                <a:lnTo>
                  <a:pt x="187" y="77"/>
                </a:lnTo>
                <a:lnTo>
                  <a:pt x="169" y="78"/>
                </a:lnTo>
                <a:lnTo>
                  <a:pt x="181" y="92"/>
                </a:lnTo>
                <a:lnTo>
                  <a:pt x="164" y="105"/>
                </a:lnTo>
                <a:lnTo>
                  <a:pt x="163" y="133"/>
                </a:lnTo>
                <a:lnTo>
                  <a:pt x="143" y="132"/>
                </a:lnTo>
                <a:lnTo>
                  <a:pt x="137" y="139"/>
                </a:lnTo>
                <a:lnTo>
                  <a:pt x="116" y="147"/>
                </a:lnTo>
                <a:lnTo>
                  <a:pt x="113" y="167"/>
                </a:lnTo>
                <a:lnTo>
                  <a:pt x="114" y="179"/>
                </a:lnTo>
                <a:lnTo>
                  <a:pt x="91" y="183"/>
                </a:lnTo>
                <a:lnTo>
                  <a:pt x="68" y="188"/>
                </a:lnTo>
                <a:lnTo>
                  <a:pt x="36" y="189"/>
                </a:lnTo>
                <a:lnTo>
                  <a:pt x="18" y="183"/>
                </a:lnTo>
                <a:lnTo>
                  <a:pt x="0" y="177"/>
                </a:lnTo>
                <a:lnTo>
                  <a:pt x="16" y="194"/>
                </a:lnTo>
                <a:lnTo>
                  <a:pt x="30" y="211"/>
                </a:lnTo>
                <a:lnTo>
                  <a:pt x="47" y="218"/>
                </a:lnTo>
                <a:lnTo>
                  <a:pt x="54" y="243"/>
                </a:lnTo>
                <a:lnTo>
                  <a:pt x="60" y="247"/>
                </a:lnTo>
                <a:lnTo>
                  <a:pt x="61" y="258"/>
                </a:lnTo>
                <a:lnTo>
                  <a:pt x="42" y="265"/>
                </a:lnTo>
                <a:lnTo>
                  <a:pt x="34" y="275"/>
                </a:lnTo>
                <a:lnTo>
                  <a:pt x="32" y="294"/>
                </a:lnTo>
                <a:lnTo>
                  <a:pt x="53" y="293"/>
                </a:lnTo>
                <a:lnTo>
                  <a:pt x="72" y="293"/>
                </a:lnTo>
                <a:lnTo>
                  <a:pt x="89" y="291"/>
                </a:lnTo>
                <a:lnTo>
                  <a:pt x="110" y="289"/>
                </a:lnTo>
                <a:lnTo>
                  <a:pt x="133" y="28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15" name="Freeform 22"/>
          <p:cNvSpPr>
            <a:spLocks/>
          </p:cNvSpPr>
          <p:nvPr/>
        </p:nvSpPr>
        <p:spPr bwMode="auto">
          <a:xfrm>
            <a:off x="5110163" y="3663950"/>
            <a:ext cx="320675" cy="338138"/>
          </a:xfrm>
          <a:custGeom>
            <a:avLst/>
            <a:gdLst>
              <a:gd name="T0" fmla="*/ 2147483647 w 242"/>
              <a:gd name="T1" fmla="*/ 2147483647 h 246"/>
              <a:gd name="T2" fmla="*/ 2147483647 w 242"/>
              <a:gd name="T3" fmla="*/ 2147483647 h 246"/>
              <a:gd name="T4" fmla="*/ 2147483647 w 242"/>
              <a:gd name="T5" fmla="*/ 2147483647 h 246"/>
              <a:gd name="T6" fmla="*/ 2147483647 w 242"/>
              <a:gd name="T7" fmla="*/ 2147483647 h 246"/>
              <a:gd name="T8" fmla="*/ 2147483647 w 242"/>
              <a:gd name="T9" fmla="*/ 2147483647 h 246"/>
              <a:gd name="T10" fmla="*/ 2147483647 w 242"/>
              <a:gd name="T11" fmla="*/ 2147483647 h 246"/>
              <a:gd name="T12" fmla="*/ 2147483647 w 242"/>
              <a:gd name="T13" fmla="*/ 2147483647 h 246"/>
              <a:gd name="T14" fmla="*/ 2147483647 w 242"/>
              <a:gd name="T15" fmla="*/ 2147483647 h 246"/>
              <a:gd name="T16" fmla="*/ 2147483647 w 242"/>
              <a:gd name="T17" fmla="*/ 2147483647 h 246"/>
              <a:gd name="T18" fmla="*/ 2147483647 w 242"/>
              <a:gd name="T19" fmla="*/ 2147483647 h 246"/>
              <a:gd name="T20" fmla="*/ 2147483647 w 242"/>
              <a:gd name="T21" fmla="*/ 2147483647 h 246"/>
              <a:gd name="T22" fmla="*/ 2147483647 w 242"/>
              <a:gd name="T23" fmla="*/ 2147483647 h 246"/>
              <a:gd name="T24" fmla="*/ 2147483647 w 242"/>
              <a:gd name="T25" fmla="*/ 2147483647 h 246"/>
              <a:gd name="T26" fmla="*/ 2147483647 w 242"/>
              <a:gd name="T27" fmla="*/ 2147483647 h 246"/>
              <a:gd name="T28" fmla="*/ 2147483647 w 242"/>
              <a:gd name="T29" fmla="*/ 2147483647 h 246"/>
              <a:gd name="T30" fmla="*/ 2147483647 w 242"/>
              <a:gd name="T31" fmla="*/ 2147483647 h 246"/>
              <a:gd name="T32" fmla="*/ 2147483647 w 242"/>
              <a:gd name="T33" fmla="*/ 2147483647 h 246"/>
              <a:gd name="T34" fmla="*/ 2147483647 w 242"/>
              <a:gd name="T35" fmla="*/ 2147483647 h 246"/>
              <a:gd name="T36" fmla="*/ 2147483647 w 242"/>
              <a:gd name="T37" fmla="*/ 2147483647 h 246"/>
              <a:gd name="T38" fmla="*/ 2147483647 w 242"/>
              <a:gd name="T39" fmla="*/ 2147483647 h 246"/>
              <a:gd name="T40" fmla="*/ 2147483647 w 242"/>
              <a:gd name="T41" fmla="*/ 2147483647 h 246"/>
              <a:gd name="T42" fmla="*/ 2147483647 w 242"/>
              <a:gd name="T43" fmla="*/ 2147483647 h 246"/>
              <a:gd name="T44" fmla="*/ 2147483647 w 242"/>
              <a:gd name="T45" fmla="*/ 2147483647 h 246"/>
              <a:gd name="T46" fmla="*/ 2147483647 w 242"/>
              <a:gd name="T47" fmla="*/ 2147483647 h 246"/>
              <a:gd name="T48" fmla="*/ 2147483647 w 242"/>
              <a:gd name="T49" fmla="*/ 2147483647 h 246"/>
              <a:gd name="T50" fmla="*/ 2147483647 w 242"/>
              <a:gd name="T51" fmla="*/ 2147483647 h 246"/>
              <a:gd name="T52" fmla="*/ 2147483647 w 242"/>
              <a:gd name="T53" fmla="*/ 2147483647 h 246"/>
              <a:gd name="T54" fmla="*/ 2147483647 w 242"/>
              <a:gd name="T55" fmla="*/ 2147483647 h 246"/>
              <a:gd name="T56" fmla="*/ 2147483647 w 242"/>
              <a:gd name="T57" fmla="*/ 2147483647 h 246"/>
              <a:gd name="T58" fmla="*/ 2147483647 w 242"/>
              <a:gd name="T59" fmla="*/ 2147483647 h 246"/>
              <a:gd name="T60" fmla="*/ 2147483647 w 242"/>
              <a:gd name="T61" fmla="*/ 2147483647 h 246"/>
              <a:gd name="T62" fmla="*/ 2147483647 w 242"/>
              <a:gd name="T63" fmla="*/ 2147483647 h 246"/>
              <a:gd name="T64" fmla="*/ 2147483647 w 242"/>
              <a:gd name="T65" fmla="*/ 2147483647 h 246"/>
              <a:gd name="T66" fmla="*/ 2147483647 w 242"/>
              <a:gd name="T67" fmla="*/ 2147483647 h 246"/>
              <a:gd name="T68" fmla="*/ 2147483647 w 242"/>
              <a:gd name="T69" fmla="*/ 2147483647 h 246"/>
              <a:gd name="T70" fmla="*/ 2147483647 w 242"/>
              <a:gd name="T71" fmla="*/ 2147483647 h 246"/>
              <a:gd name="T72" fmla="*/ 2147483647 w 242"/>
              <a:gd name="T73" fmla="*/ 2147483647 h 246"/>
              <a:gd name="T74" fmla="*/ 2147483647 w 242"/>
              <a:gd name="T75" fmla="*/ 2147483647 h 246"/>
              <a:gd name="T76" fmla="*/ 2147483647 w 242"/>
              <a:gd name="T77" fmla="*/ 2147483647 h 246"/>
              <a:gd name="T78" fmla="*/ 0 w 242"/>
              <a:gd name="T79" fmla="*/ 2147483647 h 246"/>
              <a:gd name="T80" fmla="*/ 0 w 242"/>
              <a:gd name="T81" fmla="*/ 2147483647 h 246"/>
              <a:gd name="T82" fmla="*/ 2147483647 w 242"/>
              <a:gd name="T83" fmla="*/ 0 h 246"/>
              <a:gd name="T84" fmla="*/ 2147483647 w 242"/>
              <a:gd name="T85" fmla="*/ 2147483647 h 246"/>
              <a:gd name="T86" fmla="*/ 2147483647 w 242"/>
              <a:gd name="T87" fmla="*/ 2147483647 h 246"/>
              <a:gd name="T88" fmla="*/ 2147483647 w 242"/>
              <a:gd name="T89" fmla="*/ 2147483647 h 246"/>
              <a:gd name="T90" fmla="*/ 2147483647 w 242"/>
              <a:gd name="T91" fmla="*/ 2147483647 h 246"/>
              <a:gd name="T92" fmla="*/ 2147483647 w 242"/>
              <a:gd name="T93" fmla="*/ 2147483647 h 246"/>
              <a:gd name="T94" fmla="*/ 2147483647 w 242"/>
              <a:gd name="T95" fmla="*/ 2147483647 h 246"/>
              <a:gd name="T96" fmla="*/ 2147483647 w 242"/>
              <a:gd name="T97" fmla="*/ 2147483647 h 246"/>
              <a:gd name="T98" fmla="*/ 2147483647 w 242"/>
              <a:gd name="T99" fmla="*/ 2147483647 h 246"/>
              <a:gd name="T100" fmla="*/ 2147483647 w 242"/>
              <a:gd name="T101" fmla="*/ 2147483647 h 246"/>
              <a:gd name="T102" fmla="*/ 2147483647 w 242"/>
              <a:gd name="T103" fmla="*/ 2147483647 h 246"/>
              <a:gd name="T104" fmla="*/ 2147483647 w 242"/>
              <a:gd name="T105" fmla="*/ 2147483647 h 246"/>
              <a:gd name="T106" fmla="*/ 2147483647 w 242"/>
              <a:gd name="T107" fmla="*/ 2147483647 h 246"/>
              <a:gd name="T108" fmla="*/ 2147483647 w 242"/>
              <a:gd name="T109" fmla="*/ 2147483647 h 246"/>
              <a:gd name="T110" fmla="*/ 2147483647 w 242"/>
              <a:gd name="T111" fmla="*/ 2147483647 h 246"/>
              <a:gd name="T112" fmla="*/ 2147483647 w 242"/>
              <a:gd name="T113" fmla="*/ 2147483647 h 246"/>
              <a:gd name="T114" fmla="*/ 2147483647 w 242"/>
              <a:gd name="T115" fmla="*/ 2147483647 h 24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242"/>
              <a:gd name="T175" fmla="*/ 0 h 246"/>
              <a:gd name="T176" fmla="*/ 242 w 242"/>
              <a:gd name="T177" fmla="*/ 246 h 24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242" h="246">
                <a:moveTo>
                  <a:pt x="192" y="91"/>
                </a:moveTo>
                <a:lnTo>
                  <a:pt x="178" y="67"/>
                </a:lnTo>
                <a:lnTo>
                  <a:pt x="165" y="44"/>
                </a:lnTo>
                <a:lnTo>
                  <a:pt x="160" y="47"/>
                </a:lnTo>
                <a:lnTo>
                  <a:pt x="170" y="66"/>
                </a:lnTo>
                <a:lnTo>
                  <a:pt x="178" y="84"/>
                </a:lnTo>
                <a:lnTo>
                  <a:pt x="188" y="102"/>
                </a:lnTo>
                <a:lnTo>
                  <a:pt x="197" y="120"/>
                </a:lnTo>
                <a:lnTo>
                  <a:pt x="207" y="138"/>
                </a:lnTo>
                <a:lnTo>
                  <a:pt x="216" y="156"/>
                </a:lnTo>
                <a:lnTo>
                  <a:pt x="230" y="173"/>
                </a:lnTo>
                <a:lnTo>
                  <a:pt x="242" y="191"/>
                </a:lnTo>
                <a:lnTo>
                  <a:pt x="239" y="192"/>
                </a:lnTo>
                <a:lnTo>
                  <a:pt x="240" y="212"/>
                </a:lnTo>
                <a:lnTo>
                  <a:pt x="232" y="221"/>
                </a:lnTo>
                <a:lnTo>
                  <a:pt x="226" y="218"/>
                </a:lnTo>
                <a:lnTo>
                  <a:pt x="221" y="233"/>
                </a:lnTo>
                <a:lnTo>
                  <a:pt x="210" y="235"/>
                </a:lnTo>
                <a:lnTo>
                  <a:pt x="206" y="246"/>
                </a:lnTo>
                <a:lnTo>
                  <a:pt x="179" y="244"/>
                </a:lnTo>
                <a:lnTo>
                  <a:pt x="152" y="240"/>
                </a:lnTo>
                <a:lnTo>
                  <a:pt x="150" y="234"/>
                </a:lnTo>
                <a:lnTo>
                  <a:pt x="148" y="240"/>
                </a:lnTo>
                <a:lnTo>
                  <a:pt x="131" y="240"/>
                </a:lnTo>
                <a:lnTo>
                  <a:pt x="114" y="240"/>
                </a:lnTo>
                <a:lnTo>
                  <a:pt x="98" y="240"/>
                </a:lnTo>
                <a:lnTo>
                  <a:pt x="81" y="240"/>
                </a:lnTo>
                <a:lnTo>
                  <a:pt x="64" y="240"/>
                </a:lnTo>
                <a:lnTo>
                  <a:pt x="47" y="240"/>
                </a:lnTo>
                <a:lnTo>
                  <a:pt x="30" y="240"/>
                </a:lnTo>
                <a:lnTo>
                  <a:pt x="14" y="240"/>
                </a:lnTo>
                <a:lnTo>
                  <a:pt x="12" y="217"/>
                </a:lnTo>
                <a:lnTo>
                  <a:pt x="11" y="193"/>
                </a:lnTo>
                <a:lnTo>
                  <a:pt x="10" y="170"/>
                </a:lnTo>
                <a:lnTo>
                  <a:pt x="9" y="146"/>
                </a:lnTo>
                <a:lnTo>
                  <a:pt x="6" y="124"/>
                </a:lnTo>
                <a:lnTo>
                  <a:pt x="5" y="101"/>
                </a:lnTo>
                <a:lnTo>
                  <a:pt x="4" y="77"/>
                </a:lnTo>
                <a:lnTo>
                  <a:pt x="2" y="54"/>
                </a:lnTo>
                <a:lnTo>
                  <a:pt x="0" y="35"/>
                </a:lnTo>
                <a:lnTo>
                  <a:pt x="0" y="16"/>
                </a:lnTo>
                <a:lnTo>
                  <a:pt x="4" y="0"/>
                </a:lnTo>
                <a:lnTo>
                  <a:pt x="17" y="1"/>
                </a:lnTo>
                <a:lnTo>
                  <a:pt x="50" y="10"/>
                </a:lnTo>
                <a:lnTo>
                  <a:pt x="82" y="19"/>
                </a:lnTo>
                <a:lnTo>
                  <a:pt x="112" y="10"/>
                </a:lnTo>
                <a:lnTo>
                  <a:pt x="125" y="2"/>
                </a:lnTo>
                <a:lnTo>
                  <a:pt x="119" y="6"/>
                </a:lnTo>
                <a:lnTo>
                  <a:pt x="129" y="2"/>
                </a:lnTo>
                <a:lnTo>
                  <a:pt x="148" y="8"/>
                </a:lnTo>
                <a:lnTo>
                  <a:pt x="154" y="13"/>
                </a:lnTo>
                <a:lnTo>
                  <a:pt x="165" y="14"/>
                </a:lnTo>
                <a:lnTo>
                  <a:pt x="194" y="8"/>
                </a:lnTo>
                <a:lnTo>
                  <a:pt x="203" y="31"/>
                </a:lnTo>
                <a:lnTo>
                  <a:pt x="213" y="54"/>
                </a:lnTo>
                <a:lnTo>
                  <a:pt x="208" y="74"/>
                </a:lnTo>
                <a:lnTo>
                  <a:pt x="204" y="95"/>
                </a:lnTo>
                <a:lnTo>
                  <a:pt x="192" y="9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16" name="Freeform 23"/>
          <p:cNvSpPr>
            <a:spLocks/>
          </p:cNvSpPr>
          <p:nvPr/>
        </p:nvSpPr>
        <p:spPr bwMode="auto">
          <a:xfrm>
            <a:off x="6353175" y="3535363"/>
            <a:ext cx="796925" cy="931862"/>
          </a:xfrm>
          <a:custGeom>
            <a:avLst/>
            <a:gdLst>
              <a:gd name="T0" fmla="*/ 2147483647 w 602"/>
              <a:gd name="T1" fmla="*/ 2147483647 h 679"/>
              <a:gd name="T2" fmla="*/ 2147483647 w 602"/>
              <a:gd name="T3" fmla="*/ 2147483647 h 679"/>
              <a:gd name="T4" fmla="*/ 2147483647 w 602"/>
              <a:gd name="T5" fmla="*/ 2147483647 h 679"/>
              <a:gd name="T6" fmla="*/ 2147483647 w 602"/>
              <a:gd name="T7" fmla="*/ 2147483647 h 679"/>
              <a:gd name="T8" fmla="*/ 2147483647 w 602"/>
              <a:gd name="T9" fmla="*/ 2147483647 h 679"/>
              <a:gd name="T10" fmla="*/ 2147483647 w 602"/>
              <a:gd name="T11" fmla="*/ 2147483647 h 679"/>
              <a:gd name="T12" fmla="*/ 2147483647 w 602"/>
              <a:gd name="T13" fmla="*/ 2147483647 h 679"/>
              <a:gd name="T14" fmla="*/ 2147483647 w 602"/>
              <a:gd name="T15" fmla="*/ 2147483647 h 679"/>
              <a:gd name="T16" fmla="*/ 2147483647 w 602"/>
              <a:gd name="T17" fmla="*/ 2147483647 h 679"/>
              <a:gd name="T18" fmla="*/ 2147483647 w 602"/>
              <a:gd name="T19" fmla="*/ 2147483647 h 679"/>
              <a:gd name="T20" fmla="*/ 2147483647 w 602"/>
              <a:gd name="T21" fmla="*/ 2147483647 h 679"/>
              <a:gd name="T22" fmla="*/ 2147483647 w 602"/>
              <a:gd name="T23" fmla="*/ 2147483647 h 679"/>
              <a:gd name="T24" fmla="*/ 2147483647 w 602"/>
              <a:gd name="T25" fmla="*/ 2147483647 h 679"/>
              <a:gd name="T26" fmla="*/ 2147483647 w 602"/>
              <a:gd name="T27" fmla="*/ 2147483647 h 679"/>
              <a:gd name="T28" fmla="*/ 2147483647 w 602"/>
              <a:gd name="T29" fmla="*/ 2147483647 h 679"/>
              <a:gd name="T30" fmla="*/ 2147483647 w 602"/>
              <a:gd name="T31" fmla="*/ 2147483647 h 679"/>
              <a:gd name="T32" fmla="*/ 2147483647 w 602"/>
              <a:gd name="T33" fmla="*/ 2147483647 h 679"/>
              <a:gd name="T34" fmla="*/ 2147483647 w 602"/>
              <a:gd name="T35" fmla="*/ 2147483647 h 679"/>
              <a:gd name="T36" fmla="*/ 2147483647 w 602"/>
              <a:gd name="T37" fmla="*/ 2147483647 h 679"/>
              <a:gd name="T38" fmla="*/ 2147483647 w 602"/>
              <a:gd name="T39" fmla="*/ 2147483647 h 679"/>
              <a:gd name="T40" fmla="*/ 2147483647 w 602"/>
              <a:gd name="T41" fmla="*/ 2147483647 h 679"/>
              <a:gd name="T42" fmla="*/ 2147483647 w 602"/>
              <a:gd name="T43" fmla="*/ 2147483647 h 679"/>
              <a:gd name="T44" fmla="*/ 2147483647 w 602"/>
              <a:gd name="T45" fmla="*/ 2147483647 h 679"/>
              <a:gd name="T46" fmla="*/ 2147483647 w 602"/>
              <a:gd name="T47" fmla="*/ 2147483647 h 679"/>
              <a:gd name="T48" fmla="*/ 2147483647 w 602"/>
              <a:gd name="T49" fmla="*/ 2147483647 h 679"/>
              <a:gd name="T50" fmla="*/ 2147483647 w 602"/>
              <a:gd name="T51" fmla="*/ 2147483647 h 679"/>
              <a:gd name="T52" fmla="*/ 2147483647 w 602"/>
              <a:gd name="T53" fmla="*/ 2147483647 h 679"/>
              <a:gd name="T54" fmla="*/ 2147483647 w 602"/>
              <a:gd name="T55" fmla="*/ 2147483647 h 679"/>
              <a:gd name="T56" fmla="*/ 2147483647 w 602"/>
              <a:gd name="T57" fmla="*/ 2147483647 h 679"/>
              <a:gd name="T58" fmla="*/ 2147483647 w 602"/>
              <a:gd name="T59" fmla="*/ 2147483647 h 679"/>
              <a:gd name="T60" fmla="*/ 2147483647 w 602"/>
              <a:gd name="T61" fmla="*/ 2147483647 h 679"/>
              <a:gd name="T62" fmla="*/ 2147483647 w 602"/>
              <a:gd name="T63" fmla="*/ 2147483647 h 679"/>
              <a:gd name="T64" fmla="*/ 2147483647 w 602"/>
              <a:gd name="T65" fmla="*/ 2147483647 h 679"/>
              <a:gd name="T66" fmla="*/ 2147483647 w 602"/>
              <a:gd name="T67" fmla="*/ 2147483647 h 679"/>
              <a:gd name="T68" fmla="*/ 2147483647 w 602"/>
              <a:gd name="T69" fmla="*/ 2147483647 h 679"/>
              <a:gd name="T70" fmla="*/ 2147483647 w 602"/>
              <a:gd name="T71" fmla="*/ 2147483647 h 679"/>
              <a:gd name="T72" fmla="*/ 2147483647 w 602"/>
              <a:gd name="T73" fmla="*/ 2147483647 h 679"/>
              <a:gd name="T74" fmla="*/ 2147483647 w 602"/>
              <a:gd name="T75" fmla="*/ 2147483647 h 679"/>
              <a:gd name="T76" fmla="*/ 2147483647 w 602"/>
              <a:gd name="T77" fmla="*/ 2147483647 h 679"/>
              <a:gd name="T78" fmla="*/ 2147483647 w 602"/>
              <a:gd name="T79" fmla="*/ 2147483647 h 679"/>
              <a:gd name="T80" fmla="*/ 2147483647 w 602"/>
              <a:gd name="T81" fmla="*/ 2147483647 h 679"/>
              <a:gd name="T82" fmla="*/ 2147483647 w 602"/>
              <a:gd name="T83" fmla="*/ 2147483647 h 679"/>
              <a:gd name="T84" fmla="*/ 2147483647 w 602"/>
              <a:gd name="T85" fmla="*/ 2147483647 h 679"/>
              <a:gd name="T86" fmla="*/ 2147483647 w 602"/>
              <a:gd name="T87" fmla="*/ 2147483647 h 679"/>
              <a:gd name="T88" fmla="*/ 2147483647 w 602"/>
              <a:gd name="T89" fmla="*/ 2147483647 h 679"/>
              <a:gd name="T90" fmla="*/ 2147483647 w 602"/>
              <a:gd name="T91" fmla="*/ 2147483647 h 679"/>
              <a:gd name="T92" fmla="*/ 2147483647 w 602"/>
              <a:gd name="T93" fmla="*/ 2147483647 h 679"/>
              <a:gd name="T94" fmla="*/ 2147483647 w 602"/>
              <a:gd name="T95" fmla="*/ 2147483647 h 679"/>
              <a:gd name="T96" fmla="*/ 2147483647 w 602"/>
              <a:gd name="T97" fmla="*/ 2147483647 h 679"/>
              <a:gd name="T98" fmla="*/ 2147483647 w 602"/>
              <a:gd name="T99" fmla="*/ 2147483647 h 679"/>
              <a:gd name="T100" fmla="*/ 2147483647 w 602"/>
              <a:gd name="T101" fmla="*/ 2147483647 h 679"/>
              <a:gd name="T102" fmla="*/ 2147483647 w 602"/>
              <a:gd name="T103" fmla="*/ 2147483647 h 679"/>
              <a:gd name="T104" fmla="*/ 2147483647 w 602"/>
              <a:gd name="T105" fmla="*/ 2147483647 h 679"/>
              <a:gd name="T106" fmla="*/ 2147483647 w 602"/>
              <a:gd name="T107" fmla="*/ 2147483647 h 679"/>
              <a:gd name="T108" fmla="*/ 2147483647 w 602"/>
              <a:gd name="T109" fmla="*/ 2147483647 h 679"/>
              <a:gd name="T110" fmla="*/ 2147483647 w 602"/>
              <a:gd name="T111" fmla="*/ 2147483647 h 679"/>
              <a:gd name="T112" fmla="*/ 2147483647 w 602"/>
              <a:gd name="T113" fmla="*/ 2147483647 h 679"/>
              <a:gd name="T114" fmla="*/ 2147483647 w 602"/>
              <a:gd name="T115" fmla="*/ 2147483647 h 679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602"/>
              <a:gd name="T175" fmla="*/ 0 h 679"/>
              <a:gd name="T176" fmla="*/ 602 w 602"/>
              <a:gd name="T177" fmla="*/ 679 h 679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602" h="679">
                <a:moveTo>
                  <a:pt x="148" y="0"/>
                </a:moveTo>
                <a:lnTo>
                  <a:pt x="128" y="18"/>
                </a:lnTo>
                <a:lnTo>
                  <a:pt x="104" y="24"/>
                </a:lnTo>
                <a:lnTo>
                  <a:pt x="74" y="21"/>
                </a:lnTo>
                <a:lnTo>
                  <a:pt x="74" y="29"/>
                </a:lnTo>
                <a:lnTo>
                  <a:pt x="83" y="40"/>
                </a:lnTo>
                <a:lnTo>
                  <a:pt x="83" y="47"/>
                </a:lnTo>
                <a:lnTo>
                  <a:pt x="88" y="60"/>
                </a:lnTo>
                <a:lnTo>
                  <a:pt x="98" y="66"/>
                </a:lnTo>
                <a:lnTo>
                  <a:pt x="106" y="76"/>
                </a:lnTo>
                <a:lnTo>
                  <a:pt x="116" y="83"/>
                </a:lnTo>
                <a:lnTo>
                  <a:pt x="101" y="94"/>
                </a:lnTo>
                <a:lnTo>
                  <a:pt x="106" y="112"/>
                </a:lnTo>
                <a:lnTo>
                  <a:pt x="98" y="129"/>
                </a:lnTo>
                <a:lnTo>
                  <a:pt x="87" y="147"/>
                </a:lnTo>
                <a:lnTo>
                  <a:pt x="72" y="168"/>
                </a:lnTo>
                <a:lnTo>
                  <a:pt x="59" y="189"/>
                </a:lnTo>
                <a:lnTo>
                  <a:pt x="39" y="190"/>
                </a:lnTo>
                <a:lnTo>
                  <a:pt x="30" y="187"/>
                </a:lnTo>
                <a:lnTo>
                  <a:pt x="18" y="217"/>
                </a:lnTo>
                <a:lnTo>
                  <a:pt x="34" y="226"/>
                </a:lnTo>
                <a:lnTo>
                  <a:pt x="39" y="243"/>
                </a:lnTo>
                <a:lnTo>
                  <a:pt x="47" y="244"/>
                </a:lnTo>
                <a:lnTo>
                  <a:pt x="58" y="276"/>
                </a:lnTo>
                <a:lnTo>
                  <a:pt x="51" y="275"/>
                </a:lnTo>
                <a:lnTo>
                  <a:pt x="29" y="279"/>
                </a:lnTo>
                <a:lnTo>
                  <a:pt x="11" y="277"/>
                </a:lnTo>
                <a:lnTo>
                  <a:pt x="12" y="286"/>
                </a:lnTo>
                <a:lnTo>
                  <a:pt x="0" y="291"/>
                </a:lnTo>
                <a:lnTo>
                  <a:pt x="2" y="292"/>
                </a:lnTo>
                <a:lnTo>
                  <a:pt x="10" y="289"/>
                </a:lnTo>
                <a:lnTo>
                  <a:pt x="6" y="295"/>
                </a:lnTo>
                <a:lnTo>
                  <a:pt x="26" y="315"/>
                </a:lnTo>
                <a:lnTo>
                  <a:pt x="51" y="310"/>
                </a:lnTo>
                <a:lnTo>
                  <a:pt x="48" y="315"/>
                </a:lnTo>
                <a:lnTo>
                  <a:pt x="33" y="325"/>
                </a:lnTo>
                <a:lnTo>
                  <a:pt x="22" y="324"/>
                </a:lnTo>
                <a:lnTo>
                  <a:pt x="41" y="345"/>
                </a:lnTo>
                <a:lnTo>
                  <a:pt x="60" y="365"/>
                </a:lnTo>
                <a:lnTo>
                  <a:pt x="90" y="357"/>
                </a:lnTo>
                <a:lnTo>
                  <a:pt x="92" y="340"/>
                </a:lnTo>
                <a:lnTo>
                  <a:pt x="93" y="329"/>
                </a:lnTo>
                <a:lnTo>
                  <a:pt x="105" y="329"/>
                </a:lnTo>
                <a:lnTo>
                  <a:pt x="101" y="336"/>
                </a:lnTo>
                <a:lnTo>
                  <a:pt x="100" y="341"/>
                </a:lnTo>
                <a:lnTo>
                  <a:pt x="112" y="341"/>
                </a:lnTo>
                <a:lnTo>
                  <a:pt x="104" y="348"/>
                </a:lnTo>
                <a:lnTo>
                  <a:pt x="107" y="360"/>
                </a:lnTo>
                <a:lnTo>
                  <a:pt x="108" y="377"/>
                </a:lnTo>
                <a:lnTo>
                  <a:pt x="114" y="402"/>
                </a:lnTo>
                <a:lnTo>
                  <a:pt x="116" y="409"/>
                </a:lnTo>
                <a:lnTo>
                  <a:pt x="118" y="414"/>
                </a:lnTo>
                <a:lnTo>
                  <a:pt x="124" y="445"/>
                </a:lnTo>
                <a:lnTo>
                  <a:pt x="132" y="469"/>
                </a:lnTo>
                <a:lnTo>
                  <a:pt x="141" y="493"/>
                </a:lnTo>
                <a:lnTo>
                  <a:pt x="146" y="498"/>
                </a:lnTo>
                <a:lnTo>
                  <a:pt x="158" y="527"/>
                </a:lnTo>
                <a:lnTo>
                  <a:pt x="170" y="556"/>
                </a:lnTo>
                <a:lnTo>
                  <a:pt x="179" y="576"/>
                </a:lnTo>
                <a:lnTo>
                  <a:pt x="190" y="597"/>
                </a:lnTo>
                <a:lnTo>
                  <a:pt x="200" y="617"/>
                </a:lnTo>
                <a:lnTo>
                  <a:pt x="207" y="634"/>
                </a:lnTo>
                <a:lnTo>
                  <a:pt x="215" y="653"/>
                </a:lnTo>
                <a:lnTo>
                  <a:pt x="225" y="672"/>
                </a:lnTo>
                <a:lnTo>
                  <a:pt x="238" y="679"/>
                </a:lnTo>
                <a:lnTo>
                  <a:pt x="249" y="666"/>
                </a:lnTo>
                <a:lnTo>
                  <a:pt x="262" y="653"/>
                </a:lnTo>
                <a:lnTo>
                  <a:pt x="275" y="652"/>
                </a:lnTo>
                <a:lnTo>
                  <a:pt x="267" y="642"/>
                </a:lnTo>
                <a:lnTo>
                  <a:pt x="279" y="624"/>
                </a:lnTo>
                <a:lnTo>
                  <a:pt x="285" y="623"/>
                </a:lnTo>
                <a:lnTo>
                  <a:pt x="282" y="605"/>
                </a:lnTo>
                <a:lnTo>
                  <a:pt x="281" y="587"/>
                </a:lnTo>
                <a:lnTo>
                  <a:pt x="285" y="568"/>
                </a:lnTo>
                <a:lnTo>
                  <a:pt x="290" y="547"/>
                </a:lnTo>
                <a:lnTo>
                  <a:pt x="285" y="525"/>
                </a:lnTo>
                <a:lnTo>
                  <a:pt x="282" y="496"/>
                </a:lnTo>
                <a:lnTo>
                  <a:pt x="294" y="489"/>
                </a:lnTo>
                <a:lnTo>
                  <a:pt x="297" y="485"/>
                </a:lnTo>
                <a:lnTo>
                  <a:pt x="302" y="485"/>
                </a:lnTo>
                <a:lnTo>
                  <a:pt x="308" y="475"/>
                </a:lnTo>
                <a:lnTo>
                  <a:pt x="324" y="468"/>
                </a:lnTo>
                <a:lnTo>
                  <a:pt x="328" y="453"/>
                </a:lnTo>
                <a:lnTo>
                  <a:pt x="348" y="431"/>
                </a:lnTo>
                <a:lnTo>
                  <a:pt x="370" y="409"/>
                </a:lnTo>
                <a:lnTo>
                  <a:pt x="387" y="393"/>
                </a:lnTo>
                <a:lnTo>
                  <a:pt x="400" y="384"/>
                </a:lnTo>
                <a:lnTo>
                  <a:pt x="412" y="366"/>
                </a:lnTo>
                <a:lnTo>
                  <a:pt x="412" y="348"/>
                </a:lnTo>
                <a:lnTo>
                  <a:pt x="432" y="334"/>
                </a:lnTo>
                <a:lnTo>
                  <a:pt x="438" y="343"/>
                </a:lnTo>
                <a:lnTo>
                  <a:pt x="444" y="345"/>
                </a:lnTo>
                <a:lnTo>
                  <a:pt x="449" y="343"/>
                </a:lnTo>
                <a:lnTo>
                  <a:pt x="455" y="343"/>
                </a:lnTo>
                <a:lnTo>
                  <a:pt x="454" y="336"/>
                </a:lnTo>
                <a:lnTo>
                  <a:pt x="448" y="317"/>
                </a:lnTo>
                <a:lnTo>
                  <a:pt x="442" y="299"/>
                </a:lnTo>
                <a:lnTo>
                  <a:pt x="440" y="285"/>
                </a:lnTo>
                <a:lnTo>
                  <a:pt x="424" y="270"/>
                </a:lnTo>
                <a:lnTo>
                  <a:pt x="429" y="261"/>
                </a:lnTo>
                <a:lnTo>
                  <a:pt x="438" y="256"/>
                </a:lnTo>
                <a:lnTo>
                  <a:pt x="422" y="240"/>
                </a:lnTo>
                <a:lnTo>
                  <a:pt x="422" y="222"/>
                </a:lnTo>
                <a:lnTo>
                  <a:pt x="436" y="228"/>
                </a:lnTo>
                <a:lnTo>
                  <a:pt x="443" y="235"/>
                </a:lnTo>
                <a:lnTo>
                  <a:pt x="448" y="231"/>
                </a:lnTo>
                <a:lnTo>
                  <a:pt x="456" y="251"/>
                </a:lnTo>
                <a:lnTo>
                  <a:pt x="480" y="253"/>
                </a:lnTo>
                <a:lnTo>
                  <a:pt x="503" y="256"/>
                </a:lnTo>
                <a:lnTo>
                  <a:pt x="514" y="264"/>
                </a:lnTo>
                <a:lnTo>
                  <a:pt x="510" y="275"/>
                </a:lnTo>
                <a:lnTo>
                  <a:pt x="495" y="286"/>
                </a:lnTo>
                <a:lnTo>
                  <a:pt x="498" y="305"/>
                </a:lnTo>
                <a:lnTo>
                  <a:pt x="503" y="310"/>
                </a:lnTo>
                <a:lnTo>
                  <a:pt x="513" y="292"/>
                </a:lnTo>
                <a:lnTo>
                  <a:pt x="521" y="313"/>
                </a:lnTo>
                <a:lnTo>
                  <a:pt x="530" y="335"/>
                </a:lnTo>
                <a:lnTo>
                  <a:pt x="531" y="335"/>
                </a:lnTo>
                <a:lnTo>
                  <a:pt x="538" y="335"/>
                </a:lnTo>
                <a:lnTo>
                  <a:pt x="538" y="309"/>
                </a:lnTo>
                <a:lnTo>
                  <a:pt x="539" y="287"/>
                </a:lnTo>
                <a:lnTo>
                  <a:pt x="552" y="287"/>
                </a:lnTo>
                <a:lnTo>
                  <a:pt x="563" y="257"/>
                </a:lnTo>
                <a:lnTo>
                  <a:pt x="563" y="246"/>
                </a:lnTo>
                <a:lnTo>
                  <a:pt x="564" y="226"/>
                </a:lnTo>
                <a:lnTo>
                  <a:pt x="585" y="204"/>
                </a:lnTo>
                <a:lnTo>
                  <a:pt x="600" y="208"/>
                </a:lnTo>
                <a:lnTo>
                  <a:pt x="597" y="199"/>
                </a:lnTo>
                <a:lnTo>
                  <a:pt x="599" y="192"/>
                </a:lnTo>
                <a:lnTo>
                  <a:pt x="602" y="180"/>
                </a:lnTo>
                <a:lnTo>
                  <a:pt x="579" y="172"/>
                </a:lnTo>
                <a:lnTo>
                  <a:pt x="579" y="162"/>
                </a:lnTo>
                <a:lnTo>
                  <a:pt x="570" y="159"/>
                </a:lnTo>
                <a:lnTo>
                  <a:pt x="573" y="155"/>
                </a:lnTo>
                <a:lnTo>
                  <a:pt x="563" y="153"/>
                </a:lnTo>
                <a:lnTo>
                  <a:pt x="551" y="159"/>
                </a:lnTo>
                <a:lnTo>
                  <a:pt x="534" y="156"/>
                </a:lnTo>
                <a:lnTo>
                  <a:pt x="519" y="171"/>
                </a:lnTo>
                <a:lnTo>
                  <a:pt x="503" y="184"/>
                </a:lnTo>
                <a:lnTo>
                  <a:pt x="484" y="192"/>
                </a:lnTo>
                <a:lnTo>
                  <a:pt x="490" y="199"/>
                </a:lnTo>
                <a:lnTo>
                  <a:pt x="497" y="213"/>
                </a:lnTo>
                <a:lnTo>
                  <a:pt x="478" y="214"/>
                </a:lnTo>
                <a:lnTo>
                  <a:pt x="458" y="215"/>
                </a:lnTo>
                <a:lnTo>
                  <a:pt x="431" y="213"/>
                </a:lnTo>
                <a:lnTo>
                  <a:pt x="428" y="203"/>
                </a:lnTo>
                <a:lnTo>
                  <a:pt x="418" y="183"/>
                </a:lnTo>
                <a:lnTo>
                  <a:pt x="408" y="190"/>
                </a:lnTo>
                <a:lnTo>
                  <a:pt x="416" y="223"/>
                </a:lnTo>
                <a:lnTo>
                  <a:pt x="392" y="222"/>
                </a:lnTo>
                <a:lnTo>
                  <a:pt x="364" y="219"/>
                </a:lnTo>
                <a:lnTo>
                  <a:pt x="347" y="215"/>
                </a:lnTo>
                <a:lnTo>
                  <a:pt x="338" y="203"/>
                </a:lnTo>
                <a:lnTo>
                  <a:pt x="310" y="199"/>
                </a:lnTo>
                <a:lnTo>
                  <a:pt x="290" y="195"/>
                </a:lnTo>
                <a:lnTo>
                  <a:pt x="262" y="180"/>
                </a:lnTo>
                <a:lnTo>
                  <a:pt x="236" y="167"/>
                </a:lnTo>
                <a:lnTo>
                  <a:pt x="236" y="151"/>
                </a:lnTo>
                <a:lnTo>
                  <a:pt x="248" y="131"/>
                </a:lnTo>
                <a:lnTo>
                  <a:pt x="226" y="118"/>
                </a:lnTo>
                <a:lnTo>
                  <a:pt x="201" y="103"/>
                </a:lnTo>
                <a:lnTo>
                  <a:pt x="191" y="100"/>
                </a:lnTo>
                <a:lnTo>
                  <a:pt x="182" y="72"/>
                </a:lnTo>
                <a:lnTo>
                  <a:pt x="194" y="75"/>
                </a:lnTo>
                <a:lnTo>
                  <a:pt x="197" y="65"/>
                </a:lnTo>
                <a:lnTo>
                  <a:pt x="184" y="47"/>
                </a:lnTo>
                <a:lnTo>
                  <a:pt x="184" y="37"/>
                </a:lnTo>
                <a:lnTo>
                  <a:pt x="183" y="35"/>
                </a:lnTo>
                <a:lnTo>
                  <a:pt x="182" y="31"/>
                </a:lnTo>
                <a:lnTo>
                  <a:pt x="178" y="27"/>
                </a:lnTo>
                <a:lnTo>
                  <a:pt x="174" y="21"/>
                </a:lnTo>
                <a:lnTo>
                  <a:pt x="173" y="16"/>
                </a:lnTo>
                <a:lnTo>
                  <a:pt x="171" y="9"/>
                </a:lnTo>
                <a:lnTo>
                  <a:pt x="164" y="6"/>
                </a:lnTo>
                <a:lnTo>
                  <a:pt x="154" y="3"/>
                </a:lnTo>
                <a:lnTo>
                  <a:pt x="148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17" name="Freeform 24"/>
          <p:cNvSpPr>
            <a:spLocks/>
          </p:cNvSpPr>
          <p:nvPr/>
        </p:nvSpPr>
        <p:spPr bwMode="auto">
          <a:xfrm>
            <a:off x="5368925" y="3609975"/>
            <a:ext cx="33338" cy="128588"/>
          </a:xfrm>
          <a:custGeom>
            <a:avLst/>
            <a:gdLst>
              <a:gd name="T0" fmla="*/ 2147483647 w 26"/>
              <a:gd name="T1" fmla="*/ 2147483647 h 94"/>
              <a:gd name="T2" fmla="*/ 2147483647 w 26"/>
              <a:gd name="T3" fmla="*/ 2147483647 h 94"/>
              <a:gd name="T4" fmla="*/ 0 w 26"/>
              <a:gd name="T5" fmla="*/ 2147483647 h 94"/>
              <a:gd name="T6" fmla="*/ 2147483647 w 26"/>
              <a:gd name="T7" fmla="*/ 2147483647 h 94"/>
              <a:gd name="T8" fmla="*/ 2147483647 w 26"/>
              <a:gd name="T9" fmla="*/ 2147483647 h 94"/>
              <a:gd name="T10" fmla="*/ 2147483647 w 26"/>
              <a:gd name="T11" fmla="*/ 0 h 94"/>
              <a:gd name="T12" fmla="*/ 2147483647 w 26"/>
              <a:gd name="T13" fmla="*/ 2147483647 h 94"/>
              <a:gd name="T14" fmla="*/ 2147483647 w 26"/>
              <a:gd name="T15" fmla="*/ 2147483647 h 94"/>
              <a:gd name="T16" fmla="*/ 2147483647 w 26"/>
              <a:gd name="T17" fmla="*/ 2147483647 h 94"/>
              <a:gd name="T18" fmla="*/ 2147483647 w 26"/>
              <a:gd name="T19" fmla="*/ 2147483647 h 94"/>
              <a:gd name="T20" fmla="*/ 2147483647 w 26"/>
              <a:gd name="T21" fmla="*/ 2147483647 h 94"/>
              <a:gd name="T22" fmla="*/ 2147483647 w 26"/>
              <a:gd name="T23" fmla="*/ 2147483647 h 9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6"/>
              <a:gd name="T37" fmla="*/ 0 h 94"/>
              <a:gd name="T38" fmla="*/ 26 w 26"/>
              <a:gd name="T39" fmla="*/ 94 h 9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6" h="94">
                <a:moveTo>
                  <a:pt x="19" y="94"/>
                </a:moveTo>
                <a:lnTo>
                  <a:pt x="9" y="71"/>
                </a:lnTo>
                <a:lnTo>
                  <a:pt x="0" y="48"/>
                </a:lnTo>
                <a:lnTo>
                  <a:pt x="7" y="27"/>
                </a:lnTo>
                <a:lnTo>
                  <a:pt x="14" y="4"/>
                </a:lnTo>
                <a:lnTo>
                  <a:pt x="25" y="0"/>
                </a:lnTo>
                <a:lnTo>
                  <a:pt x="26" y="14"/>
                </a:lnTo>
                <a:lnTo>
                  <a:pt x="25" y="33"/>
                </a:lnTo>
                <a:lnTo>
                  <a:pt x="24" y="53"/>
                </a:lnTo>
                <a:lnTo>
                  <a:pt x="22" y="72"/>
                </a:lnTo>
                <a:lnTo>
                  <a:pt x="20" y="93"/>
                </a:lnTo>
                <a:lnTo>
                  <a:pt x="19" y="9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18" name="Freeform 25"/>
          <p:cNvSpPr>
            <a:spLocks/>
          </p:cNvSpPr>
          <p:nvPr/>
        </p:nvSpPr>
        <p:spPr bwMode="auto">
          <a:xfrm>
            <a:off x="5395913" y="3605213"/>
            <a:ext cx="111125" cy="144462"/>
          </a:xfrm>
          <a:custGeom>
            <a:avLst/>
            <a:gdLst>
              <a:gd name="T0" fmla="*/ 2147483647 w 84"/>
              <a:gd name="T1" fmla="*/ 2147483647 h 103"/>
              <a:gd name="T2" fmla="*/ 2147483647 w 84"/>
              <a:gd name="T3" fmla="*/ 2147483647 h 103"/>
              <a:gd name="T4" fmla="*/ 2147483647 w 84"/>
              <a:gd name="T5" fmla="*/ 2147483647 h 103"/>
              <a:gd name="T6" fmla="*/ 2147483647 w 84"/>
              <a:gd name="T7" fmla="*/ 2147483647 h 103"/>
              <a:gd name="T8" fmla="*/ 2147483647 w 84"/>
              <a:gd name="T9" fmla="*/ 2147483647 h 103"/>
              <a:gd name="T10" fmla="*/ 0 w 84"/>
              <a:gd name="T11" fmla="*/ 2147483647 h 103"/>
              <a:gd name="T12" fmla="*/ 0 w 84"/>
              <a:gd name="T13" fmla="*/ 2147483647 h 103"/>
              <a:gd name="T14" fmla="*/ 2147483647 w 84"/>
              <a:gd name="T15" fmla="*/ 2147483647 h 103"/>
              <a:gd name="T16" fmla="*/ 2147483647 w 84"/>
              <a:gd name="T17" fmla="*/ 2147483647 h 103"/>
              <a:gd name="T18" fmla="*/ 2147483647 w 84"/>
              <a:gd name="T19" fmla="*/ 2147483647 h 103"/>
              <a:gd name="T20" fmla="*/ 2147483647 w 84"/>
              <a:gd name="T21" fmla="*/ 2147483647 h 103"/>
              <a:gd name="T22" fmla="*/ 2147483647 w 84"/>
              <a:gd name="T23" fmla="*/ 2147483647 h 103"/>
              <a:gd name="T24" fmla="*/ 2147483647 w 84"/>
              <a:gd name="T25" fmla="*/ 2147483647 h 103"/>
              <a:gd name="T26" fmla="*/ 2147483647 w 84"/>
              <a:gd name="T27" fmla="*/ 2147483647 h 103"/>
              <a:gd name="T28" fmla="*/ 2147483647 w 84"/>
              <a:gd name="T29" fmla="*/ 0 h 103"/>
              <a:gd name="T30" fmla="*/ 2147483647 w 84"/>
              <a:gd name="T31" fmla="*/ 2147483647 h 103"/>
              <a:gd name="T32" fmla="*/ 2147483647 w 84"/>
              <a:gd name="T33" fmla="*/ 2147483647 h 10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84"/>
              <a:gd name="T52" fmla="*/ 0 h 103"/>
              <a:gd name="T53" fmla="*/ 84 w 84"/>
              <a:gd name="T54" fmla="*/ 103 h 103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84" h="103">
                <a:moveTo>
                  <a:pt x="32" y="26"/>
                </a:moveTo>
                <a:lnTo>
                  <a:pt x="6" y="16"/>
                </a:lnTo>
                <a:lnTo>
                  <a:pt x="5" y="35"/>
                </a:lnTo>
                <a:lnTo>
                  <a:pt x="4" y="55"/>
                </a:lnTo>
                <a:lnTo>
                  <a:pt x="2" y="74"/>
                </a:lnTo>
                <a:lnTo>
                  <a:pt x="0" y="95"/>
                </a:lnTo>
                <a:lnTo>
                  <a:pt x="0" y="100"/>
                </a:lnTo>
                <a:lnTo>
                  <a:pt x="24" y="103"/>
                </a:lnTo>
                <a:lnTo>
                  <a:pt x="37" y="86"/>
                </a:lnTo>
                <a:lnTo>
                  <a:pt x="53" y="84"/>
                </a:lnTo>
                <a:lnTo>
                  <a:pt x="61" y="71"/>
                </a:lnTo>
                <a:lnTo>
                  <a:pt x="38" y="46"/>
                </a:lnTo>
                <a:lnTo>
                  <a:pt x="61" y="37"/>
                </a:lnTo>
                <a:lnTo>
                  <a:pt x="84" y="28"/>
                </a:lnTo>
                <a:lnTo>
                  <a:pt x="70" y="0"/>
                </a:lnTo>
                <a:lnTo>
                  <a:pt x="52" y="13"/>
                </a:lnTo>
                <a:lnTo>
                  <a:pt x="32" y="26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19" name="Freeform 26"/>
          <p:cNvSpPr>
            <a:spLocks/>
          </p:cNvSpPr>
          <p:nvPr/>
        </p:nvSpPr>
        <p:spPr bwMode="auto">
          <a:xfrm>
            <a:off x="5900738" y="3892550"/>
            <a:ext cx="219075" cy="285750"/>
          </a:xfrm>
          <a:custGeom>
            <a:avLst/>
            <a:gdLst>
              <a:gd name="T0" fmla="*/ 2147483647 w 163"/>
              <a:gd name="T1" fmla="*/ 2147483647 h 207"/>
              <a:gd name="T2" fmla="*/ 2147483647 w 163"/>
              <a:gd name="T3" fmla="*/ 2147483647 h 207"/>
              <a:gd name="T4" fmla="*/ 2147483647 w 163"/>
              <a:gd name="T5" fmla="*/ 2147483647 h 207"/>
              <a:gd name="T6" fmla="*/ 2147483647 w 163"/>
              <a:gd name="T7" fmla="*/ 2147483647 h 207"/>
              <a:gd name="T8" fmla="*/ 2147483647 w 163"/>
              <a:gd name="T9" fmla="*/ 2147483647 h 207"/>
              <a:gd name="T10" fmla="*/ 2147483647 w 163"/>
              <a:gd name="T11" fmla="*/ 2147483647 h 207"/>
              <a:gd name="T12" fmla="*/ 2147483647 w 163"/>
              <a:gd name="T13" fmla="*/ 2147483647 h 207"/>
              <a:gd name="T14" fmla="*/ 2147483647 w 163"/>
              <a:gd name="T15" fmla="*/ 0 h 207"/>
              <a:gd name="T16" fmla="*/ 2147483647 w 163"/>
              <a:gd name="T17" fmla="*/ 2147483647 h 207"/>
              <a:gd name="T18" fmla="*/ 2147483647 w 163"/>
              <a:gd name="T19" fmla="*/ 2147483647 h 207"/>
              <a:gd name="T20" fmla="*/ 2147483647 w 163"/>
              <a:gd name="T21" fmla="*/ 2147483647 h 207"/>
              <a:gd name="T22" fmla="*/ 2147483647 w 163"/>
              <a:gd name="T23" fmla="*/ 2147483647 h 207"/>
              <a:gd name="T24" fmla="*/ 2147483647 w 163"/>
              <a:gd name="T25" fmla="*/ 2147483647 h 207"/>
              <a:gd name="T26" fmla="*/ 2147483647 w 163"/>
              <a:gd name="T27" fmla="*/ 2147483647 h 207"/>
              <a:gd name="T28" fmla="*/ 2147483647 w 163"/>
              <a:gd name="T29" fmla="*/ 2147483647 h 207"/>
              <a:gd name="T30" fmla="*/ 2147483647 w 163"/>
              <a:gd name="T31" fmla="*/ 2147483647 h 207"/>
              <a:gd name="T32" fmla="*/ 2147483647 w 163"/>
              <a:gd name="T33" fmla="*/ 2147483647 h 207"/>
              <a:gd name="T34" fmla="*/ 2147483647 w 163"/>
              <a:gd name="T35" fmla="*/ 2147483647 h 207"/>
              <a:gd name="T36" fmla="*/ 0 w 163"/>
              <a:gd name="T37" fmla="*/ 2147483647 h 207"/>
              <a:gd name="T38" fmla="*/ 2147483647 w 163"/>
              <a:gd name="T39" fmla="*/ 2147483647 h 207"/>
              <a:gd name="T40" fmla="*/ 2147483647 w 163"/>
              <a:gd name="T41" fmla="*/ 2147483647 h 207"/>
              <a:gd name="T42" fmla="*/ 2147483647 w 163"/>
              <a:gd name="T43" fmla="*/ 2147483647 h 207"/>
              <a:gd name="T44" fmla="*/ 2147483647 w 163"/>
              <a:gd name="T45" fmla="*/ 2147483647 h 207"/>
              <a:gd name="T46" fmla="*/ 2147483647 w 163"/>
              <a:gd name="T47" fmla="*/ 2147483647 h 207"/>
              <a:gd name="T48" fmla="*/ 2147483647 w 163"/>
              <a:gd name="T49" fmla="*/ 2147483647 h 207"/>
              <a:gd name="T50" fmla="*/ 2147483647 w 163"/>
              <a:gd name="T51" fmla="*/ 2147483647 h 207"/>
              <a:gd name="T52" fmla="*/ 2147483647 w 163"/>
              <a:gd name="T53" fmla="*/ 2147483647 h 207"/>
              <a:gd name="T54" fmla="*/ 2147483647 w 163"/>
              <a:gd name="T55" fmla="*/ 2147483647 h 207"/>
              <a:gd name="T56" fmla="*/ 2147483647 w 163"/>
              <a:gd name="T57" fmla="*/ 2147483647 h 207"/>
              <a:gd name="T58" fmla="*/ 2147483647 w 163"/>
              <a:gd name="T59" fmla="*/ 2147483647 h 207"/>
              <a:gd name="T60" fmla="*/ 2147483647 w 163"/>
              <a:gd name="T61" fmla="*/ 2147483647 h 207"/>
              <a:gd name="T62" fmla="*/ 2147483647 w 163"/>
              <a:gd name="T63" fmla="*/ 2147483647 h 207"/>
              <a:gd name="T64" fmla="*/ 2147483647 w 163"/>
              <a:gd name="T65" fmla="*/ 2147483647 h 20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63"/>
              <a:gd name="T100" fmla="*/ 0 h 207"/>
              <a:gd name="T101" fmla="*/ 163 w 163"/>
              <a:gd name="T102" fmla="*/ 207 h 207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63" h="207">
                <a:moveTo>
                  <a:pt x="163" y="63"/>
                </a:moveTo>
                <a:lnTo>
                  <a:pt x="148" y="49"/>
                </a:lnTo>
                <a:lnTo>
                  <a:pt x="131" y="34"/>
                </a:lnTo>
                <a:lnTo>
                  <a:pt x="113" y="26"/>
                </a:lnTo>
                <a:lnTo>
                  <a:pt x="95" y="19"/>
                </a:lnTo>
                <a:lnTo>
                  <a:pt x="84" y="1"/>
                </a:lnTo>
                <a:lnTo>
                  <a:pt x="77" y="6"/>
                </a:lnTo>
                <a:lnTo>
                  <a:pt x="74" y="0"/>
                </a:lnTo>
                <a:lnTo>
                  <a:pt x="78" y="22"/>
                </a:lnTo>
                <a:lnTo>
                  <a:pt x="67" y="26"/>
                </a:lnTo>
                <a:lnTo>
                  <a:pt x="63" y="56"/>
                </a:lnTo>
                <a:lnTo>
                  <a:pt x="74" y="74"/>
                </a:lnTo>
                <a:lnTo>
                  <a:pt x="69" y="99"/>
                </a:lnTo>
                <a:lnTo>
                  <a:pt x="65" y="123"/>
                </a:lnTo>
                <a:lnTo>
                  <a:pt x="49" y="130"/>
                </a:lnTo>
                <a:lnTo>
                  <a:pt x="33" y="136"/>
                </a:lnTo>
                <a:lnTo>
                  <a:pt x="18" y="142"/>
                </a:lnTo>
                <a:lnTo>
                  <a:pt x="2" y="148"/>
                </a:lnTo>
                <a:lnTo>
                  <a:pt x="0" y="159"/>
                </a:lnTo>
                <a:lnTo>
                  <a:pt x="15" y="183"/>
                </a:lnTo>
                <a:lnTo>
                  <a:pt x="30" y="207"/>
                </a:lnTo>
                <a:lnTo>
                  <a:pt x="47" y="204"/>
                </a:lnTo>
                <a:lnTo>
                  <a:pt x="65" y="199"/>
                </a:lnTo>
                <a:lnTo>
                  <a:pt x="77" y="188"/>
                </a:lnTo>
                <a:lnTo>
                  <a:pt x="83" y="176"/>
                </a:lnTo>
                <a:lnTo>
                  <a:pt x="102" y="170"/>
                </a:lnTo>
                <a:lnTo>
                  <a:pt x="111" y="152"/>
                </a:lnTo>
                <a:lnTo>
                  <a:pt x="127" y="145"/>
                </a:lnTo>
                <a:lnTo>
                  <a:pt x="126" y="117"/>
                </a:lnTo>
                <a:lnTo>
                  <a:pt x="133" y="111"/>
                </a:lnTo>
                <a:lnTo>
                  <a:pt x="140" y="111"/>
                </a:lnTo>
                <a:lnTo>
                  <a:pt x="151" y="87"/>
                </a:lnTo>
                <a:lnTo>
                  <a:pt x="163" y="6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20" name="Freeform 27"/>
          <p:cNvSpPr>
            <a:spLocks/>
          </p:cNvSpPr>
          <p:nvPr/>
        </p:nvSpPr>
        <p:spPr bwMode="auto">
          <a:xfrm>
            <a:off x="5999163" y="3848100"/>
            <a:ext cx="11112" cy="17463"/>
          </a:xfrm>
          <a:custGeom>
            <a:avLst/>
            <a:gdLst>
              <a:gd name="T0" fmla="*/ 2147483647 w 7"/>
              <a:gd name="T1" fmla="*/ 0 h 12"/>
              <a:gd name="T2" fmla="*/ 0 w 7"/>
              <a:gd name="T3" fmla="*/ 2147483647 h 12"/>
              <a:gd name="T4" fmla="*/ 2147483647 w 7"/>
              <a:gd name="T5" fmla="*/ 2147483647 h 12"/>
              <a:gd name="T6" fmla="*/ 2147483647 w 7"/>
              <a:gd name="T7" fmla="*/ 0 h 12"/>
              <a:gd name="T8" fmla="*/ 0 60000 65536"/>
              <a:gd name="T9" fmla="*/ 0 60000 65536"/>
              <a:gd name="T10" fmla="*/ 0 60000 65536"/>
              <a:gd name="T11" fmla="*/ 0 60000 65536"/>
              <a:gd name="T12" fmla="*/ 0 w 7"/>
              <a:gd name="T13" fmla="*/ 0 h 12"/>
              <a:gd name="T14" fmla="*/ 7 w 7"/>
              <a:gd name="T15" fmla="*/ 12 h 1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" h="12">
                <a:moveTo>
                  <a:pt x="7" y="0"/>
                </a:moveTo>
                <a:lnTo>
                  <a:pt x="0" y="10"/>
                </a:lnTo>
                <a:lnTo>
                  <a:pt x="6" y="12"/>
                </a:lnTo>
                <a:lnTo>
                  <a:pt x="7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21" name="Freeform 28"/>
          <p:cNvSpPr>
            <a:spLocks/>
          </p:cNvSpPr>
          <p:nvPr/>
        </p:nvSpPr>
        <p:spPr bwMode="auto">
          <a:xfrm>
            <a:off x="5389563" y="3644900"/>
            <a:ext cx="614362" cy="566738"/>
          </a:xfrm>
          <a:custGeom>
            <a:avLst/>
            <a:gdLst>
              <a:gd name="T0" fmla="*/ 2147483647 w 461"/>
              <a:gd name="T1" fmla="*/ 2147483647 h 412"/>
              <a:gd name="T2" fmla="*/ 2147483647 w 461"/>
              <a:gd name="T3" fmla="*/ 2147483647 h 412"/>
              <a:gd name="T4" fmla="*/ 2147483647 w 461"/>
              <a:gd name="T5" fmla="*/ 2147483647 h 412"/>
              <a:gd name="T6" fmla="*/ 2147483647 w 461"/>
              <a:gd name="T7" fmla="*/ 2147483647 h 412"/>
              <a:gd name="T8" fmla="*/ 0 w 461"/>
              <a:gd name="T9" fmla="*/ 2147483647 h 412"/>
              <a:gd name="T10" fmla="*/ 2147483647 w 461"/>
              <a:gd name="T11" fmla="*/ 2147483647 h 412"/>
              <a:gd name="T12" fmla="*/ 2147483647 w 461"/>
              <a:gd name="T13" fmla="*/ 2147483647 h 412"/>
              <a:gd name="T14" fmla="*/ 2147483647 w 461"/>
              <a:gd name="T15" fmla="*/ 2147483647 h 412"/>
              <a:gd name="T16" fmla="*/ 2147483647 w 461"/>
              <a:gd name="T17" fmla="*/ 0 h 412"/>
              <a:gd name="T18" fmla="*/ 2147483647 w 461"/>
              <a:gd name="T19" fmla="*/ 2147483647 h 412"/>
              <a:gd name="T20" fmla="*/ 2147483647 w 461"/>
              <a:gd name="T21" fmla="*/ 2147483647 h 412"/>
              <a:gd name="T22" fmla="*/ 2147483647 w 461"/>
              <a:gd name="T23" fmla="*/ 2147483647 h 412"/>
              <a:gd name="T24" fmla="*/ 2147483647 w 461"/>
              <a:gd name="T25" fmla="*/ 2147483647 h 412"/>
              <a:gd name="T26" fmla="*/ 2147483647 w 461"/>
              <a:gd name="T27" fmla="*/ 2147483647 h 412"/>
              <a:gd name="T28" fmla="*/ 2147483647 w 461"/>
              <a:gd name="T29" fmla="*/ 2147483647 h 412"/>
              <a:gd name="T30" fmla="*/ 2147483647 w 461"/>
              <a:gd name="T31" fmla="*/ 2147483647 h 412"/>
              <a:gd name="T32" fmla="*/ 2147483647 w 461"/>
              <a:gd name="T33" fmla="*/ 2147483647 h 412"/>
              <a:gd name="T34" fmla="*/ 2147483647 w 461"/>
              <a:gd name="T35" fmla="*/ 2147483647 h 412"/>
              <a:gd name="T36" fmla="*/ 2147483647 w 461"/>
              <a:gd name="T37" fmla="*/ 2147483647 h 412"/>
              <a:gd name="T38" fmla="*/ 2147483647 w 461"/>
              <a:gd name="T39" fmla="*/ 2147483647 h 412"/>
              <a:gd name="T40" fmla="*/ 2147483647 w 461"/>
              <a:gd name="T41" fmla="*/ 2147483647 h 412"/>
              <a:gd name="T42" fmla="*/ 2147483647 w 461"/>
              <a:gd name="T43" fmla="*/ 2147483647 h 412"/>
              <a:gd name="T44" fmla="*/ 2147483647 w 461"/>
              <a:gd name="T45" fmla="*/ 2147483647 h 412"/>
              <a:gd name="T46" fmla="*/ 2147483647 w 461"/>
              <a:gd name="T47" fmla="*/ 2147483647 h 412"/>
              <a:gd name="T48" fmla="*/ 2147483647 w 461"/>
              <a:gd name="T49" fmla="*/ 2147483647 h 412"/>
              <a:gd name="T50" fmla="*/ 2147483647 w 461"/>
              <a:gd name="T51" fmla="*/ 2147483647 h 412"/>
              <a:gd name="T52" fmla="*/ 2147483647 w 461"/>
              <a:gd name="T53" fmla="*/ 2147483647 h 412"/>
              <a:gd name="T54" fmla="*/ 2147483647 w 461"/>
              <a:gd name="T55" fmla="*/ 2147483647 h 412"/>
              <a:gd name="T56" fmla="*/ 2147483647 w 461"/>
              <a:gd name="T57" fmla="*/ 2147483647 h 412"/>
              <a:gd name="T58" fmla="*/ 2147483647 w 461"/>
              <a:gd name="T59" fmla="*/ 2147483647 h 412"/>
              <a:gd name="T60" fmla="*/ 2147483647 w 461"/>
              <a:gd name="T61" fmla="*/ 2147483647 h 412"/>
              <a:gd name="T62" fmla="*/ 2147483647 w 461"/>
              <a:gd name="T63" fmla="*/ 2147483647 h 412"/>
              <a:gd name="T64" fmla="*/ 2147483647 w 461"/>
              <a:gd name="T65" fmla="*/ 2147483647 h 412"/>
              <a:gd name="T66" fmla="*/ 2147483647 w 461"/>
              <a:gd name="T67" fmla="*/ 2147483647 h 412"/>
              <a:gd name="T68" fmla="*/ 2147483647 w 461"/>
              <a:gd name="T69" fmla="*/ 2147483647 h 41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461"/>
              <a:gd name="T106" fmla="*/ 0 h 412"/>
              <a:gd name="T107" fmla="*/ 461 w 461"/>
              <a:gd name="T108" fmla="*/ 412 h 412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461" h="412">
                <a:moveTo>
                  <a:pt x="113" y="282"/>
                </a:moveTo>
                <a:lnTo>
                  <a:pt x="105" y="248"/>
                </a:lnTo>
                <a:lnTo>
                  <a:pt x="96" y="229"/>
                </a:lnTo>
                <a:lnTo>
                  <a:pt x="89" y="210"/>
                </a:lnTo>
                <a:lnTo>
                  <a:pt x="75" y="198"/>
                </a:lnTo>
                <a:lnTo>
                  <a:pt x="60" y="186"/>
                </a:lnTo>
                <a:lnTo>
                  <a:pt x="50" y="160"/>
                </a:lnTo>
                <a:lnTo>
                  <a:pt x="28" y="132"/>
                </a:lnTo>
                <a:lnTo>
                  <a:pt x="6" y="103"/>
                </a:lnTo>
                <a:lnTo>
                  <a:pt x="0" y="100"/>
                </a:lnTo>
                <a:lnTo>
                  <a:pt x="4" y="72"/>
                </a:lnTo>
                <a:lnTo>
                  <a:pt x="28" y="75"/>
                </a:lnTo>
                <a:lnTo>
                  <a:pt x="41" y="58"/>
                </a:lnTo>
                <a:lnTo>
                  <a:pt x="57" y="56"/>
                </a:lnTo>
                <a:lnTo>
                  <a:pt x="65" y="43"/>
                </a:lnTo>
                <a:lnTo>
                  <a:pt x="42" y="18"/>
                </a:lnTo>
                <a:lnTo>
                  <a:pt x="65" y="9"/>
                </a:lnTo>
                <a:lnTo>
                  <a:pt x="88" y="0"/>
                </a:lnTo>
                <a:lnTo>
                  <a:pt x="108" y="9"/>
                </a:lnTo>
                <a:lnTo>
                  <a:pt x="129" y="19"/>
                </a:lnTo>
                <a:lnTo>
                  <a:pt x="149" y="28"/>
                </a:lnTo>
                <a:lnTo>
                  <a:pt x="170" y="37"/>
                </a:lnTo>
                <a:lnTo>
                  <a:pt x="189" y="56"/>
                </a:lnTo>
                <a:lnTo>
                  <a:pt x="210" y="75"/>
                </a:lnTo>
                <a:lnTo>
                  <a:pt x="250" y="78"/>
                </a:lnTo>
                <a:lnTo>
                  <a:pt x="269" y="80"/>
                </a:lnTo>
                <a:lnTo>
                  <a:pt x="273" y="87"/>
                </a:lnTo>
                <a:lnTo>
                  <a:pt x="291" y="91"/>
                </a:lnTo>
                <a:lnTo>
                  <a:pt x="303" y="111"/>
                </a:lnTo>
                <a:lnTo>
                  <a:pt x="312" y="118"/>
                </a:lnTo>
                <a:lnTo>
                  <a:pt x="332" y="138"/>
                </a:lnTo>
                <a:lnTo>
                  <a:pt x="333" y="152"/>
                </a:lnTo>
                <a:lnTo>
                  <a:pt x="342" y="169"/>
                </a:lnTo>
                <a:lnTo>
                  <a:pt x="352" y="186"/>
                </a:lnTo>
                <a:lnTo>
                  <a:pt x="359" y="190"/>
                </a:lnTo>
                <a:lnTo>
                  <a:pt x="360" y="189"/>
                </a:lnTo>
                <a:lnTo>
                  <a:pt x="364" y="190"/>
                </a:lnTo>
                <a:lnTo>
                  <a:pt x="365" y="196"/>
                </a:lnTo>
                <a:lnTo>
                  <a:pt x="368" y="198"/>
                </a:lnTo>
                <a:lnTo>
                  <a:pt x="366" y="202"/>
                </a:lnTo>
                <a:lnTo>
                  <a:pt x="374" y="207"/>
                </a:lnTo>
                <a:lnTo>
                  <a:pt x="381" y="229"/>
                </a:lnTo>
                <a:lnTo>
                  <a:pt x="413" y="235"/>
                </a:lnTo>
                <a:lnTo>
                  <a:pt x="447" y="242"/>
                </a:lnTo>
                <a:lnTo>
                  <a:pt x="450" y="236"/>
                </a:lnTo>
                <a:lnTo>
                  <a:pt x="461" y="254"/>
                </a:lnTo>
                <a:lnTo>
                  <a:pt x="456" y="279"/>
                </a:lnTo>
                <a:lnTo>
                  <a:pt x="452" y="303"/>
                </a:lnTo>
                <a:lnTo>
                  <a:pt x="436" y="310"/>
                </a:lnTo>
                <a:lnTo>
                  <a:pt x="420" y="316"/>
                </a:lnTo>
                <a:lnTo>
                  <a:pt x="405" y="322"/>
                </a:lnTo>
                <a:lnTo>
                  <a:pt x="389" y="328"/>
                </a:lnTo>
                <a:lnTo>
                  <a:pt x="372" y="333"/>
                </a:lnTo>
                <a:lnTo>
                  <a:pt x="354" y="338"/>
                </a:lnTo>
                <a:lnTo>
                  <a:pt x="338" y="342"/>
                </a:lnTo>
                <a:lnTo>
                  <a:pt x="321" y="346"/>
                </a:lnTo>
                <a:lnTo>
                  <a:pt x="309" y="363"/>
                </a:lnTo>
                <a:lnTo>
                  <a:pt x="297" y="380"/>
                </a:lnTo>
                <a:lnTo>
                  <a:pt x="285" y="396"/>
                </a:lnTo>
                <a:lnTo>
                  <a:pt x="272" y="412"/>
                </a:lnTo>
                <a:lnTo>
                  <a:pt x="270" y="386"/>
                </a:lnTo>
                <a:lnTo>
                  <a:pt x="250" y="378"/>
                </a:lnTo>
                <a:lnTo>
                  <a:pt x="230" y="368"/>
                </a:lnTo>
                <a:lnTo>
                  <a:pt x="206" y="366"/>
                </a:lnTo>
                <a:lnTo>
                  <a:pt x="202" y="386"/>
                </a:lnTo>
                <a:lnTo>
                  <a:pt x="194" y="393"/>
                </a:lnTo>
                <a:lnTo>
                  <a:pt x="183" y="375"/>
                </a:lnTo>
                <a:lnTo>
                  <a:pt x="172" y="357"/>
                </a:lnTo>
                <a:lnTo>
                  <a:pt x="155" y="330"/>
                </a:lnTo>
                <a:lnTo>
                  <a:pt x="137" y="302"/>
                </a:lnTo>
                <a:lnTo>
                  <a:pt x="113" y="28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22" name="Freeform 29"/>
          <p:cNvSpPr>
            <a:spLocks/>
          </p:cNvSpPr>
          <p:nvPr/>
        </p:nvSpPr>
        <p:spPr bwMode="auto">
          <a:xfrm>
            <a:off x="5875338" y="3862388"/>
            <a:ext cx="138112" cy="114300"/>
          </a:xfrm>
          <a:custGeom>
            <a:avLst/>
            <a:gdLst>
              <a:gd name="T0" fmla="*/ 0 w 105"/>
              <a:gd name="T1" fmla="*/ 2147483647 h 84"/>
              <a:gd name="T2" fmla="*/ 2147483647 w 105"/>
              <a:gd name="T3" fmla="*/ 2147483647 h 84"/>
              <a:gd name="T4" fmla="*/ 2147483647 w 105"/>
              <a:gd name="T5" fmla="*/ 2147483647 h 84"/>
              <a:gd name="T6" fmla="*/ 2147483647 w 105"/>
              <a:gd name="T7" fmla="*/ 2147483647 h 84"/>
              <a:gd name="T8" fmla="*/ 2147483647 w 105"/>
              <a:gd name="T9" fmla="*/ 2147483647 h 84"/>
              <a:gd name="T10" fmla="*/ 2147483647 w 105"/>
              <a:gd name="T11" fmla="*/ 2147483647 h 84"/>
              <a:gd name="T12" fmla="*/ 2147483647 w 105"/>
              <a:gd name="T13" fmla="*/ 2147483647 h 84"/>
              <a:gd name="T14" fmla="*/ 2147483647 w 105"/>
              <a:gd name="T15" fmla="*/ 2147483647 h 84"/>
              <a:gd name="T16" fmla="*/ 2147483647 w 105"/>
              <a:gd name="T17" fmla="*/ 2147483647 h 84"/>
              <a:gd name="T18" fmla="*/ 2147483647 w 105"/>
              <a:gd name="T19" fmla="*/ 2147483647 h 84"/>
              <a:gd name="T20" fmla="*/ 2147483647 w 105"/>
              <a:gd name="T21" fmla="*/ 2147483647 h 84"/>
              <a:gd name="T22" fmla="*/ 2147483647 w 105"/>
              <a:gd name="T23" fmla="*/ 2147483647 h 84"/>
              <a:gd name="T24" fmla="*/ 2147483647 w 105"/>
              <a:gd name="T25" fmla="*/ 0 h 84"/>
              <a:gd name="T26" fmla="*/ 2147483647 w 105"/>
              <a:gd name="T27" fmla="*/ 2147483647 h 84"/>
              <a:gd name="T28" fmla="*/ 2147483647 w 105"/>
              <a:gd name="T29" fmla="*/ 2147483647 h 84"/>
              <a:gd name="T30" fmla="*/ 2147483647 w 105"/>
              <a:gd name="T31" fmla="*/ 2147483647 h 84"/>
              <a:gd name="T32" fmla="*/ 2147483647 w 105"/>
              <a:gd name="T33" fmla="*/ 2147483647 h 84"/>
              <a:gd name="T34" fmla="*/ 0 w 105"/>
              <a:gd name="T35" fmla="*/ 2147483647 h 84"/>
              <a:gd name="T36" fmla="*/ 0 w 105"/>
              <a:gd name="T37" fmla="*/ 2147483647 h 84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05"/>
              <a:gd name="T58" fmla="*/ 0 h 84"/>
              <a:gd name="T59" fmla="*/ 105 w 105"/>
              <a:gd name="T60" fmla="*/ 84 h 84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05" h="84">
                <a:moveTo>
                  <a:pt x="0" y="44"/>
                </a:moveTo>
                <a:lnTo>
                  <a:pt x="8" y="49"/>
                </a:lnTo>
                <a:lnTo>
                  <a:pt x="15" y="71"/>
                </a:lnTo>
                <a:lnTo>
                  <a:pt x="47" y="77"/>
                </a:lnTo>
                <a:lnTo>
                  <a:pt x="81" y="84"/>
                </a:lnTo>
                <a:lnTo>
                  <a:pt x="84" y="78"/>
                </a:lnTo>
                <a:lnTo>
                  <a:pt x="88" y="48"/>
                </a:lnTo>
                <a:lnTo>
                  <a:pt x="99" y="44"/>
                </a:lnTo>
                <a:lnTo>
                  <a:pt x="95" y="22"/>
                </a:lnTo>
                <a:lnTo>
                  <a:pt x="98" y="28"/>
                </a:lnTo>
                <a:lnTo>
                  <a:pt x="105" y="23"/>
                </a:lnTo>
                <a:lnTo>
                  <a:pt x="100" y="2"/>
                </a:lnTo>
                <a:lnTo>
                  <a:pt x="94" y="0"/>
                </a:lnTo>
                <a:lnTo>
                  <a:pt x="75" y="22"/>
                </a:lnTo>
                <a:lnTo>
                  <a:pt x="54" y="44"/>
                </a:lnTo>
                <a:lnTo>
                  <a:pt x="21" y="46"/>
                </a:lnTo>
                <a:lnTo>
                  <a:pt x="8" y="43"/>
                </a:lnTo>
                <a:lnTo>
                  <a:pt x="0" y="40"/>
                </a:lnTo>
                <a:lnTo>
                  <a:pt x="0" y="4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23" name="Freeform 30"/>
          <p:cNvSpPr>
            <a:spLocks/>
          </p:cNvSpPr>
          <p:nvPr/>
        </p:nvSpPr>
        <p:spPr bwMode="auto">
          <a:xfrm>
            <a:off x="5646738" y="4095750"/>
            <a:ext cx="293687" cy="217488"/>
          </a:xfrm>
          <a:custGeom>
            <a:avLst/>
            <a:gdLst>
              <a:gd name="T0" fmla="*/ 2147483647 w 223"/>
              <a:gd name="T1" fmla="*/ 2147483647 h 158"/>
              <a:gd name="T2" fmla="*/ 0 w 223"/>
              <a:gd name="T3" fmla="*/ 2147483647 h 158"/>
              <a:gd name="T4" fmla="*/ 0 w 223"/>
              <a:gd name="T5" fmla="*/ 2147483647 h 158"/>
              <a:gd name="T6" fmla="*/ 2147483647 w 223"/>
              <a:gd name="T7" fmla="*/ 2147483647 h 158"/>
              <a:gd name="T8" fmla="*/ 2147483647 w 223"/>
              <a:gd name="T9" fmla="*/ 2147483647 h 158"/>
              <a:gd name="T10" fmla="*/ 2147483647 w 223"/>
              <a:gd name="T11" fmla="*/ 2147483647 h 158"/>
              <a:gd name="T12" fmla="*/ 2147483647 w 223"/>
              <a:gd name="T13" fmla="*/ 2147483647 h 158"/>
              <a:gd name="T14" fmla="*/ 2147483647 w 223"/>
              <a:gd name="T15" fmla="*/ 2147483647 h 158"/>
              <a:gd name="T16" fmla="*/ 2147483647 w 223"/>
              <a:gd name="T17" fmla="*/ 2147483647 h 158"/>
              <a:gd name="T18" fmla="*/ 2147483647 w 223"/>
              <a:gd name="T19" fmla="*/ 2147483647 h 158"/>
              <a:gd name="T20" fmla="*/ 2147483647 w 223"/>
              <a:gd name="T21" fmla="*/ 2147483647 h 158"/>
              <a:gd name="T22" fmla="*/ 2147483647 w 223"/>
              <a:gd name="T23" fmla="*/ 2147483647 h 158"/>
              <a:gd name="T24" fmla="*/ 2147483647 w 223"/>
              <a:gd name="T25" fmla="*/ 2147483647 h 158"/>
              <a:gd name="T26" fmla="*/ 2147483647 w 223"/>
              <a:gd name="T27" fmla="*/ 2147483647 h 158"/>
              <a:gd name="T28" fmla="*/ 2147483647 w 223"/>
              <a:gd name="T29" fmla="*/ 2147483647 h 158"/>
              <a:gd name="T30" fmla="*/ 2147483647 w 223"/>
              <a:gd name="T31" fmla="*/ 2147483647 h 158"/>
              <a:gd name="T32" fmla="*/ 2147483647 w 223"/>
              <a:gd name="T33" fmla="*/ 2147483647 h 158"/>
              <a:gd name="T34" fmla="*/ 2147483647 w 223"/>
              <a:gd name="T35" fmla="*/ 2147483647 h 158"/>
              <a:gd name="T36" fmla="*/ 2147483647 w 223"/>
              <a:gd name="T37" fmla="*/ 0 h 158"/>
              <a:gd name="T38" fmla="*/ 2147483647 w 223"/>
              <a:gd name="T39" fmla="*/ 2147483647 h 158"/>
              <a:gd name="T40" fmla="*/ 2147483647 w 223"/>
              <a:gd name="T41" fmla="*/ 2147483647 h 158"/>
              <a:gd name="T42" fmla="*/ 2147483647 w 223"/>
              <a:gd name="T43" fmla="*/ 2147483647 h 158"/>
              <a:gd name="T44" fmla="*/ 2147483647 w 223"/>
              <a:gd name="T45" fmla="*/ 2147483647 h 158"/>
              <a:gd name="T46" fmla="*/ 2147483647 w 223"/>
              <a:gd name="T47" fmla="*/ 2147483647 h 158"/>
              <a:gd name="T48" fmla="*/ 2147483647 w 223"/>
              <a:gd name="T49" fmla="*/ 2147483647 h 158"/>
              <a:gd name="T50" fmla="*/ 2147483647 w 223"/>
              <a:gd name="T51" fmla="*/ 2147483647 h 158"/>
              <a:gd name="T52" fmla="*/ 2147483647 w 223"/>
              <a:gd name="T53" fmla="*/ 2147483647 h 158"/>
              <a:gd name="T54" fmla="*/ 2147483647 w 223"/>
              <a:gd name="T55" fmla="*/ 2147483647 h 158"/>
              <a:gd name="T56" fmla="*/ 2147483647 w 223"/>
              <a:gd name="T57" fmla="*/ 2147483647 h 158"/>
              <a:gd name="T58" fmla="*/ 2147483647 w 223"/>
              <a:gd name="T59" fmla="*/ 2147483647 h 158"/>
              <a:gd name="T60" fmla="*/ 2147483647 w 223"/>
              <a:gd name="T61" fmla="*/ 2147483647 h 158"/>
              <a:gd name="T62" fmla="*/ 2147483647 w 223"/>
              <a:gd name="T63" fmla="*/ 2147483647 h 15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23"/>
              <a:gd name="T97" fmla="*/ 0 h 158"/>
              <a:gd name="T98" fmla="*/ 223 w 223"/>
              <a:gd name="T99" fmla="*/ 158 h 15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23" h="158">
                <a:moveTo>
                  <a:pt x="8" y="58"/>
                </a:moveTo>
                <a:lnTo>
                  <a:pt x="0" y="65"/>
                </a:lnTo>
                <a:lnTo>
                  <a:pt x="0" y="95"/>
                </a:lnTo>
                <a:lnTo>
                  <a:pt x="9" y="126"/>
                </a:lnTo>
                <a:lnTo>
                  <a:pt x="19" y="158"/>
                </a:lnTo>
                <a:lnTo>
                  <a:pt x="46" y="155"/>
                </a:lnTo>
                <a:lnTo>
                  <a:pt x="75" y="140"/>
                </a:lnTo>
                <a:lnTo>
                  <a:pt x="97" y="131"/>
                </a:lnTo>
                <a:lnTo>
                  <a:pt x="120" y="124"/>
                </a:lnTo>
                <a:lnTo>
                  <a:pt x="136" y="117"/>
                </a:lnTo>
                <a:lnTo>
                  <a:pt x="153" y="110"/>
                </a:lnTo>
                <a:lnTo>
                  <a:pt x="170" y="101"/>
                </a:lnTo>
                <a:lnTo>
                  <a:pt x="187" y="93"/>
                </a:lnTo>
                <a:lnTo>
                  <a:pt x="202" y="86"/>
                </a:lnTo>
                <a:lnTo>
                  <a:pt x="204" y="75"/>
                </a:lnTo>
                <a:lnTo>
                  <a:pt x="223" y="59"/>
                </a:lnTo>
                <a:lnTo>
                  <a:pt x="208" y="35"/>
                </a:lnTo>
                <a:lnTo>
                  <a:pt x="193" y="11"/>
                </a:lnTo>
                <a:lnTo>
                  <a:pt x="195" y="0"/>
                </a:lnTo>
                <a:lnTo>
                  <a:pt x="178" y="5"/>
                </a:lnTo>
                <a:lnTo>
                  <a:pt x="160" y="10"/>
                </a:lnTo>
                <a:lnTo>
                  <a:pt x="144" y="14"/>
                </a:lnTo>
                <a:lnTo>
                  <a:pt x="127" y="18"/>
                </a:lnTo>
                <a:lnTo>
                  <a:pt x="115" y="35"/>
                </a:lnTo>
                <a:lnTo>
                  <a:pt x="103" y="52"/>
                </a:lnTo>
                <a:lnTo>
                  <a:pt x="91" y="68"/>
                </a:lnTo>
                <a:lnTo>
                  <a:pt x="78" y="84"/>
                </a:lnTo>
                <a:lnTo>
                  <a:pt x="76" y="58"/>
                </a:lnTo>
                <a:lnTo>
                  <a:pt x="56" y="50"/>
                </a:lnTo>
                <a:lnTo>
                  <a:pt x="36" y="40"/>
                </a:lnTo>
                <a:lnTo>
                  <a:pt x="12" y="38"/>
                </a:lnTo>
                <a:lnTo>
                  <a:pt x="8" y="5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24" name="Freeform 31"/>
          <p:cNvSpPr>
            <a:spLocks/>
          </p:cNvSpPr>
          <p:nvPr/>
        </p:nvSpPr>
        <p:spPr bwMode="auto">
          <a:xfrm>
            <a:off x="5257800" y="4779963"/>
            <a:ext cx="53975" cy="58737"/>
          </a:xfrm>
          <a:custGeom>
            <a:avLst/>
            <a:gdLst>
              <a:gd name="T0" fmla="*/ 2147483647 w 42"/>
              <a:gd name="T1" fmla="*/ 2147483647 h 41"/>
              <a:gd name="T2" fmla="*/ 2147483647 w 42"/>
              <a:gd name="T3" fmla="*/ 2147483647 h 41"/>
              <a:gd name="T4" fmla="*/ 0 w 42"/>
              <a:gd name="T5" fmla="*/ 2147483647 h 41"/>
              <a:gd name="T6" fmla="*/ 2147483647 w 42"/>
              <a:gd name="T7" fmla="*/ 2147483647 h 41"/>
              <a:gd name="T8" fmla="*/ 2147483647 w 42"/>
              <a:gd name="T9" fmla="*/ 2147483647 h 41"/>
              <a:gd name="T10" fmla="*/ 2147483647 w 42"/>
              <a:gd name="T11" fmla="*/ 2147483647 h 41"/>
              <a:gd name="T12" fmla="*/ 2147483647 w 42"/>
              <a:gd name="T13" fmla="*/ 2147483647 h 41"/>
              <a:gd name="T14" fmla="*/ 2147483647 w 42"/>
              <a:gd name="T15" fmla="*/ 2147483647 h 41"/>
              <a:gd name="T16" fmla="*/ 2147483647 w 42"/>
              <a:gd name="T17" fmla="*/ 2147483647 h 41"/>
              <a:gd name="T18" fmla="*/ 2147483647 w 42"/>
              <a:gd name="T19" fmla="*/ 0 h 41"/>
              <a:gd name="T20" fmla="*/ 2147483647 w 42"/>
              <a:gd name="T21" fmla="*/ 2147483647 h 41"/>
              <a:gd name="T22" fmla="*/ 2147483647 w 42"/>
              <a:gd name="T23" fmla="*/ 2147483647 h 4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2"/>
              <a:gd name="T37" fmla="*/ 0 h 41"/>
              <a:gd name="T38" fmla="*/ 42 w 42"/>
              <a:gd name="T39" fmla="*/ 41 h 4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2" h="41">
                <a:moveTo>
                  <a:pt x="15" y="9"/>
                </a:moveTo>
                <a:lnTo>
                  <a:pt x="6" y="26"/>
                </a:lnTo>
                <a:lnTo>
                  <a:pt x="0" y="41"/>
                </a:lnTo>
                <a:lnTo>
                  <a:pt x="1" y="41"/>
                </a:lnTo>
                <a:lnTo>
                  <a:pt x="2" y="41"/>
                </a:lnTo>
                <a:lnTo>
                  <a:pt x="21" y="40"/>
                </a:lnTo>
                <a:lnTo>
                  <a:pt x="24" y="32"/>
                </a:lnTo>
                <a:lnTo>
                  <a:pt x="36" y="34"/>
                </a:lnTo>
                <a:lnTo>
                  <a:pt x="42" y="32"/>
                </a:lnTo>
                <a:lnTo>
                  <a:pt x="35" y="0"/>
                </a:lnTo>
                <a:lnTo>
                  <a:pt x="21" y="9"/>
                </a:lnTo>
                <a:lnTo>
                  <a:pt x="15" y="9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25" name="Freeform 32"/>
          <p:cNvSpPr>
            <a:spLocks/>
          </p:cNvSpPr>
          <p:nvPr/>
        </p:nvSpPr>
        <p:spPr bwMode="auto">
          <a:xfrm>
            <a:off x="5842000" y="3851275"/>
            <a:ext cx="4763" cy="7938"/>
          </a:xfrm>
          <a:custGeom>
            <a:avLst/>
            <a:gdLst>
              <a:gd name="T0" fmla="*/ 2147483647 w 3"/>
              <a:gd name="T1" fmla="*/ 0 h 6"/>
              <a:gd name="T2" fmla="*/ 0 w 3"/>
              <a:gd name="T3" fmla="*/ 2147483647 h 6"/>
              <a:gd name="T4" fmla="*/ 2147483647 w 3"/>
              <a:gd name="T5" fmla="*/ 2147483647 h 6"/>
              <a:gd name="T6" fmla="*/ 2147483647 w 3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6"/>
              <a:gd name="T14" fmla="*/ 3 w 3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6">
                <a:moveTo>
                  <a:pt x="2" y="0"/>
                </a:moveTo>
                <a:lnTo>
                  <a:pt x="0" y="6"/>
                </a:lnTo>
                <a:lnTo>
                  <a:pt x="3" y="3"/>
                </a:lnTo>
                <a:lnTo>
                  <a:pt x="2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26" name="Freeform 33"/>
          <p:cNvSpPr>
            <a:spLocks/>
          </p:cNvSpPr>
          <p:nvPr/>
        </p:nvSpPr>
        <p:spPr bwMode="auto">
          <a:xfrm>
            <a:off x="4808538" y="3941763"/>
            <a:ext cx="300037" cy="542925"/>
          </a:xfrm>
          <a:custGeom>
            <a:avLst/>
            <a:gdLst>
              <a:gd name="T0" fmla="*/ 2147483647 w 226"/>
              <a:gd name="T1" fmla="*/ 2147483647 h 396"/>
              <a:gd name="T2" fmla="*/ 2147483647 w 226"/>
              <a:gd name="T3" fmla="*/ 2147483647 h 396"/>
              <a:gd name="T4" fmla="*/ 2147483647 w 226"/>
              <a:gd name="T5" fmla="*/ 2147483647 h 396"/>
              <a:gd name="T6" fmla="*/ 2147483647 w 226"/>
              <a:gd name="T7" fmla="*/ 2147483647 h 396"/>
              <a:gd name="T8" fmla="*/ 2147483647 w 226"/>
              <a:gd name="T9" fmla="*/ 2147483647 h 396"/>
              <a:gd name="T10" fmla="*/ 2147483647 w 226"/>
              <a:gd name="T11" fmla="*/ 2147483647 h 396"/>
              <a:gd name="T12" fmla="*/ 2147483647 w 226"/>
              <a:gd name="T13" fmla="*/ 2147483647 h 396"/>
              <a:gd name="T14" fmla="*/ 2147483647 w 226"/>
              <a:gd name="T15" fmla="*/ 2147483647 h 396"/>
              <a:gd name="T16" fmla="*/ 2147483647 w 226"/>
              <a:gd name="T17" fmla="*/ 0 h 396"/>
              <a:gd name="T18" fmla="*/ 2147483647 w 226"/>
              <a:gd name="T19" fmla="*/ 2147483647 h 396"/>
              <a:gd name="T20" fmla="*/ 2147483647 w 226"/>
              <a:gd name="T21" fmla="*/ 2147483647 h 396"/>
              <a:gd name="T22" fmla="*/ 2147483647 w 226"/>
              <a:gd name="T23" fmla="*/ 2147483647 h 396"/>
              <a:gd name="T24" fmla="*/ 2147483647 w 226"/>
              <a:gd name="T25" fmla="*/ 2147483647 h 396"/>
              <a:gd name="T26" fmla="*/ 2147483647 w 226"/>
              <a:gd name="T27" fmla="*/ 2147483647 h 396"/>
              <a:gd name="T28" fmla="*/ 2147483647 w 226"/>
              <a:gd name="T29" fmla="*/ 2147483647 h 396"/>
              <a:gd name="T30" fmla="*/ 2147483647 w 226"/>
              <a:gd name="T31" fmla="*/ 2147483647 h 396"/>
              <a:gd name="T32" fmla="*/ 2147483647 w 226"/>
              <a:gd name="T33" fmla="*/ 2147483647 h 396"/>
              <a:gd name="T34" fmla="*/ 2147483647 w 226"/>
              <a:gd name="T35" fmla="*/ 2147483647 h 396"/>
              <a:gd name="T36" fmla="*/ 2147483647 w 226"/>
              <a:gd name="T37" fmla="*/ 2147483647 h 396"/>
              <a:gd name="T38" fmla="*/ 2147483647 w 226"/>
              <a:gd name="T39" fmla="*/ 2147483647 h 396"/>
              <a:gd name="T40" fmla="*/ 2147483647 w 226"/>
              <a:gd name="T41" fmla="*/ 2147483647 h 396"/>
              <a:gd name="T42" fmla="*/ 0 w 226"/>
              <a:gd name="T43" fmla="*/ 2147483647 h 396"/>
              <a:gd name="T44" fmla="*/ 2147483647 w 226"/>
              <a:gd name="T45" fmla="*/ 2147483647 h 396"/>
              <a:gd name="T46" fmla="*/ 2147483647 w 226"/>
              <a:gd name="T47" fmla="*/ 2147483647 h 396"/>
              <a:gd name="T48" fmla="*/ 2147483647 w 226"/>
              <a:gd name="T49" fmla="*/ 2147483647 h 396"/>
              <a:gd name="T50" fmla="*/ 2147483647 w 226"/>
              <a:gd name="T51" fmla="*/ 2147483647 h 396"/>
              <a:gd name="T52" fmla="*/ 2147483647 w 226"/>
              <a:gd name="T53" fmla="*/ 2147483647 h 396"/>
              <a:gd name="T54" fmla="*/ 2147483647 w 226"/>
              <a:gd name="T55" fmla="*/ 2147483647 h 396"/>
              <a:gd name="T56" fmla="*/ 2147483647 w 226"/>
              <a:gd name="T57" fmla="*/ 2147483647 h 396"/>
              <a:gd name="T58" fmla="*/ 2147483647 w 226"/>
              <a:gd name="T59" fmla="*/ 2147483647 h 396"/>
              <a:gd name="T60" fmla="*/ 2147483647 w 226"/>
              <a:gd name="T61" fmla="*/ 2147483647 h 396"/>
              <a:gd name="T62" fmla="*/ 2147483647 w 226"/>
              <a:gd name="T63" fmla="*/ 2147483647 h 396"/>
              <a:gd name="T64" fmla="*/ 2147483647 w 226"/>
              <a:gd name="T65" fmla="*/ 2147483647 h 396"/>
              <a:gd name="T66" fmla="*/ 2147483647 w 226"/>
              <a:gd name="T67" fmla="*/ 2147483647 h 396"/>
              <a:gd name="T68" fmla="*/ 2147483647 w 226"/>
              <a:gd name="T69" fmla="*/ 2147483647 h 396"/>
              <a:gd name="T70" fmla="*/ 2147483647 w 226"/>
              <a:gd name="T71" fmla="*/ 2147483647 h 396"/>
              <a:gd name="T72" fmla="*/ 2147483647 w 226"/>
              <a:gd name="T73" fmla="*/ 2147483647 h 396"/>
              <a:gd name="T74" fmla="*/ 2147483647 w 226"/>
              <a:gd name="T75" fmla="*/ 2147483647 h 396"/>
              <a:gd name="T76" fmla="*/ 2147483647 w 226"/>
              <a:gd name="T77" fmla="*/ 2147483647 h 396"/>
              <a:gd name="T78" fmla="*/ 2147483647 w 226"/>
              <a:gd name="T79" fmla="*/ 2147483647 h 396"/>
              <a:gd name="T80" fmla="*/ 2147483647 w 226"/>
              <a:gd name="T81" fmla="*/ 2147483647 h 396"/>
              <a:gd name="T82" fmla="*/ 2147483647 w 226"/>
              <a:gd name="T83" fmla="*/ 2147483647 h 396"/>
              <a:gd name="T84" fmla="*/ 2147483647 w 226"/>
              <a:gd name="T85" fmla="*/ 2147483647 h 396"/>
              <a:gd name="T86" fmla="*/ 2147483647 w 226"/>
              <a:gd name="T87" fmla="*/ 2147483647 h 396"/>
              <a:gd name="T88" fmla="*/ 2147483647 w 226"/>
              <a:gd name="T89" fmla="*/ 2147483647 h 396"/>
              <a:gd name="T90" fmla="*/ 2147483647 w 226"/>
              <a:gd name="T91" fmla="*/ 2147483647 h 396"/>
              <a:gd name="T92" fmla="*/ 2147483647 w 226"/>
              <a:gd name="T93" fmla="*/ 2147483647 h 396"/>
              <a:gd name="T94" fmla="*/ 2147483647 w 226"/>
              <a:gd name="T95" fmla="*/ 2147483647 h 396"/>
              <a:gd name="T96" fmla="*/ 2147483647 w 226"/>
              <a:gd name="T97" fmla="*/ 2147483647 h 396"/>
              <a:gd name="T98" fmla="*/ 2147483647 w 226"/>
              <a:gd name="T99" fmla="*/ 2147483647 h 396"/>
              <a:gd name="T100" fmla="*/ 2147483647 w 226"/>
              <a:gd name="T101" fmla="*/ 2147483647 h 396"/>
              <a:gd name="T102" fmla="*/ 2147483647 w 226"/>
              <a:gd name="T103" fmla="*/ 2147483647 h 396"/>
              <a:gd name="T104" fmla="*/ 2147483647 w 226"/>
              <a:gd name="T105" fmla="*/ 2147483647 h 396"/>
              <a:gd name="T106" fmla="*/ 2147483647 w 226"/>
              <a:gd name="T107" fmla="*/ 2147483647 h 396"/>
              <a:gd name="T108" fmla="*/ 2147483647 w 226"/>
              <a:gd name="T109" fmla="*/ 2147483647 h 396"/>
              <a:gd name="T110" fmla="*/ 2147483647 w 226"/>
              <a:gd name="T111" fmla="*/ 2147483647 h 396"/>
              <a:gd name="T112" fmla="*/ 2147483647 w 226"/>
              <a:gd name="T113" fmla="*/ 2147483647 h 39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26"/>
              <a:gd name="T172" fmla="*/ 0 h 396"/>
              <a:gd name="T173" fmla="*/ 226 w 226"/>
              <a:gd name="T174" fmla="*/ 396 h 39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26" h="396">
                <a:moveTo>
                  <a:pt x="222" y="99"/>
                </a:moveTo>
                <a:lnTo>
                  <a:pt x="201" y="86"/>
                </a:lnTo>
                <a:lnTo>
                  <a:pt x="179" y="74"/>
                </a:lnTo>
                <a:lnTo>
                  <a:pt x="156" y="62"/>
                </a:lnTo>
                <a:lnTo>
                  <a:pt x="135" y="49"/>
                </a:lnTo>
                <a:lnTo>
                  <a:pt x="113" y="37"/>
                </a:lnTo>
                <a:lnTo>
                  <a:pt x="91" y="25"/>
                </a:lnTo>
                <a:lnTo>
                  <a:pt x="69" y="12"/>
                </a:lnTo>
                <a:lnTo>
                  <a:pt x="47" y="0"/>
                </a:lnTo>
                <a:lnTo>
                  <a:pt x="27" y="12"/>
                </a:lnTo>
                <a:lnTo>
                  <a:pt x="29" y="31"/>
                </a:lnTo>
                <a:lnTo>
                  <a:pt x="31" y="49"/>
                </a:lnTo>
                <a:lnTo>
                  <a:pt x="49" y="78"/>
                </a:lnTo>
                <a:lnTo>
                  <a:pt x="45" y="89"/>
                </a:lnTo>
                <a:lnTo>
                  <a:pt x="43" y="107"/>
                </a:lnTo>
                <a:lnTo>
                  <a:pt x="42" y="126"/>
                </a:lnTo>
                <a:lnTo>
                  <a:pt x="41" y="145"/>
                </a:lnTo>
                <a:lnTo>
                  <a:pt x="40" y="163"/>
                </a:lnTo>
                <a:lnTo>
                  <a:pt x="30" y="179"/>
                </a:lnTo>
                <a:lnTo>
                  <a:pt x="21" y="193"/>
                </a:lnTo>
                <a:lnTo>
                  <a:pt x="11" y="207"/>
                </a:lnTo>
                <a:lnTo>
                  <a:pt x="0" y="223"/>
                </a:lnTo>
                <a:lnTo>
                  <a:pt x="1" y="242"/>
                </a:lnTo>
                <a:lnTo>
                  <a:pt x="11" y="258"/>
                </a:lnTo>
                <a:lnTo>
                  <a:pt x="19" y="258"/>
                </a:lnTo>
                <a:lnTo>
                  <a:pt x="30" y="283"/>
                </a:lnTo>
                <a:lnTo>
                  <a:pt x="33" y="311"/>
                </a:lnTo>
                <a:lnTo>
                  <a:pt x="47" y="336"/>
                </a:lnTo>
                <a:lnTo>
                  <a:pt x="22" y="336"/>
                </a:lnTo>
                <a:lnTo>
                  <a:pt x="11" y="341"/>
                </a:lnTo>
                <a:lnTo>
                  <a:pt x="30" y="365"/>
                </a:lnTo>
                <a:lnTo>
                  <a:pt x="43" y="396"/>
                </a:lnTo>
                <a:lnTo>
                  <a:pt x="64" y="390"/>
                </a:lnTo>
                <a:lnTo>
                  <a:pt x="69" y="392"/>
                </a:lnTo>
                <a:lnTo>
                  <a:pt x="81" y="390"/>
                </a:lnTo>
                <a:lnTo>
                  <a:pt x="111" y="384"/>
                </a:lnTo>
                <a:lnTo>
                  <a:pt x="121" y="372"/>
                </a:lnTo>
                <a:lnTo>
                  <a:pt x="118" y="363"/>
                </a:lnTo>
                <a:lnTo>
                  <a:pt x="149" y="357"/>
                </a:lnTo>
                <a:lnTo>
                  <a:pt x="166" y="337"/>
                </a:lnTo>
                <a:lnTo>
                  <a:pt x="183" y="317"/>
                </a:lnTo>
                <a:lnTo>
                  <a:pt x="204" y="312"/>
                </a:lnTo>
                <a:lnTo>
                  <a:pt x="202" y="299"/>
                </a:lnTo>
                <a:lnTo>
                  <a:pt x="198" y="285"/>
                </a:lnTo>
                <a:lnTo>
                  <a:pt x="189" y="266"/>
                </a:lnTo>
                <a:lnTo>
                  <a:pt x="180" y="265"/>
                </a:lnTo>
                <a:lnTo>
                  <a:pt x="189" y="246"/>
                </a:lnTo>
                <a:lnTo>
                  <a:pt x="190" y="235"/>
                </a:lnTo>
                <a:lnTo>
                  <a:pt x="192" y="229"/>
                </a:lnTo>
                <a:lnTo>
                  <a:pt x="194" y="219"/>
                </a:lnTo>
                <a:lnTo>
                  <a:pt x="204" y="200"/>
                </a:lnTo>
                <a:lnTo>
                  <a:pt x="212" y="194"/>
                </a:lnTo>
                <a:lnTo>
                  <a:pt x="226" y="193"/>
                </a:lnTo>
                <a:lnTo>
                  <a:pt x="225" y="170"/>
                </a:lnTo>
                <a:lnTo>
                  <a:pt x="224" y="146"/>
                </a:lnTo>
                <a:lnTo>
                  <a:pt x="224" y="122"/>
                </a:lnTo>
                <a:lnTo>
                  <a:pt x="222" y="99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27" name="Freeform 34"/>
          <p:cNvSpPr>
            <a:spLocks/>
          </p:cNvSpPr>
          <p:nvPr/>
        </p:nvSpPr>
        <p:spPr bwMode="auto">
          <a:xfrm>
            <a:off x="5626100" y="4314825"/>
            <a:ext cx="42863" cy="53975"/>
          </a:xfrm>
          <a:custGeom>
            <a:avLst/>
            <a:gdLst>
              <a:gd name="T0" fmla="*/ 0 w 31"/>
              <a:gd name="T1" fmla="*/ 2147483647 h 38"/>
              <a:gd name="T2" fmla="*/ 2147483647 w 31"/>
              <a:gd name="T3" fmla="*/ 2147483647 h 38"/>
              <a:gd name="T4" fmla="*/ 2147483647 w 31"/>
              <a:gd name="T5" fmla="*/ 2147483647 h 38"/>
              <a:gd name="T6" fmla="*/ 2147483647 w 31"/>
              <a:gd name="T7" fmla="*/ 0 h 38"/>
              <a:gd name="T8" fmla="*/ 2147483647 w 31"/>
              <a:gd name="T9" fmla="*/ 2147483647 h 38"/>
              <a:gd name="T10" fmla="*/ 0 w 31"/>
              <a:gd name="T11" fmla="*/ 2147483647 h 3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"/>
              <a:gd name="T19" fmla="*/ 0 h 38"/>
              <a:gd name="T20" fmla="*/ 31 w 31"/>
              <a:gd name="T21" fmla="*/ 38 h 3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" h="38">
                <a:moveTo>
                  <a:pt x="0" y="38"/>
                </a:moveTo>
                <a:lnTo>
                  <a:pt x="25" y="38"/>
                </a:lnTo>
                <a:lnTo>
                  <a:pt x="31" y="26"/>
                </a:lnTo>
                <a:lnTo>
                  <a:pt x="23" y="0"/>
                </a:lnTo>
                <a:lnTo>
                  <a:pt x="16" y="1"/>
                </a:lnTo>
                <a:lnTo>
                  <a:pt x="0" y="3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28" name="Freeform 35"/>
          <p:cNvSpPr>
            <a:spLocks/>
          </p:cNvSpPr>
          <p:nvPr/>
        </p:nvSpPr>
        <p:spPr bwMode="auto">
          <a:xfrm>
            <a:off x="5462588" y="4132263"/>
            <a:ext cx="195262" cy="195262"/>
          </a:xfrm>
          <a:custGeom>
            <a:avLst/>
            <a:gdLst>
              <a:gd name="T0" fmla="*/ 0 w 145"/>
              <a:gd name="T1" fmla="*/ 2147483647 h 141"/>
              <a:gd name="T2" fmla="*/ 2147483647 w 145"/>
              <a:gd name="T3" fmla="*/ 2147483647 h 141"/>
              <a:gd name="T4" fmla="*/ 2147483647 w 145"/>
              <a:gd name="T5" fmla="*/ 2147483647 h 141"/>
              <a:gd name="T6" fmla="*/ 2147483647 w 145"/>
              <a:gd name="T7" fmla="*/ 2147483647 h 141"/>
              <a:gd name="T8" fmla="*/ 2147483647 w 145"/>
              <a:gd name="T9" fmla="*/ 2147483647 h 141"/>
              <a:gd name="T10" fmla="*/ 2147483647 w 145"/>
              <a:gd name="T11" fmla="*/ 2147483647 h 141"/>
              <a:gd name="T12" fmla="*/ 2147483647 w 145"/>
              <a:gd name="T13" fmla="*/ 0 h 141"/>
              <a:gd name="T14" fmla="*/ 2147483647 w 145"/>
              <a:gd name="T15" fmla="*/ 2147483647 h 141"/>
              <a:gd name="T16" fmla="*/ 2147483647 w 145"/>
              <a:gd name="T17" fmla="*/ 2147483647 h 141"/>
              <a:gd name="T18" fmla="*/ 2147483647 w 145"/>
              <a:gd name="T19" fmla="*/ 2147483647 h 141"/>
              <a:gd name="T20" fmla="*/ 2147483647 w 145"/>
              <a:gd name="T21" fmla="*/ 2147483647 h 141"/>
              <a:gd name="T22" fmla="*/ 2147483647 w 145"/>
              <a:gd name="T23" fmla="*/ 2147483647 h 141"/>
              <a:gd name="T24" fmla="*/ 2147483647 w 145"/>
              <a:gd name="T25" fmla="*/ 2147483647 h 141"/>
              <a:gd name="T26" fmla="*/ 2147483647 w 145"/>
              <a:gd name="T27" fmla="*/ 2147483647 h 141"/>
              <a:gd name="T28" fmla="*/ 2147483647 w 145"/>
              <a:gd name="T29" fmla="*/ 2147483647 h 141"/>
              <a:gd name="T30" fmla="*/ 2147483647 w 145"/>
              <a:gd name="T31" fmla="*/ 2147483647 h 141"/>
              <a:gd name="T32" fmla="*/ 2147483647 w 145"/>
              <a:gd name="T33" fmla="*/ 2147483647 h 141"/>
              <a:gd name="T34" fmla="*/ 2147483647 w 145"/>
              <a:gd name="T35" fmla="*/ 2147483647 h 141"/>
              <a:gd name="T36" fmla="*/ 2147483647 w 145"/>
              <a:gd name="T37" fmla="*/ 2147483647 h 141"/>
              <a:gd name="T38" fmla="*/ 2147483647 w 145"/>
              <a:gd name="T39" fmla="*/ 2147483647 h 141"/>
              <a:gd name="T40" fmla="*/ 2147483647 w 145"/>
              <a:gd name="T41" fmla="*/ 2147483647 h 141"/>
              <a:gd name="T42" fmla="*/ 2147483647 w 145"/>
              <a:gd name="T43" fmla="*/ 2147483647 h 141"/>
              <a:gd name="T44" fmla="*/ 2147483647 w 145"/>
              <a:gd name="T45" fmla="*/ 2147483647 h 141"/>
              <a:gd name="T46" fmla="*/ 2147483647 w 145"/>
              <a:gd name="T47" fmla="*/ 2147483647 h 141"/>
              <a:gd name="T48" fmla="*/ 2147483647 w 145"/>
              <a:gd name="T49" fmla="*/ 2147483647 h 141"/>
              <a:gd name="T50" fmla="*/ 2147483647 w 145"/>
              <a:gd name="T51" fmla="*/ 2147483647 h 141"/>
              <a:gd name="T52" fmla="*/ 2147483647 w 145"/>
              <a:gd name="T53" fmla="*/ 2147483647 h 141"/>
              <a:gd name="T54" fmla="*/ 2147483647 w 145"/>
              <a:gd name="T55" fmla="*/ 2147483647 h 141"/>
              <a:gd name="T56" fmla="*/ 2147483647 w 145"/>
              <a:gd name="T57" fmla="*/ 2147483647 h 141"/>
              <a:gd name="T58" fmla="*/ 2147483647 w 145"/>
              <a:gd name="T59" fmla="*/ 2147483647 h 141"/>
              <a:gd name="T60" fmla="*/ 2147483647 w 145"/>
              <a:gd name="T61" fmla="*/ 2147483647 h 141"/>
              <a:gd name="T62" fmla="*/ 0 w 145"/>
              <a:gd name="T63" fmla="*/ 2147483647 h 14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45"/>
              <a:gd name="T97" fmla="*/ 0 h 141"/>
              <a:gd name="T98" fmla="*/ 145 w 145"/>
              <a:gd name="T99" fmla="*/ 141 h 141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45" h="141">
                <a:moveTo>
                  <a:pt x="0" y="108"/>
                </a:moveTo>
                <a:lnTo>
                  <a:pt x="3" y="90"/>
                </a:lnTo>
                <a:lnTo>
                  <a:pt x="6" y="55"/>
                </a:lnTo>
                <a:lnTo>
                  <a:pt x="14" y="24"/>
                </a:lnTo>
                <a:lnTo>
                  <a:pt x="27" y="13"/>
                </a:lnTo>
                <a:lnTo>
                  <a:pt x="42" y="2"/>
                </a:lnTo>
                <a:lnTo>
                  <a:pt x="44" y="0"/>
                </a:lnTo>
                <a:lnTo>
                  <a:pt x="51" y="18"/>
                </a:lnTo>
                <a:lnTo>
                  <a:pt x="59" y="34"/>
                </a:lnTo>
                <a:lnTo>
                  <a:pt x="65" y="52"/>
                </a:lnTo>
                <a:lnTo>
                  <a:pt x="72" y="70"/>
                </a:lnTo>
                <a:lnTo>
                  <a:pt x="73" y="64"/>
                </a:lnTo>
                <a:lnTo>
                  <a:pt x="79" y="68"/>
                </a:lnTo>
                <a:lnTo>
                  <a:pt x="97" y="81"/>
                </a:lnTo>
                <a:lnTo>
                  <a:pt x="121" y="104"/>
                </a:lnTo>
                <a:lnTo>
                  <a:pt x="145" y="128"/>
                </a:lnTo>
                <a:lnTo>
                  <a:pt x="145" y="133"/>
                </a:lnTo>
                <a:lnTo>
                  <a:pt x="144" y="134"/>
                </a:lnTo>
                <a:lnTo>
                  <a:pt x="137" y="135"/>
                </a:lnTo>
                <a:lnTo>
                  <a:pt x="125" y="141"/>
                </a:lnTo>
                <a:lnTo>
                  <a:pt x="123" y="135"/>
                </a:lnTo>
                <a:lnTo>
                  <a:pt x="104" y="129"/>
                </a:lnTo>
                <a:lnTo>
                  <a:pt x="91" y="114"/>
                </a:lnTo>
                <a:lnTo>
                  <a:pt x="84" y="105"/>
                </a:lnTo>
                <a:lnTo>
                  <a:pt x="71" y="99"/>
                </a:lnTo>
                <a:lnTo>
                  <a:pt x="59" y="96"/>
                </a:lnTo>
                <a:lnTo>
                  <a:pt x="45" y="98"/>
                </a:lnTo>
                <a:lnTo>
                  <a:pt x="35" y="86"/>
                </a:lnTo>
                <a:lnTo>
                  <a:pt x="31" y="106"/>
                </a:lnTo>
                <a:lnTo>
                  <a:pt x="21" y="98"/>
                </a:lnTo>
                <a:lnTo>
                  <a:pt x="12" y="110"/>
                </a:lnTo>
                <a:lnTo>
                  <a:pt x="0" y="10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29" name="Freeform 36"/>
          <p:cNvSpPr>
            <a:spLocks/>
          </p:cNvSpPr>
          <p:nvPr/>
        </p:nvSpPr>
        <p:spPr bwMode="auto">
          <a:xfrm>
            <a:off x="5376863" y="4251325"/>
            <a:ext cx="431800" cy="374650"/>
          </a:xfrm>
          <a:custGeom>
            <a:avLst/>
            <a:gdLst>
              <a:gd name="T0" fmla="*/ 2147483647 w 326"/>
              <a:gd name="T1" fmla="*/ 2147483647 h 274"/>
              <a:gd name="T2" fmla="*/ 2147483647 w 326"/>
              <a:gd name="T3" fmla="*/ 2147483647 h 274"/>
              <a:gd name="T4" fmla="*/ 2147483647 w 326"/>
              <a:gd name="T5" fmla="*/ 2147483647 h 274"/>
              <a:gd name="T6" fmla="*/ 2147483647 w 326"/>
              <a:gd name="T7" fmla="*/ 2147483647 h 274"/>
              <a:gd name="T8" fmla="*/ 2147483647 w 326"/>
              <a:gd name="T9" fmla="*/ 2147483647 h 274"/>
              <a:gd name="T10" fmla="*/ 2147483647 w 326"/>
              <a:gd name="T11" fmla="*/ 2147483647 h 274"/>
              <a:gd name="T12" fmla="*/ 2147483647 w 326"/>
              <a:gd name="T13" fmla="*/ 2147483647 h 274"/>
              <a:gd name="T14" fmla="*/ 2147483647 w 326"/>
              <a:gd name="T15" fmla="*/ 2147483647 h 274"/>
              <a:gd name="T16" fmla="*/ 0 w 326"/>
              <a:gd name="T17" fmla="*/ 2147483647 h 274"/>
              <a:gd name="T18" fmla="*/ 2147483647 w 326"/>
              <a:gd name="T19" fmla="*/ 2147483647 h 274"/>
              <a:gd name="T20" fmla="*/ 2147483647 w 326"/>
              <a:gd name="T21" fmla="*/ 2147483647 h 274"/>
              <a:gd name="T22" fmla="*/ 2147483647 w 326"/>
              <a:gd name="T23" fmla="*/ 2147483647 h 274"/>
              <a:gd name="T24" fmla="*/ 2147483647 w 326"/>
              <a:gd name="T25" fmla="*/ 2147483647 h 274"/>
              <a:gd name="T26" fmla="*/ 2147483647 w 326"/>
              <a:gd name="T27" fmla="*/ 2147483647 h 274"/>
              <a:gd name="T28" fmla="*/ 2147483647 w 326"/>
              <a:gd name="T29" fmla="*/ 2147483647 h 274"/>
              <a:gd name="T30" fmla="*/ 2147483647 w 326"/>
              <a:gd name="T31" fmla="*/ 2147483647 h 274"/>
              <a:gd name="T32" fmla="*/ 2147483647 w 326"/>
              <a:gd name="T33" fmla="*/ 2147483647 h 274"/>
              <a:gd name="T34" fmla="*/ 2147483647 w 326"/>
              <a:gd name="T35" fmla="*/ 2147483647 h 274"/>
              <a:gd name="T36" fmla="*/ 2147483647 w 326"/>
              <a:gd name="T37" fmla="*/ 2147483647 h 274"/>
              <a:gd name="T38" fmla="*/ 2147483647 w 326"/>
              <a:gd name="T39" fmla="*/ 0 h 274"/>
              <a:gd name="T40" fmla="*/ 2147483647 w 326"/>
              <a:gd name="T41" fmla="*/ 2147483647 h 274"/>
              <a:gd name="T42" fmla="*/ 2147483647 w 326"/>
              <a:gd name="T43" fmla="*/ 2147483647 h 274"/>
              <a:gd name="T44" fmla="*/ 2147483647 w 326"/>
              <a:gd name="T45" fmla="*/ 2147483647 h 274"/>
              <a:gd name="T46" fmla="*/ 2147483647 w 326"/>
              <a:gd name="T47" fmla="*/ 2147483647 h 274"/>
              <a:gd name="T48" fmla="*/ 2147483647 w 326"/>
              <a:gd name="T49" fmla="*/ 2147483647 h 274"/>
              <a:gd name="T50" fmla="*/ 2147483647 w 326"/>
              <a:gd name="T51" fmla="*/ 2147483647 h 274"/>
              <a:gd name="T52" fmla="*/ 2147483647 w 326"/>
              <a:gd name="T53" fmla="*/ 2147483647 h 274"/>
              <a:gd name="T54" fmla="*/ 2147483647 w 326"/>
              <a:gd name="T55" fmla="*/ 2147483647 h 274"/>
              <a:gd name="T56" fmla="*/ 2147483647 w 326"/>
              <a:gd name="T57" fmla="*/ 2147483647 h 274"/>
              <a:gd name="T58" fmla="*/ 2147483647 w 326"/>
              <a:gd name="T59" fmla="*/ 2147483647 h 274"/>
              <a:gd name="T60" fmla="*/ 2147483647 w 326"/>
              <a:gd name="T61" fmla="*/ 2147483647 h 274"/>
              <a:gd name="T62" fmla="*/ 2147483647 w 326"/>
              <a:gd name="T63" fmla="*/ 2147483647 h 274"/>
              <a:gd name="T64" fmla="*/ 2147483647 w 326"/>
              <a:gd name="T65" fmla="*/ 2147483647 h 274"/>
              <a:gd name="T66" fmla="*/ 2147483647 w 326"/>
              <a:gd name="T67" fmla="*/ 2147483647 h 274"/>
              <a:gd name="T68" fmla="*/ 2147483647 w 326"/>
              <a:gd name="T69" fmla="*/ 2147483647 h 274"/>
              <a:gd name="T70" fmla="*/ 2147483647 w 326"/>
              <a:gd name="T71" fmla="*/ 2147483647 h 274"/>
              <a:gd name="T72" fmla="*/ 2147483647 w 326"/>
              <a:gd name="T73" fmla="*/ 2147483647 h 274"/>
              <a:gd name="T74" fmla="*/ 2147483647 w 326"/>
              <a:gd name="T75" fmla="*/ 2147483647 h 274"/>
              <a:gd name="T76" fmla="*/ 2147483647 w 326"/>
              <a:gd name="T77" fmla="*/ 2147483647 h 274"/>
              <a:gd name="T78" fmla="*/ 2147483647 w 326"/>
              <a:gd name="T79" fmla="*/ 2147483647 h 274"/>
              <a:gd name="T80" fmla="*/ 2147483647 w 326"/>
              <a:gd name="T81" fmla="*/ 2147483647 h 274"/>
              <a:gd name="T82" fmla="*/ 2147483647 w 326"/>
              <a:gd name="T83" fmla="*/ 2147483647 h 274"/>
              <a:gd name="T84" fmla="*/ 2147483647 w 326"/>
              <a:gd name="T85" fmla="*/ 2147483647 h 274"/>
              <a:gd name="T86" fmla="*/ 2147483647 w 326"/>
              <a:gd name="T87" fmla="*/ 2147483647 h 274"/>
              <a:gd name="T88" fmla="*/ 2147483647 w 326"/>
              <a:gd name="T89" fmla="*/ 2147483647 h 274"/>
              <a:gd name="T90" fmla="*/ 2147483647 w 326"/>
              <a:gd name="T91" fmla="*/ 2147483647 h 274"/>
              <a:gd name="T92" fmla="*/ 2147483647 w 326"/>
              <a:gd name="T93" fmla="*/ 2147483647 h 274"/>
              <a:gd name="T94" fmla="*/ 2147483647 w 326"/>
              <a:gd name="T95" fmla="*/ 2147483647 h 274"/>
              <a:gd name="T96" fmla="*/ 2147483647 w 326"/>
              <a:gd name="T97" fmla="*/ 2147483647 h 274"/>
              <a:gd name="T98" fmla="*/ 2147483647 w 326"/>
              <a:gd name="T99" fmla="*/ 2147483647 h 274"/>
              <a:gd name="T100" fmla="*/ 2147483647 w 326"/>
              <a:gd name="T101" fmla="*/ 2147483647 h 27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326"/>
              <a:gd name="T154" fmla="*/ 0 h 274"/>
              <a:gd name="T155" fmla="*/ 326 w 326"/>
              <a:gd name="T156" fmla="*/ 274 h 274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326" h="274">
                <a:moveTo>
                  <a:pt x="110" y="268"/>
                </a:moveTo>
                <a:lnTo>
                  <a:pt x="84" y="248"/>
                </a:lnTo>
                <a:lnTo>
                  <a:pt x="64" y="246"/>
                </a:lnTo>
                <a:lnTo>
                  <a:pt x="58" y="227"/>
                </a:lnTo>
                <a:lnTo>
                  <a:pt x="45" y="220"/>
                </a:lnTo>
                <a:lnTo>
                  <a:pt x="37" y="204"/>
                </a:lnTo>
                <a:lnTo>
                  <a:pt x="28" y="187"/>
                </a:lnTo>
                <a:lnTo>
                  <a:pt x="7" y="168"/>
                </a:lnTo>
                <a:lnTo>
                  <a:pt x="0" y="162"/>
                </a:lnTo>
                <a:lnTo>
                  <a:pt x="7" y="150"/>
                </a:lnTo>
                <a:lnTo>
                  <a:pt x="22" y="146"/>
                </a:lnTo>
                <a:lnTo>
                  <a:pt x="26" y="120"/>
                </a:lnTo>
                <a:lnTo>
                  <a:pt x="28" y="92"/>
                </a:lnTo>
                <a:lnTo>
                  <a:pt x="40" y="90"/>
                </a:lnTo>
                <a:lnTo>
                  <a:pt x="45" y="62"/>
                </a:lnTo>
                <a:lnTo>
                  <a:pt x="67" y="22"/>
                </a:lnTo>
                <a:lnTo>
                  <a:pt x="79" y="24"/>
                </a:lnTo>
                <a:lnTo>
                  <a:pt x="88" y="12"/>
                </a:lnTo>
                <a:lnTo>
                  <a:pt x="98" y="20"/>
                </a:lnTo>
                <a:lnTo>
                  <a:pt x="102" y="0"/>
                </a:lnTo>
                <a:lnTo>
                  <a:pt x="112" y="12"/>
                </a:lnTo>
                <a:lnTo>
                  <a:pt x="126" y="10"/>
                </a:lnTo>
                <a:lnTo>
                  <a:pt x="138" y="13"/>
                </a:lnTo>
                <a:lnTo>
                  <a:pt x="151" y="19"/>
                </a:lnTo>
                <a:lnTo>
                  <a:pt x="158" y="28"/>
                </a:lnTo>
                <a:lnTo>
                  <a:pt x="171" y="43"/>
                </a:lnTo>
                <a:lnTo>
                  <a:pt x="190" y="49"/>
                </a:lnTo>
                <a:lnTo>
                  <a:pt x="192" y="55"/>
                </a:lnTo>
                <a:lnTo>
                  <a:pt x="204" y="49"/>
                </a:lnTo>
                <a:lnTo>
                  <a:pt x="188" y="86"/>
                </a:lnTo>
                <a:lnTo>
                  <a:pt x="213" y="86"/>
                </a:lnTo>
                <a:lnTo>
                  <a:pt x="211" y="101"/>
                </a:lnTo>
                <a:lnTo>
                  <a:pt x="225" y="119"/>
                </a:lnTo>
                <a:lnTo>
                  <a:pt x="238" y="137"/>
                </a:lnTo>
                <a:lnTo>
                  <a:pt x="255" y="143"/>
                </a:lnTo>
                <a:lnTo>
                  <a:pt x="272" y="149"/>
                </a:lnTo>
                <a:lnTo>
                  <a:pt x="288" y="155"/>
                </a:lnTo>
                <a:lnTo>
                  <a:pt x="304" y="162"/>
                </a:lnTo>
                <a:lnTo>
                  <a:pt x="326" y="162"/>
                </a:lnTo>
                <a:lnTo>
                  <a:pt x="310" y="181"/>
                </a:lnTo>
                <a:lnTo>
                  <a:pt x="294" y="200"/>
                </a:lnTo>
                <a:lnTo>
                  <a:pt x="278" y="220"/>
                </a:lnTo>
                <a:lnTo>
                  <a:pt x="261" y="239"/>
                </a:lnTo>
                <a:lnTo>
                  <a:pt x="244" y="240"/>
                </a:lnTo>
                <a:lnTo>
                  <a:pt x="226" y="241"/>
                </a:lnTo>
                <a:lnTo>
                  <a:pt x="206" y="256"/>
                </a:lnTo>
                <a:lnTo>
                  <a:pt x="195" y="262"/>
                </a:lnTo>
                <a:lnTo>
                  <a:pt x="174" y="257"/>
                </a:lnTo>
                <a:lnTo>
                  <a:pt x="151" y="264"/>
                </a:lnTo>
                <a:lnTo>
                  <a:pt x="140" y="274"/>
                </a:lnTo>
                <a:lnTo>
                  <a:pt x="110" y="26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30" name="Freeform 37"/>
          <p:cNvSpPr>
            <a:spLocks/>
          </p:cNvSpPr>
          <p:nvPr/>
        </p:nvSpPr>
        <p:spPr bwMode="auto">
          <a:xfrm>
            <a:off x="5607050" y="4338638"/>
            <a:ext cx="293688" cy="461962"/>
          </a:xfrm>
          <a:custGeom>
            <a:avLst/>
            <a:gdLst>
              <a:gd name="T0" fmla="*/ 2147483647 w 221"/>
              <a:gd name="T1" fmla="*/ 2147483647 h 337"/>
              <a:gd name="T2" fmla="*/ 2147483647 w 221"/>
              <a:gd name="T3" fmla="*/ 2147483647 h 337"/>
              <a:gd name="T4" fmla="*/ 2147483647 w 221"/>
              <a:gd name="T5" fmla="*/ 2147483647 h 337"/>
              <a:gd name="T6" fmla="*/ 2147483647 w 221"/>
              <a:gd name="T7" fmla="*/ 2147483647 h 337"/>
              <a:gd name="T8" fmla="*/ 2147483647 w 221"/>
              <a:gd name="T9" fmla="*/ 2147483647 h 337"/>
              <a:gd name="T10" fmla="*/ 2147483647 w 221"/>
              <a:gd name="T11" fmla="*/ 2147483647 h 337"/>
              <a:gd name="T12" fmla="*/ 2147483647 w 221"/>
              <a:gd name="T13" fmla="*/ 2147483647 h 337"/>
              <a:gd name="T14" fmla="*/ 2147483647 w 221"/>
              <a:gd name="T15" fmla="*/ 2147483647 h 337"/>
              <a:gd name="T16" fmla="*/ 2147483647 w 221"/>
              <a:gd name="T17" fmla="*/ 2147483647 h 337"/>
              <a:gd name="T18" fmla="*/ 2147483647 w 221"/>
              <a:gd name="T19" fmla="*/ 2147483647 h 337"/>
              <a:gd name="T20" fmla="*/ 2147483647 w 221"/>
              <a:gd name="T21" fmla="*/ 2147483647 h 337"/>
              <a:gd name="T22" fmla="*/ 2147483647 w 221"/>
              <a:gd name="T23" fmla="*/ 2147483647 h 337"/>
              <a:gd name="T24" fmla="*/ 2147483647 w 221"/>
              <a:gd name="T25" fmla="*/ 2147483647 h 337"/>
              <a:gd name="T26" fmla="*/ 2147483647 w 221"/>
              <a:gd name="T27" fmla="*/ 2147483647 h 337"/>
              <a:gd name="T28" fmla="*/ 2147483647 w 221"/>
              <a:gd name="T29" fmla="*/ 2147483647 h 337"/>
              <a:gd name="T30" fmla="*/ 2147483647 w 221"/>
              <a:gd name="T31" fmla="*/ 2147483647 h 337"/>
              <a:gd name="T32" fmla="*/ 2147483647 w 221"/>
              <a:gd name="T33" fmla="*/ 2147483647 h 337"/>
              <a:gd name="T34" fmla="*/ 2147483647 w 221"/>
              <a:gd name="T35" fmla="*/ 2147483647 h 337"/>
              <a:gd name="T36" fmla="*/ 2147483647 w 221"/>
              <a:gd name="T37" fmla="*/ 2147483647 h 337"/>
              <a:gd name="T38" fmla="*/ 2147483647 w 221"/>
              <a:gd name="T39" fmla="*/ 2147483647 h 337"/>
              <a:gd name="T40" fmla="*/ 0 w 221"/>
              <a:gd name="T41" fmla="*/ 2147483647 h 337"/>
              <a:gd name="T42" fmla="*/ 2147483647 w 221"/>
              <a:gd name="T43" fmla="*/ 2147483647 h 337"/>
              <a:gd name="T44" fmla="*/ 2147483647 w 221"/>
              <a:gd name="T45" fmla="*/ 2147483647 h 337"/>
              <a:gd name="T46" fmla="*/ 2147483647 w 221"/>
              <a:gd name="T47" fmla="*/ 2147483647 h 337"/>
              <a:gd name="T48" fmla="*/ 2147483647 w 221"/>
              <a:gd name="T49" fmla="*/ 2147483647 h 337"/>
              <a:gd name="T50" fmla="*/ 2147483647 w 221"/>
              <a:gd name="T51" fmla="*/ 2147483647 h 337"/>
              <a:gd name="T52" fmla="*/ 2147483647 w 221"/>
              <a:gd name="T53" fmla="*/ 2147483647 h 337"/>
              <a:gd name="T54" fmla="*/ 2147483647 w 221"/>
              <a:gd name="T55" fmla="*/ 2147483647 h 337"/>
              <a:gd name="T56" fmla="*/ 2147483647 w 221"/>
              <a:gd name="T57" fmla="*/ 2147483647 h 337"/>
              <a:gd name="T58" fmla="*/ 2147483647 w 221"/>
              <a:gd name="T59" fmla="*/ 2147483647 h 337"/>
              <a:gd name="T60" fmla="*/ 2147483647 w 221"/>
              <a:gd name="T61" fmla="*/ 2147483647 h 337"/>
              <a:gd name="T62" fmla="*/ 2147483647 w 221"/>
              <a:gd name="T63" fmla="*/ 2147483647 h 337"/>
              <a:gd name="T64" fmla="*/ 2147483647 w 221"/>
              <a:gd name="T65" fmla="*/ 2147483647 h 337"/>
              <a:gd name="T66" fmla="*/ 2147483647 w 221"/>
              <a:gd name="T67" fmla="*/ 2147483647 h 337"/>
              <a:gd name="T68" fmla="*/ 2147483647 w 221"/>
              <a:gd name="T69" fmla="*/ 2147483647 h 337"/>
              <a:gd name="T70" fmla="*/ 2147483647 w 221"/>
              <a:gd name="T71" fmla="*/ 2147483647 h 337"/>
              <a:gd name="T72" fmla="*/ 2147483647 w 221"/>
              <a:gd name="T73" fmla="*/ 2147483647 h 337"/>
              <a:gd name="T74" fmla="*/ 2147483647 w 221"/>
              <a:gd name="T75" fmla="*/ 2147483647 h 337"/>
              <a:gd name="T76" fmla="*/ 2147483647 w 221"/>
              <a:gd name="T77" fmla="*/ 2147483647 h 337"/>
              <a:gd name="T78" fmla="*/ 2147483647 w 221"/>
              <a:gd name="T79" fmla="*/ 2147483647 h 337"/>
              <a:gd name="T80" fmla="*/ 2147483647 w 221"/>
              <a:gd name="T81" fmla="*/ 2147483647 h 337"/>
              <a:gd name="T82" fmla="*/ 2147483647 w 221"/>
              <a:gd name="T83" fmla="*/ 2147483647 h 337"/>
              <a:gd name="T84" fmla="*/ 2147483647 w 221"/>
              <a:gd name="T85" fmla="*/ 2147483647 h 337"/>
              <a:gd name="T86" fmla="*/ 2147483647 w 221"/>
              <a:gd name="T87" fmla="*/ 2147483647 h 337"/>
              <a:gd name="T88" fmla="*/ 2147483647 w 221"/>
              <a:gd name="T89" fmla="*/ 2147483647 h 337"/>
              <a:gd name="T90" fmla="*/ 2147483647 w 221"/>
              <a:gd name="T91" fmla="*/ 2147483647 h 337"/>
              <a:gd name="T92" fmla="*/ 2147483647 w 221"/>
              <a:gd name="T93" fmla="*/ 2147483647 h 337"/>
              <a:gd name="T94" fmla="*/ 2147483647 w 221"/>
              <a:gd name="T95" fmla="*/ 0 h 337"/>
              <a:gd name="T96" fmla="*/ 2147483647 w 221"/>
              <a:gd name="T97" fmla="*/ 2147483647 h 337"/>
              <a:gd name="T98" fmla="*/ 2147483647 w 221"/>
              <a:gd name="T99" fmla="*/ 2147483647 h 337"/>
              <a:gd name="T100" fmla="*/ 2147483647 w 221"/>
              <a:gd name="T101" fmla="*/ 2147483647 h 337"/>
              <a:gd name="T102" fmla="*/ 2147483647 w 221"/>
              <a:gd name="T103" fmla="*/ 2147483647 h 337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221"/>
              <a:gd name="T157" fmla="*/ 0 h 337"/>
              <a:gd name="T158" fmla="*/ 221 w 221"/>
              <a:gd name="T159" fmla="*/ 337 h 337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221" h="337">
                <a:moveTo>
                  <a:pt x="212" y="45"/>
                </a:moveTo>
                <a:lnTo>
                  <a:pt x="206" y="73"/>
                </a:lnTo>
                <a:lnTo>
                  <a:pt x="192" y="103"/>
                </a:lnTo>
                <a:lnTo>
                  <a:pt x="177" y="133"/>
                </a:lnTo>
                <a:lnTo>
                  <a:pt x="162" y="163"/>
                </a:lnTo>
                <a:lnTo>
                  <a:pt x="147" y="192"/>
                </a:lnTo>
                <a:lnTo>
                  <a:pt x="134" y="206"/>
                </a:lnTo>
                <a:lnTo>
                  <a:pt x="121" y="219"/>
                </a:lnTo>
                <a:lnTo>
                  <a:pt x="108" y="234"/>
                </a:lnTo>
                <a:lnTo>
                  <a:pt x="95" y="247"/>
                </a:lnTo>
                <a:lnTo>
                  <a:pt x="79" y="261"/>
                </a:lnTo>
                <a:lnTo>
                  <a:pt x="65" y="277"/>
                </a:lnTo>
                <a:lnTo>
                  <a:pt x="49" y="291"/>
                </a:lnTo>
                <a:lnTo>
                  <a:pt x="33" y="307"/>
                </a:lnTo>
                <a:lnTo>
                  <a:pt x="23" y="322"/>
                </a:lnTo>
                <a:lnTo>
                  <a:pt x="13" y="337"/>
                </a:lnTo>
                <a:lnTo>
                  <a:pt x="1" y="318"/>
                </a:lnTo>
                <a:lnTo>
                  <a:pt x="1" y="295"/>
                </a:lnTo>
                <a:lnTo>
                  <a:pt x="1" y="272"/>
                </a:lnTo>
                <a:lnTo>
                  <a:pt x="1" y="249"/>
                </a:lnTo>
                <a:lnTo>
                  <a:pt x="0" y="225"/>
                </a:lnTo>
                <a:lnTo>
                  <a:pt x="11" y="212"/>
                </a:lnTo>
                <a:lnTo>
                  <a:pt x="20" y="198"/>
                </a:lnTo>
                <a:lnTo>
                  <a:pt x="31" y="192"/>
                </a:lnTo>
                <a:lnTo>
                  <a:pt x="51" y="177"/>
                </a:lnTo>
                <a:lnTo>
                  <a:pt x="69" y="176"/>
                </a:lnTo>
                <a:lnTo>
                  <a:pt x="86" y="175"/>
                </a:lnTo>
                <a:lnTo>
                  <a:pt x="103" y="156"/>
                </a:lnTo>
                <a:lnTo>
                  <a:pt x="119" y="136"/>
                </a:lnTo>
                <a:lnTo>
                  <a:pt x="135" y="117"/>
                </a:lnTo>
                <a:lnTo>
                  <a:pt x="151" y="98"/>
                </a:lnTo>
                <a:lnTo>
                  <a:pt x="129" y="98"/>
                </a:lnTo>
                <a:lnTo>
                  <a:pt x="113" y="91"/>
                </a:lnTo>
                <a:lnTo>
                  <a:pt x="97" y="85"/>
                </a:lnTo>
                <a:lnTo>
                  <a:pt x="80" y="79"/>
                </a:lnTo>
                <a:lnTo>
                  <a:pt x="63" y="73"/>
                </a:lnTo>
                <a:lnTo>
                  <a:pt x="50" y="55"/>
                </a:lnTo>
                <a:lnTo>
                  <a:pt x="36" y="37"/>
                </a:lnTo>
                <a:lnTo>
                  <a:pt x="38" y="22"/>
                </a:lnTo>
                <a:lnTo>
                  <a:pt x="44" y="10"/>
                </a:lnTo>
                <a:lnTo>
                  <a:pt x="59" y="24"/>
                </a:lnTo>
                <a:lnTo>
                  <a:pt x="72" y="37"/>
                </a:lnTo>
                <a:lnTo>
                  <a:pt x="99" y="27"/>
                </a:lnTo>
                <a:lnTo>
                  <a:pt x="120" y="30"/>
                </a:lnTo>
                <a:lnTo>
                  <a:pt x="140" y="20"/>
                </a:lnTo>
                <a:lnTo>
                  <a:pt x="170" y="13"/>
                </a:lnTo>
                <a:lnTo>
                  <a:pt x="201" y="6"/>
                </a:lnTo>
                <a:lnTo>
                  <a:pt x="212" y="0"/>
                </a:lnTo>
                <a:lnTo>
                  <a:pt x="219" y="7"/>
                </a:lnTo>
                <a:lnTo>
                  <a:pt x="217" y="37"/>
                </a:lnTo>
                <a:lnTo>
                  <a:pt x="221" y="38"/>
                </a:lnTo>
                <a:lnTo>
                  <a:pt x="212" y="45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31" name="Freeform 38"/>
          <p:cNvSpPr>
            <a:spLocks/>
          </p:cNvSpPr>
          <p:nvPr/>
        </p:nvSpPr>
        <p:spPr bwMode="auto">
          <a:xfrm>
            <a:off x="5045075" y="3956050"/>
            <a:ext cx="474663" cy="669925"/>
          </a:xfrm>
          <a:custGeom>
            <a:avLst/>
            <a:gdLst>
              <a:gd name="T0" fmla="*/ 2147483647 w 357"/>
              <a:gd name="T1" fmla="*/ 2147483647 h 488"/>
              <a:gd name="T2" fmla="*/ 2147483647 w 357"/>
              <a:gd name="T3" fmla="*/ 2147483647 h 488"/>
              <a:gd name="T4" fmla="*/ 2147483647 w 357"/>
              <a:gd name="T5" fmla="*/ 2147483647 h 488"/>
              <a:gd name="T6" fmla="*/ 2147483647 w 357"/>
              <a:gd name="T7" fmla="*/ 2147483647 h 488"/>
              <a:gd name="T8" fmla="*/ 2147483647 w 357"/>
              <a:gd name="T9" fmla="*/ 2147483647 h 488"/>
              <a:gd name="T10" fmla="*/ 2147483647 w 357"/>
              <a:gd name="T11" fmla="*/ 2147483647 h 488"/>
              <a:gd name="T12" fmla="*/ 2147483647 w 357"/>
              <a:gd name="T13" fmla="*/ 2147483647 h 488"/>
              <a:gd name="T14" fmla="*/ 2147483647 w 357"/>
              <a:gd name="T15" fmla="*/ 2147483647 h 488"/>
              <a:gd name="T16" fmla="*/ 2147483647 w 357"/>
              <a:gd name="T17" fmla="*/ 2147483647 h 488"/>
              <a:gd name="T18" fmla="*/ 2147483647 w 357"/>
              <a:gd name="T19" fmla="*/ 2147483647 h 488"/>
              <a:gd name="T20" fmla="*/ 2147483647 w 357"/>
              <a:gd name="T21" fmla="*/ 0 h 488"/>
              <a:gd name="T22" fmla="*/ 2147483647 w 357"/>
              <a:gd name="T23" fmla="*/ 2147483647 h 488"/>
              <a:gd name="T24" fmla="*/ 2147483647 w 357"/>
              <a:gd name="T25" fmla="*/ 2147483647 h 488"/>
              <a:gd name="T26" fmla="*/ 2147483647 w 357"/>
              <a:gd name="T27" fmla="*/ 2147483647 h 488"/>
              <a:gd name="T28" fmla="*/ 2147483647 w 357"/>
              <a:gd name="T29" fmla="*/ 2147483647 h 488"/>
              <a:gd name="T30" fmla="*/ 2147483647 w 357"/>
              <a:gd name="T31" fmla="*/ 2147483647 h 488"/>
              <a:gd name="T32" fmla="*/ 2147483647 w 357"/>
              <a:gd name="T33" fmla="*/ 2147483647 h 488"/>
              <a:gd name="T34" fmla="*/ 2147483647 w 357"/>
              <a:gd name="T35" fmla="*/ 2147483647 h 488"/>
              <a:gd name="T36" fmla="*/ 2147483647 w 357"/>
              <a:gd name="T37" fmla="*/ 2147483647 h 488"/>
              <a:gd name="T38" fmla="*/ 2147483647 w 357"/>
              <a:gd name="T39" fmla="*/ 2147483647 h 488"/>
              <a:gd name="T40" fmla="*/ 2147483647 w 357"/>
              <a:gd name="T41" fmla="*/ 2147483647 h 488"/>
              <a:gd name="T42" fmla="*/ 2147483647 w 357"/>
              <a:gd name="T43" fmla="*/ 2147483647 h 488"/>
              <a:gd name="T44" fmla="*/ 2147483647 w 357"/>
              <a:gd name="T45" fmla="*/ 2147483647 h 488"/>
              <a:gd name="T46" fmla="*/ 2147483647 w 357"/>
              <a:gd name="T47" fmla="*/ 2147483647 h 488"/>
              <a:gd name="T48" fmla="*/ 2147483647 w 357"/>
              <a:gd name="T49" fmla="*/ 2147483647 h 488"/>
              <a:gd name="T50" fmla="*/ 2147483647 w 357"/>
              <a:gd name="T51" fmla="*/ 2147483647 h 488"/>
              <a:gd name="T52" fmla="*/ 2147483647 w 357"/>
              <a:gd name="T53" fmla="*/ 2147483647 h 488"/>
              <a:gd name="T54" fmla="*/ 2147483647 w 357"/>
              <a:gd name="T55" fmla="*/ 2147483647 h 488"/>
              <a:gd name="T56" fmla="*/ 2147483647 w 357"/>
              <a:gd name="T57" fmla="*/ 2147483647 h 488"/>
              <a:gd name="T58" fmla="*/ 2147483647 w 357"/>
              <a:gd name="T59" fmla="*/ 2147483647 h 488"/>
              <a:gd name="T60" fmla="*/ 2147483647 w 357"/>
              <a:gd name="T61" fmla="*/ 2147483647 h 488"/>
              <a:gd name="T62" fmla="*/ 2147483647 w 357"/>
              <a:gd name="T63" fmla="*/ 2147483647 h 488"/>
              <a:gd name="T64" fmla="*/ 2147483647 w 357"/>
              <a:gd name="T65" fmla="*/ 2147483647 h 488"/>
              <a:gd name="T66" fmla="*/ 2147483647 w 357"/>
              <a:gd name="T67" fmla="*/ 2147483647 h 488"/>
              <a:gd name="T68" fmla="*/ 2147483647 w 357"/>
              <a:gd name="T69" fmla="*/ 2147483647 h 488"/>
              <a:gd name="T70" fmla="*/ 2147483647 w 357"/>
              <a:gd name="T71" fmla="*/ 2147483647 h 488"/>
              <a:gd name="T72" fmla="*/ 2147483647 w 357"/>
              <a:gd name="T73" fmla="*/ 2147483647 h 488"/>
              <a:gd name="T74" fmla="*/ 0 w 357"/>
              <a:gd name="T75" fmla="*/ 2147483647 h 488"/>
              <a:gd name="T76" fmla="*/ 2147483647 w 357"/>
              <a:gd name="T77" fmla="*/ 2147483647 h 488"/>
              <a:gd name="T78" fmla="*/ 2147483647 w 357"/>
              <a:gd name="T79" fmla="*/ 2147483647 h 488"/>
              <a:gd name="T80" fmla="*/ 2147483647 w 357"/>
              <a:gd name="T81" fmla="*/ 2147483647 h 488"/>
              <a:gd name="T82" fmla="*/ 2147483647 w 357"/>
              <a:gd name="T83" fmla="*/ 2147483647 h 488"/>
              <a:gd name="T84" fmla="*/ 2147483647 w 357"/>
              <a:gd name="T85" fmla="*/ 2147483647 h 488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57"/>
              <a:gd name="T130" fmla="*/ 0 h 488"/>
              <a:gd name="T131" fmla="*/ 357 w 357"/>
              <a:gd name="T132" fmla="*/ 488 h 488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57" h="488">
                <a:moveTo>
                  <a:pt x="42" y="90"/>
                </a:moveTo>
                <a:lnTo>
                  <a:pt x="42" y="77"/>
                </a:lnTo>
                <a:lnTo>
                  <a:pt x="64" y="77"/>
                </a:lnTo>
                <a:lnTo>
                  <a:pt x="63" y="53"/>
                </a:lnTo>
                <a:lnTo>
                  <a:pt x="62" y="28"/>
                </a:lnTo>
                <a:lnTo>
                  <a:pt x="78" y="28"/>
                </a:lnTo>
                <a:lnTo>
                  <a:pt x="95" y="28"/>
                </a:lnTo>
                <a:lnTo>
                  <a:pt x="112" y="28"/>
                </a:lnTo>
                <a:lnTo>
                  <a:pt x="129" y="28"/>
                </a:lnTo>
                <a:lnTo>
                  <a:pt x="146" y="28"/>
                </a:lnTo>
                <a:lnTo>
                  <a:pt x="162" y="28"/>
                </a:lnTo>
                <a:lnTo>
                  <a:pt x="179" y="28"/>
                </a:lnTo>
                <a:lnTo>
                  <a:pt x="196" y="28"/>
                </a:lnTo>
                <a:lnTo>
                  <a:pt x="198" y="22"/>
                </a:lnTo>
                <a:lnTo>
                  <a:pt x="200" y="28"/>
                </a:lnTo>
                <a:lnTo>
                  <a:pt x="227" y="32"/>
                </a:lnTo>
                <a:lnTo>
                  <a:pt x="254" y="34"/>
                </a:lnTo>
                <a:lnTo>
                  <a:pt x="258" y="23"/>
                </a:lnTo>
                <a:lnTo>
                  <a:pt x="269" y="21"/>
                </a:lnTo>
                <a:lnTo>
                  <a:pt x="274" y="6"/>
                </a:lnTo>
                <a:lnTo>
                  <a:pt x="280" y="9"/>
                </a:lnTo>
                <a:lnTo>
                  <a:pt x="288" y="0"/>
                </a:lnTo>
                <a:lnTo>
                  <a:pt x="303" y="16"/>
                </a:lnTo>
                <a:lnTo>
                  <a:pt x="317" y="32"/>
                </a:lnTo>
                <a:lnTo>
                  <a:pt x="324" y="50"/>
                </a:lnTo>
                <a:lnTo>
                  <a:pt x="329" y="80"/>
                </a:lnTo>
                <a:lnTo>
                  <a:pt x="336" y="108"/>
                </a:lnTo>
                <a:lnTo>
                  <a:pt x="357" y="130"/>
                </a:lnTo>
                <a:lnTo>
                  <a:pt x="342" y="141"/>
                </a:lnTo>
                <a:lnTo>
                  <a:pt x="329" y="152"/>
                </a:lnTo>
                <a:lnTo>
                  <a:pt x="321" y="183"/>
                </a:lnTo>
                <a:lnTo>
                  <a:pt x="318" y="218"/>
                </a:lnTo>
                <a:lnTo>
                  <a:pt x="315" y="236"/>
                </a:lnTo>
                <a:lnTo>
                  <a:pt x="293" y="276"/>
                </a:lnTo>
                <a:lnTo>
                  <a:pt x="288" y="304"/>
                </a:lnTo>
                <a:lnTo>
                  <a:pt x="276" y="306"/>
                </a:lnTo>
                <a:lnTo>
                  <a:pt x="274" y="334"/>
                </a:lnTo>
                <a:lnTo>
                  <a:pt x="270" y="360"/>
                </a:lnTo>
                <a:lnTo>
                  <a:pt x="255" y="364"/>
                </a:lnTo>
                <a:lnTo>
                  <a:pt x="248" y="376"/>
                </a:lnTo>
                <a:lnTo>
                  <a:pt x="255" y="382"/>
                </a:lnTo>
                <a:lnTo>
                  <a:pt x="276" y="401"/>
                </a:lnTo>
                <a:lnTo>
                  <a:pt x="285" y="418"/>
                </a:lnTo>
                <a:lnTo>
                  <a:pt x="293" y="434"/>
                </a:lnTo>
                <a:lnTo>
                  <a:pt x="306" y="441"/>
                </a:lnTo>
                <a:lnTo>
                  <a:pt x="312" y="460"/>
                </a:lnTo>
                <a:lnTo>
                  <a:pt x="296" y="460"/>
                </a:lnTo>
                <a:lnTo>
                  <a:pt x="279" y="460"/>
                </a:lnTo>
                <a:lnTo>
                  <a:pt x="270" y="470"/>
                </a:lnTo>
                <a:lnTo>
                  <a:pt x="260" y="480"/>
                </a:lnTo>
                <a:lnTo>
                  <a:pt x="234" y="480"/>
                </a:lnTo>
                <a:lnTo>
                  <a:pt x="225" y="485"/>
                </a:lnTo>
                <a:lnTo>
                  <a:pt x="220" y="482"/>
                </a:lnTo>
                <a:lnTo>
                  <a:pt x="203" y="483"/>
                </a:lnTo>
                <a:lnTo>
                  <a:pt x="202" y="488"/>
                </a:lnTo>
                <a:lnTo>
                  <a:pt x="186" y="473"/>
                </a:lnTo>
                <a:lnTo>
                  <a:pt x="171" y="458"/>
                </a:lnTo>
                <a:lnTo>
                  <a:pt x="162" y="464"/>
                </a:lnTo>
                <a:lnTo>
                  <a:pt x="149" y="466"/>
                </a:lnTo>
                <a:lnTo>
                  <a:pt x="132" y="455"/>
                </a:lnTo>
                <a:lnTo>
                  <a:pt x="126" y="449"/>
                </a:lnTo>
                <a:lnTo>
                  <a:pt x="123" y="442"/>
                </a:lnTo>
                <a:lnTo>
                  <a:pt x="111" y="425"/>
                </a:lnTo>
                <a:lnTo>
                  <a:pt x="102" y="412"/>
                </a:lnTo>
                <a:lnTo>
                  <a:pt x="82" y="394"/>
                </a:lnTo>
                <a:lnTo>
                  <a:pt x="78" y="383"/>
                </a:lnTo>
                <a:lnTo>
                  <a:pt x="58" y="369"/>
                </a:lnTo>
                <a:lnTo>
                  <a:pt x="54" y="362"/>
                </a:lnTo>
                <a:lnTo>
                  <a:pt x="39" y="358"/>
                </a:lnTo>
                <a:lnTo>
                  <a:pt x="42" y="334"/>
                </a:lnTo>
                <a:lnTo>
                  <a:pt x="33" y="318"/>
                </a:lnTo>
                <a:lnTo>
                  <a:pt x="24" y="303"/>
                </a:lnTo>
                <a:lnTo>
                  <a:pt x="22" y="290"/>
                </a:lnTo>
                <a:lnTo>
                  <a:pt x="18" y="276"/>
                </a:lnTo>
                <a:lnTo>
                  <a:pt x="9" y="257"/>
                </a:lnTo>
                <a:lnTo>
                  <a:pt x="0" y="256"/>
                </a:lnTo>
                <a:lnTo>
                  <a:pt x="9" y="237"/>
                </a:lnTo>
                <a:lnTo>
                  <a:pt x="10" y="226"/>
                </a:lnTo>
                <a:lnTo>
                  <a:pt x="12" y="220"/>
                </a:lnTo>
                <a:lnTo>
                  <a:pt x="14" y="210"/>
                </a:lnTo>
                <a:lnTo>
                  <a:pt x="24" y="191"/>
                </a:lnTo>
                <a:lnTo>
                  <a:pt x="32" y="185"/>
                </a:lnTo>
                <a:lnTo>
                  <a:pt x="46" y="184"/>
                </a:lnTo>
                <a:lnTo>
                  <a:pt x="45" y="161"/>
                </a:lnTo>
                <a:lnTo>
                  <a:pt x="44" y="137"/>
                </a:lnTo>
                <a:lnTo>
                  <a:pt x="44" y="113"/>
                </a:lnTo>
                <a:lnTo>
                  <a:pt x="42" y="9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232" name="Freeform 39"/>
          <p:cNvSpPr>
            <a:spLocks/>
          </p:cNvSpPr>
          <p:nvPr/>
        </p:nvSpPr>
        <p:spPr bwMode="auto">
          <a:xfrm>
            <a:off x="5260975" y="4822825"/>
            <a:ext cx="50800" cy="73025"/>
          </a:xfrm>
          <a:custGeom>
            <a:avLst/>
            <a:gdLst>
              <a:gd name="T0" fmla="*/ 2147483647 w 40"/>
              <a:gd name="T1" fmla="*/ 2147483647 h 52"/>
              <a:gd name="T2" fmla="*/ 2147483647 w 40"/>
              <a:gd name="T3" fmla="*/ 2147483647 h 52"/>
              <a:gd name="T4" fmla="*/ 2147483647 w 40"/>
              <a:gd name="T5" fmla="*/ 0 h 52"/>
              <a:gd name="T6" fmla="*/ 2147483647 w 40"/>
              <a:gd name="T7" fmla="*/ 2147483647 h 52"/>
              <a:gd name="T8" fmla="*/ 0 w 40"/>
              <a:gd name="T9" fmla="*/ 2147483647 h 52"/>
              <a:gd name="T10" fmla="*/ 0 w 40"/>
              <a:gd name="T11" fmla="*/ 2147483647 h 52"/>
              <a:gd name="T12" fmla="*/ 0 w 40"/>
              <a:gd name="T13" fmla="*/ 2147483647 h 52"/>
              <a:gd name="T14" fmla="*/ 2147483647 w 40"/>
              <a:gd name="T15" fmla="*/ 2147483647 h 52"/>
              <a:gd name="T16" fmla="*/ 2147483647 w 40"/>
              <a:gd name="T17" fmla="*/ 2147483647 h 52"/>
              <a:gd name="T18" fmla="*/ 2147483647 w 40"/>
              <a:gd name="T19" fmla="*/ 2147483647 h 52"/>
              <a:gd name="T20" fmla="*/ 2147483647 w 40"/>
              <a:gd name="T21" fmla="*/ 2147483647 h 52"/>
              <a:gd name="T22" fmla="*/ 2147483647 w 40"/>
              <a:gd name="T23" fmla="*/ 2147483647 h 52"/>
              <a:gd name="T24" fmla="*/ 2147483647 w 40"/>
              <a:gd name="T25" fmla="*/ 2147483647 h 5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40"/>
              <a:gd name="T40" fmla="*/ 0 h 52"/>
              <a:gd name="T41" fmla="*/ 40 w 40"/>
              <a:gd name="T42" fmla="*/ 52 h 5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40" h="52">
                <a:moveTo>
                  <a:pt x="34" y="14"/>
                </a:moveTo>
                <a:lnTo>
                  <a:pt x="34" y="2"/>
                </a:lnTo>
                <a:lnTo>
                  <a:pt x="22" y="0"/>
                </a:lnTo>
                <a:lnTo>
                  <a:pt x="19" y="8"/>
                </a:lnTo>
                <a:lnTo>
                  <a:pt x="0" y="9"/>
                </a:lnTo>
                <a:lnTo>
                  <a:pt x="0" y="10"/>
                </a:lnTo>
                <a:lnTo>
                  <a:pt x="0" y="12"/>
                </a:lnTo>
                <a:lnTo>
                  <a:pt x="5" y="32"/>
                </a:lnTo>
                <a:lnTo>
                  <a:pt x="9" y="52"/>
                </a:lnTo>
                <a:lnTo>
                  <a:pt x="13" y="52"/>
                </a:lnTo>
                <a:lnTo>
                  <a:pt x="27" y="37"/>
                </a:lnTo>
                <a:lnTo>
                  <a:pt x="40" y="22"/>
                </a:lnTo>
                <a:lnTo>
                  <a:pt x="34" y="1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33" name="Freeform 40"/>
          <p:cNvSpPr>
            <a:spLocks/>
          </p:cNvSpPr>
          <p:nvPr/>
        </p:nvSpPr>
        <p:spPr bwMode="auto">
          <a:xfrm>
            <a:off x="4741863" y="4624388"/>
            <a:ext cx="217487" cy="290512"/>
          </a:xfrm>
          <a:custGeom>
            <a:avLst/>
            <a:gdLst>
              <a:gd name="T0" fmla="*/ 2147483647 w 163"/>
              <a:gd name="T1" fmla="*/ 2147483647 h 214"/>
              <a:gd name="T2" fmla="*/ 2147483647 w 163"/>
              <a:gd name="T3" fmla="*/ 2147483647 h 214"/>
              <a:gd name="T4" fmla="*/ 2147483647 w 163"/>
              <a:gd name="T5" fmla="*/ 2147483647 h 214"/>
              <a:gd name="T6" fmla="*/ 2147483647 w 163"/>
              <a:gd name="T7" fmla="*/ 2147483647 h 214"/>
              <a:gd name="T8" fmla="*/ 2147483647 w 163"/>
              <a:gd name="T9" fmla="*/ 2147483647 h 214"/>
              <a:gd name="T10" fmla="*/ 2147483647 w 163"/>
              <a:gd name="T11" fmla="*/ 2147483647 h 214"/>
              <a:gd name="T12" fmla="*/ 2147483647 w 163"/>
              <a:gd name="T13" fmla="*/ 2147483647 h 214"/>
              <a:gd name="T14" fmla="*/ 0 w 163"/>
              <a:gd name="T15" fmla="*/ 2147483647 h 214"/>
              <a:gd name="T16" fmla="*/ 2147483647 w 163"/>
              <a:gd name="T17" fmla="*/ 2147483647 h 214"/>
              <a:gd name="T18" fmla="*/ 2147483647 w 163"/>
              <a:gd name="T19" fmla="*/ 2147483647 h 214"/>
              <a:gd name="T20" fmla="*/ 2147483647 w 163"/>
              <a:gd name="T21" fmla="*/ 2147483647 h 214"/>
              <a:gd name="T22" fmla="*/ 2147483647 w 163"/>
              <a:gd name="T23" fmla="*/ 2147483647 h 214"/>
              <a:gd name="T24" fmla="*/ 2147483647 w 163"/>
              <a:gd name="T25" fmla="*/ 2147483647 h 214"/>
              <a:gd name="T26" fmla="*/ 2147483647 w 163"/>
              <a:gd name="T27" fmla="*/ 2147483647 h 214"/>
              <a:gd name="T28" fmla="*/ 2147483647 w 163"/>
              <a:gd name="T29" fmla="*/ 2147483647 h 214"/>
              <a:gd name="T30" fmla="*/ 2147483647 w 163"/>
              <a:gd name="T31" fmla="*/ 2147483647 h 214"/>
              <a:gd name="T32" fmla="*/ 2147483647 w 163"/>
              <a:gd name="T33" fmla="*/ 2147483647 h 214"/>
              <a:gd name="T34" fmla="*/ 2147483647 w 163"/>
              <a:gd name="T35" fmla="*/ 2147483647 h 214"/>
              <a:gd name="T36" fmla="*/ 2147483647 w 163"/>
              <a:gd name="T37" fmla="*/ 2147483647 h 214"/>
              <a:gd name="T38" fmla="*/ 2147483647 w 163"/>
              <a:gd name="T39" fmla="*/ 2147483647 h 214"/>
              <a:gd name="T40" fmla="*/ 2147483647 w 163"/>
              <a:gd name="T41" fmla="*/ 2147483647 h 214"/>
              <a:gd name="T42" fmla="*/ 2147483647 w 163"/>
              <a:gd name="T43" fmla="*/ 2147483647 h 214"/>
              <a:gd name="T44" fmla="*/ 2147483647 w 163"/>
              <a:gd name="T45" fmla="*/ 2147483647 h 214"/>
              <a:gd name="T46" fmla="*/ 2147483647 w 163"/>
              <a:gd name="T47" fmla="*/ 2147483647 h 214"/>
              <a:gd name="T48" fmla="*/ 2147483647 w 163"/>
              <a:gd name="T49" fmla="*/ 2147483647 h 214"/>
              <a:gd name="T50" fmla="*/ 2147483647 w 163"/>
              <a:gd name="T51" fmla="*/ 2147483647 h 214"/>
              <a:gd name="T52" fmla="*/ 2147483647 w 163"/>
              <a:gd name="T53" fmla="*/ 2147483647 h 214"/>
              <a:gd name="T54" fmla="*/ 2147483647 w 163"/>
              <a:gd name="T55" fmla="*/ 0 h 214"/>
              <a:gd name="T56" fmla="*/ 2147483647 w 163"/>
              <a:gd name="T57" fmla="*/ 2147483647 h 214"/>
              <a:gd name="T58" fmla="*/ 2147483647 w 163"/>
              <a:gd name="T59" fmla="*/ 2147483647 h 214"/>
              <a:gd name="T60" fmla="*/ 2147483647 w 163"/>
              <a:gd name="T61" fmla="*/ 2147483647 h 214"/>
              <a:gd name="T62" fmla="*/ 2147483647 w 163"/>
              <a:gd name="T63" fmla="*/ 2147483647 h 214"/>
              <a:gd name="T64" fmla="*/ 2147483647 w 163"/>
              <a:gd name="T65" fmla="*/ 2147483647 h 214"/>
              <a:gd name="T66" fmla="*/ 2147483647 w 163"/>
              <a:gd name="T67" fmla="*/ 2147483647 h 214"/>
              <a:gd name="T68" fmla="*/ 2147483647 w 163"/>
              <a:gd name="T69" fmla="*/ 2147483647 h 214"/>
              <a:gd name="T70" fmla="*/ 2147483647 w 163"/>
              <a:gd name="T71" fmla="*/ 2147483647 h 214"/>
              <a:gd name="T72" fmla="*/ 2147483647 w 163"/>
              <a:gd name="T73" fmla="*/ 2147483647 h 214"/>
              <a:gd name="T74" fmla="*/ 2147483647 w 163"/>
              <a:gd name="T75" fmla="*/ 2147483647 h 214"/>
              <a:gd name="T76" fmla="*/ 2147483647 w 163"/>
              <a:gd name="T77" fmla="*/ 2147483647 h 214"/>
              <a:gd name="T78" fmla="*/ 2147483647 w 163"/>
              <a:gd name="T79" fmla="*/ 2147483647 h 214"/>
              <a:gd name="T80" fmla="*/ 2147483647 w 163"/>
              <a:gd name="T81" fmla="*/ 2147483647 h 214"/>
              <a:gd name="T82" fmla="*/ 2147483647 w 163"/>
              <a:gd name="T83" fmla="*/ 2147483647 h 214"/>
              <a:gd name="T84" fmla="*/ 2147483647 w 163"/>
              <a:gd name="T85" fmla="*/ 2147483647 h 214"/>
              <a:gd name="T86" fmla="*/ 2147483647 w 163"/>
              <a:gd name="T87" fmla="*/ 2147483647 h 214"/>
              <a:gd name="T88" fmla="*/ 2147483647 w 163"/>
              <a:gd name="T89" fmla="*/ 2147483647 h 214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63"/>
              <a:gd name="T136" fmla="*/ 0 h 214"/>
              <a:gd name="T137" fmla="*/ 163 w 163"/>
              <a:gd name="T138" fmla="*/ 214 h 214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63" h="214">
                <a:moveTo>
                  <a:pt x="29" y="149"/>
                </a:moveTo>
                <a:lnTo>
                  <a:pt x="9" y="151"/>
                </a:lnTo>
                <a:lnTo>
                  <a:pt x="9" y="159"/>
                </a:lnTo>
                <a:lnTo>
                  <a:pt x="13" y="165"/>
                </a:lnTo>
                <a:lnTo>
                  <a:pt x="17" y="175"/>
                </a:lnTo>
                <a:lnTo>
                  <a:pt x="12" y="180"/>
                </a:lnTo>
                <a:lnTo>
                  <a:pt x="7" y="177"/>
                </a:lnTo>
                <a:lnTo>
                  <a:pt x="0" y="187"/>
                </a:lnTo>
                <a:lnTo>
                  <a:pt x="19" y="214"/>
                </a:lnTo>
                <a:lnTo>
                  <a:pt x="33" y="201"/>
                </a:lnTo>
                <a:lnTo>
                  <a:pt x="42" y="204"/>
                </a:lnTo>
                <a:lnTo>
                  <a:pt x="53" y="208"/>
                </a:lnTo>
                <a:lnTo>
                  <a:pt x="59" y="201"/>
                </a:lnTo>
                <a:lnTo>
                  <a:pt x="72" y="199"/>
                </a:lnTo>
                <a:lnTo>
                  <a:pt x="74" y="210"/>
                </a:lnTo>
                <a:lnTo>
                  <a:pt x="91" y="193"/>
                </a:lnTo>
                <a:lnTo>
                  <a:pt x="108" y="178"/>
                </a:lnTo>
                <a:lnTo>
                  <a:pt x="110" y="159"/>
                </a:lnTo>
                <a:lnTo>
                  <a:pt x="114" y="139"/>
                </a:lnTo>
                <a:lnTo>
                  <a:pt x="129" y="119"/>
                </a:lnTo>
                <a:lnTo>
                  <a:pt x="144" y="99"/>
                </a:lnTo>
                <a:lnTo>
                  <a:pt x="147" y="79"/>
                </a:lnTo>
                <a:lnTo>
                  <a:pt x="151" y="61"/>
                </a:lnTo>
                <a:lnTo>
                  <a:pt x="153" y="42"/>
                </a:lnTo>
                <a:lnTo>
                  <a:pt x="157" y="24"/>
                </a:lnTo>
                <a:lnTo>
                  <a:pt x="163" y="3"/>
                </a:lnTo>
                <a:lnTo>
                  <a:pt x="146" y="1"/>
                </a:lnTo>
                <a:lnTo>
                  <a:pt x="129" y="0"/>
                </a:lnTo>
                <a:lnTo>
                  <a:pt x="117" y="7"/>
                </a:lnTo>
                <a:lnTo>
                  <a:pt x="110" y="34"/>
                </a:lnTo>
                <a:lnTo>
                  <a:pt x="105" y="45"/>
                </a:lnTo>
                <a:lnTo>
                  <a:pt x="87" y="40"/>
                </a:lnTo>
                <a:lnTo>
                  <a:pt x="68" y="36"/>
                </a:lnTo>
                <a:lnTo>
                  <a:pt x="47" y="35"/>
                </a:lnTo>
                <a:lnTo>
                  <a:pt x="44" y="59"/>
                </a:lnTo>
                <a:lnTo>
                  <a:pt x="68" y="57"/>
                </a:lnTo>
                <a:lnTo>
                  <a:pt x="71" y="73"/>
                </a:lnTo>
                <a:lnTo>
                  <a:pt x="60" y="88"/>
                </a:lnTo>
                <a:lnTo>
                  <a:pt x="73" y="109"/>
                </a:lnTo>
                <a:lnTo>
                  <a:pt x="67" y="144"/>
                </a:lnTo>
                <a:lnTo>
                  <a:pt x="60" y="150"/>
                </a:lnTo>
                <a:lnTo>
                  <a:pt x="56" y="143"/>
                </a:lnTo>
                <a:lnTo>
                  <a:pt x="43" y="148"/>
                </a:lnTo>
                <a:lnTo>
                  <a:pt x="31" y="135"/>
                </a:lnTo>
                <a:lnTo>
                  <a:pt x="29" y="149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34" name="Freeform 41"/>
          <p:cNvSpPr>
            <a:spLocks/>
          </p:cNvSpPr>
          <p:nvPr/>
        </p:nvSpPr>
        <p:spPr bwMode="auto">
          <a:xfrm>
            <a:off x="5402263" y="4589463"/>
            <a:ext cx="234950" cy="314325"/>
          </a:xfrm>
          <a:custGeom>
            <a:avLst/>
            <a:gdLst>
              <a:gd name="T0" fmla="*/ 2147483647 w 175"/>
              <a:gd name="T1" fmla="*/ 2147483647 h 230"/>
              <a:gd name="T2" fmla="*/ 2147483647 w 175"/>
              <a:gd name="T3" fmla="*/ 2147483647 h 230"/>
              <a:gd name="T4" fmla="*/ 2147483647 w 175"/>
              <a:gd name="T5" fmla="*/ 2147483647 h 230"/>
              <a:gd name="T6" fmla="*/ 2147483647 w 175"/>
              <a:gd name="T7" fmla="*/ 2147483647 h 230"/>
              <a:gd name="T8" fmla="*/ 2147483647 w 175"/>
              <a:gd name="T9" fmla="*/ 2147483647 h 230"/>
              <a:gd name="T10" fmla="*/ 0 w 175"/>
              <a:gd name="T11" fmla="*/ 2147483647 h 230"/>
              <a:gd name="T12" fmla="*/ 2147483647 w 175"/>
              <a:gd name="T13" fmla="*/ 2147483647 h 230"/>
              <a:gd name="T14" fmla="*/ 2147483647 w 175"/>
              <a:gd name="T15" fmla="*/ 2147483647 h 230"/>
              <a:gd name="T16" fmla="*/ 2147483647 w 175"/>
              <a:gd name="T17" fmla="*/ 2147483647 h 230"/>
              <a:gd name="T18" fmla="*/ 2147483647 w 175"/>
              <a:gd name="T19" fmla="*/ 2147483647 h 230"/>
              <a:gd name="T20" fmla="*/ 2147483647 w 175"/>
              <a:gd name="T21" fmla="*/ 2147483647 h 230"/>
              <a:gd name="T22" fmla="*/ 2147483647 w 175"/>
              <a:gd name="T23" fmla="*/ 0 h 230"/>
              <a:gd name="T24" fmla="*/ 2147483647 w 175"/>
              <a:gd name="T25" fmla="*/ 0 h 230"/>
              <a:gd name="T26" fmla="*/ 2147483647 w 175"/>
              <a:gd name="T27" fmla="*/ 0 h 230"/>
              <a:gd name="T28" fmla="*/ 2147483647 w 175"/>
              <a:gd name="T29" fmla="*/ 2147483647 h 230"/>
              <a:gd name="T30" fmla="*/ 2147483647 w 175"/>
              <a:gd name="T31" fmla="*/ 2147483647 h 230"/>
              <a:gd name="T32" fmla="*/ 2147483647 w 175"/>
              <a:gd name="T33" fmla="*/ 2147483647 h 230"/>
              <a:gd name="T34" fmla="*/ 2147483647 w 175"/>
              <a:gd name="T35" fmla="*/ 2147483647 h 230"/>
              <a:gd name="T36" fmla="*/ 2147483647 w 175"/>
              <a:gd name="T37" fmla="*/ 2147483647 h 230"/>
              <a:gd name="T38" fmla="*/ 2147483647 w 175"/>
              <a:gd name="T39" fmla="*/ 2147483647 h 230"/>
              <a:gd name="T40" fmla="*/ 2147483647 w 175"/>
              <a:gd name="T41" fmla="*/ 2147483647 h 230"/>
              <a:gd name="T42" fmla="*/ 2147483647 w 175"/>
              <a:gd name="T43" fmla="*/ 2147483647 h 230"/>
              <a:gd name="T44" fmla="*/ 2147483647 w 175"/>
              <a:gd name="T45" fmla="*/ 2147483647 h 230"/>
              <a:gd name="T46" fmla="*/ 2147483647 w 175"/>
              <a:gd name="T47" fmla="*/ 2147483647 h 230"/>
              <a:gd name="T48" fmla="*/ 2147483647 w 175"/>
              <a:gd name="T49" fmla="*/ 2147483647 h 230"/>
              <a:gd name="T50" fmla="*/ 2147483647 w 175"/>
              <a:gd name="T51" fmla="*/ 2147483647 h 230"/>
              <a:gd name="T52" fmla="*/ 2147483647 w 175"/>
              <a:gd name="T53" fmla="*/ 2147483647 h 230"/>
              <a:gd name="T54" fmla="*/ 2147483647 w 175"/>
              <a:gd name="T55" fmla="*/ 2147483647 h 230"/>
              <a:gd name="T56" fmla="*/ 2147483647 w 175"/>
              <a:gd name="T57" fmla="*/ 2147483647 h 230"/>
              <a:gd name="T58" fmla="*/ 2147483647 w 175"/>
              <a:gd name="T59" fmla="*/ 2147483647 h 230"/>
              <a:gd name="T60" fmla="*/ 2147483647 w 175"/>
              <a:gd name="T61" fmla="*/ 2147483647 h 230"/>
              <a:gd name="T62" fmla="*/ 2147483647 w 175"/>
              <a:gd name="T63" fmla="*/ 2147483647 h 230"/>
              <a:gd name="T64" fmla="*/ 2147483647 w 175"/>
              <a:gd name="T65" fmla="*/ 2147483647 h 230"/>
              <a:gd name="T66" fmla="*/ 2147483647 w 175"/>
              <a:gd name="T67" fmla="*/ 2147483647 h 230"/>
              <a:gd name="T68" fmla="*/ 2147483647 w 175"/>
              <a:gd name="T69" fmla="*/ 2147483647 h 230"/>
              <a:gd name="T70" fmla="*/ 2147483647 w 175"/>
              <a:gd name="T71" fmla="*/ 2147483647 h 230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175"/>
              <a:gd name="T109" fmla="*/ 0 h 230"/>
              <a:gd name="T110" fmla="*/ 175 w 175"/>
              <a:gd name="T111" fmla="*/ 230 h 230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175" h="230">
                <a:moveTo>
                  <a:pt x="82" y="188"/>
                </a:moveTo>
                <a:lnTo>
                  <a:pt x="61" y="176"/>
                </a:lnTo>
                <a:lnTo>
                  <a:pt x="41" y="163"/>
                </a:lnTo>
                <a:lnTo>
                  <a:pt x="20" y="151"/>
                </a:lnTo>
                <a:lnTo>
                  <a:pt x="1" y="139"/>
                </a:lnTo>
                <a:lnTo>
                  <a:pt x="0" y="112"/>
                </a:lnTo>
                <a:lnTo>
                  <a:pt x="16" y="86"/>
                </a:lnTo>
                <a:lnTo>
                  <a:pt x="24" y="67"/>
                </a:lnTo>
                <a:lnTo>
                  <a:pt x="18" y="48"/>
                </a:lnTo>
                <a:lnTo>
                  <a:pt x="11" y="29"/>
                </a:lnTo>
                <a:lnTo>
                  <a:pt x="2" y="10"/>
                </a:lnTo>
                <a:lnTo>
                  <a:pt x="11" y="0"/>
                </a:lnTo>
                <a:lnTo>
                  <a:pt x="28" y="0"/>
                </a:lnTo>
                <a:lnTo>
                  <a:pt x="44" y="0"/>
                </a:lnTo>
                <a:lnTo>
                  <a:pt x="64" y="2"/>
                </a:lnTo>
                <a:lnTo>
                  <a:pt x="90" y="22"/>
                </a:lnTo>
                <a:lnTo>
                  <a:pt x="120" y="28"/>
                </a:lnTo>
                <a:lnTo>
                  <a:pt x="131" y="18"/>
                </a:lnTo>
                <a:lnTo>
                  <a:pt x="154" y="11"/>
                </a:lnTo>
                <a:lnTo>
                  <a:pt x="175" y="16"/>
                </a:lnTo>
                <a:lnTo>
                  <a:pt x="166" y="30"/>
                </a:lnTo>
                <a:lnTo>
                  <a:pt x="155" y="43"/>
                </a:lnTo>
                <a:lnTo>
                  <a:pt x="156" y="67"/>
                </a:lnTo>
                <a:lnTo>
                  <a:pt x="156" y="90"/>
                </a:lnTo>
                <a:lnTo>
                  <a:pt x="156" y="113"/>
                </a:lnTo>
                <a:lnTo>
                  <a:pt x="156" y="136"/>
                </a:lnTo>
                <a:lnTo>
                  <a:pt x="168" y="155"/>
                </a:lnTo>
                <a:lnTo>
                  <a:pt x="156" y="162"/>
                </a:lnTo>
                <a:lnTo>
                  <a:pt x="146" y="178"/>
                </a:lnTo>
                <a:lnTo>
                  <a:pt x="137" y="186"/>
                </a:lnTo>
                <a:lnTo>
                  <a:pt x="127" y="208"/>
                </a:lnTo>
                <a:lnTo>
                  <a:pt x="118" y="228"/>
                </a:lnTo>
                <a:lnTo>
                  <a:pt x="115" y="230"/>
                </a:lnTo>
                <a:lnTo>
                  <a:pt x="100" y="214"/>
                </a:lnTo>
                <a:lnTo>
                  <a:pt x="83" y="197"/>
                </a:lnTo>
                <a:lnTo>
                  <a:pt x="82" y="18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35" name="Freeform 42"/>
          <p:cNvSpPr>
            <a:spLocks/>
          </p:cNvSpPr>
          <p:nvPr/>
        </p:nvSpPr>
        <p:spPr bwMode="auto">
          <a:xfrm>
            <a:off x="4495800" y="4278313"/>
            <a:ext cx="344488" cy="319087"/>
          </a:xfrm>
          <a:custGeom>
            <a:avLst/>
            <a:gdLst>
              <a:gd name="T0" fmla="*/ 2147483647 w 259"/>
              <a:gd name="T1" fmla="*/ 2147483647 h 233"/>
              <a:gd name="T2" fmla="*/ 2147483647 w 259"/>
              <a:gd name="T3" fmla="*/ 2147483647 h 233"/>
              <a:gd name="T4" fmla="*/ 2147483647 w 259"/>
              <a:gd name="T5" fmla="*/ 2147483647 h 233"/>
              <a:gd name="T6" fmla="*/ 2147483647 w 259"/>
              <a:gd name="T7" fmla="*/ 2147483647 h 233"/>
              <a:gd name="T8" fmla="*/ 2147483647 w 259"/>
              <a:gd name="T9" fmla="*/ 2147483647 h 233"/>
              <a:gd name="T10" fmla="*/ 2147483647 w 259"/>
              <a:gd name="T11" fmla="*/ 2147483647 h 233"/>
              <a:gd name="T12" fmla="*/ 2147483647 w 259"/>
              <a:gd name="T13" fmla="*/ 2147483647 h 233"/>
              <a:gd name="T14" fmla="*/ 2147483647 w 259"/>
              <a:gd name="T15" fmla="*/ 2147483647 h 233"/>
              <a:gd name="T16" fmla="*/ 2147483647 w 259"/>
              <a:gd name="T17" fmla="*/ 2147483647 h 233"/>
              <a:gd name="T18" fmla="*/ 2147483647 w 259"/>
              <a:gd name="T19" fmla="*/ 2147483647 h 233"/>
              <a:gd name="T20" fmla="*/ 2147483647 w 259"/>
              <a:gd name="T21" fmla="*/ 2147483647 h 233"/>
              <a:gd name="T22" fmla="*/ 2147483647 w 259"/>
              <a:gd name="T23" fmla="*/ 2147483647 h 233"/>
              <a:gd name="T24" fmla="*/ 2147483647 w 259"/>
              <a:gd name="T25" fmla="*/ 2147483647 h 233"/>
              <a:gd name="T26" fmla="*/ 2147483647 w 259"/>
              <a:gd name="T27" fmla="*/ 2147483647 h 233"/>
              <a:gd name="T28" fmla="*/ 2147483647 w 259"/>
              <a:gd name="T29" fmla="*/ 2147483647 h 233"/>
              <a:gd name="T30" fmla="*/ 2147483647 w 259"/>
              <a:gd name="T31" fmla="*/ 2147483647 h 233"/>
              <a:gd name="T32" fmla="*/ 2147483647 w 259"/>
              <a:gd name="T33" fmla="*/ 2147483647 h 233"/>
              <a:gd name="T34" fmla="*/ 2147483647 w 259"/>
              <a:gd name="T35" fmla="*/ 2147483647 h 233"/>
              <a:gd name="T36" fmla="*/ 2147483647 w 259"/>
              <a:gd name="T37" fmla="*/ 2147483647 h 233"/>
              <a:gd name="T38" fmla="*/ 2147483647 w 259"/>
              <a:gd name="T39" fmla="*/ 2147483647 h 233"/>
              <a:gd name="T40" fmla="*/ 2147483647 w 259"/>
              <a:gd name="T41" fmla="*/ 2147483647 h 233"/>
              <a:gd name="T42" fmla="*/ 2147483647 w 259"/>
              <a:gd name="T43" fmla="*/ 2147483647 h 233"/>
              <a:gd name="T44" fmla="*/ 2147483647 w 259"/>
              <a:gd name="T45" fmla="*/ 2147483647 h 233"/>
              <a:gd name="T46" fmla="*/ 2147483647 w 259"/>
              <a:gd name="T47" fmla="*/ 2147483647 h 233"/>
              <a:gd name="T48" fmla="*/ 2147483647 w 259"/>
              <a:gd name="T49" fmla="*/ 2147483647 h 233"/>
              <a:gd name="T50" fmla="*/ 0 w 259"/>
              <a:gd name="T51" fmla="*/ 2147483647 h 233"/>
              <a:gd name="T52" fmla="*/ 2147483647 w 259"/>
              <a:gd name="T53" fmla="*/ 2147483647 h 233"/>
              <a:gd name="T54" fmla="*/ 2147483647 w 259"/>
              <a:gd name="T55" fmla="*/ 2147483647 h 233"/>
              <a:gd name="T56" fmla="*/ 2147483647 w 259"/>
              <a:gd name="T57" fmla="*/ 2147483647 h 233"/>
              <a:gd name="T58" fmla="*/ 2147483647 w 259"/>
              <a:gd name="T59" fmla="*/ 2147483647 h 233"/>
              <a:gd name="T60" fmla="*/ 2147483647 w 259"/>
              <a:gd name="T61" fmla="*/ 2147483647 h 233"/>
              <a:gd name="T62" fmla="*/ 2147483647 w 259"/>
              <a:gd name="T63" fmla="*/ 2147483647 h 233"/>
              <a:gd name="T64" fmla="*/ 2147483647 w 259"/>
              <a:gd name="T65" fmla="*/ 2147483647 h 233"/>
              <a:gd name="T66" fmla="*/ 2147483647 w 259"/>
              <a:gd name="T67" fmla="*/ 2147483647 h 233"/>
              <a:gd name="T68" fmla="*/ 2147483647 w 259"/>
              <a:gd name="T69" fmla="*/ 2147483647 h 233"/>
              <a:gd name="T70" fmla="*/ 2147483647 w 259"/>
              <a:gd name="T71" fmla="*/ 0 h 233"/>
              <a:gd name="T72" fmla="*/ 2147483647 w 259"/>
              <a:gd name="T73" fmla="*/ 2147483647 h 233"/>
              <a:gd name="T74" fmla="*/ 2147483647 w 259"/>
              <a:gd name="T75" fmla="*/ 2147483647 h 233"/>
              <a:gd name="T76" fmla="*/ 2147483647 w 259"/>
              <a:gd name="T77" fmla="*/ 2147483647 h 233"/>
              <a:gd name="T78" fmla="*/ 2147483647 w 259"/>
              <a:gd name="T79" fmla="*/ 2147483647 h 233"/>
              <a:gd name="T80" fmla="*/ 2147483647 w 259"/>
              <a:gd name="T81" fmla="*/ 2147483647 h 233"/>
              <a:gd name="T82" fmla="*/ 2147483647 w 259"/>
              <a:gd name="T83" fmla="*/ 2147483647 h 233"/>
              <a:gd name="T84" fmla="*/ 2147483647 w 259"/>
              <a:gd name="T85" fmla="*/ 2147483647 h 233"/>
              <a:gd name="T86" fmla="*/ 2147483647 w 259"/>
              <a:gd name="T87" fmla="*/ 2147483647 h 233"/>
              <a:gd name="T88" fmla="*/ 2147483647 w 259"/>
              <a:gd name="T89" fmla="*/ 0 h 233"/>
              <a:gd name="T90" fmla="*/ 2147483647 w 259"/>
              <a:gd name="T91" fmla="*/ 2147483647 h 233"/>
              <a:gd name="T92" fmla="*/ 2147483647 w 259"/>
              <a:gd name="T93" fmla="*/ 2147483647 h 233"/>
              <a:gd name="T94" fmla="*/ 2147483647 w 259"/>
              <a:gd name="T95" fmla="*/ 2147483647 h 233"/>
              <a:gd name="T96" fmla="*/ 2147483647 w 259"/>
              <a:gd name="T97" fmla="*/ 2147483647 h 233"/>
              <a:gd name="T98" fmla="*/ 2147483647 w 259"/>
              <a:gd name="T99" fmla="*/ 2147483647 h 233"/>
              <a:gd name="T100" fmla="*/ 2147483647 w 259"/>
              <a:gd name="T101" fmla="*/ 2147483647 h 233"/>
              <a:gd name="T102" fmla="*/ 2147483647 w 259"/>
              <a:gd name="T103" fmla="*/ 2147483647 h 233"/>
              <a:gd name="T104" fmla="*/ 2147483647 w 259"/>
              <a:gd name="T105" fmla="*/ 2147483647 h 233"/>
              <a:gd name="T106" fmla="*/ 2147483647 w 259"/>
              <a:gd name="T107" fmla="*/ 2147483647 h 233"/>
              <a:gd name="T108" fmla="*/ 2147483647 w 259"/>
              <a:gd name="T109" fmla="*/ 2147483647 h 233"/>
              <a:gd name="T110" fmla="*/ 2147483647 w 259"/>
              <a:gd name="T111" fmla="*/ 2147483647 h 233"/>
              <a:gd name="T112" fmla="*/ 2147483647 w 259"/>
              <a:gd name="T113" fmla="*/ 2147483647 h 23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59"/>
              <a:gd name="T172" fmla="*/ 0 h 233"/>
              <a:gd name="T173" fmla="*/ 259 w 259"/>
              <a:gd name="T174" fmla="*/ 233 h 23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59" h="233">
                <a:moveTo>
                  <a:pt x="172" y="167"/>
                </a:moveTo>
                <a:lnTo>
                  <a:pt x="155" y="172"/>
                </a:lnTo>
                <a:lnTo>
                  <a:pt x="144" y="186"/>
                </a:lnTo>
                <a:lnTo>
                  <a:pt x="134" y="201"/>
                </a:lnTo>
                <a:lnTo>
                  <a:pt x="128" y="221"/>
                </a:lnTo>
                <a:lnTo>
                  <a:pt x="121" y="221"/>
                </a:lnTo>
                <a:lnTo>
                  <a:pt x="121" y="228"/>
                </a:lnTo>
                <a:lnTo>
                  <a:pt x="101" y="228"/>
                </a:lnTo>
                <a:lnTo>
                  <a:pt x="97" y="226"/>
                </a:lnTo>
                <a:lnTo>
                  <a:pt x="94" y="227"/>
                </a:lnTo>
                <a:lnTo>
                  <a:pt x="90" y="231"/>
                </a:lnTo>
                <a:lnTo>
                  <a:pt x="88" y="222"/>
                </a:lnTo>
                <a:lnTo>
                  <a:pt x="88" y="233"/>
                </a:lnTo>
                <a:lnTo>
                  <a:pt x="86" y="229"/>
                </a:lnTo>
                <a:lnTo>
                  <a:pt x="84" y="231"/>
                </a:lnTo>
                <a:lnTo>
                  <a:pt x="77" y="231"/>
                </a:lnTo>
                <a:lnTo>
                  <a:pt x="68" y="232"/>
                </a:lnTo>
                <a:lnTo>
                  <a:pt x="59" y="208"/>
                </a:lnTo>
                <a:lnTo>
                  <a:pt x="60" y="207"/>
                </a:lnTo>
                <a:lnTo>
                  <a:pt x="56" y="203"/>
                </a:lnTo>
                <a:lnTo>
                  <a:pt x="58" y="202"/>
                </a:lnTo>
                <a:lnTo>
                  <a:pt x="53" y="197"/>
                </a:lnTo>
                <a:lnTo>
                  <a:pt x="29" y="181"/>
                </a:lnTo>
                <a:lnTo>
                  <a:pt x="17" y="181"/>
                </a:lnTo>
                <a:lnTo>
                  <a:pt x="22" y="177"/>
                </a:lnTo>
                <a:lnTo>
                  <a:pt x="0" y="183"/>
                </a:lnTo>
                <a:lnTo>
                  <a:pt x="1" y="149"/>
                </a:lnTo>
                <a:lnTo>
                  <a:pt x="4" y="115"/>
                </a:lnTo>
                <a:lnTo>
                  <a:pt x="19" y="88"/>
                </a:lnTo>
                <a:lnTo>
                  <a:pt x="22" y="65"/>
                </a:lnTo>
                <a:lnTo>
                  <a:pt x="18" y="52"/>
                </a:lnTo>
                <a:lnTo>
                  <a:pt x="18" y="51"/>
                </a:lnTo>
                <a:lnTo>
                  <a:pt x="19" y="41"/>
                </a:lnTo>
                <a:lnTo>
                  <a:pt x="26" y="24"/>
                </a:lnTo>
                <a:lnTo>
                  <a:pt x="30" y="6"/>
                </a:lnTo>
                <a:lnTo>
                  <a:pt x="52" y="0"/>
                </a:lnTo>
                <a:lnTo>
                  <a:pt x="73" y="1"/>
                </a:lnTo>
                <a:lnTo>
                  <a:pt x="88" y="16"/>
                </a:lnTo>
                <a:lnTo>
                  <a:pt x="110" y="10"/>
                </a:lnTo>
                <a:lnTo>
                  <a:pt x="126" y="16"/>
                </a:lnTo>
                <a:lnTo>
                  <a:pt x="143" y="23"/>
                </a:lnTo>
                <a:lnTo>
                  <a:pt x="168" y="11"/>
                </a:lnTo>
                <a:lnTo>
                  <a:pt x="190" y="12"/>
                </a:lnTo>
                <a:lnTo>
                  <a:pt x="212" y="15"/>
                </a:lnTo>
                <a:lnTo>
                  <a:pt x="236" y="0"/>
                </a:lnTo>
                <a:lnTo>
                  <a:pt x="246" y="16"/>
                </a:lnTo>
                <a:lnTo>
                  <a:pt x="250" y="35"/>
                </a:lnTo>
                <a:lnTo>
                  <a:pt x="259" y="43"/>
                </a:lnTo>
                <a:lnTo>
                  <a:pt x="254" y="58"/>
                </a:lnTo>
                <a:lnTo>
                  <a:pt x="239" y="72"/>
                </a:lnTo>
                <a:lnTo>
                  <a:pt x="230" y="89"/>
                </a:lnTo>
                <a:lnTo>
                  <a:pt x="223" y="107"/>
                </a:lnTo>
                <a:lnTo>
                  <a:pt x="215" y="127"/>
                </a:lnTo>
                <a:lnTo>
                  <a:pt x="206" y="139"/>
                </a:lnTo>
                <a:lnTo>
                  <a:pt x="198" y="162"/>
                </a:lnTo>
                <a:lnTo>
                  <a:pt x="185" y="181"/>
                </a:lnTo>
                <a:lnTo>
                  <a:pt x="172" y="16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36" name="Freeform 43"/>
          <p:cNvSpPr>
            <a:spLocks/>
          </p:cNvSpPr>
          <p:nvPr/>
        </p:nvSpPr>
        <p:spPr bwMode="auto">
          <a:xfrm>
            <a:off x="4441825" y="4322763"/>
            <a:ext cx="80963" cy="209550"/>
          </a:xfrm>
          <a:custGeom>
            <a:avLst/>
            <a:gdLst>
              <a:gd name="T0" fmla="*/ 2147483647 w 64"/>
              <a:gd name="T1" fmla="*/ 2147483647 h 151"/>
              <a:gd name="T2" fmla="*/ 2147483647 w 64"/>
              <a:gd name="T3" fmla="*/ 2147483647 h 151"/>
              <a:gd name="T4" fmla="*/ 0 w 64"/>
              <a:gd name="T5" fmla="*/ 2147483647 h 151"/>
              <a:gd name="T6" fmla="*/ 2147483647 w 64"/>
              <a:gd name="T7" fmla="*/ 2147483647 h 151"/>
              <a:gd name="T8" fmla="*/ 2147483647 w 64"/>
              <a:gd name="T9" fmla="*/ 2147483647 h 151"/>
              <a:gd name="T10" fmla="*/ 2147483647 w 64"/>
              <a:gd name="T11" fmla="*/ 2147483647 h 151"/>
              <a:gd name="T12" fmla="*/ 2147483647 w 64"/>
              <a:gd name="T13" fmla="*/ 2147483647 h 151"/>
              <a:gd name="T14" fmla="*/ 2147483647 w 64"/>
              <a:gd name="T15" fmla="*/ 2147483647 h 151"/>
              <a:gd name="T16" fmla="*/ 2147483647 w 64"/>
              <a:gd name="T17" fmla="*/ 2147483647 h 151"/>
              <a:gd name="T18" fmla="*/ 2147483647 w 64"/>
              <a:gd name="T19" fmla="*/ 2147483647 h 151"/>
              <a:gd name="T20" fmla="*/ 2147483647 w 64"/>
              <a:gd name="T21" fmla="*/ 2147483647 h 151"/>
              <a:gd name="T22" fmla="*/ 2147483647 w 64"/>
              <a:gd name="T23" fmla="*/ 2147483647 h 151"/>
              <a:gd name="T24" fmla="*/ 2147483647 w 64"/>
              <a:gd name="T25" fmla="*/ 2147483647 h 151"/>
              <a:gd name="T26" fmla="*/ 2147483647 w 64"/>
              <a:gd name="T27" fmla="*/ 2147483647 h 151"/>
              <a:gd name="T28" fmla="*/ 2147483647 w 64"/>
              <a:gd name="T29" fmla="*/ 2147483647 h 151"/>
              <a:gd name="T30" fmla="*/ 2147483647 w 64"/>
              <a:gd name="T31" fmla="*/ 2147483647 h 151"/>
              <a:gd name="T32" fmla="*/ 2147483647 w 64"/>
              <a:gd name="T33" fmla="*/ 0 h 151"/>
              <a:gd name="T34" fmla="*/ 2147483647 w 64"/>
              <a:gd name="T35" fmla="*/ 2147483647 h 151"/>
              <a:gd name="T36" fmla="*/ 2147483647 w 64"/>
              <a:gd name="T37" fmla="*/ 2147483647 h 151"/>
              <a:gd name="T38" fmla="*/ 2147483647 w 64"/>
              <a:gd name="T39" fmla="*/ 2147483647 h 151"/>
              <a:gd name="T40" fmla="*/ 2147483647 w 64"/>
              <a:gd name="T41" fmla="*/ 2147483647 h 151"/>
              <a:gd name="T42" fmla="*/ 2147483647 w 64"/>
              <a:gd name="T43" fmla="*/ 2147483647 h 151"/>
              <a:gd name="T44" fmla="*/ 2147483647 w 64"/>
              <a:gd name="T45" fmla="*/ 2147483647 h 15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64"/>
              <a:gd name="T70" fmla="*/ 0 h 151"/>
              <a:gd name="T71" fmla="*/ 64 w 64"/>
              <a:gd name="T72" fmla="*/ 151 h 151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64" h="151">
                <a:moveTo>
                  <a:pt x="4" y="32"/>
                </a:moveTo>
                <a:lnTo>
                  <a:pt x="2" y="32"/>
                </a:lnTo>
                <a:lnTo>
                  <a:pt x="0" y="43"/>
                </a:lnTo>
                <a:lnTo>
                  <a:pt x="12" y="58"/>
                </a:lnTo>
                <a:lnTo>
                  <a:pt x="14" y="77"/>
                </a:lnTo>
                <a:lnTo>
                  <a:pt x="16" y="96"/>
                </a:lnTo>
                <a:lnTo>
                  <a:pt x="17" y="114"/>
                </a:lnTo>
                <a:lnTo>
                  <a:pt x="17" y="133"/>
                </a:lnTo>
                <a:lnTo>
                  <a:pt x="18" y="151"/>
                </a:lnTo>
                <a:lnTo>
                  <a:pt x="42" y="148"/>
                </a:lnTo>
                <a:lnTo>
                  <a:pt x="43" y="114"/>
                </a:lnTo>
                <a:lnTo>
                  <a:pt x="46" y="80"/>
                </a:lnTo>
                <a:lnTo>
                  <a:pt x="61" y="53"/>
                </a:lnTo>
                <a:lnTo>
                  <a:pt x="64" y="30"/>
                </a:lnTo>
                <a:lnTo>
                  <a:pt x="60" y="17"/>
                </a:lnTo>
                <a:lnTo>
                  <a:pt x="60" y="16"/>
                </a:lnTo>
                <a:lnTo>
                  <a:pt x="41" y="0"/>
                </a:lnTo>
                <a:lnTo>
                  <a:pt x="35" y="7"/>
                </a:lnTo>
                <a:lnTo>
                  <a:pt x="35" y="11"/>
                </a:lnTo>
                <a:lnTo>
                  <a:pt x="35" y="12"/>
                </a:lnTo>
                <a:lnTo>
                  <a:pt x="34" y="13"/>
                </a:lnTo>
                <a:lnTo>
                  <a:pt x="17" y="24"/>
                </a:lnTo>
                <a:lnTo>
                  <a:pt x="4" y="3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37" name="Freeform 44"/>
          <p:cNvSpPr>
            <a:spLocks/>
          </p:cNvSpPr>
          <p:nvPr/>
        </p:nvSpPr>
        <p:spPr bwMode="auto">
          <a:xfrm>
            <a:off x="4254500" y="4230688"/>
            <a:ext cx="231775" cy="190500"/>
          </a:xfrm>
          <a:custGeom>
            <a:avLst/>
            <a:gdLst>
              <a:gd name="T0" fmla="*/ 2147483647 w 173"/>
              <a:gd name="T1" fmla="*/ 2147483647 h 139"/>
              <a:gd name="T2" fmla="*/ 2147483647 w 173"/>
              <a:gd name="T3" fmla="*/ 2147483647 h 139"/>
              <a:gd name="T4" fmla="*/ 2147483647 w 173"/>
              <a:gd name="T5" fmla="*/ 2147483647 h 139"/>
              <a:gd name="T6" fmla="*/ 2147483647 w 173"/>
              <a:gd name="T7" fmla="*/ 2147483647 h 139"/>
              <a:gd name="T8" fmla="*/ 2147483647 w 173"/>
              <a:gd name="T9" fmla="*/ 2147483647 h 139"/>
              <a:gd name="T10" fmla="*/ 2147483647 w 173"/>
              <a:gd name="T11" fmla="*/ 2147483647 h 139"/>
              <a:gd name="T12" fmla="*/ 2147483647 w 173"/>
              <a:gd name="T13" fmla="*/ 2147483647 h 139"/>
              <a:gd name="T14" fmla="*/ 2147483647 w 173"/>
              <a:gd name="T15" fmla="*/ 2147483647 h 139"/>
              <a:gd name="T16" fmla="*/ 2147483647 w 173"/>
              <a:gd name="T17" fmla="*/ 2147483647 h 139"/>
              <a:gd name="T18" fmla="*/ 2147483647 w 173"/>
              <a:gd name="T19" fmla="*/ 2147483647 h 139"/>
              <a:gd name="T20" fmla="*/ 2147483647 w 173"/>
              <a:gd name="T21" fmla="*/ 2147483647 h 139"/>
              <a:gd name="T22" fmla="*/ 0 w 173"/>
              <a:gd name="T23" fmla="*/ 2147483647 h 139"/>
              <a:gd name="T24" fmla="*/ 2147483647 w 173"/>
              <a:gd name="T25" fmla="*/ 2147483647 h 139"/>
              <a:gd name="T26" fmla="*/ 2147483647 w 173"/>
              <a:gd name="T27" fmla="*/ 2147483647 h 139"/>
              <a:gd name="T28" fmla="*/ 2147483647 w 173"/>
              <a:gd name="T29" fmla="*/ 2147483647 h 139"/>
              <a:gd name="T30" fmla="*/ 2147483647 w 173"/>
              <a:gd name="T31" fmla="*/ 2147483647 h 139"/>
              <a:gd name="T32" fmla="*/ 2147483647 w 173"/>
              <a:gd name="T33" fmla="*/ 2147483647 h 139"/>
              <a:gd name="T34" fmla="*/ 2147483647 w 173"/>
              <a:gd name="T35" fmla="*/ 2147483647 h 139"/>
              <a:gd name="T36" fmla="*/ 2147483647 w 173"/>
              <a:gd name="T37" fmla="*/ 2147483647 h 139"/>
              <a:gd name="T38" fmla="*/ 2147483647 w 173"/>
              <a:gd name="T39" fmla="*/ 2147483647 h 139"/>
              <a:gd name="T40" fmla="*/ 2147483647 w 173"/>
              <a:gd name="T41" fmla="*/ 2147483647 h 139"/>
              <a:gd name="T42" fmla="*/ 2147483647 w 173"/>
              <a:gd name="T43" fmla="*/ 2147483647 h 139"/>
              <a:gd name="T44" fmla="*/ 2147483647 w 173"/>
              <a:gd name="T45" fmla="*/ 2147483647 h 139"/>
              <a:gd name="T46" fmla="*/ 2147483647 w 173"/>
              <a:gd name="T47" fmla="*/ 0 h 139"/>
              <a:gd name="T48" fmla="*/ 2147483647 w 173"/>
              <a:gd name="T49" fmla="*/ 2147483647 h 139"/>
              <a:gd name="T50" fmla="*/ 2147483647 w 173"/>
              <a:gd name="T51" fmla="*/ 2147483647 h 139"/>
              <a:gd name="T52" fmla="*/ 2147483647 w 173"/>
              <a:gd name="T53" fmla="*/ 2147483647 h 139"/>
              <a:gd name="T54" fmla="*/ 2147483647 w 173"/>
              <a:gd name="T55" fmla="*/ 2147483647 h 139"/>
              <a:gd name="T56" fmla="*/ 2147483647 w 173"/>
              <a:gd name="T57" fmla="*/ 2147483647 h 139"/>
              <a:gd name="T58" fmla="*/ 2147483647 w 173"/>
              <a:gd name="T59" fmla="*/ 2147483647 h 139"/>
              <a:gd name="T60" fmla="*/ 2147483647 w 173"/>
              <a:gd name="T61" fmla="*/ 2147483647 h 139"/>
              <a:gd name="T62" fmla="*/ 2147483647 w 173"/>
              <a:gd name="T63" fmla="*/ 2147483647 h 139"/>
              <a:gd name="T64" fmla="*/ 2147483647 w 173"/>
              <a:gd name="T65" fmla="*/ 2147483647 h 139"/>
              <a:gd name="T66" fmla="*/ 2147483647 w 173"/>
              <a:gd name="T67" fmla="*/ 2147483647 h 139"/>
              <a:gd name="T68" fmla="*/ 2147483647 w 173"/>
              <a:gd name="T69" fmla="*/ 2147483647 h 139"/>
              <a:gd name="T70" fmla="*/ 2147483647 w 173"/>
              <a:gd name="T71" fmla="*/ 2147483647 h 139"/>
              <a:gd name="T72" fmla="*/ 2147483647 w 173"/>
              <a:gd name="T73" fmla="*/ 2147483647 h 13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73"/>
              <a:gd name="T112" fmla="*/ 0 h 139"/>
              <a:gd name="T113" fmla="*/ 173 w 173"/>
              <a:gd name="T114" fmla="*/ 139 h 139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73" h="139">
                <a:moveTo>
                  <a:pt x="142" y="100"/>
                </a:moveTo>
                <a:lnTo>
                  <a:pt x="134" y="100"/>
                </a:lnTo>
                <a:lnTo>
                  <a:pt x="116" y="98"/>
                </a:lnTo>
                <a:lnTo>
                  <a:pt x="110" y="99"/>
                </a:lnTo>
                <a:lnTo>
                  <a:pt x="84" y="100"/>
                </a:lnTo>
                <a:lnTo>
                  <a:pt x="59" y="100"/>
                </a:lnTo>
                <a:lnTo>
                  <a:pt x="60" y="120"/>
                </a:lnTo>
                <a:lnTo>
                  <a:pt x="61" y="139"/>
                </a:lnTo>
                <a:lnTo>
                  <a:pt x="42" y="128"/>
                </a:lnTo>
                <a:lnTo>
                  <a:pt x="22" y="133"/>
                </a:lnTo>
                <a:lnTo>
                  <a:pt x="8" y="120"/>
                </a:lnTo>
                <a:lnTo>
                  <a:pt x="0" y="115"/>
                </a:lnTo>
                <a:lnTo>
                  <a:pt x="5" y="82"/>
                </a:lnTo>
                <a:lnTo>
                  <a:pt x="12" y="76"/>
                </a:lnTo>
                <a:lnTo>
                  <a:pt x="24" y="66"/>
                </a:lnTo>
                <a:lnTo>
                  <a:pt x="29" y="55"/>
                </a:lnTo>
                <a:lnTo>
                  <a:pt x="31" y="42"/>
                </a:lnTo>
                <a:lnTo>
                  <a:pt x="46" y="46"/>
                </a:lnTo>
                <a:lnTo>
                  <a:pt x="49" y="38"/>
                </a:lnTo>
                <a:lnTo>
                  <a:pt x="53" y="36"/>
                </a:lnTo>
                <a:lnTo>
                  <a:pt x="61" y="24"/>
                </a:lnTo>
                <a:lnTo>
                  <a:pt x="74" y="22"/>
                </a:lnTo>
                <a:lnTo>
                  <a:pt x="77" y="13"/>
                </a:lnTo>
                <a:lnTo>
                  <a:pt x="104" y="0"/>
                </a:lnTo>
                <a:lnTo>
                  <a:pt x="125" y="2"/>
                </a:lnTo>
                <a:lnTo>
                  <a:pt x="127" y="24"/>
                </a:lnTo>
                <a:lnTo>
                  <a:pt x="145" y="42"/>
                </a:lnTo>
                <a:lnTo>
                  <a:pt x="142" y="43"/>
                </a:lnTo>
                <a:lnTo>
                  <a:pt x="142" y="50"/>
                </a:lnTo>
                <a:lnTo>
                  <a:pt x="155" y="61"/>
                </a:lnTo>
                <a:lnTo>
                  <a:pt x="162" y="58"/>
                </a:lnTo>
                <a:lnTo>
                  <a:pt x="167" y="67"/>
                </a:lnTo>
                <a:lnTo>
                  <a:pt x="173" y="79"/>
                </a:lnTo>
                <a:lnTo>
                  <a:pt x="173" y="80"/>
                </a:lnTo>
                <a:lnTo>
                  <a:pt x="172" y="81"/>
                </a:lnTo>
                <a:lnTo>
                  <a:pt x="155" y="92"/>
                </a:lnTo>
                <a:lnTo>
                  <a:pt x="142" y="10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38" name="Freeform 45"/>
          <p:cNvSpPr>
            <a:spLocks/>
          </p:cNvSpPr>
          <p:nvPr/>
        </p:nvSpPr>
        <p:spPr bwMode="auto">
          <a:xfrm>
            <a:off x="4664075" y="4295775"/>
            <a:ext cx="223838" cy="388938"/>
          </a:xfrm>
          <a:custGeom>
            <a:avLst/>
            <a:gdLst>
              <a:gd name="T0" fmla="*/ 2147483647 w 169"/>
              <a:gd name="T1" fmla="*/ 2147483647 h 281"/>
              <a:gd name="T2" fmla="*/ 2147483647 w 169"/>
              <a:gd name="T3" fmla="*/ 2147483647 h 281"/>
              <a:gd name="T4" fmla="*/ 2147483647 w 169"/>
              <a:gd name="T5" fmla="*/ 2147483647 h 281"/>
              <a:gd name="T6" fmla="*/ 2147483647 w 169"/>
              <a:gd name="T7" fmla="*/ 2147483647 h 281"/>
              <a:gd name="T8" fmla="*/ 2147483647 w 169"/>
              <a:gd name="T9" fmla="*/ 2147483647 h 281"/>
              <a:gd name="T10" fmla="*/ 2147483647 w 169"/>
              <a:gd name="T11" fmla="*/ 2147483647 h 281"/>
              <a:gd name="T12" fmla="*/ 2147483647 w 169"/>
              <a:gd name="T13" fmla="*/ 2147483647 h 281"/>
              <a:gd name="T14" fmla="*/ 2147483647 w 169"/>
              <a:gd name="T15" fmla="*/ 2147483647 h 281"/>
              <a:gd name="T16" fmla="*/ 2147483647 w 169"/>
              <a:gd name="T17" fmla="*/ 2147483647 h 281"/>
              <a:gd name="T18" fmla="*/ 2147483647 w 169"/>
              <a:gd name="T19" fmla="*/ 2147483647 h 281"/>
              <a:gd name="T20" fmla="*/ 2147483647 w 169"/>
              <a:gd name="T21" fmla="*/ 2147483647 h 281"/>
              <a:gd name="T22" fmla="*/ 2147483647 w 169"/>
              <a:gd name="T23" fmla="*/ 2147483647 h 281"/>
              <a:gd name="T24" fmla="*/ 2147483647 w 169"/>
              <a:gd name="T25" fmla="*/ 2147483647 h 281"/>
              <a:gd name="T26" fmla="*/ 2147483647 w 169"/>
              <a:gd name="T27" fmla="*/ 2147483647 h 281"/>
              <a:gd name="T28" fmla="*/ 2147483647 w 169"/>
              <a:gd name="T29" fmla="*/ 2147483647 h 281"/>
              <a:gd name="T30" fmla="*/ 2147483647 w 169"/>
              <a:gd name="T31" fmla="*/ 2147483647 h 281"/>
              <a:gd name="T32" fmla="*/ 2147483647 w 169"/>
              <a:gd name="T33" fmla="*/ 2147483647 h 281"/>
              <a:gd name="T34" fmla="*/ 2147483647 w 169"/>
              <a:gd name="T35" fmla="*/ 2147483647 h 281"/>
              <a:gd name="T36" fmla="*/ 2147483647 w 169"/>
              <a:gd name="T37" fmla="*/ 2147483647 h 281"/>
              <a:gd name="T38" fmla="*/ 2147483647 w 169"/>
              <a:gd name="T39" fmla="*/ 2147483647 h 281"/>
              <a:gd name="T40" fmla="*/ 2147483647 w 169"/>
              <a:gd name="T41" fmla="*/ 2147483647 h 281"/>
              <a:gd name="T42" fmla="*/ 2147483647 w 169"/>
              <a:gd name="T43" fmla="*/ 2147483647 h 281"/>
              <a:gd name="T44" fmla="*/ 2147483647 w 169"/>
              <a:gd name="T45" fmla="*/ 2147483647 h 281"/>
              <a:gd name="T46" fmla="*/ 2147483647 w 169"/>
              <a:gd name="T47" fmla="*/ 2147483647 h 281"/>
              <a:gd name="T48" fmla="*/ 0 w 169"/>
              <a:gd name="T49" fmla="*/ 2147483647 h 281"/>
              <a:gd name="T50" fmla="*/ 2147483647 w 169"/>
              <a:gd name="T51" fmla="*/ 2147483647 h 281"/>
              <a:gd name="T52" fmla="*/ 2147483647 w 169"/>
              <a:gd name="T53" fmla="*/ 2147483647 h 281"/>
              <a:gd name="T54" fmla="*/ 2147483647 w 169"/>
              <a:gd name="T55" fmla="*/ 2147483647 h 281"/>
              <a:gd name="T56" fmla="*/ 2147483647 w 169"/>
              <a:gd name="T57" fmla="*/ 2147483647 h 281"/>
              <a:gd name="T58" fmla="*/ 2147483647 w 169"/>
              <a:gd name="T59" fmla="*/ 2147483647 h 281"/>
              <a:gd name="T60" fmla="*/ 2147483647 w 169"/>
              <a:gd name="T61" fmla="*/ 2147483647 h 281"/>
              <a:gd name="T62" fmla="*/ 2147483647 w 169"/>
              <a:gd name="T63" fmla="*/ 2147483647 h 281"/>
              <a:gd name="T64" fmla="*/ 2147483647 w 169"/>
              <a:gd name="T65" fmla="*/ 2147483647 h 281"/>
              <a:gd name="T66" fmla="*/ 2147483647 w 169"/>
              <a:gd name="T67" fmla="*/ 2147483647 h 281"/>
              <a:gd name="T68" fmla="*/ 2147483647 w 169"/>
              <a:gd name="T69" fmla="*/ 2147483647 h 281"/>
              <a:gd name="T70" fmla="*/ 2147483647 w 169"/>
              <a:gd name="T71" fmla="*/ 2147483647 h 281"/>
              <a:gd name="T72" fmla="*/ 2147483647 w 169"/>
              <a:gd name="T73" fmla="*/ 2147483647 h 281"/>
              <a:gd name="T74" fmla="*/ 2147483647 w 169"/>
              <a:gd name="T75" fmla="*/ 2147483647 h 281"/>
              <a:gd name="T76" fmla="*/ 2147483647 w 169"/>
              <a:gd name="T77" fmla="*/ 2147483647 h 281"/>
              <a:gd name="T78" fmla="*/ 2147483647 w 169"/>
              <a:gd name="T79" fmla="*/ 2147483647 h 281"/>
              <a:gd name="T80" fmla="*/ 2147483647 w 169"/>
              <a:gd name="T81" fmla="*/ 0 h 281"/>
              <a:gd name="T82" fmla="*/ 2147483647 w 169"/>
              <a:gd name="T83" fmla="*/ 0 h 281"/>
              <a:gd name="T84" fmla="*/ 2147483647 w 169"/>
              <a:gd name="T85" fmla="*/ 2147483647 h 281"/>
              <a:gd name="T86" fmla="*/ 2147483647 w 169"/>
              <a:gd name="T87" fmla="*/ 2147483647 h 281"/>
              <a:gd name="T88" fmla="*/ 2147483647 w 169"/>
              <a:gd name="T89" fmla="*/ 2147483647 h 2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69"/>
              <a:gd name="T136" fmla="*/ 0 h 281"/>
              <a:gd name="T137" fmla="*/ 169 w 169"/>
              <a:gd name="T138" fmla="*/ 281 h 2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69" h="281">
                <a:moveTo>
                  <a:pt x="156" y="78"/>
                </a:moveTo>
                <a:lnTo>
                  <a:pt x="131" y="78"/>
                </a:lnTo>
                <a:lnTo>
                  <a:pt x="120" y="83"/>
                </a:lnTo>
                <a:lnTo>
                  <a:pt x="139" y="107"/>
                </a:lnTo>
                <a:lnTo>
                  <a:pt x="152" y="138"/>
                </a:lnTo>
                <a:lnTo>
                  <a:pt x="142" y="158"/>
                </a:lnTo>
                <a:lnTo>
                  <a:pt x="131" y="179"/>
                </a:lnTo>
                <a:lnTo>
                  <a:pt x="138" y="212"/>
                </a:lnTo>
                <a:lnTo>
                  <a:pt x="150" y="230"/>
                </a:lnTo>
                <a:lnTo>
                  <a:pt x="162" y="248"/>
                </a:lnTo>
                <a:lnTo>
                  <a:pt x="169" y="270"/>
                </a:lnTo>
                <a:lnTo>
                  <a:pt x="164" y="281"/>
                </a:lnTo>
                <a:lnTo>
                  <a:pt x="146" y="276"/>
                </a:lnTo>
                <a:lnTo>
                  <a:pt x="127" y="272"/>
                </a:lnTo>
                <a:lnTo>
                  <a:pt x="106" y="271"/>
                </a:lnTo>
                <a:lnTo>
                  <a:pt x="84" y="271"/>
                </a:lnTo>
                <a:lnTo>
                  <a:pt x="62" y="271"/>
                </a:lnTo>
                <a:lnTo>
                  <a:pt x="46" y="269"/>
                </a:lnTo>
                <a:lnTo>
                  <a:pt x="29" y="266"/>
                </a:lnTo>
                <a:lnTo>
                  <a:pt x="29" y="241"/>
                </a:lnTo>
                <a:lnTo>
                  <a:pt x="26" y="229"/>
                </a:lnTo>
                <a:lnTo>
                  <a:pt x="25" y="225"/>
                </a:lnTo>
                <a:lnTo>
                  <a:pt x="11" y="223"/>
                </a:lnTo>
                <a:lnTo>
                  <a:pt x="4" y="209"/>
                </a:lnTo>
                <a:lnTo>
                  <a:pt x="0" y="210"/>
                </a:lnTo>
                <a:lnTo>
                  <a:pt x="2" y="205"/>
                </a:lnTo>
                <a:lnTo>
                  <a:pt x="8" y="185"/>
                </a:lnTo>
                <a:lnTo>
                  <a:pt x="18" y="170"/>
                </a:lnTo>
                <a:lnTo>
                  <a:pt x="29" y="156"/>
                </a:lnTo>
                <a:lnTo>
                  <a:pt x="46" y="151"/>
                </a:lnTo>
                <a:lnTo>
                  <a:pt x="59" y="165"/>
                </a:lnTo>
                <a:lnTo>
                  <a:pt x="72" y="146"/>
                </a:lnTo>
                <a:lnTo>
                  <a:pt x="80" y="123"/>
                </a:lnTo>
                <a:lnTo>
                  <a:pt x="89" y="111"/>
                </a:lnTo>
                <a:lnTo>
                  <a:pt x="97" y="91"/>
                </a:lnTo>
                <a:lnTo>
                  <a:pt x="104" y="73"/>
                </a:lnTo>
                <a:lnTo>
                  <a:pt x="113" y="56"/>
                </a:lnTo>
                <a:lnTo>
                  <a:pt x="128" y="42"/>
                </a:lnTo>
                <a:lnTo>
                  <a:pt x="133" y="27"/>
                </a:lnTo>
                <a:lnTo>
                  <a:pt x="124" y="19"/>
                </a:lnTo>
                <a:lnTo>
                  <a:pt x="120" y="0"/>
                </a:lnTo>
                <a:lnTo>
                  <a:pt x="128" y="0"/>
                </a:lnTo>
                <a:lnTo>
                  <a:pt x="139" y="25"/>
                </a:lnTo>
                <a:lnTo>
                  <a:pt x="142" y="53"/>
                </a:lnTo>
                <a:lnTo>
                  <a:pt x="156" y="7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39" name="Freeform 46"/>
          <p:cNvSpPr>
            <a:spLocks/>
          </p:cNvSpPr>
          <p:nvPr/>
        </p:nvSpPr>
        <p:spPr bwMode="auto">
          <a:xfrm>
            <a:off x="4835525" y="4370388"/>
            <a:ext cx="377825" cy="296862"/>
          </a:xfrm>
          <a:custGeom>
            <a:avLst/>
            <a:gdLst>
              <a:gd name="T0" fmla="*/ 2147483647 w 284"/>
              <a:gd name="T1" fmla="*/ 2147483647 h 216"/>
              <a:gd name="T2" fmla="*/ 2147483647 w 284"/>
              <a:gd name="T3" fmla="*/ 2147483647 h 216"/>
              <a:gd name="T4" fmla="*/ 2147483647 w 284"/>
              <a:gd name="T5" fmla="*/ 2147483647 h 216"/>
              <a:gd name="T6" fmla="*/ 2147483647 w 284"/>
              <a:gd name="T7" fmla="*/ 2147483647 h 216"/>
              <a:gd name="T8" fmla="*/ 2147483647 w 284"/>
              <a:gd name="T9" fmla="*/ 2147483647 h 216"/>
              <a:gd name="T10" fmla="*/ 2147483647 w 284"/>
              <a:gd name="T11" fmla="*/ 0 h 216"/>
              <a:gd name="T12" fmla="*/ 2147483647 w 284"/>
              <a:gd name="T13" fmla="*/ 2147483647 h 216"/>
              <a:gd name="T14" fmla="*/ 2147483647 w 284"/>
              <a:gd name="T15" fmla="*/ 2147483647 h 216"/>
              <a:gd name="T16" fmla="*/ 2147483647 w 284"/>
              <a:gd name="T17" fmla="*/ 2147483647 h 216"/>
              <a:gd name="T18" fmla="*/ 2147483647 w 284"/>
              <a:gd name="T19" fmla="*/ 2147483647 h 216"/>
              <a:gd name="T20" fmla="*/ 2147483647 w 284"/>
              <a:gd name="T21" fmla="*/ 2147483647 h 216"/>
              <a:gd name="T22" fmla="*/ 2147483647 w 284"/>
              <a:gd name="T23" fmla="*/ 2147483647 h 216"/>
              <a:gd name="T24" fmla="*/ 2147483647 w 284"/>
              <a:gd name="T25" fmla="*/ 2147483647 h 216"/>
              <a:gd name="T26" fmla="*/ 2147483647 w 284"/>
              <a:gd name="T27" fmla="*/ 2147483647 h 216"/>
              <a:gd name="T28" fmla="*/ 2147483647 w 284"/>
              <a:gd name="T29" fmla="*/ 2147483647 h 216"/>
              <a:gd name="T30" fmla="*/ 2147483647 w 284"/>
              <a:gd name="T31" fmla="*/ 2147483647 h 216"/>
              <a:gd name="T32" fmla="*/ 2147483647 w 284"/>
              <a:gd name="T33" fmla="*/ 2147483647 h 216"/>
              <a:gd name="T34" fmla="*/ 2147483647 w 284"/>
              <a:gd name="T35" fmla="*/ 2147483647 h 216"/>
              <a:gd name="T36" fmla="*/ 2147483647 w 284"/>
              <a:gd name="T37" fmla="*/ 2147483647 h 216"/>
              <a:gd name="T38" fmla="*/ 2147483647 w 284"/>
              <a:gd name="T39" fmla="*/ 2147483647 h 216"/>
              <a:gd name="T40" fmla="*/ 2147483647 w 284"/>
              <a:gd name="T41" fmla="*/ 2147483647 h 216"/>
              <a:gd name="T42" fmla="*/ 2147483647 w 284"/>
              <a:gd name="T43" fmla="*/ 2147483647 h 216"/>
              <a:gd name="T44" fmla="*/ 2147483647 w 284"/>
              <a:gd name="T45" fmla="*/ 2147483647 h 216"/>
              <a:gd name="T46" fmla="*/ 2147483647 w 284"/>
              <a:gd name="T47" fmla="*/ 2147483647 h 216"/>
              <a:gd name="T48" fmla="*/ 2147483647 w 284"/>
              <a:gd name="T49" fmla="*/ 2147483647 h 216"/>
              <a:gd name="T50" fmla="*/ 2147483647 w 284"/>
              <a:gd name="T51" fmla="*/ 2147483647 h 216"/>
              <a:gd name="T52" fmla="*/ 2147483647 w 284"/>
              <a:gd name="T53" fmla="*/ 2147483647 h 216"/>
              <a:gd name="T54" fmla="*/ 2147483647 w 284"/>
              <a:gd name="T55" fmla="*/ 2147483647 h 216"/>
              <a:gd name="T56" fmla="*/ 2147483647 w 284"/>
              <a:gd name="T57" fmla="*/ 2147483647 h 216"/>
              <a:gd name="T58" fmla="*/ 2147483647 w 284"/>
              <a:gd name="T59" fmla="*/ 2147483647 h 216"/>
              <a:gd name="T60" fmla="*/ 2147483647 w 284"/>
              <a:gd name="T61" fmla="*/ 2147483647 h 216"/>
              <a:gd name="T62" fmla="*/ 2147483647 w 284"/>
              <a:gd name="T63" fmla="*/ 2147483647 h 216"/>
              <a:gd name="T64" fmla="*/ 2147483647 w 284"/>
              <a:gd name="T65" fmla="*/ 2147483647 h 216"/>
              <a:gd name="T66" fmla="*/ 2147483647 w 284"/>
              <a:gd name="T67" fmla="*/ 2147483647 h 216"/>
              <a:gd name="T68" fmla="*/ 2147483647 w 284"/>
              <a:gd name="T69" fmla="*/ 2147483647 h 216"/>
              <a:gd name="T70" fmla="*/ 2147483647 w 284"/>
              <a:gd name="T71" fmla="*/ 2147483647 h 216"/>
              <a:gd name="T72" fmla="*/ 2147483647 w 284"/>
              <a:gd name="T73" fmla="*/ 2147483647 h 216"/>
              <a:gd name="T74" fmla="*/ 0 w 284"/>
              <a:gd name="T75" fmla="*/ 2147483647 h 216"/>
              <a:gd name="T76" fmla="*/ 2147483647 w 284"/>
              <a:gd name="T77" fmla="*/ 2147483647 h 216"/>
              <a:gd name="T78" fmla="*/ 2147483647 w 284"/>
              <a:gd name="T79" fmla="*/ 2147483647 h 216"/>
              <a:gd name="T80" fmla="*/ 2147483647 w 284"/>
              <a:gd name="T81" fmla="*/ 2147483647 h 216"/>
              <a:gd name="T82" fmla="*/ 2147483647 w 284"/>
              <a:gd name="T83" fmla="*/ 2147483647 h 216"/>
              <a:gd name="T84" fmla="*/ 2147483647 w 284"/>
              <a:gd name="T85" fmla="*/ 2147483647 h 216"/>
              <a:gd name="T86" fmla="*/ 2147483647 w 284"/>
              <a:gd name="T87" fmla="*/ 2147483647 h 216"/>
              <a:gd name="T88" fmla="*/ 2147483647 w 284"/>
              <a:gd name="T89" fmla="*/ 2147483647 h 21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284"/>
              <a:gd name="T136" fmla="*/ 0 h 216"/>
              <a:gd name="T137" fmla="*/ 284 w 284"/>
              <a:gd name="T138" fmla="*/ 216 h 21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284" h="216">
                <a:moveTo>
                  <a:pt x="99" y="60"/>
                </a:moveTo>
                <a:lnTo>
                  <a:pt x="96" y="51"/>
                </a:lnTo>
                <a:lnTo>
                  <a:pt x="127" y="45"/>
                </a:lnTo>
                <a:lnTo>
                  <a:pt x="144" y="25"/>
                </a:lnTo>
                <a:lnTo>
                  <a:pt x="161" y="5"/>
                </a:lnTo>
                <a:lnTo>
                  <a:pt x="182" y="0"/>
                </a:lnTo>
                <a:lnTo>
                  <a:pt x="191" y="15"/>
                </a:lnTo>
                <a:lnTo>
                  <a:pt x="200" y="31"/>
                </a:lnTo>
                <a:lnTo>
                  <a:pt x="197" y="55"/>
                </a:lnTo>
                <a:lnTo>
                  <a:pt x="212" y="59"/>
                </a:lnTo>
                <a:lnTo>
                  <a:pt x="216" y="66"/>
                </a:lnTo>
                <a:lnTo>
                  <a:pt x="236" y="80"/>
                </a:lnTo>
                <a:lnTo>
                  <a:pt x="240" y="91"/>
                </a:lnTo>
                <a:lnTo>
                  <a:pt x="260" y="109"/>
                </a:lnTo>
                <a:lnTo>
                  <a:pt x="269" y="122"/>
                </a:lnTo>
                <a:lnTo>
                  <a:pt x="281" y="139"/>
                </a:lnTo>
                <a:lnTo>
                  <a:pt x="284" y="146"/>
                </a:lnTo>
                <a:lnTo>
                  <a:pt x="272" y="144"/>
                </a:lnTo>
                <a:lnTo>
                  <a:pt x="256" y="141"/>
                </a:lnTo>
                <a:lnTo>
                  <a:pt x="239" y="140"/>
                </a:lnTo>
                <a:lnTo>
                  <a:pt x="230" y="147"/>
                </a:lnTo>
                <a:lnTo>
                  <a:pt x="215" y="147"/>
                </a:lnTo>
                <a:lnTo>
                  <a:pt x="192" y="155"/>
                </a:lnTo>
                <a:lnTo>
                  <a:pt x="182" y="153"/>
                </a:lnTo>
                <a:lnTo>
                  <a:pt x="173" y="169"/>
                </a:lnTo>
                <a:lnTo>
                  <a:pt x="151" y="163"/>
                </a:lnTo>
                <a:lnTo>
                  <a:pt x="131" y="157"/>
                </a:lnTo>
                <a:lnTo>
                  <a:pt x="108" y="144"/>
                </a:lnTo>
                <a:lnTo>
                  <a:pt x="90" y="165"/>
                </a:lnTo>
                <a:lnTo>
                  <a:pt x="91" y="185"/>
                </a:lnTo>
                <a:lnTo>
                  <a:pt x="74" y="183"/>
                </a:lnTo>
                <a:lnTo>
                  <a:pt x="57" y="182"/>
                </a:lnTo>
                <a:lnTo>
                  <a:pt x="45" y="189"/>
                </a:lnTo>
                <a:lnTo>
                  <a:pt x="38" y="216"/>
                </a:lnTo>
                <a:lnTo>
                  <a:pt x="31" y="194"/>
                </a:lnTo>
                <a:lnTo>
                  <a:pt x="19" y="176"/>
                </a:lnTo>
                <a:lnTo>
                  <a:pt x="7" y="158"/>
                </a:lnTo>
                <a:lnTo>
                  <a:pt x="0" y="125"/>
                </a:lnTo>
                <a:lnTo>
                  <a:pt x="11" y="104"/>
                </a:lnTo>
                <a:lnTo>
                  <a:pt x="21" y="84"/>
                </a:lnTo>
                <a:lnTo>
                  <a:pt x="42" y="78"/>
                </a:lnTo>
                <a:lnTo>
                  <a:pt x="47" y="80"/>
                </a:lnTo>
                <a:lnTo>
                  <a:pt x="59" y="78"/>
                </a:lnTo>
                <a:lnTo>
                  <a:pt x="89" y="72"/>
                </a:lnTo>
                <a:lnTo>
                  <a:pt x="99" y="6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40" name="Freeform 47"/>
          <p:cNvSpPr>
            <a:spLocks/>
          </p:cNvSpPr>
          <p:nvPr/>
        </p:nvSpPr>
        <p:spPr bwMode="auto">
          <a:xfrm>
            <a:off x="3932238" y="4273550"/>
            <a:ext cx="84137" cy="25400"/>
          </a:xfrm>
          <a:custGeom>
            <a:avLst/>
            <a:gdLst>
              <a:gd name="T0" fmla="*/ 2147483647 w 64"/>
              <a:gd name="T1" fmla="*/ 2147483647 h 18"/>
              <a:gd name="T2" fmla="*/ 0 w 64"/>
              <a:gd name="T3" fmla="*/ 2147483647 h 18"/>
              <a:gd name="T4" fmla="*/ 2147483647 w 64"/>
              <a:gd name="T5" fmla="*/ 2147483647 h 18"/>
              <a:gd name="T6" fmla="*/ 2147483647 w 64"/>
              <a:gd name="T7" fmla="*/ 2147483647 h 18"/>
              <a:gd name="T8" fmla="*/ 2147483647 w 64"/>
              <a:gd name="T9" fmla="*/ 2147483647 h 18"/>
              <a:gd name="T10" fmla="*/ 2147483647 w 64"/>
              <a:gd name="T11" fmla="*/ 2147483647 h 18"/>
              <a:gd name="T12" fmla="*/ 2147483647 w 64"/>
              <a:gd name="T13" fmla="*/ 0 h 18"/>
              <a:gd name="T14" fmla="*/ 2147483647 w 64"/>
              <a:gd name="T15" fmla="*/ 2147483647 h 18"/>
              <a:gd name="T16" fmla="*/ 2147483647 w 64"/>
              <a:gd name="T17" fmla="*/ 2147483647 h 18"/>
              <a:gd name="T18" fmla="*/ 2147483647 w 64"/>
              <a:gd name="T19" fmla="*/ 2147483647 h 18"/>
              <a:gd name="T20" fmla="*/ 2147483647 w 64"/>
              <a:gd name="T21" fmla="*/ 2147483647 h 18"/>
              <a:gd name="T22" fmla="*/ 2147483647 w 64"/>
              <a:gd name="T23" fmla="*/ 2147483647 h 18"/>
              <a:gd name="T24" fmla="*/ 2147483647 w 64"/>
              <a:gd name="T25" fmla="*/ 2147483647 h 18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64"/>
              <a:gd name="T40" fmla="*/ 0 h 18"/>
              <a:gd name="T41" fmla="*/ 64 w 64"/>
              <a:gd name="T42" fmla="*/ 18 h 18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64" h="18">
                <a:moveTo>
                  <a:pt x="4" y="7"/>
                </a:moveTo>
                <a:lnTo>
                  <a:pt x="0" y="18"/>
                </a:lnTo>
                <a:lnTo>
                  <a:pt x="17" y="12"/>
                </a:lnTo>
                <a:lnTo>
                  <a:pt x="35" y="6"/>
                </a:lnTo>
                <a:lnTo>
                  <a:pt x="64" y="12"/>
                </a:lnTo>
                <a:lnTo>
                  <a:pt x="58" y="6"/>
                </a:lnTo>
                <a:lnTo>
                  <a:pt x="31" y="0"/>
                </a:lnTo>
                <a:lnTo>
                  <a:pt x="28" y="5"/>
                </a:lnTo>
                <a:lnTo>
                  <a:pt x="5" y="5"/>
                </a:lnTo>
                <a:lnTo>
                  <a:pt x="5" y="7"/>
                </a:lnTo>
                <a:lnTo>
                  <a:pt x="25" y="7"/>
                </a:lnTo>
                <a:lnTo>
                  <a:pt x="13" y="13"/>
                </a:lnTo>
                <a:lnTo>
                  <a:pt x="4" y="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41" name="Freeform 48"/>
          <p:cNvSpPr>
            <a:spLocks/>
          </p:cNvSpPr>
          <p:nvPr/>
        </p:nvSpPr>
        <p:spPr bwMode="auto">
          <a:xfrm>
            <a:off x="4322763" y="4365625"/>
            <a:ext cx="128587" cy="217488"/>
          </a:xfrm>
          <a:custGeom>
            <a:avLst/>
            <a:gdLst>
              <a:gd name="T0" fmla="*/ 2147483647 w 97"/>
              <a:gd name="T1" fmla="*/ 2147483647 h 157"/>
              <a:gd name="T2" fmla="*/ 2147483647 w 97"/>
              <a:gd name="T3" fmla="*/ 2147483647 h 157"/>
              <a:gd name="T4" fmla="*/ 2147483647 w 97"/>
              <a:gd name="T5" fmla="*/ 2147483647 h 157"/>
              <a:gd name="T6" fmla="*/ 2147483647 w 97"/>
              <a:gd name="T7" fmla="*/ 2147483647 h 157"/>
              <a:gd name="T8" fmla="*/ 2147483647 w 97"/>
              <a:gd name="T9" fmla="*/ 2147483647 h 157"/>
              <a:gd name="T10" fmla="*/ 2147483647 w 97"/>
              <a:gd name="T11" fmla="*/ 2147483647 h 157"/>
              <a:gd name="T12" fmla="*/ 2147483647 w 97"/>
              <a:gd name="T13" fmla="*/ 2147483647 h 157"/>
              <a:gd name="T14" fmla="*/ 2147483647 w 97"/>
              <a:gd name="T15" fmla="*/ 2147483647 h 157"/>
              <a:gd name="T16" fmla="*/ 0 w 97"/>
              <a:gd name="T17" fmla="*/ 2147483647 h 157"/>
              <a:gd name="T18" fmla="*/ 2147483647 w 97"/>
              <a:gd name="T19" fmla="*/ 2147483647 h 157"/>
              <a:gd name="T20" fmla="*/ 2147483647 w 97"/>
              <a:gd name="T21" fmla="*/ 2147483647 h 157"/>
              <a:gd name="T22" fmla="*/ 2147483647 w 97"/>
              <a:gd name="T23" fmla="*/ 2147483647 h 157"/>
              <a:gd name="T24" fmla="*/ 2147483647 w 97"/>
              <a:gd name="T25" fmla="*/ 2147483647 h 157"/>
              <a:gd name="T26" fmla="*/ 2147483647 w 97"/>
              <a:gd name="T27" fmla="*/ 2147483647 h 157"/>
              <a:gd name="T28" fmla="*/ 2147483647 w 97"/>
              <a:gd name="T29" fmla="*/ 2147483647 h 157"/>
              <a:gd name="T30" fmla="*/ 2147483647 w 97"/>
              <a:gd name="T31" fmla="*/ 2147483647 h 157"/>
              <a:gd name="T32" fmla="*/ 2147483647 w 97"/>
              <a:gd name="T33" fmla="*/ 0 h 157"/>
              <a:gd name="T34" fmla="*/ 2147483647 w 97"/>
              <a:gd name="T35" fmla="*/ 2147483647 h 157"/>
              <a:gd name="T36" fmla="*/ 2147483647 w 97"/>
              <a:gd name="T37" fmla="*/ 2147483647 h 157"/>
              <a:gd name="T38" fmla="*/ 2147483647 w 97"/>
              <a:gd name="T39" fmla="*/ 2147483647 h 157"/>
              <a:gd name="T40" fmla="*/ 2147483647 w 97"/>
              <a:gd name="T41" fmla="*/ 2147483647 h 157"/>
              <a:gd name="T42" fmla="*/ 2147483647 w 97"/>
              <a:gd name="T43" fmla="*/ 2147483647 h 157"/>
              <a:gd name="T44" fmla="*/ 2147483647 w 97"/>
              <a:gd name="T45" fmla="*/ 2147483647 h 157"/>
              <a:gd name="T46" fmla="*/ 2147483647 w 97"/>
              <a:gd name="T47" fmla="*/ 2147483647 h 157"/>
              <a:gd name="T48" fmla="*/ 2147483647 w 97"/>
              <a:gd name="T49" fmla="*/ 2147483647 h 157"/>
              <a:gd name="T50" fmla="*/ 2147483647 w 97"/>
              <a:gd name="T51" fmla="*/ 2147483647 h 157"/>
              <a:gd name="T52" fmla="*/ 2147483647 w 97"/>
              <a:gd name="T53" fmla="*/ 2147483647 h 157"/>
              <a:gd name="T54" fmla="*/ 2147483647 w 97"/>
              <a:gd name="T55" fmla="*/ 2147483647 h 157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97"/>
              <a:gd name="T85" fmla="*/ 0 h 157"/>
              <a:gd name="T86" fmla="*/ 97 w 97"/>
              <a:gd name="T87" fmla="*/ 157 h 157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97" h="157">
                <a:moveTo>
                  <a:pt x="85" y="133"/>
                </a:moveTo>
                <a:lnTo>
                  <a:pt x="70" y="139"/>
                </a:lnTo>
                <a:lnTo>
                  <a:pt x="54" y="145"/>
                </a:lnTo>
                <a:lnTo>
                  <a:pt x="39" y="151"/>
                </a:lnTo>
                <a:lnTo>
                  <a:pt x="23" y="157"/>
                </a:lnTo>
                <a:lnTo>
                  <a:pt x="3" y="150"/>
                </a:lnTo>
                <a:lnTo>
                  <a:pt x="10" y="145"/>
                </a:lnTo>
                <a:lnTo>
                  <a:pt x="5" y="126"/>
                </a:lnTo>
                <a:lnTo>
                  <a:pt x="0" y="107"/>
                </a:lnTo>
                <a:lnTo>
                  <a:pt x="9" y="90"/>
                </a:lnTo>
                <a:lnTo>
                  <a:pt x="17" y="72"/>
                </a:lnTo>
                <a:lnTo>
                  <a:pt x="12" y="41"/>
                </a:lnTo>
                <a:lnTo>
                  <a:pt x="11" y="22"/>
                </a:lnTo>
                <a:lnTo>
                  <a:pt x="10" y="2"/>
                </a:lnTo>
                <a:lnTo>
                  <a:pt x="35" y="2"/>
                </a:lnTo>
                <a:lnTo>
                  <a:pt x="61" y="1"/>
                </a:lnTo>
                <a:lnTo>
                  <a:pt x="67" y="0"/>
                </a:lnTo>
                <a:lnTo>
                  <a:pt x="71" y="7"/>
                </a:lnTo>
                <a:lnTo>
                  <a:pt x="79" y="30"/>
                </a:lnTo>
                <a:lnTo>
                  <a:pt x="79" y="41"/>
                </a:lnTo>
                <a:lnTo>
                  <a:pt x="81" y="58"/>
                </a:lnTo>
                <a:lnTo>
                  <a:pt x="84" y="73"/>
                </a:lnTo>
                <a:lnTo>
                  <a:pt x="85" y="94"/>
                </a:lnTo>
                <a:lnTo>
                  <a:pt x="85" y="113"/>
                </a:lnTo>
                <a:lnTo>
                  <a:pt x="97" y="125"/>
                </a:lnTo>
                <a:lnTo>
                  <a:pt x="87" y="133"/>
                </a:lnTo>
                <a:lnTo>
                  <a:pt x="78" y="126"/>
                </a:lnTo>
                <a:lnTo>
                  <a:pt x="85" y="133"/>
                </a:lnTo>
                <a:close/>
              </a:path>
            </a:pathLst>
          </a:custGeom>
          <a:gradFill rotWithShape="1">
            <a:gsLst>
              <a:gs pos="0">
                <a:schemeClr val="hlink"/>
              </a:gs>
              <a:gs pos="100000">
                <a:srgbClr val="004747"/>
              </a:gs>
            </a:gsLst>
            <a:lin ang="5400000" scaled="1"/>
          </a:gradFill>
          <a:ln w="6350" cap="rnd">
            <a:solidFill>
              <a:srgbClr val="CCCCCC"/>
            </a:solidFill>
            <a:round/>
            <a:headEnd/>
            <a:tailEnd/>
          </a:ln>
        </p:spPr>
        <p:txBody>
          <a:bodyPr lIns="91430" tIns="45716" rIns="91430" bIns="45716"/>
          <a:lstStyle/>
          <a:p>
            <a:endParaRPr lang="en-US"/>
          </a:p>
        </p:txBody>
      </p:sp>
      <p:sp>
        <p:nvSpPr>
          <p:cNvPr id="8242" name="Freeform 49"/>
          <p:cNvSpPr>
            <a:spLocks/>
          </p:cNvSpPr>
          <p:nvPr/>
        </p:nvSpPr>
        <p:spPr bwMode="auto">
          <a:xfrm>
            <a:off x="3983038" y="4313238"/>
            <a:ext cx="209550" cy="182562"/>
          </a:xfrm>
          <a:custGeom>
            <a:avLst/>
            <a:gdLst>
              <a:gd name="T0" fmla="*/ 2147483647 w 159"/>
              <a:gd name="T1" fmla="*/ 2147483647 h 133"/>
              <a:gd name="T2" fmla="*/ 2147483647 w 159"/>
              <a:gd name="T3" fmla="*/ 2147483647 h 133"/>
              <a:gd name="T4" fmla="*/ 2147483647 w 159"/>
              <a:gd name="T5" fmla="*/ 2147483647 h 133"/>
              <a:gd name="T6" fmla="*/ 2147483647 w 159"/>
              <a:gd name="T7" fmla="*/ 2147483647 h 133"/>
              <a:gd name="T8" fmla="*/ 2147483647 w 159"/>
              <a:gd name="T9" fmla="*/ 2147483647 h 133"/>
              <a:gd name="T10" fmla="*/ 2147483647 w 159"/>
              <a:gd name="T11" fmla="*/ 2147483647 h 133"/>
              <a:gd name="T12" fmla="*/ 2147483647 w 159"/>
              <a:gd name="T13" fmla="*/ 2147483647 h 133"/>
              <a:gd name="T14" fmla="*/ 2147483647 w 159"/>
              <a:gd name="T15" fmla="*/ 2147483647 h 133"/>
              <a:gd name="T16" fmla="*/ 2147483647 w 159"/>
              <a:gd name="T17" fmla="*/ 2147483647 h 133"/>
              <a:gd name="T18" fmla="*/ 2147483647 w 159"/>
              <a:gd name="T19" fmla="*/ 2147483647 h 133"/>
              <a:gd name="T20" fmla="*/ 2147483647 w 159"/>
              <a:gd name="T21" fmla="*/ 2147483647 h 133"/>
              <a:gd name="T22" fmla="*/ 2147483647 w 159"/>
              <a:gd name="T23" fmla="*/ 2147483647 h 133"/>
              <a:gd name="T24" fmla="*/ 2147483647 w 159"/>
              <a:gd name="T25" fmla="*/ 2147483647 h 133"/>
              <a:gd name="T26" fmla="*/ 2147483647 w 159"/>
              <a:gd name="T27" fmla="*/ 2147483647 h 133"/>
              <a:gd name="T28" fmla="*/ 2147483647 w 159"/>
              <a:gd name="T29" fmla="*/ 2147483647 h 133"/>
              <a:gd name="T30" fmla="*/ 2147483647 w 159"/>
              <a:gd name="T31" fmla="*/ 2147483647 h 133"/>
              <a:gd name="T32" fmla="*/ 2147483647 w 159"/>
              <a:gd name="T33" fmla="*/ 2147483647 h 133"/>
              <a:gd name="T34" fmla="*/ 2147483647 w 159"/>
              <a:gd name="T35" fmla="*/ 2147483647 h 133"/>
              <a:gd name="T36" fmla="*/ 2147483647 w 159"/>
              <a:gd name="T37" fmla="*/ 2147483647 h 133"/>
              <a:gd name="T38" fmla="*/ 2147483647 w 159"/>
              <a:gd name="T39" fmla="*/ 2147483647 h 133"/>
              <a:gd name="T40" fmla="*/ 2147483647 w 159"/>
              <a:gd name="T41" fmla="*/ 2147483647 h 133"/>
              <a:gd name="T42" fmla="*/ 2147483647 w 159"/>
              <a:gd name="T43" fmla="*/ 2147483647 h 133"/>
              <a:gd name="T44" fmla="*/ 2147483647 w 159"/>
              <a:gd name="T45" fmla="*/ 2147483647 h 133"/>
              <a:gd name="T46" fmla="*/ 2147483647 w 159"/>
              <a:gd name="T47" fmla="*/ 2147483647 h 133"/>
              <a:gd name="T48" fmla="*/ 2147483647 w 159"/>
              <a:gd name="T49" fmla="*/ 2147483647 h 133"/>
              <a:gd name="T50" fmla="*/ 2147483647 w 159"/>
              <a:gd name="T51" fmla="*/ 2147483647 h 133"/>
              <a:gd name="T52" fmla="*/ 2147483647 w 159"/>
              <a:gd name="T53" fmla="*/ 2147483647 h 133"/>
              <a:gd name="T54" fmla="*/ 2147483647 w 159"/>
              <a:gd name="T55" fmla="*/ 2147483647 h 133"/>
              <a:gd name="T56" fmla="*/ 2147483647 w 159"/>
              <a:gd name="T57" fmla="*/ 2147483647 h 133"/>
              <a:gd name="T58" fmla="*/ 2147483647 w 159"/>
              <a:gd name="T59" fmla="*/ 2147483647 h 133"/>
              <a:gd name="T60" fmla="*/ 2147483647 w 159"/>
              <a:gd name="T61" fmla="*/ 2147483647 h 133"/>
              <a:gd name="T62" fmla="*/ 0 w 159"/>
              <a:gd name="T63" fmla="*/ 2147483647 h 133"/>
              <a:gd name="T64" fmla="*/ 2147483647 w 159"/>
              <a:gd name="T65" fmla="*/ 2147483647 h 133"/>
              <a:gd name="T66" fmla="*/ 2147483647 w 159"/>
              <a:gd name="T67" fmla="*/ 2147483647 h 133"/>
              <a:gd name="T68" fmla="*/ 2147483647 w 159"/>
              <a:gd name="T69" fmla="*/ 2147483647 h 133"/>
              <a:gd name="T70" fmla="*/ 2147483647 w 159"/>
              <a:gd name="T71" fmla="*/ 0 h 133"/>
              <a:gd name="T72" fmla="*/ 2147483647 w 159"/>
              <a:gd name="T73" fmla="*/ 2147483647 h 133"/>
              <a:gd name="T74" fmla="*/ 2147483647 w 159"/>
              <a:gd name="T75" fmla="*/ 2147483647 h 133"/>
              <a:gd name="T76" fmla="*/ 2147483647 w 159"/>
              <a:gd name="T77" fmla="*/ 2147483647 h 133"/>
              <a:gd name="T78" fmla="*/ 2147483647 w 159"/>
              <a:gd name="T79" fmla="*/ 2147483647 h 133"/>
              <a:gd name="T80" fmla="*/ 2147483647 w 159"/>
              <a:gd name="T81" fmla="*/ 2147483647 h 133"/>
              <a:gd name="T82" fmla="*/ 2147483647 w 159"/>
              <a:gd name="T83" fmla="*/ 2147483647 h 133"/>
              <a:gd name="T84" fmla="*/ 2147483647 w 159"/>
              <a:gd name="T85" fmla="*/ 2147483647 h 133"/>
              <a:gd name="T86" fmla="*/ 2147483647 w 159"/>
              <a:gd name="T87" fmla="*/ 2147483647 h 133"/>
              <a:gd name="T88" fmla="*/ 2147483647 w 159"/>
              <a:gd name="T89" fmla="*/ 2147483647 h 133"/>
              <a:gd name="T90" fmla="*/ 2147483647 w 159"/>
              <a:gd name="T91" fmla="*/ 2147483647 h 133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159"/>
              <a:gd name="T139" fmla="*/ 0 h 133"/>
              <a:gd name="T140" fmla="*/ 159 w 159"/>
              <a:gd name="T141" fmla="*/ 133 h 133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159" h="133">
                <a:moveTo>
                  <a:pt x="143" y="31"/>
                </a:moveTo>
                <a:lnTo>
                  <a:pt x="141" y="39"/>
                </a:lnTo>
                <a:lnTo>
                  <a:pt x="143" y="39"/>
                </a:lnTo>
                <a:lnTo>
                  <a:pt x="154" y="62"/>
                </a:lnTo>
                <a:lnTo>
                  <a:pt x="153" y="81"/>
                </a:lnTo>
                <a:lnTo>
                  <a:pt x="155" y="85"/>
                </a:lnTo>
                <a:lnTo>
                  <a:pt x="156" y="90"/>
                </a:lnTo>
                <a:lnTo>
                  <a:pt x="159" y="99"/>
                </a:lnTo>
                <a:lnTo>
                  <a:pt x="158" y="104"/>
                </a:lnTo>
                <a:lnTo>
                  <a:pt x="148" y="106"/>
                </a:lnTo>
                <a:lnTo>
                  <a:pt x="152" y="116"/>
                </a:lnTo>
                <a:lnTo>
                  <a:pt x="144" y="126"/>
                </a:lnTo>
                <a:lnTo>
                  <a:pt x="143" y="126"/>
                </a:lnTo>
                <a:lnTo>
                  <a:pt x="137" y="128"/>
                </a:lnTo>
                <a:lnTo>
                  <a:pt x="128" y="133"/>
                </a:lnTo>
                <a:lnTo>
                  <a:pt x="122" y="128"/>
                </a:lnTo>
                <a:lnTo>
                  <a:pt x="116" y="104"/>
                </a:lnTo>
                <a:lnTo>
                  <a:pt x="104" y="104"/>
                </a:lnTo>
                <a:lnTo>
                  <a:pt x="95" y="105"/>
                </a:lnTo>
                <a:lnTo>
                  <a:pt x="98" y="88"/>
                </a:lnTo>
                <a:lnTo>
                  <a:pt x="83" y="66"/>
                </a:lnTo>
                <a:lnTo>
                  <a:pt x="53" y="73"/>
                </a:lnTo>
                <a:lnTo>
                  <a:pt x="38" y="90"/>
                </a:lnTo>
                <a:lnTo>
                  <a:pt x="36" y="82"/>
                </a:lnTo>
                <a:lnTo>
                  <a:pt x="30" y="75"/>
                </a:lnTo>
                <a:lnTo>
                  <a:pt x="27" y="69"/>
                </a:lnTo>
                <a:lnTo>
                  <a:pt x="21" y="64"/>
                </a:lnTo>
                <a:lnTo>
                  <a:pt x="9" y="50"/>
                </a:lnTo>
                <a:lnTo>
                  <a:pt x="10" y="46"/>
                </a:lnTo>
                <a:lnTo>
                  <a:pt x="8" y="48"/>
                </a:lnTo>
                <a:lnTo>
                  <a:pt x="5" y="40"/>
                </a:lnTo>
                <a:lnTo>
                  <a:pt x="0" y="43"/>
                </a:lnTo>
                <a:lnTo>
                  <a:pt x="5" y="32"/>
                </a:lnTo>
                <a:lnTo>
                  <a:pt x="26" y="25"/>
                </a:lnTo>
                <a:lnTo>
                  <a:pt x="27" y="10"/>
                </a:lnTo>
                <a:lnTo>
                  <a:pt x="29" y="0"/>
                </a:lnTo>
                <a:lnTo>
                  <a:pt x="48" y="3"/>
                </a:lnTo>
                <a:lnTo>
                  <a:pt x="80" y="7"/>
                </a:lnTo>
                <a:lnTo>
                  <a:pt x="77" y="12"/>
                </a:lnTo>
                <a:lnTo>
                  <a:pt x="92" y="13"/>
                </a:lnTo>
                <a:lnTo>
                  <a:pt x="98" y="15"/>
                </a:lnTo>
                <a:lnTo>
                  <a:pt x="111" y="14"/>
                </a:lnTo>
                <a:lnTo>
                  <a:pt x="125" y="8"/>
                </a:lnTo>
                <a:lnTo>
                  <a:pt x="129" y="4"/>
                </a:lnTo>
                <a:lnTo>
                  <a:pt x="136" y="25"/>
                </a:lnTo>
                <a:lnTo>
                  <a:pt x="143" y="3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243" name="Freeform 50"/>
          <p:cNvSpPr>
            <a:spLocks/>
          </p:cNvSpPr>
          <p:nvPr/>
        </p:nvSpPr>
        <p:spPr bwMode="auto">
          <a:xfrm>
            <a:off x="3933825" y="4313238"/>
            <a:ext cx="84138" cy="57150"/>
          </a:xfrm>
          <a:custGeom>
            <a:avLst/>
            <a:gdLst>
              <a:gd name="T0" fmla="*/ 2147483647 w 65"/>
              <a:gd name="T1" fmla="*/ 2147483647 h 43"/>
              <a:gd name="T2" fmla="*/ 2147483647 w 65"/>
              <a:gd name="T3" fmla="*/ 2147483647 h 43"/>
              <a:gd name="T4" fmla="*/ 2147483647 w 65"/>
              <a:gd name="T5" fmla="*/ 2147483647 h 43"/>
              <a:gd name="T6" fmla="*/ 2147483647 w 65"/>
              <a:gd name="T7" fmla="*/ 2147483647 h 43"/>
              <a:gd name="T8" fmla="*/ 2147483647 w 65"/>
              <a:gd name="T9" fmla="*/ 2147483647 h 43"/>
              <a:gd name="T10" fmla="*/ 2147483647 w 65"/>
              <a:gd name="T11" fmla="*/ 2147483647 h 43"/>
              <a:gd name="T12" fmla="*/ 2147483647 w 65"/>
              <a:gd name="T13" fmla="*/ 2147483647 h 43"/>
              <a:gd name="T14" fmla="*/ 2147483647 w 65"/>
              <a:gd name="T15" fmla="*/ 0 h 43"/>
              <a:gd name="T16" fmla="*/ 2147483647 w 65"/>
              <a:gd name="T17" fmla="*/ 2147483647 h 43"/>
              <a:gd name="T18" fmla="*/ 2147483647 w 65"/>
              <a:gd name="T19" fmla="*/ 2147483647 h 43"/>
              <a:gd name="T20" fmla="*/ 0 w 65"/>
              <a:gd name="T21" fmla="*/ 2147483647 h 43"/>
              <a:gd name="T22" fmla="*/ 2147483647 w 65"/>
              <a:gd name="T23" fmla="*/ 2147483647 h 43"/>
              <a:gd name="T24" fmla="*/ 2147483647 w 65"/>
              <a:gd name="T25" fmla="*/ 2147483647 h 43"/>
              <a:gd name="T26" fmla="*/ 2147483647 w 65"/>
              <a:gd name="T27" fmla="*/ 2147483647 h 43"/>
              <a:gd name="T28" fmla="*/ 2147483647 w 65"/>
              <a:gd name="T29" fmla="*/ 2147483647 h 43"/>
              <a:gd name="T30" fmla="*/ 2147483647 w 65"/>
              <a:gd name="T31" fmla="*/ 2147483647 h 43"/>
              <a:gd name="T32" fmla="*/ 2147483647 w 65"/>
              <a:gd name="T33" fmla="*/ 2147483647 h 43"/>
              <a:gd name="T34" fmla="*/ 2147483647 w 65"/>
              <a:gd name="T35" fmla="*/ 2147483647 h 43"/>
              <a:gd name="T36" fmla="*/ 2147483647 w 65"/>
              <a:gd name="T37" fmla="*/ 2147483647 h 43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65"/>
              <a:gd name="T58" fmla="*/ 0 h 43"/>
              <a:gd name="T59" fmla="*/ 65 w 65"/>
              <a:gd name="T60" fmla="*/ 43 h 43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65" h="43">
                <a:moveTo>
                  <a:pt x="33" y="25"/>
                </a:moveTo>
                <a:lnTo>
                  <a:pt x="29" y="32"/>
                </a:lnTo>
                <a:lnTo>
                  <a:pt x="34" y="38"/>
                </a:lnTo>
                <a:lnTo>
                  <a:pt x="36" y="43"/>
                </a:lnTo>
                <a:lnTo>
                  <a:pt x="41" y="32"/>
                </a:lnTo>
                <a:lnTo>
                  <a:pt x="62" y="25"/>
                </a:lnTo>
                <a:lnTo>
                  <a:pt x="63" y="10"/>
                </a:lnTo>
                <a:lnTo>
                  <a:pt x="65" y="0"/>
                </a:lnTo>
                <a:lnTo>
                  <a:pt x="47" y="1"/>
                </a:lnTo>
                <a:lnTo>
                  <a:pt x="29" y="2"/>
                </a:lnTo>
                <a:lnTo>
                  <a:pt x="0" y="8"/>
                </a:lnTo>
                <a:lnTo>
                  <a:pt x="11" y="9"/>
                </a:lnTo>
                <a:lnTo>
                  <a:pt x="8" y="14"/>
                </a:lnTo>
                <a:lnTo>
                  <a:pt x="18" y="16"/>
                </a:lnTo>
                <a:lnTo>
                  <a:pt x="17" y="19"/>
                </a:lnTo>
                <a:lnTo>
                  <a:pt x="33" y="19"/>
                </a:lnTo>
                <a:lnTo>
                  <a:pt x="36" y="21"/>
                </a:lnTo>
                <a:lnTo>
                  <a:pt x="26" y="24"/>
                </a:lnTo>
                <a:lnTo>
                  <a:pt x="33" y="25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244" name="Freeform 51"/>
          <p:cNvSpPr>
            <a:spLocks/>
          </p:cNvSpPr>
          <p:nvPr/>
        </p:nvSpPr>
        <p:spPr bwMode="auto">
          <a:xfrm>
            <a:off x="4168775" y="4379913"/>
            <a:ext cx="174625" cy="217487"/>
          </a:xfrm>
          <a:custGeom>
            <a:avLst/>
            <a:gdLst>
              <a:gd name="T0" fmla="*/ 2147483647 w 131"/>
              <a:gd name="T1" fmla="*/ 2147483647 h 157"/>
              <a:gd name="T2" fmla="*/ 2147483647 w 131"/>
              <a:gd name="T3" fmla="*/ 2147483647 h 157"/>
              <a:gd name="T4" fmla="*/ 2147483647 w 131"/>
              <a:gd name="T5" fmla="*/ 2147483647 h 157"/>
              <a:gd name="T6" fmla="*/ 2147483647 w 131"/>
              <a:gd name="T7" fmla="*/ 0 h 157"/>
              <a:gd name="T8" fmla="*/ 2147483647 w 131"/>
              <a:gd name="T9" fmla="*/ 2147483647 h 157"/>
              <a:gd name="T10" fmla="*/ 2147483647 w 131"/>
              <a:gd name="T11" fmla="*/ 2147483647 h 157"/>
              <a:gd name="T12" fmla="*/ 2147483647 w 131"/>
              <a:gd name="T13" fmla="*/ 2147483647 h 157"/>
              <a:gd name="T14" fmla="*/ 2147483647 w 131"/>
              <a:gd name="T15" fmla="*/ 2147483647 h 157"/>
              <a:gd name="T16" fmla="*/ 2147483647 w 131"/>
              <a:gd name="T17" fmla="*/ 2147483647 h 157"/>
              <a:gd name="T18" fmla="*/ 2147483647 w 131"/>
              <a:gd name="T19" fmla="*/ 2147483647 h 157"/>
              <a:gd name="T20" fmla="*/ 2147483647 w 131"/>
              <a:gd name="T21" fmla="*/ 2147483647 h 157"/>
              <a:gd name="T22" fmla="*/ 2147483647 w 131"/>
              <a:gd name="T23" fmla="*/ 2147483647 h 157"/>
              <a:gd name="T24" fmla="*/ 2147483647 w 131"/>
              <a:gd name="T25" fmla="*/ 2147483647 h 157"/>
              <a:gd name="T26" fmla="*/ 2147483647 w 131"/>
              <a:gd name="T27" fmla="*/ 2147483647 h 157"/>
              <a:gd name="T28" fmla="*/ 2147483647 w 131"/>
              <a:gd name="T29" fmla="*/ 2147483647 h 157"/>
              <a:gd name="T30" fmla="*/ 2147483647 w 131"/>
              <a:gd name="T31" fmla="*/ 2147483647 h 157"/>
              <a:gd name="T32" fmla="*/ 0 w 131"/>
              <a:gd name="T33" fmla="*/ 2147483647 h 157"/>
              <a:gd name="T34" fmla="*/ 0 w 131"/>
              <a:gd name="T35" fmla="*/ 2147483647 h 157"/>
              <a:gd name="T36" fmla="*/ 0 w 131"/>
              <a:gd name="T37" fmla="*/ 2147483647 h 157"/>
              <a:gd name="T38" fmla="*/ 2147483647 w 131"/>
              <a:gd name="T39" fmla="*/ 2147483647 h 157"/>
              <a:gd name="T40" fmla="*/ 2147483647 w 131"/>
              <a:gd name="T41" fmla="*/ 2147483647 h 157"/>
              <a:gd name="T42" fmla="*/ 2147483647 w 131"/>
              <a:gd name="T43" fmla="*/ 2147483647 h 157"/>
              <a:gd name="T44" fmla="*/ 2147483647 w 131"/>
              <a:gd name="T45" fmla="*/ 2147483647 h 157"/>
              <a:gd name="T46" fmla="*/ 2147483647 w 131"/>
              <a:gd name="T47" fmla="*/ 2147483647 h 157"/>
              <a:gd name="T48" fmla="*/ 2147483647 w 131"/>
              <a:gd name="T49" fmla="*/ 2147483647 h 157"/>
              <a:gd name="T50" fmla="*/ 2147483647 w 131"/>
              <a:gd name="T51" fmla="*/ 2147483647 h 157"/>
              <a:gd name="T52" fmla="*/ 2147483647 w 131"/>
              <a:gd name="T53" fmla="*/ 2147483647 h 157"/>
              <a:gd name="T54" fmla="*/ 2147483647 w 131"/>
              <a:gd name="T55" fmla="*/ 2147483647 h 157"/>
              <a:gd name="T56" fmla="*/ 2147483647 w 131"/>
              <a:gd name="T57" fmla="*/ 2147483647 h 157"/>
              <a:gd name="T58" fmla="*/ 2147483647 w 131"/>
              <a:gd name="T59" fmla="*/ 2147483647 h 157"/>
              <a:gd name="T60" fmla="*/ 2147483647 w 131"/>
              <a:gd name="T61" fmla="*/ 2147483647 h 157"/>
              <a:gd name="T62" fmla="*/ 2147483647 w 131"/>
              <a:gd name="T63" fmla="*/ 2147483647 h 157"/>
              <a:gd name="T64" fmla="*/ 2147483647 w 131"/>
              <a:gd name="T65" fmla="*/ 2147483647 h 157"/>
              <a:gd name="T66" fmla="*/ 2147483647 w 131"/>
              <a:gd name="T67" fmla="*/ 2147483647 h 157"/>
              <a:gd name="T68" fmla="*/ 2147483647 w 131"/>
              <a:gd name="T69" fmla="*/ 2147483647 h 157"/>
              <a:gd name="T70" fmla="*/ 2147483647 w 131"/>
              <a:gd name="T71" fmla="*/ 2147483647 h 157"/>
              <a:gd name="T72" fmla="*/ 2147483647 w 131"/>
              <a:gd name="T73" fmla="*/ 2147483647 h 157"/>
              <a:gd name="T74" fmla="*/ 2147483647 w 131"/>
              <a:gd name="T75" fmla="*/ 2147483647 h 157"/>
              <a:gd name="T76" fmla="*/ 2147483647 w 131"/>
              <a:gd name="T77" fmla="*/ 2147483647 h 157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131"/>
              <a:gd name="T118" fmla="*/ 0 h 157"/>
              <a:gd name="T119" fmla="*/ 131 w 131"/>
              <a:gd name="T120" fmla="*/ 157 h 157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131" h="157">
                <a:moveTo>
                  <a:pt x="73" y="11"/>
                </a:moveTo>
                <a:lnTo>
                  <a:pt x="65" y="6"/>
                </a:lnTo>
                <a:lnTo>
                  <a:pt x="51" y="9"/>
                </a:lnTo>
                <a:lnTo>
                  <a:pt x="47" y="0"/>
                </a:lnTo>
                <a:lnTo>
                  <a:pt x="40" y="6"/>
                </a:lnTo>
                <a:lnTo>
                  <a:pt x="29" y="12"/>
                </a:lnTo>
                <a:lnTo>
                  <a:pt x="16" y="8"/>
                </a:lnTo>
                <a:lnTo>
                  <a:pt x="11" y="13"/>
                </a:lnTo>
                <a:lnTo>
                  <a:pt x="10" y="32"/>
                </a:lnTo>
                <a:lnTo>
                  <a:pt x="12" y="36"/>
                </a:lnTo>
                <a:lnTo>
                  <a:pt x="13" y="41"/>
                </a:lnTo>
                <a:lnTo>
                  <a:pt x="16" y="50"/>
                </a:lnTo>
                <a:lnTo>
                  <a:pt x="15" y="55"/>
                </a:lnTo>
                <a:lnTo>
                  <a:pt x="5" y="57"/>
                </a:lnTo>
                <a:lnTo>
                  <a:pt x="9" y="67"/>
                </a:lnTo>
                <a:lnTo>
                  <a:pt x="1" y="77"/>
                </a:lnTo>
                <a:lnTo>
                  <a:pt x="0" y="77"/>
                </a:lnTo>
                <a:lnTo>
                  <a:pt x="0" y="99"/>
                </a:lnTo>
                <a:lnTo>
                  <a:pt x="0" y="104"/>
                </a:lnTo>
                <a:lnTo>
                  <a:pt x="15" y="116"/>
                </a:lnTo>
                <a:lnTo>
                  <a:pt x="24" y="127"/>
                </a:lnTo>
                <a:lnTo>
                  <a:pt x="21" y="157"/>
                </a:lnTo>
                <a:lnTo>
                  <a:pt x="48" y="147"/>
                </a:lnTo>
                <a:lnTo>
                  <a:pt x="76" y="138"/>
                </a:lnTo>
                <a:lnTo>
                  <a:pt x="70" y="137"/>
                </a:lnTo>
                <a:lnTo>
                  <a:pt x="97" y="135"/>
                </a:lnTo>
                <a:lnTo>
                  <a:pt x="83" y="135"/>
                </a:lnTo>
                <a:lnTo>
                  <a:pt x="101" y="134"/>
                </a:lnTo>
                <a:lnTo>
                  <a:pt x="114" y="135"/>
                </a:lnTo>
                <a:lnTo>
                  <a:pt x="117" y="139"/>
                </a:lnTo>
                <a:lnTo>
                  <a:pt x="124" y="134"/>
                </a:lnTo>
                <a:lnTo>
                  <a:pt x="119" y="115"/>
                </a:lnTo>
                <a:lnTo>
                  <a:pt x="114" y="96"/>
                </a:lnTo>
                <a:lnTo>
                  <a:pt x="123" y="79"/>
                </a:lnTo>
                <a:lnTo>
                  <a:pt x="131" y="61"/>
                </a:lnTo>
                <a:lnTo>
                  <a:pt x="126" y="30"/>
                </a:lnTo>
                <a:lnTo>
                  <a:pt x="107" y="19"/>
                </a:lnTo>
                <a:lnTo>
                  <a:pt x="87" y="24"/>
                </a:lnTo>
                <a:lnTo>
                  <a:pt x="73" y="1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45" name="Freeform 52"/>
          <p:cNvSpPr>
            <a:spLocks/>
          </p:cNvSpPr>
          <p:nvPr/>
        </p:nvSpPr>
        <p:spPr bwMode="auto">
          <a:xfrm>
            <a:off x="4029075" y="4403725"/>
            <a:ext cx="87313" cy="104775"/>
          </a:xfrm>
          <a:custGeom>
            <a:avLst/>
            <a:gdLst>
              <a:gd name="T0" fmla="*/ 2147483647 w 66"/>
              <a:gd name="T1" fmla="*/ 2147483647 h 76"/>
              <a:gd name="T2" fmla="*/ 2147483647 w 66"/>
              <a:gd name="T3" fmla="*/ 2147483647 h 76"/>
              <a:gd name="T4" fmla="*/ 2147483647 w 66"/>
              <a:gd name="T5" fmla="*/ 2147483647 h 76"/>
              <a:gd name="T6" fmla="*/ 2147483647 w 66"/>
              <a:gd name="T7" fmla="*/ 2147483647 h 76"/>
              <a:gd name="T8" fmla="*/ 2147483647 w 66"/>
              <a:gd name="T9" fmla="*/ 2147483647 h 76"/>
              <a:gd name="T10" fmla="*/ 2147483647 w 66"/>
              <a:gd name="T11" fmla="*/ 2147483647 h 76"/>
              <a:gd name="T12" fmla="*/ 2147483647 w 66"/>
              <a:gd name="T13" fmla="*/ 2147483647 h 76"/>
              <a:gd name="T14" fmla="*/ 2147483647 w 66"/>
              <a:gd name="T15" fmla="*/ 2147483647 h 76"/>
              <a:gd name="T16" fmla="*/ 2147483647 w 66"/>
              <a:gd name="T17" fmla="*/ 2147483647 h 76"/>
              <a:gd name="T18" fmla="*/ 2147483647 w 66"/>
              <a:gd name="T19" fmla="*/ 2147483647 h 76"/>
              <a:gd name="T20" fmla="*/ 2147483647 w 66"/>
              <a:gd name="T21" fmla="*/ 2147483647 h 76"/>
              <a:gd name="T22" fmla="*/ 0 w 66"/>
              <a:gd name="T23" fmla="*/ 2147483647 h 76"/>
              <a:gd name="T24" fmla="*/ 2147483647 w 66"/>
              <a:gd name="T25" fmla="*/ 2147483647 h 76"/>
              <a:gd name="T26" fmla="*/ 2147483647 w 66"/>
              <a:gd name="T27" fmla="*/ 0 h 76"/>
              <a:gd name="T28" fmla="*/ 2147483647 w 66"/>
              <a:gd name="T29" fmla="*/ 2147483647 h 76"/>
              <a:gd name="T30" fmla="*/ 2147483647 w 66"/>
              <a:gd name="T31" fmla="*/ 2147483647 h 76"/>
              <a:gd name="T32" fmla="*/ 2147483647 w 66"/>
              <a:gd name="T33" fmla="*/ 2147483647 h 7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66"/>
              <a:gd name="T52" fmla="*/ 0 h 76"/>
              <a:gd name="T53" fmla="*/ 66 w 66"/>
              <a:gd name="T54" fmla="*/ 76 h 7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66" h="76">
                <a:moveTo>
                  <a:pt x="66" y="38"/>
                </a:moveTo>
                <a:lnTo>
                  <a:pt x="56" y="52"/>
                </a:lnTo>
                <a:lnTo>
                  <a:pt x="45" y="68"/>
                </a:lnTo>
                <a:lnTo>
                  <a:pt x="39" y="76"/>
                </a:lnTo>
                <a:lnTo>
                  <a:pt x="16" y="64"/>
                </a:lnTo>
                <a:lnTo>
                  <a:pt x="20" y="61"/>
                </a:lnTo>
                <a:lnTo>
                  <a:pt x="15" y="57"/>
                </a:lnTo>
                <a:lnTo>
                  <a:pt x="1" y="40"/>
                </a:lnTo>
                <a:lnTo>
                  <a:pt x="8" y="36"/>
                </a:lnTo>
                <a:lnTo>
                  <a:pt x="1" y="33"/>
                </a:lnTo>
                <a:lnTo>
                  <a:pt x="7" y="28"/>
                </a:lnTo>
                <a:lnTo>
                  <a:pt x="0" y="24"/>
                </a:lnTo>
                <a:lnTo>
                  <a:pt x="15" y="7"/>
                </a:lnTo>
                <a:lnTo>
                  <a:pt x="45" y="0"/>
                </a:lnTo>
                <a:lnTo>
                  <a:pt x="60" y="22"/>
                </a:lnTo>
                <a:lnTo>
                  <a:pt x="57" y="39"/>
                </a:lnTo>
                <a:lnTo>
                  <a:pt x="66" y="3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46" name="Freeform 53"/>
          <p:cNvSpPr>
            <a:spLocks/>
          </p:cNvSpPr>
          <p:nvPr/>
        </p:nvSpPr>
        <p:spPr bwMode="auto">
          <a:xfrm>
            <a:off x="4411663" y="4365625"/>
            <a:ext cx="52387" cy="169863"/>
          </a:xfrm>
          <a:custGeom>
            <a:avLst/>
            <a:gdLst>
              <a:gd name="T0" fmla="*/ 2147483647 w 40"/>
              <a:gd name="T1" fmla="*/ 2147483647 h 125"/>
              <a:gd name="T2" fmla="*/ 0 w 40"/>
              <a:gd name="T3" fmla="*/ 0 h 125"/>
              <a:gd name="T4" fmla="*/ 2147483647 w 40"/>
              <a:gd name="T5" fmla="*/ 2147483647 h 125"/>
              <a:gd name="T6" fmla="*/ 2147483647 w 40"/>
              <a:gd name="T7" fmla="*/ 2147483647 h 125"/>
              <a:gd name="T8" fmla="*/ 2147483647 w 40"/>
              <a:gd name="T9" fmla="*/ 2147483647 h 125"/>
              <a:gd name="T10" fmla="*/ 2147483647 w 40"/>
              <a:gd name="T11" fmla="*/ 2147483647 h 125"/>
              <a:gd name="T12" fmla="*/ 2147483647 w 40"/>
              <a:gd name="T13" fmla="*/ 2147483647 h 125"/>
              <a:gd name="T14" fmla="*/ 2147483647 w 40"/>
              <a:gd name="T15" fmla="*/ 2147483647 h 125"/>
              <a:gd name="T16" fmla="*/ 2147483647 w 40"/>
              <a:gd name="T17" fmla="*/ 2147483647 h 125"/>
              <a:gd name="T18" fmla="*/ 2147483647 w 40"/>
              <a:gd name="T19" fmla="*/ 2147483647 h 125"/>
              <a:gd name="T20" fmla="*/ 2147483647 w 40"/>
              <a:gd name="T21" fmla="*/ 2147483647 h 125"/>
              <a:gd name="T22" fmla="*/ 2147483647 w 40"/>
              <a:gd name="T23" fmla="*/ 2147483647 h 125"/>
              <a:gd name="T24" fmla="*/ 2147483647 w 40"/>
              <a:gd name="T25" fmla="*/ 2147483647 h 125"/>
              <a:gd name="T26" fmla="*/ 2147483647 w 40"/>
              <a:gd name="T27" fmla="*/ 2147483647 h 125"/>
              <a:gd name="T28" fmla="*/ 2147483647 w 40"/>
              <a:gd name="T29" fmla="*/ 2147483647 h 125"/>
              <a:gd name="T30" fmla="*/ 2147483647 w 40"/>
              <a:gd name="T31" fmla="*/ 2147483647 h 125"/>
              <a:gd name="T32" fmla="*/ 2147483647 w 40"/>
              <a:gd name="T33" fmla="*/ 2147483647 h 125"/>
              <a:gd name="T34" fmla="*/ 2147483647 w 40"/>
              <a:gd name="T35" fmla="*/ 2147483647 h 125"/>
              <a:gd name="T36" fmla="*/ 2147483647 w 40"/>
              <a:gd name="T37" fmla="*/ 2147483647 h 125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40"/>
              <a:gd name="T58" fmla="*/ 0 h 125"/>
              <a:gd name="T59" fmla="*/ 40 w 40"/>
              <a:gd name="T60" fmla="*/ 125 h 125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40" h="125">
                <a:moveTo>
                  <a:pt x="18" y="2"/>
                </a:moveTo>
                <a:lnTo>
                  <a:pt x="0" y="0"/>
                </a:lnTo>
                <a:lnTo>
                  <a:pt x="4" y="7"/>
                </a:lnTo>
                <a:lnTo>
                  <a:pt x="12" y="30"/>
                </a:lnTo>
                <a:lnTo>
                  <a:pt x="12" y="41"/>
                </a:lnTo>
                <a:lnTo>
                  <a:pt x="14" y="58"/>
                </a:lnTo>
                <a:lnTo>
                  <a:pt x="17" y="73"/>
                </a:lnTo>
                <a:lnTo>
                  <a:pt x="18" y="94"/>
                </a:lnTo>
                <a:lnTo>
                  <a:pt x="18" y="113"/>
                </a:lnTo>
                <a:lnTo>
                  <a:pt x="30" y="125"/>
                </a:lnTo>
                <a:lnTo>
                  <a:pt x="40" y="121"/>
                </a:lnTo>
                <a:lnTo>
                  <a:pt x="39" y="103"/>
                </a:lnTo>
                <a:lnTo>
                  <a:pt x="39" y="84"/>
                </a:lnTo>
                <a:lnTo>
                  <a:pt x="38" y="66"/>
                </a:lnTo>
                <a:lnTo>
                  <a:pt x="36" y="47"/>
                </a:lnTo>
                <a:lnTo>
                  <a:pt x="34" y="28"/>
                </a:lnTo>
                <a:lnTo>
                  <a:pt x="22" y="13"/>
                </a:lnTo>
                <a:lnTo>
                  <a:pt x="24" y="2"/>
                </a:lnTo>
                <a:lnTo>
                  <a:pt x="18" y="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47" name="Freeform 54"/>
          <p:cNvSpPr>
            <a:spLocks/>
          </p:cNvSpPr>
          <p:nvPr/>
        </p:nvSpPr>
        <p:spPr bwMode="auto">
          <a:xfrm>
            <a:off x="4173538" y="3486150"/>
            <a:ext cx="582612" cy="604838"/>
          </a:xfrm>
          <a:custGeom>
            <a:avLst/>
            <a:gdLst>
              <a:gd name="T0" fmla="*/ 0 w 441"/>
              <a:gd name="T1" fmla="*/ 2147483647 h 441"/>
              <a:gd name="T2" fmla="*/ 2147483647 w 441"/>
              <a:gd name="T3" fmla="*/ 2147483647 h 441"/>
              <a:gd name="T4" fmla="*/ 2147483647 w 441"/>
              <a:gd name="T5" fmla="*/ 2147483647 h 441"/>
              <a:gd name="T6" fmla="*/ 2147483647 w 441"/>
              <a:gd name="T7" fmla="*/ 2147483647 h 441"/>
              <a:gd name="T8" fmla="*/ 2147483647 w 441"/>
              <a:gd name="T9" fmla="*/ 2147483647 h 441"/>
              <a:gd name="T10" fmla="*/ 2147483647 w 441"/>
              <a:gd name="T11" fmla="*/ 2147483647 h 441"/>
              <a:gd name="T12" fmla="*/ 2147483647 w 441"/>
              <a:gd name="T13" fmla="*/ 2147483647 h 441"/>
              <a:gd name="T14" fmla="*/ 2147483647 w 441"/>
              <a:gd name="T15" fmla="*/ 2147483647 h 441"/>
              <a:gd name="T16" fmla="*/ 2147483647 w 441"/>
              <a:gd name="T17" fmla="*/ 2147483647 h 441"/>
              <a:gd name="T18" fmla="*/ 2147483647 w 441"/>
              <a:gd name="T19" fmla="*/ 2147483647 h 441"/>
              <a:gd name="T20" fmla="*/ 2147483647 w 441"/>
              <a:gd name="T21" fmla="*/ 2147483647 h 441"/>
              <a:gd name="T22" fmla="*/ 2147483647 w 441"/>
              <a:gd name="T23" fmla="*/ 2147483647 h 441"/>
              <a:gd name="T24" fmla="*/ 2147483647 w 441"/>
              <a:gd name="T25" fmla="*/ 2147483647 h 441"/>
              <a:gd name="T26" fmla="*/ 2147483647 w 441"/>
              <a:gd name="T27" fmla="*/ 2147483647 h 441"/>
              <a:gd name="T28" fmla="*/ 2147483647 w 441"/>
              <a:gd name="T29" fmla="*/ 2147483647 h 441"/>
              <a:gd name="T30" fmla="*/ 2147483647 w 441"/>
              <a:gd name="T31" fmla="*/ 2147483647 h 441"/>
              <a:gd name="T32" fmla="*/ 2147483647 w 441"/>
              <a:gd name="T33" fmla="*/ 2147483647 h 441"/>
              <a:gd name="T34" fmla="*/ 2147483647 w 441"/>
              <a:gd name="T35" fmla="*/ 2147483647 h 441"/>
              <a:gd name="T36" fmla="*/ 2147483647 w 441"/>
              <a:gd name="T37" fmla="*/ 2147483647 h 441"/>
              <a:gd name="T38" fmla="*/ 2147483647 w 441"/>
              <a:gd name="T39" fmla="*/ 2147483647 h 441"/>
              <a:gd name="T40" fmla="*/ 2147483647 w 441"/>
              <a:gd name="T41" fmla="*/ 2147483647 h 441"/>
              <a:gd name="T42" fmla="*/ 2147483647 w 441"/>
              <a:gd name="T43" fmla="*/ 2147483647 h 441"/>
              <a:gd name="T44" fmla="*/ 2147483647 w 441"/>
              <a:gd name="T45" fmla="*/ 0 h 441"/>
              <a:gd name="T46" fmla="*/ 2147483647 w 441"/>
              <a:gd name="T47" fmla="*/ 2147483647 h 441"/>
              <a:gd name="T48" fmla="*/ 2147483647 w 441"/>
              <a:gd name="T49" fmla="*/ 2147483647 h 441"/>
              <a:gd name="T50" fmla="*/ 2147483647 w 441"/>
              <a:gd name="T51" fmla="*/ 2147483647 h 441"/>
              <a:gd name="T52" fmla="*/ 2147483647 w 441"/>
              <a:gd name="T53" fmla="*/ 2147483647 h 441"/>
              <a:gd name="T54" fmla="*/ 2147483647 w 441"/>
              <a:gd name="T55" fmla="*/ 2147483647 h 441"/>
              <a:gd name="T56" fmla="*/ 2147483647 w 441"/>
              <a:gd name="T57" fmla="*/ 2147483647 h 441"/>
              <a:gd name="T58" fmla="*/ 2147483647 w 441"/>
              <a:gd name="T59" fmla="*/ 2147483647 h 441"/>
              <a:gd name="T60" fmla="*/ 2147483647 w 441"/>
              <a:gd name="T61" fmla="*/ 2147483647 h 441"/>
              <a:gd name="T62" fmla="*/ 2147483647 w 441"/>
              <a:gd name="T63" fmla="*/ 2147483647 h 441"/>
              <a:gd name="T64" fmla="*/ 2147483647 w 441"/>
              <a:gd name="T65" fmla="*/ 2147483647 h 441"/>
              <a:gd name="T66" fmla="*/ 2147483647 w 441"/>
              <a:gd name="T67" fmla="*/ 2147483647 h 441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441"/>
              <a:gd name="T103" fmla="*/ 0 h 441"/>
              <a:gd name="T104" fmla="*/ 441 w 441"/>
              <a:gd name="T105" fmla="*/ 441 h 441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441" h="441">
                <a:moveTo>
                  <a:pt x="5" y="201"/>
                </a:moveTo>
                <a:lnTo>
                  <a:pt x="0" y="230"/>
                </a:lnTo>
                <a:lnTo>
                  <a:pt x="0" y="239"/>
                </a:lnTo>
                <a:lnTo>
                  <a:pt x="21" y="252"/>
                </a:lnTo>
                <a:lnTo>
                  <a:pt x="41" y="267"/>
                </a:lnTo>
                <a:lnTo>
                  <a:pt x="62" y="281"/>
                </a:lnTo>
                <a:lnTo>
                  <a:pt x="82" y="296"/>
                </a:lnTo>
                <a:lnTo>
                  <a:pt x="98" y="308"/>
                </a:lnTo>
                <a:lnTo>
                  <a:pt x="113" y="320"/>
                </a:lnTo>
                <a:lnTo>
                  <a:pt x="129" y="332"/>
                </a:lnTo>
                <a:lnTo>
                  <a:pt x="146" y="344"/>
                </a:lnTo>
                <a:lnTo>
                  <a:pt x="161" y="356"/>
                </a:lnTo>
                <a:lnTo>
                  <a:pt x="177" y="368"/>
                </a:lnTo>
                <a:lnTo>
                  <a:pt x="194" y="381"/>
                </a:lnTo>
                <a:lnTo>
                  <a:pt x="209" y="393"/>
                </a:lnTo>
                <a:lnTo>
                  <a:pt x="209" y="400"/>
                </a:lnTo>
                <a:lnTo>
                  <a:pt x="220" y="410"/>
                </a:lnTo>
                <a:lnTo>
                  <a:pt x="250" y="422"/>
                </a:lnTo>
                <a:lnTo>
                  <a:pt x="251" y="441"/>
                </a:lnTo>
                <a:lnTo>
                  <a:pt x="275" y="441"/>
                </a:lnTo>
                <a:lnTo>
                  <a:pt x="292" y="437"/>
                </a:lnTo>
                <a:lnTo>
                  <a:pt x="310" y="434"/>
                </a:lnTo>
                <a:lnTo>
                  <a:pt x="327" y="416"/>
                </a:lnTo>
                <a:lnTo>
                  <a:pt x="344" y="399"/>
                </a:lnTo>
                <a:lnTo>
                  <a:pt x="369" y="382"/>
                </a:lnTo>
                <a:lnTo>
                  <a:pt x="393" y="365"/>
                </a:lnTo>
                <a:lnTo>
                  <a:pt x="417" y="348"/>
                </a:lnTo>
                <a:lnTo>
                  <a:pt x="441" y="333"/>
                </a:lnTo>
                <a:lnTo>
                  <a:pt x="431" y="312"/>
                </a:lnTo>
                <a:lnTo>
                  <a:pt x="406" y="309"/>
                </a:lnTo>
                <a:lnTo>
                  <a:pt x="398" y="287"/>
                </a:lnTo>
                <a:lnTo>
                  <a:pt x="384" y="267"/>
                </a:lnTo>
                <a:lnTo>
                  <a:pt x="394" y="258"/>
                </a:lnTo>
                <a:lnTo>
                  <a:pt x="393" y="230"/>
                </a:lnTo>
                <a:lnTo>
                  <a:pt x="393" y="201"/>
                </a:lnTo>
                <a:lnTo>
                  <a:pt x="383" y="172"/>
                </a:lnTo>
                <a:lnTo>
                  <a:pt x="384" y="166"/>
                </a:lnTo>
                <a:lnTo>
                  <a:pt x="378" y="142"/>
                </a:lnTo>
                <a:lnTo>
                  <a:pt x="374" y="119"/>
                </a:lnTo>
                <a:lnTo>
                  <a:pt x="357" y="101"/>
                </a:lnTo>
                <a:lnTo>
                  <a:pt x="340" y="77"/>
                </a:lnTo>
                <a:lnTo>
                  <a:pt x="350" y="59"/>
                </a:lnTo>
                <a:lnTo>
                  <a:pt x="358" y="41"/>
                </a:lnTo>
                <a:lnTo>
                  <a:pt x="356" y="6"/>
                </a:lnTo>
                <a:lnTo>
                  <a:pt x="360" y="0"/>
                </a:lnTo>
                <a:lnTo>
                  <a:pt x="329" y="0"/>
                </a:lnTo>
                <a:lnTo>
                  <a:pt x="311" y="0"/>
                </a:lnTo>
                <a:lnTo>
                  <a:pt x="288" y="4"/>
                </a:lnTo>
                <a:lnTo>
                  <a:pt x="266" y="4"/>
                </a:lnTo>
                <a:lnTo>
                  <a:pt x="243" y="4"/>
                </a:lnTo>
                <a:lnTo>
                  <a:pt x="215" y="12"/>
                </a:lnTo>
                <a:lnTo>
                  <a:pt x="189" y="20"/>
                </a:lnTo>
                <a:lnTo>
                  <a:pt x="178" y="26"/>
                </a:lnTo>
                <a:lnTo>
                  <a:pt x="158" y="35"/>
                </a:lnTo>
                <a:lnTo>
                  <a:pt x="138" y="45"/>
                </a:lnTo>
                <a:lnTo>
                  <a:pt x="143" y="51"/>
                </a:lnTo>
                <a:lnTo>
                  <a:pt x="147" y="69"/>
                </a:lnTo>
                <a:lnTo>
                  <a:pt x="149" y="88"/>
                </a:lnTo>
                <a:lnTo>
                  <a:pt x="162" y="110"/>
                </a:lnTo>
                <a:lnTo>
                  <a:pt x="158" y="117"/>
                </a:lnTo>
                <a:lnTo>
                  <a:pt x="135" y="118"/>
                </a:lnTo>
                <a:lnTo>
                  <a:pt x="107" y="129"/>
                </a:lnTo>
                <a:lnTo>
                  <a:pt x="107" y="143"/>
                </a:lnTo>
                <a:lnTo>
                  <a:pt x="93" y="154"/>
                </a:lnTo>
                <a:lnTo>
                  <a:pt x="77" y="165"/>
                </a:lnTo>
                <a:lnTo>
                  <a:pt x="58" y="173"/>
                </a:lnTo>
                <a:lnTo>
                  <a:pt x="40" y="180"/>
                </a:lnTo>
                <a:lnTo>
                  <a:pt x="23" y="191"/>
                </a:lnTo>
                <a:lnTo>
                  <a:pt x="5" y="20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48" name="Freeform 55"/>
          <p:cNvSpPr>
            <a:spLocks/>
          </p:cNvSpPr>
          <p:nvPr/>
        </p:nvSpPr>
        <p:spPr bwMode="auto">
          <a:xfrm>
            <a:off x="4267200" y="3509963"/>
            <a:ext cx="4763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0 h 2"/>
              <a:gd name="T4" fmla="*/ 0 w 2"/>
              <a:gd name="T5" fmla="*/ 2147483647 h 2"/>
              <a:gd name="T6" fmla="*/ 0 60000 65536"/>
              <a:gd name="T7" fmla="*/ 0 60000 65536"/>
              <a:gd name="T8" fmla="*/ 0 60000 65536"/>
              <a:gd name="T9" fmla="*/ 0 w 2"/>
              <a:gd name="T10" fmla="*/ 0 h 2"/>
              <a:gd name="T11" fmla="*/ 2 w 2"/>
              <a:gd name="T12" fmla="*/ 2 h 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49" name="Freeform 56"/>
          <p:cNvSpPr>
            <a:spLocks/>
          </p:cNvSpPr>
          <p:nvPr/>
        </p:nvSpPr>
        <p:spPr bwMode="auto">
          <a:xfrm>
            <a:off x="4679950" y="3611563"/>
            <a:ext cx="450850" cy="466725"/>
          </a:xfrm>
          <a:custGeom>
            <a:avLst/>
            <a:gdLst>
              <a:gd name="T0" fmla="*/ 2147483647 w 340"/>
              <a:gd name="T1" fmla="*/ 2147483647 h 339"/>
              <a:gd name="T2" fmla="*/ 2147483647 w 340"/>
              <a:gd name="T3" fmla="*/ 2147483647 h 339"/>
              <a:gd name="T4" fmla="*/ 2147483647 w 340"/>
              <a:gd name="T5" fmla="*/ 2147483647 h 339"/>
              <a:gd name="T6" fmla="*/ 2147483647 w 340"/>
              <a:gd name="T7" fmla="*/ 2147483647 h 339"/>
              <a:gd name="T8" fmla="*/ 2147483647 w 340"/>
              <a:gd name="T9" fmla="*/ 2147483647 h 339"/>
              <a:gd name="T10" fmla="*/ 2147483647 w 340"/>
              <a:gd name="T11" fmla="*/ 2147483647 h 339"/>
              <a:gd name="T12" fmla="*/ 2147483647 w 340"/>
              <a:gd name="T13" fmla="*/ 2147483647 h 339"/>
              <a:gd name="T14" fmla="*/ 2147483647 w 340"/>
              <a:gd name="T15" fmla="*/ 2147483647 h 339"/>
              <a:gd name="T16" fmla="*/ 2147483647 w 340"/>
              <a:gd name="T17" fmla="*/ 2147483647 h 339"/>
              <a:gd name="T18" fmla="*/ 2147483647 w 340"/>
              <a:gd name="T19" fmla="*/ 2147483647 h 339"/>
              <a:gd name="T20" fmla="*/ 2147483647 w 340"/>
              <a:gd name="T21" fmla="*/ 2147483647 h 339"/>
              <a:gd name="T22" fmla="*/ 2147483647 w 340"/>
              <a:gd name="T23" fmla="*/ 2147483647 h 339"/>
              <a:gd name="T24" fmla="*/ 2147483647 w 340"/>
              <a:gd name="T25" fmla="*/ 2147483647 h 339"/>
              <a:gd name="T26" fmla="*/ 2147483647 w 340"/>
              <a:gd name="T27" fmla="*/ 2147483647 h 339"/>
              <a:gd name="T28" fmla="*/ 2147483647 w 340"/>
              <a:gd name="T29" fmla="*/ 2147483647 h 339"/>
              <a:gd name="T30" fmla="*/ 2147483647 w 340"/>
              <a:gd name="T31" fmla="*/ 2147483647 h 339"/>
              <a:gd name="T32" fmla="*/ 2147483647 w 340"/>
              <a:gd name="T33" fmla="*/ 2147483647 h 339"/>
              <a:gd name="T34" fmla="*/ 2147483647 w 340"/>
              <a:gd name="T35" fmla="*/ 2147483647 h 339"/>
              <a:gd name="T36" fmla="*/ 2147483647 w 340"/>
              <a:gd name="T37" fmla="*/ 2147483647 h 339"/>
              <a:gd name="T38" fmla="*/ 2147483647 w 340"/>
              <a:gd name="T39" fmla="*/ 2147483647 h 339"/>
              <a:gd name="T40" fmla="*/ 2147483647 w 340"/>
              <a:gd name="T41" fmla="*/ 2147483647 h 339"/>
              <a:gd name="T42" fmla="*/ 2147483647 w 340"/>
              <a:gd name="T43" fmla="*/ 2147483647 h 339"/>
              <a:gd name="T44" fmla="*/ 2147483647 w 340"/>
              <a:gd name="T45" fmla="*/ 2147483647 h 339"/>
              <a:gd name="T46" fmla="*/ 2147483647 w 340"/>
              <a:gd name="T47" fmla="*/ 2147483647 h 339"/>
              <a:gd name="T48" fmla="*/ 2147483647 w 340"/>
              <a:gd name="T49" fmla="*/ 2147483647 h 339"/>
              <a:gd name="T50" fmla="*/ 2147483647 w 340"/>
              <a:gd name="T51" fmla="*/ 2147483647 h 339"/>
              <a:gd name="T52" fmla="*/ 2147483647 w 340"/>
              <a:gd name="T53" fmla="*/ 2147483647 h 339"/>
              <a:gd name="T54" fmla="*/ 2147483647 w 340"/>
              <a:gd name="T55" fmla="*/ 2147483647 h 339"/>
              <a:gd name="T56" fmla="*/ 2147483647 w 340"/>
              <a:gd name="T57" fmla="*/ 2147483647 h 339"/>
              <a:gd name="T58" fmla="*/ 2147483647 w 340"/>
              <a:gd name="T59" fmla="*/ 2147483647 h 339"/>
              <a:gd name="T60" fmla="*/ 2147483647 w 340"/>
              <a:gd name="T61" fmla="*/ 0 h 339"/>
              <a:gd name="T62" fmla="*/ 2147483647 w 340"/>
              <a:gd name="T63" fmla="*/ 2147483647 h 339"/>
              <a:gd name="T64" fmla="*/ 2147483647 w 340"/>
              <a:gd name="T65" fmla="*/ 2147483647 h 339"/>
              <a:gd name="T66" fmla="*/ 2147483647 w 340"/>
              <a:gd name="T67" fmla="*/ 2147483647 h 339"/>
              <a:gd name="T68" fmla="*/ 2147483647 w 340"/>
              <a:gd name="T69" fmla="*/ 2147483647 h 339"/>
              <a:gd name="T70" fmla="*/ 2147483647 w 340"/>
              <a:gd name="T71" fmla="*/ 2147483647 h 339"/>
              <a:gd name="T72" fmla="*/ 0 w 340"/>
              <a:gd name="T73" fmla="*/ 2147483647 h 339"/>
              <a:gd name="T74" fmla="*/ 2147483647 w 340"/>
              <a:gd name="T75" fmla="*/ 2147483647 h 339"/>
              <a:gd name="T76" fmla="*/ 2147483647 w 340"/>
              <a:gd name="T77" fmla="*/ 2147483647 h 339"/>
              <a:gd name="T78" fmla="*/ 2147483647 w 340"/>
              <a:gd name="T79" fmla="*/ 2147483647 h 339"/>
              <a:gd name="T80" fmla="*/ 2147483647 w 340"/>
              <a:gd name="T81" fmla="*/ 2147483647 h 339"/>
              <a:gd name="T82" fmla="*/ 2147483647 w 340"/>
              <a:gd name="T83" fmla="*/ 2147483647 h 339"/>
              <a:gd name="T84" fmla="*/ 2147483647 w 340"/>
              <a:gd name="T85" fmla="*/ 2147483647 h 339"/>
              <a:gd name="T86" fmla="*/ 2147483647 w 340"/>
              <a:gd name="T87" fmla="*/ 2147483647 h 339"/>
              <a:gd name="T88" fmla="*/ 2147483647 w 340"/>
              <a:gd name="T89" fmla="*/ 2147483647 h 339"/>
              <a:gd name="T90" fmla="*/ 2147483647 w 340"/>
              <a:gd name="T91" fmla="*/ 2147483647 h 339"/>
              <a:gd name="T92" fmla="*/ 2147483647 w 340"/>
              <a:gd name="T93" fmla="*/ 2147483647 h 339"/>
              <a:gd name="T94" fmla="*/ 2147483647 w 340"/>
              <a:gd name="T95" fmla="*/ 2147483647 h 339"/>
              <a:gd name="T96" fmla="*/ 2147483647 w 340"/>
              <a:gd name="T97" fmla="*/ 2147483647 h 339"/>
              <a:gd name="T98" fmla="*/ 2147483647 w 340"/>
              <a:gd name="T99" fmla="*/ 2147483647 h 339"/>
              <a:gd name="T100" fmla="*/ 2147483647 w 340"/>
              <a:gd name="T101" fmla="*/ 2147483647 h 339"/>
              <a:gd name="T102" fmla="*/ 2147483647 w 340"/>
              <a:gd name="T103" fmla="*/ 2147483647 h 339"/>
              <a:gd name="T104" fmla="*/ 2147483647 w 340"/>
              <a:gd name="T105" fmla="*/ 2147483647 h 339"/>
              <a:gd name="T106" fmla="*/ 2147483647 w 340"/>
              <a:gd name="T107" fmla="*/ 2147483647 h 339"/>
              <a:gd name="T108" fmla="*/ 2147483647 w 340"/>
              <a:gd name="T109" fmla="*/ 2147483647 h 339"/>
              <a:gd name="T110" fmla="*/ 2147483647 w 340"/>
              <a:gd name="T111" fmla="*/ 2147483647 h 339"/>
              <a:gd name="T112" fmla="*/ 2147483647 w 340"/>
              <a:gd name="T113" fmla="*/ 2147483647 h 339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340"/>
              <a:gd name="T172" fmla="*/ 0 h 339"/>
              <a:gd name="T173" fmla="*/ 340 w 340"/>
              <a:gd name="T174" fmla="*/ 339 h 339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340" h="339">
                <a:moveTo>
                  <a:pt x="318" y="339"/>
                </a:moveTo>
                <a:lnTo>
                  <a:pt x="318" y="326"/>
                </a:lnTo>
                <a:lnTo>
                  <a:pt x="340" y="326"/>
                </a:lnTo>
                <a:lnTo>
                  <a:pt x="339" y="302"/>
                </a:lnTo>
                <a:lnTo>
                  <a:pt x="338" y="277"/>
                </a:lnTo>
                <a:lnTo>
                  <a:pt x="336" y="254"/>
                </a:lnTo>
                <a:lnTo>
                  <a:pt x="335" y="230"/>
                </a:lnTo>
                <a:lnTo>
                  <a:pt x="334" y="207"/>
                </a:lnTo>
                <a:lnTo>
                  <a:pt x="333" y="183"/>
                </a:lnTo>
                <a:lnTo>
                  <a:pt x="330" y="161"/>
                </a:lnTo>
                <a:lnTo>
                  <a:pt x="329" y="138"/>
                </a:lnTo>
                <a:lnTo>
                  <a:pt x="328" y="114"/>
                </a:lnTo>
                <a:lnTo>
                  <a:pt x="326" y="91"/>
                </a:lnTo>
                <a:lnTo>
                  <a:pt x="324" y="72"/>
                </a:lnTo>
                <a:lnTo>
                  <a:pt x="324" y="53"/>
                </a:lnTo>
                <a:lnTo>
                  <a:pt x="328" y="37"/>
                </a:lnTo>
                <a:lnTo>
                  <a:pt x="316" y="29"/>
                </a:lnTo>
                <a:lnTo>
                  <a:pt x="284" y="20"/>
                </a:lnTo>
                <a:lnTo>
                  <a:pt x="279" y="12"/>
                </a:lnTo>
                <a:lnTo>
                  <a:pt x="251" y="6"/>
                </a:lnTo>
                <a:lnTo>
                  <a:pt x="236" y="15"/>
                </a:lnTo>
                <a:lnTo>
                  <a:pt x="220" y="25"/>
                </a:lnTo>
                <a:lnTo>
                  <a:pt x="221" y="59"/>
                </a:lnTo>
                <a:lnTo>
                  <a:pt x="201" y="72"/>
                </a:lnTo>
                <a:lnTo>
                  <a:pt x="177" y="60"/>
                </a:lnTo>
                <a:lnTo>
                  <a:pt x="153" y="48"/>
                </a:lnTo>
                <a:lnTo>
                  <a:pt x="127" y="41"/>
                </a:lnTo>
                <a:lnTo>
                  <a:pt x="118" y="19"/>
                </a:lnTo>
                <a:lnTo>
                  <a:pt x="95" y="13"/>
                </a:lnTo>
                <a:lnTo>
                  <a:pt x="72" y="8"/>
                </a:lnTo>
                <a:lnTo>
                  <a:pt x="41" y="0"/>
                </a:lnTo>
                <a:lnTo>
                  <a:pt x="40" y="20"/>
                </a:lnTo>
                <a:lnTo>
                  <a:pt x="27" y="31"/>
                </a:lnTo>
                <a:lnTo>
                  <a:pt x="13" y="43"/>
                </a:lnTo>
                <a:lnTo>
                  <a:pt x="13" y="63"/>
                </a:lnTo>
                <a:lnTo>
                  <a:pt x="1" y="73"/>
                </a:lnTo>
                <a:lnTo>
                  <a:pt x="0" y="79"/>
                </a:lnTo>
                <a:lnTo>
                  <a:pt x="10" y="108"/>
                </a:lnTo>
                <a:lnTo>
                  <a:pt x="10" y="137"/>
                </a:lnTo>
                <a:lnTo>
                  <a:pt x="11" y="165"/>
                </a:lnTo>
                <a:lnTo>
                  <a:pt x="1" y="174"/>
                </a:lnTo>
                <a:lnTo>
                  <a:pt x="15" y="194"/>
                </a:lnTo>
                <a:lnTo>
                  <a:pt x="23" y="216"/>
                </a:lnTo>
                <a:lnTo>
                  <a:pt x="48" y="219"/>
                </a:lnTo>
                <a:lnTo>
                  <a:pt x="58" y="240"/>
                </a:lnTo>
                <a:lnTo>
                  <a:pt x="88" y="247"/>
                </a:lnTo>
                <a:lnTo>
                  <a:pt x="106" y="261"/>
                </a:lnTo>
                <a:lnTo>
                  <a:pt x="121" y="253"/>
                </a:lnTo>
                <a:lnTo>
                  <a:pt x="143" y="240"/>
                </a:lnTo>
                <a:lnTo>
                  <a:pt x="165" y="252"/>
                </a:lnTo>
                <a:lnTo>
                  <a:pt x="187" y="265"/>
                </a:lnTo>
                <a:lnTo>
                  <a:pt x="209" y="277"/>
                </a:lnTo>
                <a:lnTo>
                  <a:pt x="231" y="289"/>
                </a:lnTo>
                <a:lnTo>
                  <a:pt x="252" y="302"/>
                </a:lnTo>
                <a:lnTo>
                  <a:pt x="275" y="314"/>
                </a:lnTo>
                <a:lnTo>
                  <a:pt x="297" y="326"/>
                </a:lnTo>
                <a:lnTo>
                  <a:pt x="318" y="339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50" name="Freeform 57"/>
          <p:cNvSpPr>
            <a:spLocks/>
          </p:cNvSpPr>
          <p:nvPr/>
        </p:nvSpPr>
        <p:spPr bwMode="auto">
          <a:xfrm>
            <a:off x="4062413" y="3892550"/>
            <a:ext cx="473075" cy="504825"/>
          </a:xfrm>
          <a:custGeom>
            <a:avLst/>
            <a:gdLst>
              <a:gd name="T0" fmla="*/ 2147483647 w 357"/>
              <a:gd name="T1" fmla="*/ 2147483647 h 368"/>
              <a:gd name="T2" fmla="*/ 2147483647 w 357"/>
              <a:gd name="T3" fmla="*/ 2147483647 h 368"/>
              <a:gd name="T4" fmla="*/ 2147483647 w 357"/>
              <a:gd name="T5" fmla="*/ 2147483647 h 368"/>
              <a:gd name="T6" fmla="*/ 2147483647 w 357"/>
              <a:gd name="T7" fmla="*/ 2147483647 h 368"/>
              <a:gd name="T8" fmla="*/ 2147483647 w 357"/>
              <a:gd name="T9" fmla="*/ 2147483647 h 368"/>
              <a:gd name="T10" fmla="*/ 2147483647 w 357"/>
              <a:gd name="T11" fmla="*/ 2147483647 h 368"/>
              <a:gd name="T12" fmla="*/ 2147483647 w 357"/>
              <a:gd name="T13" fmla="*/ 2147483647 h 368"/>
              <a:gd name="T14" fmla="*/ 2147483647 w 357"/>
              <a:gd name="T15" fmla="*/ 2147483647 h 368"/>
              <a:gd name="T16" fmla="*/ 2147483647 w 357"/>
              <a:gd name="T17" fmla="*/ 2147483647 h 368"/>
              <a:gd name="T18" fmla="*/ 2147483647 w 357"/>
              <a:gd name="T19" fmla="*/ 2147483647 h 368"/>
              <a:gd name="T20" fmla="*/ 2147483647 w 357"/>
              <a:gd name="T21" fmla="*/ 2147483647 h 368"/>
              <a:gd name="T22" fmla="*/ 2147483647 w 357"/>
              <a:gd name="T23" fmla="*/ 2147483647 h 368"/>
              <a:gd name="T24" fmla="*/ 2147483647 w 357"/>
              <a:gd name="T25" fmla="*/ 2147483647 h 368"/>
              <a:gd name="T26" fmla="*/ 2147483647 w 357"/>
              <a:gd name="T27" fmla="*/ 2147483647 h 368"/>
              <a:gd name="T28" fmla="*/ 2147483647 w 357"/>
              <a:gd name="T29" fmla="*/ 2147483647 h 368"/>
              <a:gd name="T30" fmla="*/ 2147483647 w 357"/>
              <a:gd name="T31" fmla="*/ 2147483647 h 368"/>
              <a:gd name="T32" fmla="*/ 2147483647 w 357"/>
              <a:gd name="T33" fmla="*/ 2147483647 h 368"/>
              <a:gd name="T34" fmla="*/ 2147483647 w 357"/>
              <a:gd name="T35" fmla="*/ 2147483647 h 368"/>
              <a:gd name="T36" fmla="*/ 2147483647 w 357"/>
              <a:gd name="T37" fmla="*/ 2147483647 h 368"/>
              <a:gd name="T38" fmla="*/ 2147483647 w 357"/>
              <a:gd name="T39" fmla="*/ 2147483647 h 368"/>
              <a:gd name="T40" fmla="*/ 2147483647 w 357"/>
              <a:gd name="T41" fmla="*/ 2147483647 h 368"/>
              <a:gd name="T42" fmla="*/ 2147483647 w 357"/>
              <a:gd name="T43" fmla="*/ 2147483647 h 368"/>
              <a:gd name="T44" fmla="*/ 2147483647 w 357"/>
              <a:gd name="T45" fmla="*/ 0 h 368"/>
              <a:gd name="T46" fmla="*/ 2147483647 w 357"/>
              <a:gd name="T47" fmla="*/ 2147483647 h 368"/>
              <a:gd name="T48" fmla="*/ 2147483647 w 357"/>
              <a:gd name="T49" fmla="*/ 2147483647 h 368"/>
              <a:gd name="T50" fmla="*/ 2147483647 w 357"/>
              <a:gd name="T51" fmla="*/ 2147483647 h 368"/>
              <a:gd name="T52" fmla="*/ 2147483647 w 357"/>
              <a:gd name="T53" fmla="*/ 2147483647 h 368"/>
              <a:gd name="T54" fmla="*/ 2147483647 w 357"/>
              <a:gd name="T55" fmla="*/ 2147483647 h 368"/>
              <a:gd name="T56" fmla="*/ 2147483647 w 357"/>
              <a:gd name="T57" fmla="*/ 2147483647 h 368"/>
              <a:gd name="T58" fmla="*/ 2147483647 w 357"/>
              <a:gd name="T59" fmla="*/ 2147483647 h 368"/>
              <a:gd name="T60" fmla="*/ 2147483647 w 357"/>
              <a:gd name="T61" fmla="*/ 2147483647 h 368"/>
              <a:gd name="T62" fmla="*/ 2147483647 w 357"/>
              <a:gd name="T63" fmla="*/ 2147483647 h 368"/>
              <a:gd name="T64" fmla="*/ 2147483647 w 357"/>
              <a:gd name="T65" fmla="*/ 2147483647 h 368"/>
              <a:gd name="T66" fmla="*/ 2147483647 w 357"/>
              <a:gd name="T67" fmla="*/ 2147483647 h 368"/>
              <a:gd name="T68" fmla="*/ 2147483647 w 357"/>
              <a:gd name="T69" fmla="*/ 2147483647 h 368"/>
              <a:gd name="T70" fmla="*/ 2147483647 w 357"/>
              <a:gd name="T71" fmla="*/ 2147483647 h 368"/>
              <a:gd name="T72" fmla="*/ 2147483647 w 357"/>
              <a:gd name="T73" fmla="*/ 2147483647 h 368"/>
              <a:gd name="T74" fmla="*/ 2147483647 w 357"/>
              <a:gd name="T75" fmla="*/ 2147483647 h 368"/>
              <a:gd name="T76" fmla="*/ 2147483647 w 357"/>
              <a:gd name="T77" fmla="*/ 2147483647 h 36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357"/>
              <a:gd name="T118" fmla="*/ 0 h 368"/>
              <a:gd name="T119" fmla="*/ 357 w 357"/>
              <a:gd name="T120" fmla="*/ 368 h 368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357" h="368">
                <a:moveTo>
                  <a:pt x="81" y="337"/>
                </a:moveTo>
                <a:lnTo>
                  <a:pt x="79" y="345"/>
                </a:lnTo>
                <a:lnTo>
                  <a:pt x="81" y="345"/>
                </a:lnTo>
                <a:lnTo>
                  <a:pt x="92" y="368"/>
                </a:lnTo>
                <a:lnTo>
                  <a:pt x="97" y="363"/>
                </a:lnTo>
                <a:lnTo>
                  <a:pt x="110" y="367"/>
                </a:lnTo>
                <a:lnTo>
                  <a:pt x="121" y="361"/>
                </a:lnTo>
                <a:lnTo>
                  <a:pt x="128" y="355"/>
                </a:lnTo>
                <a:lnTo>
                  <a:pt x="132" y="364"/>
                </a:lnTo>
                <a:lnTo>
                  <a:pt x="146" y="361"/>
                </a:lnTo>
                <a:lnTo>
                  <a:pt x="151" y="328"/>
                </a:lnTo>
                <a:lnTo>
                  <a:pt x="158" y="322"/>
                </a:lnTo>
                <a:lnTo>
                  <a:pt x="170" y="312"/>
                </a:lnTo>
                <a:lnTo>
                  <a:pt x="175" y="301"/>
                </a:lnTo>
                <a:lnTo>
                  <a:pt x="177" y="288"/>
                </a:lnTo>
                <a:lnTo>
                  <a:pt x="192" y="292"/>
                </a:lnTo>
                <a:lnTo>
                  <a:pt x="195" y="284"/>
                </a:lnTo>
                <a:lnTo>
                  <a:pt x="199" y="282"/>
                </a:lnTo>
                <a:lnTo>
                  <a:pt x="207" y="270"/>
                </a:lnTo>
                <a:lnTo>
                  <a:pt x="220" y="268"/>
                </a:lnTo>
                <a:lnTo>
                  <a:pt x="223" y="259"/>
                </a:lnTo>
                <a:lnTo>
                  <a:pt x="250" y="246"/>
                </a:lnTo>
                <a:lnTo>
                  <a:pt x="271" y="248"/>
                </a:lnTo>
                <a:lnTo>
                  <a:pt x="274" y="248"/>
                </a:lnTo>
                <a:lnTo>
                  <a:pt x="295" y="241"/>
                </a:lnTo>
                <a:lnTo>
                  <a:pt x="319" y="240"/>
                </a:lnTo>
                <a:lnTo>
                  <a:pt x="343" y="240"/>
                </a:lnTo>
                <a:lnTo>
                  <a:pt x="354" y="217"/>
                </a:lnTo>
                <a:lnTo>
                  <a:pt x="355" y="199"/>
                </a:lnTo>
                <a:lnTo>
                  <a:pt x="356" y="181"/>
                </a:lnTo>
                <a:lnTo>
                  <a:pt x="357" y="163"/>
                </a:lnTo>
                <a:lnTo>
                  <a:pt x="357" y="145"/>
                </a:lnTo>
                <a:lnTo>
                  <a:pt x="333" y="145"/>
                </a:lnTo>
                <a:lnTo>
                  <a:pt x="332" y="126"/>
                </a:lnTo>
                <a:lnTo>
                  <a:pt x="302" y="114"/>
                </a:lnTo>
                <a:lnTo>
                  <a:pt x="291" y="104"/>
                </a:lnTo>
                <a:lnTo>
                  <a:pt x="291" y="97"/>
                </a:lnTo>
                <a:lnTo>
                  <a:pt x="276" y="85"/>
                </a:lnTo>
                <a:lnTo>
                  <a:pt x="259" y="72"/>
                </a:lnTo>
                <a:lnTo>
                  <a:pt x="243" y="60"/>
                </a:lnTo>
                <a:lnTo>
                  <a:pt x="228" y="48"/>
                </a:lnTo>
                <a:lnTo>
                  <a:pt x="211" y="36"/>
                </a:lnTo>
                <a:lnTo>
                  <a:pt x="195" y="24"/>
                </a:lnTo>
                <a:lnTo>
                  <a:pt x="180" y="12"/>
                </a:lnTo>
                <a:lnTo>
                  <a:pt x="164" y="0"/>
                </a:lnTo>
                <a:lnTo>
                  <a:pt x="145" y="0"/>
                </a:lnTo>
                <a:lnTo>
                  <a:pt x="126" y="0"/>
                </a:lnTo>
                <a:lnTo>
                  <a:pt x="128" y="26"/>
                </a:lnTo>
                <a:lnTo>
                  <a:pt x="130" y="52"/>
                </a:lnTo>
                <a:lnTo>
                  <a:pt x="133" y="79"/>
                </a:lnTo>
                <a:lnTo>
                  <a:pt x="135" y="105"/>
                </a:lnTo>
                <a:lnTo>
                  <a:pt x="138" y="132"/>
                </a:lnTo>
                <a:lnTo>
                  <a:pt x="140" y="158"/>
                </a:lnTo>
                <a:lnTo>
                  <a:pt x="142" y="184"/>
                </a:lnTo>
                <a:lnTo>
                  <a:pt x="145" y="211"/>
                </a:lnTo>
                <a:lnTo>
                  <a:pt x="151" y="214"/>
                </a:lnTo>
                <a:lnTo>
                  <a:pt x="147" y="235"/>
                </a:lnTo>
                <a:lnTo>
                  <a:pt x="126" y="235"/>
                </a:lnTo>
                <a:lnTo>
                  <a:pt x="105" y="235"/>
                </a:lnTo>
                <a:lnTo>
                  <a:pt x="85" y="235"/>
                </a:lnTo>
                <a:lnTo>
                  <a:pt x="63" y="235"/>
                </a:lnTo>
                <a:lnTo>
                  <a:pt x="61" y="232"/>
                </a:lnTo>
                <a:lnTo>
                  <a:pt x="31" y="241"/>
                </a:lnTo>
                <a:lnTo>
                  <a:pt x="27" y="242"/>
                </a:lnTo>
                <a:lnTo>
                  <a:pt x="14" y="234"/>
                </a:lnTo>
                <a:lnTo>
                  <a:pt x="4" y="255"/>
                </a:lnTo>
                <a:lnTo>
                  <a:pt x="0" y="254"/>
                </a:lnTo>
                <a:lnTo>
                  <a:pt x="6" y="278"/>
                </a:lnTo>
                <a:lnTo>
                  <a:pt x="12" y="288"/>
                </a:lnTo>
                <a:lnTo>
                  <a:pt x="18" y="313"/>
                </a:lnTo>
                <a:lnTo>
                  <a:pt x="15" y="318"/>
                </a:lnTo>
                <a:lnTo>
                  <a:pt x="30" y="319"/>
                </a:lnTo>
                <a:lnTo>
                  <a:pt x="36" y="321"/>
                </a:lnTo>
                <a:lnTo>
                  <a:pt x="49" y="320"/>
                </a:lnTo>
                <a:lnTo>
                  <a:pt x="63" y="314"/>
                </a:lnTo>
                <a:lnTo>
                  <a:pt x="67" y="310"/>
                </a:lnTo>
                <a:lnTo>
                  <a:pt x="74" y="331"/>
                </a:lnTo>
                <a:lnTo>
                  <a:pt x="81" y="33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251" name="Freeform 58"/>
          <p:cNvSpPr>
            <a:spLocks/>
          </p:cNvSpPr>
          <p:nvPr/>
        </p:nvSpPr>
        <p:spPr bwMode="auto">
          <a:xfrm>
            <a:off x="4808538" y="3517900"/>
            <a:ext cx="6350" cy="3175"/>
          </a:xfrm>
          <a:custGeom>
            <a:avLst/>
            <a:gdLst>
              <a:gd name="T0" fmla="*/ 2147483647 w 5"/>
              <a:gd name="T1" fmla="*/ 2147483647 h 4"/>
              <a:gd name="T2" fmla="*/ 2147483647 w 5"/>
              <a:gd name="T3" fmla="*/ 2147483647 h 4"/>
              <a:gd name="T4" fmla="*/ 0 w 5"/>
              <a:gd name="T5" fmla="*/ 0 h 4"/>
              <a:gd name="T6" fmla="*/ 2147483647 w 5"/>
              <a:gd name="T7" fmla="*/ 2147483647 h 4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4"/>
              <a:gd name="T14" fmla="*/ 5 w 5"/>
              <a:gd name="T15" fmla="*/ 4 h 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4">
                <a:moveTo>
                  <a:pt x="5" y="3"/>
                </a:moveTo>
                <a:lnTo>
                  <a:pt x="3" y="4"/>
                </a:lnTo>
                <a:lnTo>
                  <a:pt x="0" y="0"/>
                </a:lnTo>
                <a:lnTo>
                  <a:pt x="5" y="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52" name="Freeform 59"/>
          <p:cNvSpPr>
            <a:spLocks/>
          </p:cNvSpPr>
          <p:nvPr/>
        </p:nvSpPr>
        <p:spPr bwMode="auto">
          <a:xfrm>
            <a:off x="3927475" y="3814763"/>
            <a:ext cx="350838" cy="430212"/>
          </a:xfrm>
          <a:custGeom>
            <a:avLst/>
            <a:gdLst>
              <a:gd name="T0" fmla="*/ 2147483647 w 265"/>
              <a:gd name="T1" fmla="*/ 2147483647 h 312"/>
              <a:gd name="T2" fmla="*/ 2147483647 w 265"/>
              <a:gd name="T3" fmla="*/ 2147483647 h 312"/>
              <a:gd name="T4" fmla="*/ 2147483647 w 265"/>
              <a:gd name="T5" fmla="*/ 2147483647 h 312"/>
              <a:gd name="T6" fmla="*/ 2147483647 w 265"/>
              <a:gd name="T7" fmla="*/ 2147483647 h 312"/>
              <a:gd name="T8" fmla="*/ 2147483647 w 265"/>
              <a:gd name="T9" fmla="*/ 2147483647 h 312"/>
              <a:gd name="T10" fmla="*/ 2147483647 w 265"/>
              <a:gd name="T11" fmla="*/ 2147483647 h 312"/>
              <a:gd name="T12" fmla="*/ 2147483647 w 265"/>
              <a:gd name="T13" fmla="*/ 2147483647 h 312"/>
              <a:gd name="T14" fmla="*/ 0 w 265"/>
              <a:gd name="T15" fmla="*/ 2147483647 h 312"/>
              <a:gd name="T16" fmla="*/ 2147483647 w 265"/>
              <a:gd name="T17" fmla="*/ 2147483647 h 312"/>
              <a:gd name="T18" fmla="*/ 2147483647 w 265"/>
              <a:gd name="T19" fmla="*/ 2147483647 h 312"/>
              <a:gd name="T20" fmla="*/ 2147483647 w 265"/>
              <a:gd name="T21" fmla="*/ 2147483647 h 312"/>
              <a:gd name="T22" fmla="*/ 2147483647 w 265"/>
              <a:gd name="T23" fmla="*/ 2147483647 h 312"/>
              <a:gd name="T24" fmla="*/ 2147483647 w 265"/>
              <a:gd name="T25" fmla="*/ 2147483647 h 312"/>
              <a:gd name="T26" fmla="*/ 2147483647 w 265"/>
              <a:gd name="T27" fmla="*/ 2147483647 h 312"/>
              <a:gd name="T28" fmla="*/ 2147483647 w 265"/>
              <a:gd name="T29" fmla="*/ 2147483647 h 312"/>
              <a:gd name="T30" fmla="*/ 2147483647 w 265"/>
              <a:gd name="T31" fmla="*/ 2147483647 h 312"/>
              <a:gd name="T32" fmla="*/ 2147483647 w 265"/>
              <a:gd name="T33" fmla="*/ 2147483647 h 312"/>
              <a:gd name="T34" fmla="*/ 2147483647 w 265"/>
              <a:gd name="T35" fmla="*/ 2147483647 h 312"/>
              <a:gd name="T36" fmla="*/ 2147483647 w 265"/>
              <a:gd name="T37" fmla="*/ 2147483647 h 312"/>
              <a:gd name="T38" fmla="*/ 2147483647 w 265"/>
              <a:gd name="T39" fmla="*/ 2147483647 h 312"/>
              <a:gd name="T40" fmla="*/ 2147483647 w 265"/>
              <a:gd name="T41" fmla="*/ 2147483647 h 312"/>
              <a:gd name="T42" fmla="*/ 2147483647 w 265"/>
              <a:gd name="T43" fmla="*/ 2147483647 h 312"/>
              <a:gd name="T44" fmla="*/ 2147483647 w 265"/>
              <a:gd name="T45" fmla="*/ 0 h 312"/>
              <a:gd name="T46" fmla="*/ 2147483647 w 265"/>
              <a:gd name="T47" fmla="*/ 2147483647 h 312"/>
              <a:gd name="T48" fmla="*/ 2147483647 w 265"/>
              <a:gd name="T49" fmla="*/ 2147483647 h 312"/>
              <a:gd name="T50" fmla="*/ 2147483647 w 265"/>
              <a:gd name="T51" fmla="*/ 2147483647 h 312"/>
              <a:gd name="T52" fmla="*/ 2147483647 w 265"/>
              <a:gd name="T53" fmla="*/ 2147483647 h 312"/>
              <a:gd name="T54" fmla="*/ 2147483647 w 265"/>
              <a:gd name="T55" fmla="*/ 2147483647 h 312"/>
              <a:gd name="T56" fmla="*/ 2147483647 w 265"/>
              <a:gd name="T57" fmla="*/ 2147483647 h 312"/>
              <a:gd name="T58" fmla="*/ 2147483647 w 265"/>
              <a:gd name="T59" fmla="*/ 2147483647 h 312"/>
              <a:gd name="T60" fmla="*/ 2147483647 w 265"/>
              <a:gd name="T61" fmla="*/ 2147483647 h 312"/>
              <a:gd name="T62" fmla="*/ 2147483647 w 265"/>
              <a:gd name="T63" fmla="*/ 2147483647 h 312"/>
              <a:gd name="T64" fmla="*/ 2147483647 w 265"/>
              <a:gd name="T65" fmla="*/ 2147483647 h 312"/>
              <a:gd name="T66" fmla="*/ 2147483647 w 265"/>
              <a:gd name="T67" fmla="*/ 2147483647 h 312"/>
              <a:gd name="T68" fmla="*/ 2147483647 w 265"/>
              <a:gd name="T69" fmla="*/ 2147483647 h 312"/>
              <a:gd name="T70" fmla="*/ 2147483647 w 265"/>
              <a:gd name="T71" fmla="*/ 2147483647 h 312"/>
              <a:gd name="T72" fmla="*/ 2147483647 w 265"/>
              <a:gd name="T73" fmla="*/ 2147483647 h 312"/>
              <a:gd name="T74" fmla="*/ 2147483647 w 265"/>
              <a:gd name="T75" fmla="*/ 2147483647 h 312"/>
              <a:gd name="T76" fmla="*/ 2147483647 w 265"/>
              <a:gd name="T77" fmla="*/ 2147483647 h 312"/>
              <a:gd name="T78" fmla="*/ 2147483647 w 265"/>
              <a:gd name="T79" fmla="*/ 2147483647 h 312"/>
              <a:gd name="T80" fmla="*/ 2147483647 w 265"/>
              <a:gd name="T81" fmla="*/ 2147483647 h 312"/>
              <a:gd name="T82" fmla="*/ 2147483647 w 265"/>
              <a:gd name="T83" fmla="*/ 2147483647 h 312"/>
              <a:gd name="T84" fmla="*/ 2147483647 w 265"/>
              <a:gd name="T85" fmla="*/ 2147483647 h 312"/>
              <a:gd name="T86" fmla="*/ 2147483647 w 265"/>
              <a:gd name="T87" fmla="*/ 2147483647 h 312"/>
              <a:gd name="T88" fmla="*/ 2147483647 w 265"/>
              <a:gd name="T89" fmla="*/ 2147483647 h 312"/>
              <a:gd name="T90" fmla="*/ 2147483647 w 265"/>
              <a:gd name="T91" fmla="*/ 2147483647 h 312"/>
              <a:gd name="T92" fmla="*/ 2147483647 w 265"/>
              <a:gd name="T93" fmla="*/ 2147483647 h 312"/>
              <a:gd name="T94" fmla="*/ 2147483647 w 265"/>
              <a:gd name="T95" fmla="*/ 2147483647 h 312"/>
              <a:gd name="T96" fmla="*/ 2147483647 w 265"/>
              <a:gd name="T97" fmla="*/ 2147483647 h 312"/>
              <a:gd name="T98" fmla="*/ 2147483647 w 265"/>
              <a:gd name="T99" fmla="*/ 2147483647 h 312"/>
              <a:gd name="T100" fmla="*/ 2147483647 w 265"/>
              <a:gd name="T101" fmla="*/ 2147483647 h 312"/>
              <a:gd name="T102" fmla="*/ 2147483647 w 265"/>
              <a:gd name="T103" fmla="*/ 2147483647 h 312"/>
              <a:gd name="T104" fmla="*/ 2147483647 w 265"/>
              <a:gd name="T105" fmla="*/ 2147483647 h 312"/>
              <a:gd name="T106" fmla="*/ 2147483647 w 265"/>
              <a:gd name="T107" fmla="*/ 2147483647 h 31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65"/>
              <a:gd name="T163" fmla="*/ 0 h 312"/>
              <a:gd name="T164" fmla="*/ 265 w 265"/>
              <a:gd name="T165" fmla="*/ 312 h 312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65" h="312">
                <a:moveTo>
                  <a:pt x="13" y="269"/>
                </a:moveTo>
                <a:lnTo>
                  <a:pt x="8" y="279"/>
                </a:lnTo>
                <a:lnTo>
                  <a:pt x="14" y="250"/>
                </a:lnTo>
                <a:lnTo>
                  <a:pt x="20" y="220"/>
                </a:lnTo>
                <a:lnTo>
                  <a:pt x="14" y="196"/>
                </a:lnTo>
                <a:lnTo>
                  <a:pt x="15" y="169"/>
                </a:lnTo>
                <a:lnTo>
                  <a:pt x="1" y="155"/>
                </a:lnTo>
                <a:lnTo>
                  <a:pt x="0" y="161"/>
                </a:lnTo>
                <a:lnTo>
                  <a:pt x="3" y="148"/>
                </a:lnTo>
                <a:lnTo>
                  <a:pt x="24" y="148"/>
                </a:lnTo>
                <a:lnTo>
                  <a:pt x="45" y="148"/>
                </a:lnTo>
                <a:lnTo>
                  <a:pt x="67" y="148"/>
                </a:lnTo>
                <a:lnTo>
                  <a:pt x="87" y="148"/>
                </a:lnTo>
                <a:lnTo>
                  <a:pt x="89" y="126"/>
                </a:lnTo>
                <a:lnTo>
                  <a:pt x="89" y="106"/>
                </a:lnTo>
                <a:lnTo>
                  <a:pt x="110" y="95"/>
                </a:lnTo>
                <a:lnTo>
                  <a:pt x="110" y="64"/>
                </a:lnTo>
                <a:lnTo>
                  <a:pt x="111" y="31"/>
                </a:lnTo>
                <a:lnTo>
                  <a:pt x="129" y="31"/>
                </a:lnTo>
                <a:lnTo>
                  <a:pt x="147" y="31"/>
                </a:lnTo>
                <a:lnTo>
                  <a:pt x="165" y="31"/>
                </a:lnTo>
                <a:lnTo>
                  <a:pt x="182" y="31"/>
                </a:lnTo>
                <a:lnTo>
                  <a:pt x="183" y="0"/>
                </a:lnTo>
                <a:lnTo>
                  <a:pt x="204" y="13"/>
                </a:lnTo>
                <a:lnTo>
                  <a:pt x="224" y="28"/>
                </a:lnTo>
                <a:lnTo>
                  <a:pt x="245" y="42"/>
                </a:lnTo>
                <a:lnTo>
                  <a:pt x="265" y="57"/>
                </a:lnTo>
                <a:lnTo>
                  <a:pt x="246" y="57"/>
                </a:lnTo>
                <a:lnTo>
                  <a:pt x="227" y="57"/>
                </a:lnTo>
                <a:lnTo>
                  <a:pt x="229" y="83"/>
                </a:lnTo>
                <a:lnTo>
                  <a:pt x="231" y="109"/>
                </a:lnTo>
                <a:lnTo>
                  <a:pt x="234" y="136"/>
                </a:lnTo>
                <a:lnTo>
                  <a:pt x="236" y="162"/>
                </a:lnTo>
                <a:lnTo>
                  <a:pt x="239" y="189"/>
                </a:lnTo>
                <a:lnTo>
                  <a:pt x="241" y="215"/>
                </a:lnTo>
                <a:lnTo>
                  <a:pt x="243" y="241"/>
                </a:lnTo>
                <a:lnTo>
                  <a:pt x="246" y="268"/>
                </a:lnTo>
                <a:lnTo>
                  <a:pt x="252" y="271"/>
                </a:lnTo>
                <a:lnTo>
                  <a:pt x="248" y="292"/>
                </a:lnTo>
                <a:lnTo>
                  <a:pt x="227" y="292"/>
                </a:lnTo>
                <a:lnTo>
                  <a:pt x="206" y="292"/>
                </a:lnTo>
                <a:lnTo>
                  <a:pt x="186" y="292"/>
                </a:lnTo>
                <a:lnTo>
                  <a:pt x="164" y="292"/>
                </a:lnTo>
                <a:lnTo>
                  <a:pt x="162" y="289"/>
                </a:lnTo>
                <a:lnTo>
                  <a:pt x="132" y="298"/>
                </a:lnTo>
                <a:lnTo>
                  <a:pt x="128" y="299"/>
                </a:lnTo>
                <a:lnTo>
                  <a:pt x="115" y="291"/>
                </a:lnTo>
                <a:lnTo>
                  <a:pt x="105" y="312"/>
                </a:lnTo>
                <a:lnTo>
                  <a:pt x="101" y="311"/>
                </a:lnTo>
                <a:lnTo>
                  <a:pt x="85" y="293"/>
                </a:lnTo>
                <a:lnTo>
                  <a:pt x="69" y="276"/>
                </a:lnTo>
                <a:lnTo>
                  <a:pt x="48" y="264"/>
                </a:lnTo>
                <a:lnTo>
                  <a:pt x="31" y="267"/>
                </a:lnTo>
                <a:lnTo>
                  <a:pt x="13" y="269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53" name="Freeform 60"/>
          <p:cNvSpPr>
            <a:spLocks/>
          </p:cNvSpPr>
          <p:nvPr/>
        </p:nvSpPr>
        <p:spPr bwMode="auto">
          <a:xfrm>
            <a:off x="4044950" y="3521075"/>
            <a:ext cx="342900" cy="279400"/>
          </a:xfrm>
          <a:custGeom>
            <a:avLst/>
            <a:gdLst>
              <a:gd name="T0" fmla="*/ 2147483647 w 258"/>
              <a:gd name="T1" fmla="*/ 2147483647 h 204"/>
              <a:gd name="T2" fmla="*/ 2147483647 w 258"/>
              <a:gd name="T3" fmla="*/ 2147483647 h 204"/>
              <a:gd name="T4" fmla="*/ 2147483647 w 258"/>
              <a:gd name="T5" fmla="*/ 2147483647 h 204"/>
              <a:gd name="T6" fmla="*/ 2147483647 w 258"/>
              <a:gd name="T7" fmla="*/ 2147483647 h 204"/>
              <a:gd name="T8" fmla="*/ 2147483647 w 258"/>
              <a:gd name="T9" fmla="*/ 2147483647 h 204"/>
              <a:gd name="T10" fmla="*/ 2147483647 w 258"/>
              <a:gd name="T11" fmla="*/ 2147483647 h 204"/>
              <a:gd name="T12" fmla="*/ 2147483647 w 258"/>
              <a:gd name="T13" fmla="*/ 2147483647 h 204"/>
              <a:gd name="T14" fmla="*/ 2147483647 w 258"/>
              <a:gd name="T15" fmla="*/ 2147483647 h 204"/>
              <a:gd name="T16" fmla="*/ 2147483647 w 258"/>
              <a:gd name="T17" fmla="*/ 2147483647 h 204"/>
              <a:gd name="T18" fmla="*/ 2147483647 w 258"/>
              <a:gd name="T19" fmla="*/ 2147483647 h 204"/>
              <a:gd name="T20" fmla="*/ 0 w 258"/>
              <a:gd name="T21" fmla="*/ 2147483647 h 204"/>
              <a:gd name="T22" fmla="*/ 2147483647 w 258"/>
              <a:gd name="T23" fmla="*/ 2147483647 h 204"/>
              <a:gd name="T24" fmla="*/ 2147483647 w 258"/>
              <a:gd name="T25" fmla="*/ 2147483647 h 204"/>
              <a:gd name="T26" fmla="*/ 2147483647 w 258"/>
              <a:gd name="T27" fmla="*/ 2147483647 h 204"/>
              <a:gd name="T28" fmla="*/ 2147483647 w 258"/>
              <a:gd name="T29" fmla="*/ 2147483647 h 204"/>
              <a:gd name="T30" fmla="*/ 2147483647 w 258"/>
              <a:gd name="T31" fmla="*/ 2147483647 h 204"/>
              <a:gd name="T32" fmla="*/ 2147483647 w 258"/>
              <a:gd name="T33" fmla="*/ 2147483647 h 204"/>
              <a:gd name="T34" fmla="*/ 2147483647 w 258"/>
              <a:gd name="T35" fmla="*/ 2147483647 h 204"/>
              <a:gd name="T36" fmla="*/ 2147483647 w 258"/>
              <a:gd name="T37" fmla="*/ 2147483647 h 204"/>
              <a:gd name="T38" fmla="*/ 2147483647 w 258"/>
              <a:gd name="T39" fmla="*/ 2147483647 h 204"/>
              <a:gd name="T40" fmla="*/ 2147483647 w 258"/>
              <a:gd name="T41" fmla="*/ 2147483647 h 204"/>
              <a:gd name="T42" fmla="*/ 2147483647 w 258"/>
              <a:gd name="T43" fmla="*/ 2147483647 h 204"/>
              <a:gd name="T44" fmla="*/ 2147483647 w 258"/>
              <a:gd name="T45" fmla="*/ 2147483647 h 204"/>
              <a:gd name="T46" fmla="*/ 2147483647 w 258"/>
              <a:gd name="T47" fmla="*/ 2147483647 h 204"/>
              <a:gd name="T48" fmla="*/ 2147483647 w 258"/>
              <a:gd name="T49" fmla="*/ 2147483647 h 204"/>
              <a:gd name="T50" fmla="*/ 2147483647 w 258"/>
              <a:gd name="T51" fmla="*/ 2147483647 h 204"/>
              <a:gd name="T52" fmla="*/ 2147483647 w 258"/>
              <a:gd name="T53" fmla="*/ 2147483647 h 204"/>
              <a:gd name="T54" fmla="*/ 2147483647 w 258"/>
              <a:gd name="T55" fmla="*/ 2147483647 h 204"/>
              <a:gd name="T56" fmla="*/ 2147483647 w 258"/>
              <a:gd name="T57" fmla="*/ 2147483647 h 204"/>
              <a:gd name="T58" fmla="*/ 2147483647 w 258"/>
              <a:gd name="T59" fmla="*/ 2147483647 h 204"/>
              <a:gd name="T60" fmla="*/ 2147483647 w 258"/>
              <a:gd name="T61" fmla="*/ 2147483647 h 204"/>
              <a:gd name="T62" fmla="*/ 2147483647 w 258"/>
              <a:gd name="T63" fmla="*/ 2147483647 h 204"/>
              <a:gd name="T64" fmla="*/ 2147483647 w 258"/>
              <a:gd name="T65" fmla="*/ 2147483647 h 204"/>
              <a:gd name="T66" fmla="*/ 2147483647 w 258"/>
              <a:gd name="T67" fmla="*/ 0 h 204"/>
              <a:gd name="T68" fmla="*/ 2147483647 w 258"/>
              <a:gd name="T69" fmla="*/ 2147483647 h 204"/>
              <a:gd name="T70" fmla="*/ 2147483647 w 258"/>
              <a:gd name="T71" fmla="*/ 2147483647 h 204"/>
              <a:gd name="T72" fmla="*/ 2147483647 w 258"/>
              <a:gd name="T73" fmla="*/ 2147483647 h 204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258"/>
              <a:gd name="T112" fmla="*/ 0 h 204"/>
              <a:gd name="T113" fmla="*/ 258 w 258"/>
              <a:gd name="T114" fmla="*/ 204 h 204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258" h="204">
                <a:moveTo>
                  <a:pt x="134" y="50"/>
                </a:moveTo>
                <a:lnTo>
                  <a:pt x="114" y="62"/>
                </a:lnTo>
                <a:lnTo>
                  <a:pt x="95" y="74"/>
                </a:lnTo>
                <a:lnTo>
                  <a:pt x="84" y="93"/>
                </a:lnTo>
                <a:lnTo>
                  <a:pt x="75" y="112"/>
                </a:lnTo>
                <a:lnTo>
                  <a:pt x="77" y="135"/>
                </a:lnTo>
                <a:lnTo>
                  <a:pt x="68" y="152"/>
                </a:lnTo>
                <a:lnTo>
                  <a:pt x="57" y="170"/>
                </a:lnTo>
                <a:lnTo>
                  <a:pt x="41" y="182"/>
                </a:lnTo>
                <a:lnTo>
                  <a:pt x="24" y="193"/>
                </a:lnTo>
                <a:lnTo>
                  <a:pt x="0" y="204"/>
                </a:lnTo>
                <a:lnTo>
                  <a:pt x="24" y="204"/>
                </a:lnTo>
                <a:lnTo>
                  <a:pt x="48" y="204"/>
                </a:lnTo>
                <a:lnTo>
                  <a:pt x="72" y="204"/>
                </a:lnTo>
                <a:lnTo>
                  <a:pt x="96" y="204"/>
                </a:lnTo>
                <a:lnTo>
                  <a:pt x="101" y="175"/>
                </a:lnTo>
                <a:lnTo>
                  <a:pt x="119" y="165"/>
                </a:lnTo>
                <a:lnTo>
                  <a:pt x="136" y="154"/>
                </a:lnTo>
                <a:lnTo>
                  <a:pt x="154" y="147"/>
                </a:lnTo>
                <a:lnTo>
                  <a:pt x="173" y="139"/>
                </a:lnTo>
                <a:lnTo>
                  <a:pt x="189" y="128"/>
                </a:lnTo>
                <a:lnTo>
                  <a:pt x="203" y="117"/>
                </a:lnTo>
                <a:lnTo>
                  <a:pt x="203" y="103"/>
                </a:lnTo>
                <a:lnTo>
                  <a:pt x="231" y="92"/>
                </a:lnTo>
                <a:lnTo>
                  <a:pt x="254" y="91"/>
                </a:lnTo>
                <a:lnTo>
                  <a:pt x="258" y="84"/>
                </a:lnTo>
                <a:lnTo>
                  <a:pt x="245" y="62"/>
                </a:lnTo>
                <a:lnTo>
                  <a:pt x="243" y="43"/>
                </a:lnTo>
                <a:lnTo>
                  <a:pt x="239" y="25"/>
                </a:lnTo>
                <a:lnTo>
                  <a:pt x="234" y="19"/>
                </a:lnTo>
                <a:lnTo>
                  <a:pt x="220" y="15"/>
                </a:lnTo>
                <a:lnTo>
                  <a:pt x="214" y="15"/>
                </a:lnTo>
                <a:lnTo>
                  <a:pt x="178" y="14"/>
                </a:lnTo>
                <a:lnTo>
                  <a:pt x="167" y="0"/>
                </a:lnTo>
                <a:lnTo>
                  <a:pt x="155" y="9"/>
                </a:lnTo>
                <a:lnTo>
                  <a:pt x="144" y="30"/>
                </a:lnTo>
                <a:lnTo>
                  <a:pt x="134" y="5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54" name="Freeform 61"/>
          <p:cNvSpPr>
            <a:spLocks/>
          </p:cNvSpPr>
          <p:nvPr/>
        </p:nvSpPr>
        <p:spPr bwMode="auto">
          <a:xfrm>
            <a:off x="4422775" y="3941763"/>
            <a:ext cx="450850" cy="404812"/>
          </a:xfrm>
          <a:custGeom>
            <a:avLst/>
            <a:gdLst>
              <a:gd name="T0" fmla="*/ 2147483647 w 339"/>
              <a:gd name="T1" fmla="*/ 2147483647 h 293"/>
              <a:gd name="T2" fmla="*/ 2147483647 w 339"/>
              <a:gd name="T3" fmla="*/ 2147483647 h 293"/>
              <a:gd name="T4" fmla="*/ 2147483647 w 339"/>
              <a:gd name="T5" fmla="*/ 2147483647 h 293"/>
              <a:gd name="T6" fmla="*/ 2147483647 w 339"/>
              <a:gd name="T7" fmla="*/ 2147483647 h 293"/>
              <a:gd name="T8" fmla="*/ 2147483647 w 339"/>
              <a:gd name="T9" fmla="*/ 2147483647 h 293"/>
              <a:gd name="T10" fmla="*/ 2147483647 w 339"/>
              <a:gd name="T11" fmla="*/ 2147483647 h 293"/>
              <a:gd name="T12" fmla="*/ 0 w 339"/>
              <a:gd name="T13" fmla="*/ 2147483647 h 293"/>
              <a:gd name="T14" fmla="*/ 2147483647 w 339"/>
              <a:gd name="T15" fmla="*/ 2147483647 h 293"/>
              <a:gd name="T16" fmla="*/ 2147483647 w 339"/>
              <a:gd name="T17" fmla="*/ 2147483647 h 293"/>
              <a:gd name="T18" fmla="*/ 2147483647 w 339"/>
              <a:gd name="T19" fmla="*/ 2147483647 h 293"/>
              <a:gd name="T20" fmla="*/ 2147483647 w 339"/>
              <a:gd name="T21" fmla="*/ 2147483647 h 293"/>
              <a:gd name="T22" fmla="*/ 2147483647 w 339"/>
              <a:gd name="T23" fmla="*/ 2147483647 h 293"/>
              <a:gd name="T24" fmla="*/ 2147483647 w 339"/>
              <a:gd name="T25" fmla="*/ 2147483647 h 293"/>
              <a:gd name="T26" fmla="*/ 2147483647 w 339"/>
              <a:gd name="T27" fmla="*/ 2147483647 h 293"/>
              <a:gd name="T28" fmla="*/ 2147483647 w 339"/>
              <a:gd name="T29" fmla="*/ 2147483647 h 293"/>
              <a:gd name="T30" fmla="*/ 2147483647 w 339"/>
              <a:gd name="T31" fmla="*/ 2147483647 h 293"/>
              <a:gd name="T32" fmla="*/ 2147483647 w 339"/>
              <a:gd name="T33" fmla="*/ 2147483647 h 293"/>
              <a:gd name="T34" fmla="*/ 2147483647 w 339"/>
              <a:gd name="T35" fmla="*/ 2147483647 h 293"/>
              <a:gd name="T36" fmla="*/ 2147483647 w 339"/>
              <a:gd name="T37" fmla="*/ 2147483647 h 293"/>
              <a:gd name="T38" fmla="*/ 2147483647 w 339"/>
              <a:gd name="T39" fmla="*/ 2147483647 h 293"/>
              <a:gd name="T40" fmla="*/ 2147483647 w 339"/>
              <a:gd name="T41" fmla="*/ 2147483647 h 293"/>
              <a:gd name="T42" fmla="*/ 2147483647 w 339"/>
              <a:gd name="T43" fmla="*/ 2147483647 h 293"/>
              <a:gd name="T44" fmla="*/ 2147483647 w 339"/>
              <a:gd name="T45" fmla="*/ 2147483647 h 293"/>
              <a:gd name="T46" fmla="*/ 2147483647 w 339"/>
              <a:gd name="T47" fmla="*/ 0 h 293"/>
              <a:gd name="T48" fmla="*/ 2147483647 w 339"/>
              <a:gd name="T49" fmla="*/ 2147483647 h 293"/>
              <a:gd name="T50" fmla="*/ 2147483647 w 339"/>
              <a:gd name="T51" fmla="*/ 2147483647 h 293"/>
              <a:gd name="T52" fmla="*/ 2147483647 w 339"/>
              <a:gd name="T53" fmla="*/ 2147483647 h 293"/>
              <a:gd name="T54" fmla="*/ 2147483647 w 339"/>
              <a:gd name="T55" fmla="*/ 2147483647 h 293"/>
              <a:gd name="T56" fmla="*/ 2147483647 w 339"/>
              <a:gd name="T57" fmla="*/ 2147483647 h 293"/>
              <a:gd name="T58" fmla="*/ 2147483647 w 339"/>
              <a:gd name="T59" fmla="*/ 2147483647 h 293"/>
              <a:gd name="T60" fmla="*/ 2147483647 w 339"/>
              <a:gd name="T61" fmla="*/ 2147483647 h 293"/>
              <a:gd name="T62" fmla="*/ 2147483647 w 339"/>
              <a:gd name="T63" fmla="*/ 2147483647 h 293"/>
              <a:gd name="T64" fmla="*/ 2147483647 w 339"/>
              <a:gd name="T65" fmla="*/ 2147483647 h 293"/>
              <a:gd name="T66" fmla="*/ 2147483647 w 339"/>
              <a:gd name="T67" fmla="*/ 2147483647 h 293"/>
              <a:gd name="T68" fmla="*/ 2147483647 w 339"/>
              <a:gd name="T69" fmla="*/ 2147483647 h 293"/>
              <a:gd name="T70" fmla="*/ 2147483647 w 339"/>
              <a:gd name="T71" fmla="*/ 2147483647 h 293"/>
              <a:gd name="T72" fmla="*/ 2147483647 w 339"/>
              <a:gd name="T73" fmla="*/ 2147483647 h 293"/>
              <a:gd name="T74" fmla="*/ 2147483647 w 339"/>
              <a:gd name="T75" fmla="*/ 2147483647 h 293"/>
              <a:gd name="T76" fmla="*/ 2147483647 w 339"/>
              <a:gd name="T77" fmla="*/ 2147483647 h 293"/>
              <a:gd name="T78" fmla="*/ 2147483647 w 339"/>
              <a:gd name="T79" fmla="*/ 2147483647 h 293"/>
              <a:gd name="T80" fmla="*/ 2147483647 w 339"/>
              <a:gd name="T81" fmla="*/ 2147483647 h 293"/>
              <a:gd name="T82" fmla="*/ 2147483647 w 339"/>
              <a:gd name="T83" fmla="*/ 2147483647 h 293"/>
              <a:gd name="T84" fmla="*/ 2147483647 w 339"/>
              <a:gd name="T85" fmla="*/ 2147483647 h 293"/>
              <a:gd name="T86" fmla="*/ 2147483647 w 339"/>
              <a:gd name="T87" fmla="*/ 2147483647 h 293"/>
              <a:gd name="T88" fmla="*/ 2147483647 w 339"/>
              <a:gd name="T89" fmla="*/ 2147483647 h 293"/>
              <a:gd name="T90" fmla="*/ 2147483647 w 339"/>
              <a:gd name="T91" fmla="*/ 2147483647 h 293"/>
              <a:gd name="T92" fmla="*/ 2147483647 w 339"/>
              <a:gd name="T93" fmla="*/ 2147483647 h 293"/>
              <a:gd name="T94" fmla="*/ 2147483647 w 339"/>
              <a:gd name="T95" fmla="*/ 2147483647 h 293"/>
              <a:gd name="T96" fmla="*/ 2147483647 w 339"/>
              <a:gd name="T97" fmla="*/ 2147483647 h 293"/>
              <a:gd name="T98" fmla="*/ 2147483647 w 339"/>
              <a:gd name="T99" fmla="*/ 2147483647 h 293"/>
              <a:gd name="T100" fmla="*/ 2147483647 w 339"/>
              <a:gd name="T101" fmla="*/ 2147483647 h 293"/>
              <a:gd name="T102" fmla="*/ 2147483647 w 339"/>
              <a:gd name="T103" fmla="*/ 2147483647 h 293"/>
              <a:gd name="T104" fmla="*/ 2147483647 w 339"/>
              <a:gd name="T105" fmla="*/ 2147483647 h 293"/>
              <a:gd name="T106" fmla="*/ 2147483647 w 339"/>
              <a:gd name="T107" fmla="*/ 2147483647 h 293"/>
              <a:gd name="T108" fmla="*/ 2147483647 w 339"/>
              <a:gd name="T109" fmla="*/ 2147483647 h 293"/>
              <a:gd name="T110" fmla="*/ 2147483647 w 339"/>
              <a:gd name="T111" fmla="*/ 2147483647 h 293"/>
              <a:gd name="T112" fmla="*/ 2147483647 w 339"/>
              <a:gd name="T113" fmla="*/ 2147483647 h 293"/>
              <a:gd name="T114" fmla="*/ 2147483647 w 339"/>
              <a:gd name="T115" fmla="*/ 2147483647 h 293"/>
              <a:gd name="T116" fmla="*/ 2147483647 w 339"/>
              <a:gd name="T117" fmla="*/ 2147483647 h 29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339"/>
              <a:gd name="T178" fmla="*/ 0 h 293"/>
              <a:gd name="T179" fmla="*/ 339 w 339"/>
              <a:gd name="T180" fmla="*/ 293 h 293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339" h="293">
                <a:moveTo>
                  <a:pt x="37" y="267"/>
                </a:moveTo>
                <a:lnTo>
                  <a:pt x="30" y="270"/>
                </a:lnTo>
                <a:lnTo>
                  <a:pt x="17" y="259"/>
                </a:lnTo>
                <a:lnTo>
                  <a:pt x="17" y="252"/>
                </a:lnTo>
                <a:lnTo>
                  <a:pt x="20" y="251"/>
                </a:lnTo>
                <a:lnTo>
                  <a:pt x="2" y="233"/>
                </a:lnTo>
                <a:lnTo>
                  <a:pt x="0" y="211"/>
                </a:lnTo>
                <a:lnTo>
                  <a:pt x="3" y="211"/>
                </a:lnTo>
                <a:lnTo>
                  <a:pt x="24" y="204"/>
                </a:lnTo>
                <a:lnTo>
                  <a:pt x="48" y="203"/>
                </a:lnTo>
                <a:lnTo>
                  <a:pt x="72" y="203"/>
                </a:lnTo>
                <a:lnTo>
                  <a:pt x="83" y="180"/>
                </a:lnTo>
                <a:lnTo>
                  <a:pt x="84" y="162"/>
                </a:lnTo>
                <a:lnTo>
                  <a:pt x="85" y="144"/>
                </a:lnTo>
                <a:lnTo>
                  <a:pt x="86" y="126"/>
                </a:lnTo>
                <a:lnTo>
                  <a:pt x="86" y="108"/>
                </a:lnTo>
                <a:lnTo>
                  <a:pt x="103" y="104"/>
                </a:lnTo>
                <a:lnTo>
                  <a:pt x="121" y="101"/>
                </a:lnTo>
                <a:lnTo>
                  <a:pt x="138" y="83"/>
                </a:lnTo>
                <a:lnTo>
                  <a:pt x="155" y="66"/>
                </a:lnTo>
                <a:lnTo>
                  <a:pt x="180" y="49"/>
                </a:lnTo>
                <a:lnTo>
                  <a:pt x="204" y="32"/>
                </a:lnTo>
                <a:lnTo>
                  <a:pt x="228" y="15"/>
                </a:lnTo>
                <a:lnTo>
                  <a:pt x="252" y="0"/>
                </a:lnTo>
                <a:lnTo>
                  <a:pt x="282" y="7"/>
                </a:lnTo>
                <a:lnTo>
                  <a:pt x="300" y="21"/>
                </a:lnTo>
                <a:lnTo>
                  <a:pt x="315" y="13"/>
                </a:lnTo>
                <a:lnTo>
                  <a:pt x="317" y="12"/>
                </a:lnTo>
                <a:lnTo>
                  <a:pt x="319" y="31"/>
                </a:lnTo>
                <a:lnTo>
                  <a:pt x="321" y="49"/>
                </a:lnTo>
                <a:lnTo>
                  <a:pt x="339" y="78"/>
                </a:lnTo>
                <a:lnTo>
                  <a:pt x="335" y="89"/>
                </a:lnTo>
                <a:lnTo>
                  <a:pt x="333" y="107"/>
                </a:lnTo>
                <a:lnTo>
                  <a:pt x="332" y="126"/>
                </a:lnTo>
                <a:lnTo>
                  <a:pt x="331" y="145"/>
                </a:lnTo>
                <a:lnTo>
                  <a:pt x="330" y="163"/>
                </a:lnTo>
                <a:lnTo>
                  <a:pt x="320" y="179"/>
                </a:lnTo>
                <a:lnTo>
                  <a:pt x="311" y="193"/>
                </a:lnTo>
                <a:lnTo>
                  <a:pt x="301" y="207"/>
                </a:lnTo>
                <a:lnTo>
                  <a:pt x="290" y="223"/>
                </a:lnTo>
                <a:lnTo>
                  <a:pt x="291" y="242"/>
                </a:lnTo>
                <a:lnTo>
                  <a:pt x="267" y="257"/>
                </a:lnTo>
                <a:lnTo>
                  <a:pt x="245" y="254"/>
                </a:lnTo>
                <a:lnTo>
                  <a:pt x="223" y="253"/>
                </a:lnTo>
                <a:lnTo>
                  <a:pt x="198" y="265"/>
                </a:lnTo>
                <a:lnTo>
                  <a:pt x="181" y="258"/>
                </a:lnTo>
                <a:lnTo>
                  <a:pt x="165" y="252"/>
                </a:lnTo>
                <a:lnTo>
                  <a:pt x="143" y="258"/>
                </a:lnTo>
                <a:lnTo>
                  <a:pt x="128" y="243"/>
                </a:lnTo>
                <a:lnTo>
                  <a:pt x="107" y="242"/>
                </a:lnTo>
                <a:lnTo>
                  <a:pt x="85" y="248"/>
                </a:lnTo>
                <a:lnTo>
                  <a:pt x="81" y="266"/>
                </a:lnTo>
                <a:lnTo>
                  <a:pt x="74" y="283"/>
                </a:lnTo>
                <a:lnTo>
                  <a:pt x="73" y="293"/>
                </a:lnTo>
                <a:lnTo>
                  <a:pt x="54" y="277"/>
                </a:lnTo>
                <a:lnTo>
                  <a:pt x="48" y="284"/>
                </a:lnTo>
                <a:lnTo>
                  <a:pt x="48" y="288"/>
                </a:lnTo>
                <a:lnTo>
                  <a:pt x="42" y="276"/>
                </a:lnTo>
                <a:lnTo>
                  <a:pt x="37" y="26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55" name="Freeform 62"/>
          <p:cNvSpPr>
            <a:spLocks/>
          </p:cNvSpPr>
          <p:nvPr/>
        </p:nvSpPr>
        <p:spPr bwMode="auto">
          <a:xfrm>
            <a:off x="3913188" y="4178300"/>
            <a:ext cx="171450" cy="144463"/>
          </a:xfrm>
          <a:custGeom>
            <a:avLst/>
            <a:gdLst>
              <a:gd name="T0" fmla="*/ 2147483647 w 131"/>
              <a:gd name="T1" fmla="*/ 2147483647 h 107"/>
              <a:gd name="T2" fmla="*/ 2147483647 w 131"/>
              <a:gd name="T3" fmla="*/ 2147483647 h 107"/>
              <a:gd name="T4" fmla="*/ 2147483647 w 131"/>
              <a:gd name="T5" fmla="*/ 2147483647 h 107"/>
              <a:gd name="T6" fmla="*/ 0 w 131"/>
              <a:gd name="T7" fmla="*/ 2147483647 h 107"/>
              <a:gd name="T8" fmla="*/ 2147483647 w 131"/>
              <a:gd name="T9" fmla="*/ 2147483647 h 107"/>
              <a:gd name="T10" fmla="*/ 2147483647 w 131"/>
              <a:gd name="T11" fmla="*/ 2147483647 h 107"/>
              <a:gd name="T12" fmla="*/ 2147483647 w 131"/>
              <a:gd name="T13" fmla="*/ 2147483647 h 107"/>
              <a:gd name="T14" fmla="*/ 2147483647 w 131"/>
              <a:gd name="T15" fmla="*/ 2147483647 h 107"/>
              <a:gd name="T16" fmla="*/ 2147483647 w 131"/>
              <a:gd name="T17" fmla="*/ 2147483647 h 107"/>
              <a:gd name="T18" fmla="*/ 2147483647 w 131"/>
              <a:gd name="T19" fmla="*/ 2147483647 h 107"/>
              <a:gd name="T20" fmla="*/ 2147483647 w 131"/>
              <a:gd name="T21" fmla="*/ 2147483647 h 107"/>
              <a:gd name="T22" fmla="*/ 2147483647 w 131"/>
              <a:gd name="T23" fmla="*/ 2147483647 h 107"/>
              <a:gd name="T24" fmla="*/ 2147483647 w 131"/>
              <a:gd name="T25" fmla="*/ 2147483647 h 107"/>
              <a:gd name="T26" fmla="*/ 2147483647 w 131"/>
              <a:gd name="T27" fmla="*/ 2147483647 h 107"/>
              <a:gd name="T28" fmla="*/ 2147483647 w 131"/>
              <a:gd name="T29" fmla="*/ 2147483647 h 107"/>
              <a:gd name="T30" fmla="*/ 2147483647 w 131"/>
              <a:gd name="T31" fmla="*/ 2147483647 h 107"/>
              <a:gd name="T32" fmla="*/ 2147483647 w 131"/>
              <a:gd name="T33" fmla="*/ 2147483647 h 107"/>
              <a:gd name="T34" fmla="*/ 2147483647 w 131"/>
              <a:gd name="T35" fmla="*/ 2147483647 h 107"/>
              <a:gd name="T36" fmla="*/ 2147483647 w 131"/>
              <a:gd name="T37" fmla="*/ 2147483647 h 107"/>
              <a:gd name="T38" fmla="*/ 2147483647 w 131"/>
              <a:gd name="T39" fmla="*/ 2147483647 h 107"/>
              <a:gd name="T40" fmla="*/ 2147483647 w 131"/>
              <a:gd name="T41" fmla="*/ 2147483647 h 107"/>
              <a:gd name="T42" fmla="*/ 2147483647 w 131"/>
              <a:gd name="T43" fmla="*/ 2147483647 h 107"/>
              <a:gd name="T44" fmla="*/ 2147483647 w 131"/>
              <a:gd name="T45" fmla="*/ 2147483647 h 107"/>
              <a:gd name="T46" fmla="*/ 2147483647 w 131"/>
              <a:gd name="T47" fmla="*/ 2147483647 h 107"/>
              <a:gd name="T48" fmla="*/ 2147483647 w 131"/>
              <a:gd name="T49" fmla="*/ 2147483647 h 107"/>
              <a:gd name="T50" fmla="*/ 2147483647 w 131"/>
              <a:gd name="T51" fmla="*/ 2147483647 h 107"/>
              <a:gd name="T52" fmla="*/ 2147483647 w 131"/>
              <a:gd name="T53" fmla="*/ 2147483647 h 107"/>
              <a:gd name="T54" fmla="*/ 2147483647 w 131"/>
              <a:gd name="T55" fmla="*/ 2147483647 h 107"/>
              <a:gd name="T56" fmla="*/ 2147483647 w 131"/>
              <a:gd name="T57" fmla="*/ 2147483647 h 107"/>
              <a:gd name="T58" fmla="*/ 2147483647 w 131"/>
              <a:gd name="T59" fmla="*/ 2147483647 h 107"/>
              <a:gd name="T60" fmla="*/ 2147483647 w 131"/>
              <a:gd name="T61" fmla="*/ 2147483647 h 107"/>
              <a:gd name="T62" fmla="*/ 2147483647 w 131"/>
              <a:gd name="T63" fmla="*/ 2147483647 h 107"/>
              <a:gd name="T64" fmla="*/ 2147483647 w 131"/>
              <a:gd name="T65" fmla="*/ 0 h 107"/>
              <a:gd name="T66" fmla="*/ 2147483647 w 131"/>
              <a:gd name="T67" fmla="*/ 2147483647 h 107"/>
              <a:gd name="T68" fmla="*/ 2147483647 w 131"/>
              <a:gd name="T69" fmla="*/ 2147483647 h 10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31"/>
              <a:gd name="T106" fmla="*/ 0 h 107"/>
              <a:gd name="T107" fmla="*/ 131 w 131"/>
              <a:gd name="T108" fmla="*/ 107 h 107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31" h="107">
                <a:moveTo>
                  <a:pt x="25" y="5"/>
                </a:moveTo>
                <a:lnTo>
                  <a:pt x="20" y="15"/>
                </a:lnTo>
                <a:lnTo>
                  <a:pt x="11" y="31"/>
                </a:lnTo>
                <a:lnTo>
                  <a:pt x="0" y="49"/>
                </a:lnTo>
                <a:lnTo>
                  <a:pt x="14" y="66"/>
                </a:lnTo>
                <a:lnTo>
                  <a:pt x="20" y="61"/>
                </a:lnTo>
                <a:lnTo>
                  <a:pt x="15" y="66"/>
                </a:lnTo>
                <a:lnTo>
                  <a:pt x="19" y="69"/>
                </a:lnTo>
                <a:lnTo>
                  <a:pt x="19" y="76"/>
                </a:lnTo>
                <a:lnTo>
                  <a:pt x="42" y="76"/>
                </a:lnTo>
                <a:lnTo>
                  <a:pt x="45" y="71"/>
                </a:lnTo>
                <a:lnTo>
                  <a:pt x="72" y="77"/>
                </a:lnTo>
                <a:lnTo>
                  <a:pt x="78" y="83"/>
                </a:lnTo>
                <a:lnTo>
                  <a:pt x="49" y="77"/>
                </a:lnTo>
                <a:lnTo>
                  <a:pt x="31" y="83"/>
                </a:lnTo>
                <a:lnTo>
                  <a:pt x="14" y="89"/>
                </a:lnTo>
                <a:lnTo>
                  <a:pt x="17" y="100"/>
                </a:lnTo>
                <a:lnTo>
                  <a:pt x="32" y="97"/>
                </a:lnTo>
                <a:lnTo>
                  <a:pt x="41" y="95"/>
                </a:lnTo>
                <a:lnTo>
                  <a:pt x="41" y="97"/>
                </a:lnTo>
                <a:lnTo>
                  <a:pt x="20" y="100"/>
                </a:lnTo>
                <a:lnTo>
                  <a:pt x="15" y="107"/>
                </a:lnTo>
                <a:lnTo>
                  <a:pt x="44" y="101"/>
                </a:lnTo>
                <a:lnTo>
                  <a:pt x="62" y="100"/>
                </a:lnTo>
                <a:lnTo>
                  <a:pt x="80" y="99"/>
                </a:lnTo>
                <a:lnTo>
                  <a:pt x="99" y="102"/>
                </a:lnTo>
                <a:lnTo>
                  <a:pt x="131" y="106"/>
                </a:lnTo>
                <a:lnTo>
                  <a:pt x="125" y="81"/>
                </a:lnTo>
                <a:lnTo>
                  <a:pt x="119" y="71"/>
                </a:lnTo>
                <a:lnTo>
                  <a:pt x="113" y="47"/>
                </a:lnTo>
                <a:lnTo>
                  <a:pt x="97" y="29"/>
                </a:lnTo>
                <a:lnTo>
                  <a:pt x="81" y="12"/>
                </a:lnTo>
                <a:lnTo>
                  <a:pt x="60" y="0"/>
                </a:lnTo>
                <a:lnTo>
                  <a:pt x="43" y="3"/>
                </a:lnTo>
                <a:lnTo>
                  <a:pt x="25" y="5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56" name="Freeform 63"/>
          <p:cNvSpPr>
            <a:spLocks/>
          </p:cNvSpPr>
          <p:nvPr/>
        </p:nvSpPr>
        <p:spPr bwMode="auto">
          <a:xfrm>
            <a:off x="4624388" y="3475038"/>
            <a:ext cx="111125" cy="238125"/>
          </a:xfrm>
          <a:custGeom>
            <a:avLst/>
            <a:gdLst>
              <a:gd name="T0" fmla="*/ 2147483647 w 84"/>
              <a:gd name="T1" fmla="*/ 2147483647 h 174"/>
              <a:gd name="T2" fmla="*/ 2147483647 w 84"/>
              <a:gd name="T3" fmla="*/ 2147483647 h 174"/>
              <a:gd name="T4" fmla="*/ 2147483647 w 84"/>
              <a:gd name="T5" fmla="*/ 2147483647 h 174"/>
              <a:gd name="T6" fmla="*/ 2147483647 w 84"/>
              <a:gd name="T7" fmla="*/ 2147483647 h 174"/>
              <a:gd name="T8" fmla="*/ 2147483647 w 84"/>
              <a:gd name="T9" fmla="*/ 2147483647 h 174"/>
              <a:gd name="T10" fmla="*/ 0 w 84"/>
              <a:gd name="T11" fmla="*/ 2147483647 h 174"/>
              <a:gd name="T12" fmla="*/ 2147483647 w 84"/>
              <a:gd name="T13" fmla="*/ 2147483647 h 174"/>
              <a:gd name="T14" fmla="*/ 2147483647 w 84"/>
              <a:gd name="T15" fmla="*/ 2147483647 h 174"/>
              <a:gd name="T16" fmla="*/ 2147483647 w 84"/>
              <a:gd name="T17" fmla="*/ 2147483647 h 174"/>
              <a:gd name="T18" fmla="*/ 2147483647 w 84"/>
              <a:gd name="T19" fmla="*/ 2147483647 h 174"/>
              <a:gd name="T20" fmla="*/ 2147483647 w 84"/>
              <a:gd name="T21" fmla="*/ 0 h 174"/>
              <a:gd name="T22" fmla="*/ 2147483647 w 84"/>
              <a:gd name="T23" fmla="*/ 2147483647 h 174"/>
              <a:gd name="T24" fmla="*/ 2147483647 w 84"/>
              <a:gd name="T25" fmla="*/ 2147483647 h 174"/>
              <a:gd name="T26" fmla="*/ 2147483647 w 84"/>
              <a:gd name="T27" fmla="*/ 2147483647 h 174"/>
              <a:gd name="T28" fmla="*/ 2147483647 w 84"/>
              <a:gd name="T29" fmla="*/ 2147483647 h 174"/>
              <a:gd name="T30" fmla="*/ 2147483647 w 84"/>
              <a:gd name="T31" fmla="*/ 2147483647 h 174"/>
              <a:gd name="T32" fmla="*/ 2147483647 w 84"/>
              <a:gd name="T33" fmla="*/ 2147483647 h 174"/>
              <a:gd name="T34" fmla="*/ 2147483647 w 84"/>
              <a:gd name="T35" fmla="*/ 2147483647 h 174"/>
              <a:gd name="T36" fmla="*/ 2147483647 w 84"/>
              <a:gd name="T37" fmla="*/ 2147483647 h 174"/>
              <a:gd name="T38" fmla="*/ 2147483647 w 84"/>
              <a:gd name="T39" fmla="*/ 2147483647 h 174"/>
              <a:gd name="T40" fmla="*/ 2147483647 w 84"/>
              <a:gd name="T41" fmla="*/ 2147483647 h 174"/>
              <a:gd name="T42" fmla="*/ 2147483647 w 84"/>
              <a:gd name="T43" fmla="*/ 2147483647 h 174"/>
              <a:gd name="T44" fmla="*/ 2147483647 w 84"/>
              <a:gd name="T45" fmla="*/ 2147483647 h 174"/>
              <a:gd name="T46" fmla="*/ 2147483647 w 84"/>
              <a:gd name="T47" fmla="*/ 2147483647 h 174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84"/>
              <a:gd name="T73" fmla="*/ 0 h 174"/>
              <a:gd name="T74" fmla="*/ 84 w 84"/>
              <a:gd name="T75" fmla="*/ 174 h 174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84" h="174">
                <a:moveTo>
                  <a:pt x="56" y="164"/>
                </a:moveTo>
                <a:lnTo>
                  <a:pt x="44" y="174"/>
                </a:lnTo>
                <a:lnTo>
                  <a:pt x="38" y="150"/>
                </a:lnTo>
                <a:lnTo>
                  <a:pt x="34" y="127"/>
                </a:lnTo>
                <a:lnTo>
                  <a:pt x="17" y="109"/>
                </a:lnTo>
                <a:lnTo>
                  <a:pt x="0" y="85"/>
                </a:lnTo>
                <a:lnTo>
                  <a:pt x="10" y="67"/>
                </a:lnTo>
                <a:lnTo>
                  <a:pt x="18" y="49"/>
                </a:lnTo>
                <a:lnTo>
                  <a:pt x="16" y="14"/>
                </a:lnTo>
                <a:lnTo>
                  <a:pt x="20" y="8"/>
                </a:lnTo>
                <a:lnTo>
                  <a:pt x="44" y="0"/>
                </a:lnTo>
                <a:lnTo>
                  <a:pt x="53" y="5"/>
                </a:lnTo>
                <a:lnTo>
                  <a:pt x="58" y="13"/>
                </a:lnTo>
                <a:lnTo>
                  <a:pt x="71" y="6"/>
                </a:lnTo>
                <a:lnTo>
                  <a:pt x="60" y="31"/>
                </a:lnTo>
                <a:lnTo>
                  <a:pt x="73" y="49"/>
                </a:lnTo>
                <a:lnTo>
                  <a:pt x="62" y="65"/>
                </a:lnTo>
                <a:lnTo>
                  <a:pt x="52" y="79"/>
                </a:lnTo>
                <a:lnTo>
                  <a:pt x="71" y="91"/>
                </a:lnTo>
                <a:lnTo>
                  <a:pt x="84" y="101"/>
                </a:lnTo>
                <a:lnTo>
                  <a:pt x="83" y="121"/>
                </a:lnTo>
                <a:lnTo>
                  <a:pt x="70" y="132"/>
                </a:lnTo>
                <a:lnTo>
                  <a:pt x="56" y="144"/>
                </a:lnTo>
                <a:lnTo>
                  <a:pt x="56" y="16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57" name="Freeform 64"/>
          <p:cNvSpPr>
            <a:spLocks/>
          </p:cNvSpPr>
          <p:nvPr/>
        </p:nvSpPr>
        <p:spPr bwMode="auto">
          <a:xfrm>
            <a:off x="4083050" y="4456113"/>
            <a:ext cx="119063" cy="141287"/>
          </a:xfrm>
          <a:custGeom>
            <a:avLst/>
            <a:gdLst>
              <a:gd name="T0" fmla="*/ 2147483647 w 90"/>
              <a:gd name="T1" fmla="*/ 2147483647 h 102"/>
              <a:gd name="T2" fmla="*/ 2147483647 w 90"/>
              <a:gd name="T3" fmla="*/ 2147483647 h 102"/>
              <a:gd name="T4" fmla="*/ 2147483647 w 90"/>
              <a:gd name="T5" fmla="*/ 2147483647 h 102"/>
              <a:gd name="T6" fmla="*/ 2147483647 w 90"/>
              <a:gd name="T7" fmla="*/ 2147483647 h 102"/>
              <a:gd name="T8" fmla="*/ 0 w 90"/>
              <a:gd name="T9" fmla="*/ 2147483647 h 102"/>
              <a:gd name="T10" fmla="*/ 2147483647 w 90"/>
              <a:gd name="T11" fmla="*/ 2147483647 h 102"/>
              <a:gd name="T12" fmla="*/ 2147483647 w 90"/>
              <a:gd name="T13" fmla="*/ 2147483647 h 102"/>
              <a:gd name="T14" fmla="*/ 2147483647 w 90"/>
              <a:gd name="T15" fmla="*/ 0 h 102"/>
              <a:gd name="T16" fmla="*/ 2147483647 w 90"/>
              <a:gd name="T17" fmla="*/ 0 h 102"/>
              <a:gd name="T18" fmla="*/ 2147483647 w 90"/>
              <a:gd name="T19" fmla="*/ 2147483647 h 102"/>
              <a:gd name="T20" fmla="*/ 2147483647 w 90"/>
              <a:gd name="T21" fmla="*/ 2147483647 h 102"/>
              <a:gd name="T22" fmla="*/ 2147483647 w 90"/>
              <a:gd name="T23" fmla="*/ 2147483647 h 102"/>
              <a:gd name="T24" fmla="*/ 2147483647 w 90"/>
              <a:gd name="T25" fmla="*/ 2147483647 h 102"/>
              <a:gd name="T26" fmla="*/ 2147483647 w 90"/>
              <a:gd name="T27" fmla="*/ 2147483647 h 102"/>
              <a:gd name="T28" fmla="*/ 2147483647 w 90"/>
              <a:gd name="T29" fmla="*/ 2147483647 h 102"/>
              <a:gd name="T30" fmla="*/ 2147483647 w 90"/>
              <a:gd name="T31" fmla="*/ 2147483647 h 102"/>
              <a:gd name="T32" fmla="*/ 2147483647 w 90"/>
              <a:gd name="T33" fmla="*/ 2147483647 h 102"/>
              <a:gd name="T34" fmla="*/ 2147483647 w 90"/>
              <a:gd name="T35" fmla="*/ 2147483647 h 102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90"/>
              <a:gd name="T55" fmla="*/ 0 h 102"/>
              <a:gd name="T56" fmla="*/ 90 w 90"/>
              <a:gd name="T57" fmla="*/ 102 h 102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90" h="102">
                <a:moveTo>
                  <a:pt x="87" y="102"/>
                </a:moveTo>
                <a:lnTo>
                  <a:pt x="64" y="88"/>
                </a:lnTo>
                <a:lnTo>
                  <a:pt x="41" y="74"/>
                </a:lnTo>
                <a:lnTo>
                  <a:pt x="21" y="56"/>
                </a:lnTo>
                <a:lnTo>
                  <a:pt x="0" y="38"/>
                </a:lnTo>
                <a:lnTo>
                  <a:pt x="6" y="30"/>
                </a:lnTo>
                <a:lnTo>
                  <a:pt x="17" y="14"/>
                </a:lnTo>
                <a:lnTo>
                  <a:pt x="27" y="0"/>
                </a:lnTo>
                <a:lnTo>
                  <a:pt x="39" y="0"/>
                </a:lnTo>
                <a:lnTo>
                  <a:pt x="45" y="24"/>
                </a:lnTo>
                <a:lnTo>
                  <a:pt x="51" y="29"/>
                </a:lnTo>
                <a:lnTo>
                  <a:pt x="60" y="24"/>
                </a:lnTo>
                <a:lnTo>
                  <a:pt x="66" y="22"/>
                </a:lnTo>
                <a:lnTo>
                  <a:pt x="66" y="44"/>
                </a:lnTo>
                <a:lnTo>
                  <a:pt x="66" y="49"/>
                </a:lnTo>
                <a:lnTo>
                  <a:pt x="81" y="61"/>
                </a:lnTo>
                <a:lnTo>
                  <a:pt x="90" y="72"/>
                </a:lnTo>
                <a:lnTo>
                  <a:pt x="87" y="10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58" name="Freeform 65"/>
          <p:cNvSpPr>
            <a:spLocks/>
          </p:cNvSpPr>
          <p:nvPr/>
        </p:nvSpPr>
        <p:spPr bwMode="auto">
          <a:xfrm>
            <a:off x="2314575" y="4416425"/>
            <a:ext cx="93663" cy="84138"/>
          </a:xfrm>
          <a:custGeom>
            <a:avLst/>
            <a:gdLst>
              <a:gd name="T0" fmla="*/ 0 w 69"/>
              <a:gd name="T1" fmla="*/ 2147483647 h 59"/>
              <a:gd name="T2" fmla="*/ 2147483647 w 69"/>
              <a:gd name="T3" fmla="*/ 2147483647 h 59"/>
              <a:gd name="T4" fmla="*/ 2147483647 w 69"/>
              <a:gd name="T5" fmla="*/ 2147483647 h 59"/>
              <a:gd name="T6" fmla="*/ 2147483647 w 69"/>
              <a:gd name="T7" fmla="*/ 0 h 59"/>
              <a:gd name="T8" fmla="*/ 2147483647 w 69"/>
              <a:gd name="T9" fmla="*/ 2147483647 h 59"/>
              <a:gd name="T10" fmla="*/ 2147483647 w 69"/>
              <a:gd name="T11" fmla="*/ 2147483647 h 59"/>
              <a:gd name="T12" fmla="*/ 2147483647 w 69"/>
              <a:gd name="T13" fmla="*/ 2147483647 h 59"/>
              <a:gd name="T14" fmla="*/ 2147483647 w 69"/>
              <a:gd name="T15" fmla="*/ 2147483647 h 59"/>
              <a:gd name="T16" fmla="*/ 2147483647 w 69"/>
              <a:gd name="T17" fmla="*/ 2147483647 h 59"/>
              <a:gd name="T18" fmla="*/ 2147483647 w 69"/>
              <a:gd name="T19" fmla="*/ 2147483647 h 59"/>
              <a:gd name="T20" fmla="*/ 2147483647 w 69"/>
              <a:gd name="T21" fmla="*/ 2147483647 h 59"/>
              <a:gd name="T22" fmla="*/ 2147483647 w 69"/>
              <a:gd name="T23" fmla="*/ 2147483647 h 59"/>
              <a:gd name="T24" fmla="*/ 2147483647 w 69"/>
              <a:gd name="T25" fmla="*/ 2147483647 h 59"/>
              <a:gd name="T26" fmla="*/ 2147483647 w 69"/>
              <a:gd name="T27" fmla="*/ 2147483647 h 59"/>
              <a:gd name="T28" fmla="*/ 2147483647 w 69"/>
              <a:gd name="T29" fmla="*/ 2147483647 h 59"/>
              <a:gd name="T30" fmla="*/ 2147483647 w 69"/>
              <a:gd name="T31" fmla="*/ 2147483647 h 59"/>
              <a:gd name="T32" fmla="*/ 2147483647 w 69"/>
              <a:gd name="T33" fmla="*/ 2147483647 h 59"/>
              <a:gd name="T34" fmla="*/ 0 w 69"/>
              <a:gd name="T35" fmla="*/ 2147483647 h 5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69"/>
              <a:gd name="T55" fmla="*/ 0 h 59"/>
              <a:gd name="T56" fmla="*/ 69 w 69"/>
              <a:gd name="T57" fmla="*/ 59 h 59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69" h="59">
                <a:moveTo>
                  <a:pt x="0" y="39"/>
                </a:moveTo>
                <a:lnTo>
                  <a:pt x="1" y="20"/>
                </a:lnTo>
                <a:lnTo>
                  <a:pt x="1" y="3"/>
                </a:lnTo>
                <a:lnTo>
                  <a:pt x="9" y="0"/>
                </a:lnTo>
                <a:lnTo>
                  <a:pt x="15" y="11"/>
                </a:lnTo>
                <a:lnTo>
                  <a:pt x="25" y="15"/>
                </a:lnTo>
                <a:lnTo>
                  <a:pt x="31" y="20"/>
                </a:lnTo>
                <a:lnTo>
                  <a:pt x="62" y="10"/>
                </a:lnTo>
                <a:lnTo>
                  <a:pt x="66" y="12"/>
                </a:lnTo>
                <a:lnTo>
                  <a:pt x="69" y="20"/>
                </a:lnTo>
                <a:lnTo>
                  <a:pt x="54" y="34"/>
                </a:lnTo>
                <a:lnTo>
                  <a:pt x="63" y="52"/>
                </a:lnTo>
                <a:lnTo>
                  <a:pt x="43" y="59"/>
                </a:lnTo>
                <a:lnTo>
                  <a:pt x="40" y="44"/>
                </a:lnTo>
                <a:lnTo>
                  <a:pt x="37" y="48"/>
                </a:lnTo>
                <a:lnTo>
                  <a:pt x="26" y="39"/>
                </a:lnTo>
                <a:lnTo>
                  <a:pt x="6" y="32"/>
                </a:lnTo>
                <a:lnTo>
                  <a:pt x="0" y="39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259" name="Freeform 66"/>
          <p:cNvSpPr>
            <a:spLocks/>
          </p:cNvSpPr>
          <p:nvPr/>
        </p:nvSpPr>
        <p:spPr bwMode="auto">
          <a:xfrm>
            <a:off x="2409825" y="4421188"/>
            <a:ext cx="65088" cy="76200"/>
          </a:xfrm>
          <a:custGeom>
            <a:avLst/>
            <a:gdLst>
              <a:gd name="T0" fmla="*/ 2147483647 w 52"/>
              <a:gd name="T1" fmla="*/ 2147483647 h 55"/>
              <a:gd name="T2" fmla="*/ 2147483647 w 52"/>
              <a:gd name="T3" fmla="*/ 2147483647 h 55"/>
              <a:gd name="T4" fmla="*/ 2147483647 w 52"/>
              <a:gd name="T5" fmla="*/ 2147483647 h 55"/>
              <a:gd name="T6" fmla="*/ 2147483647 w 52"/>
              <a:gd name="T7" fmla="*/ 2147483647 h 55"/>
              <a:gd name="T8" fmla="*/ 2147483647 w 52"/>
              <a:gd name="T9" fmla="*/ 2147483647 h 55"/>
              <a:gd name="T10" fmla="*/ 2147483647 w 52"/>
              <a:gd name="T11" fmla="*/ 2147483647 h 55"/>
              <a:gd name="T12" fmla="*/ 2147483647 w 52"/>
              <a:gd name="T13" fmla="*/ 2147483647 h 55"/>
              <a:gd name="T14" fmla="*/ 0 w 52"/>
              <a:gd name="T15" fmla="*/ 0 h 55"/>
              <a:gd name="T16" fmla="*/ 2147483647 w 52"/>
              <a:gd name="T17" fmla="*/ 2147483647 h 55"/>
              <a:gd name="T18" fmla="*/ 2147483647 w 52"/>
              <a:gd name="T19" fmla="*/ 2147483647 h 55"/>
              <a:gd name="T20" fmla="*/ 2147483647 w 52"/>
              <a:gd name="T21" fmla="*/ 2147483647 h 55"/>
              <a:gd name="T22" fmla="*/ 2147483647 w 52"/>
              <a:gd name="T23" fmla="*/ 2147483647 h 55"/>
              <a:gd name="T24" fmla="*/ 2147483647 w 52"/>
              <a:gd name="T25" fmla="*/ 2147483647 h 55"/>
              <a:gd name="T26" fmla="*/ 2147483647 w 52"/>
              <a:gd name="T27" fmla="*/ 2147483647 h 55"/>
              <a:gd name="T28" fmla="*/ 2147483647 w 52"/>
              <a:gd name="T29" fmla="*/ 2147483647 h 55"/>
              <a:gd name="T30" fmla="*/ 2147483647 w 52"/>
              <a:gd name="T31" fmla="*/ 2147483647 h 55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52"/>
              <a:gd name="T49" fmla="*/ 0 h 55"/>
              <a:gd name="T50" fmla="*/ 52 w 52"/>
              <a:gd name="T51" fmla="*/ 55 h 55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52" h="55">
                <a:moveTo>
                  <a:pt x="30" y="30"/>
                </a:moveTo>
                <a:lnTo>
                  <a:pt x="39" y="31"/>
                </a:lnTo>
                <a:lnTo>
                  <a:pt x="35" y="26"/>
                </a:lnTo>
                <a:lnTo>
                  <a:pt x="29" y="25"/>
                </a:lnTo>
                <a:lnTo>
                  <a:pt x="23" y="18"/>
                </a:lnTo>
                <a:lnTo>
                  <a:pt x="8" y="12"/>
                </a:lnTo>
                <a:lnTo>
                  <a:pt x="2" y="6"/>
                </a:lnTo>
                <a:lnTo>
                  <a:pt x="0" y="0"/>
                </a:lnTo>
                <a:lnTo>
                  <a:pt x="22" y="1"/>
                </a:lnTo>
                <a:lnTo>
                  <a:pt x="36" y="11"/>
                </a:lnTo>
                <a:lnTo>
                  <a:pt x="51" y="20"/>
                </a:lnTo>
                <a:lnTo>
                  <a:pt x="52" y="39"/>
                </a:lnTo>
                <a:lnTo>
                  <a:pt x="44" y="45"/>
                </a:lnTo>
                <a:lnTo>
                  <a:pt x="39" y="55"/>
                </a:lnTo>
                <a:lnTo>
                  <a:pt x="33" y="48"/>
                </a:lnTo>
                <a:lnTo>
                  <a:pt x="30" y="3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260" name="Freeform 67"/>
          <p:cNvSpPr>
            <a:spLocks/>
          </p:cNvSpPr>
          <p:nvPr/>
        </p:nvSpPr>
        <p:spPr bwMode="auto">
          <a:xfrm>
            <a:off x="3132138" y="4549775"/>
            <a:ext cx="87312" cy="120650"/>
          </a:xfrm>
          <a:custGeom>
            <a:avLst/>
            <a:gdLst>
              <a:gd name="T0" fmla="*/ 2147483647 w 65"/>
              <a:gd name="T1" fmla="*/ 2147483647 h 88"/>
              <a:gd name="T2" fmla="*/ 2147483647 w 65"/>
              <a:gd name="T3" fmla="*/ 2147483647 h 88"/>
              <a:gd name="T4" fmla="*/ 2147483647 w 65"/>
              <a:gd name="T5" fmla="*/ 0 h 88"/>
              <a:gd name="T6" fmla="*/ 2147483647 w 65"/>
              <a:gd name="T7" fmla="*/ 2147483647 h 88"/>
              <a:gd name="T8" fmla="*/ 2147483647 w 65"/>
              <a:gd name="T9" fmla="*/ 2147483647 h 88"/>
              <a:gd name="T10" fmla="*/ 2147483647 w 65"/>
              <a:gd name="T11" fmla="*/ 2147483647 h 88"/>
              <a:gd name="T12" fmla="*/ 0 w 65"/>
              <a:gd name="T13" fmla="*/ 2147483647 h 88"/>
              <a:gd name="T14" fmla="*/ 2147483647 w 65"/>
              <a:gd name="T15" fmla="*/ 2147483647 h 88"/>
              <a:gd name="T16" fmla="*/ 2147483647 w 65"/>
              <a:gd name="T17" fmla="*/ 2147483647 h 88"/>
              <a:gd name="T18" fmla="*/ 2147483647 w 65"/>
              <a:gd name="T19" fmla="*/ 2147483647 h 88"/>
              <a:gd name="T20" fmla="*/ 2147483647 w 65"/>
              <a:gd name="T21" fmla="*/ 2147483647 h 88"/>
              <a:gd name="T22" fmla="*/ 2147483647 w 65"/>
              <a:gd name="T23" fmla="*/ 2147483647 h 88"/>
              <a:gd name="T24" fmla="*/ 2147483647 w 65"/>
              <a:gd name="T25" fmla="*/ 2147483647 h 88"/>
              <a:gd name="T26" fmla="*/ 2147483647 w 65"/>
              <a:gd name="T27" fmla="*/ 2147483647 h 8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65"/>
              <a:gd name="T43" fmla="*/ 0 h 88"/>
              <a:gd name="T44" fmla="*/ 65 w 65"/>
              <a:gd name="T45" fmla="*/ 88 h 88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65" h="88">
                <a:moveTo>
                  <a:pt x="51" y="23"/>
                </a:moveTo>
                <a:lnTo>
                  <a:pt x="30" y="5"/>
                </a:lnTo>
                <a:lnTo>
                  <a:pt x="15" y="0"/>
                </a:lnTo>
                <a:lnTo>
                  <a:pt x="11" y="9"/>
                </a:lnTo>
                <a:lnTo>
                  <a:pt x="4" y="30"/>
                </a:lnTo>
                <a:lnTo>
                  <a:pt x="12" y="60"/>
                </a:lnTo>
                <a:lnTo>
                  <a:pt x="0" y="84"/>
                </a:lnTo>
                <a:lnTo>
                  <a:pt x="15" y="87"/>
                </a:lnTo>
                <a:lnTo>
                  <a:pt x="36" y="88"/>
                </a:lnTo>
                <a:lnTo>
                  <a:pt x="51" y="65"/>
                </a:lnTo>
                <a:lnTo>
                  <a:pt x="65" y="42"/>
                </a:lnTo>
                <a:lnTo>
                  <a:pt x="59" y="28"/>
                </a:lnTo>
                <a:lnTo>
                  <a:pt x="59" y="33"/>
                </a:lnTo>
                <a:lnTo>
                  <a:pt x="51" y="2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61" name="Freeform 68"/>
          <p:cNvSpPr>
            <a:spLocks/>
          </p:cNvSpPr>
          <p:nvPr/>
        </p:nvSpPr>
        <p:spPr bwMode="auto">
          <a:xfrm>
            <a:off x="2425700" y="4322763"/>
            <a:ext cx="347663" cy="565150"/>
          </a:xfrm>
          <a:custGeom>
            <a:avLst/>
            <a:gdLst>
              <a:gd name="T0" fmla="*/ 2147483647 w 263"/>
              <a:gd name="T1" fmla="*/ 2147483647 h 410"/>
              <a:gd name="T2" fmla="*/ 2147483647 w 263"/>
              <a:gd name="T3" fmla="*/ 2147483647 h 410"/>
              <a:gd name="T4" fmla="*/ 2147483647 w 263"/>
              <a:gd name="T5" fmla="*/ 2147483647 h 410"/>
              <a:gd name="T6" fmla="*/ 2147483647 w 263"/>
              <a:gd name="T7" fmla="*/ 2147483647 h 410"/>
              <a:gd name="T8" fmla="*/ 2147483647 w 263"/>
              <a:gd name="T9" fmla="*/ 2147483647 h 410"/>
              <a:gd name="T10" fmla="*/ 2147483647 w 263"/>
              <a:gd name="T11" fmla="*/ 2147483647 h 410"/>
              <a:gd name="T12" fmla="*/ 2147483647 w 263"/>
              <a:gd name="T13" fmla="*/ 2147483647 h 410"/>
              <a:gd name="T14" fmla="*/ 2147483647 w 263"/>
              <a:gd name="T15" fmla="*/ 2147483647 h 410"/>
              <a:gd name="T16" fmla="*/ 2147483647 w 263"/>
              <a:gd name="T17" fmla="*/ 2147483647 h 410"/>
              <a:gd name="T18" fmla="*/ 2147483647 w 263"/>
              <a:gd name="T19" fmla="*/ 2147483647 h 410"/>
              <a:gd name="T20" fmla="*/ 2147483647 w 263"/>
              <a:gd name="T21" fmla="*/ 2147483647 h 410"/>
              <a:gd name="T22" fmla="*/ 2147483647 w 263"/>
              <a:gd name="T23" fmla="*/ 2147483647 h 410"/>
              <a:gd name="T24" fmla="*/ 2147483647 w 263"/>
              <a:gd name="T25" fmla="*/ 2147483647 h 410"/>
              <a:gd name="T26" fmla="*/ 2147483647 w 263"/>
              <a:gd name="T27" fmla="*/ 2147483647 h 410"/>
              <a:gd name="T28" fmla="*/ 2147483647 w 263"/>
              <a:gd name="T29" fmla="*/ 2147483647 h 410"/>
              <a:gd name="T30" fmla="*/ 2147483647 w 263"/>
              <a:gd name="T31" fmla="*/ 2147483647 h 410"/>
              <a:gd name="T32" fmla="*/ 2147483647 w 263"/>
              <a:gd name="T33" fmla="*/ 2147483647 h 410"/>
              <a:gd name="T34" fmla="*/ 2147483647 w 263"/>
              <a:gd name="T35" fmla="*/ 2147483647 h 410"/>
              <a:gd name="T36" fmla="*/ 2147483647 w 263"/>
              <a:gd name="T37" fmla="*/ 2147483647 h 410"/>
              <a:gd name="T38" fmla="*/ 2147483647 w 263"/>
              <a:gd name="T39" fmla="*/ 2147483647 h 410"/>
              <a:gd name="T40" fmla="*/ 2147483647 w 263"/>
              <a:gd name="T41" fmla="*/ 2147483647 h 410"/>
              <a:gd name="T42" fmla="*/ 2147483647 w 263"/>
              <a:gd name="T43" fmla="*/ 2147483647 h 410"/>
              <a:gd name="T44" fmla="*/ 2147483647 w 263"/>
              <a:gd name="T45" fmla="*/ 2147483647 h 410"/>
              <a:gd name="T46" fmla="*/ 2147483647 w 263"/>
              <a:gd name="T47" fmla="*/ 2147483647 h 410"/>
              <a:gd name="T48" fmla="*/ 2147483647 w 263"/>
              <a:gd name="T49" fmla="*/ 2147483647 h 410"/>
              <a:gd name="T50" fmla="*/ 2147483647 w 263"/>
              <a:gd name="T51" fmla="*/ 2147483647 h 410"/>
              <a:gd name="T52" fmla="*/ 2147483647 w 263"/>
              <a:gd name="T53" fmla="*/ 2147483647 h 410"/>
              <a:gd name="T54" fmla="*/ 2147483647 w 263"/>
              <a:gd name="T55" fmla="*/ 2147483647 h 410"/>
              <a:gd name="T56" fmla="*/ 2147483647 w 263"/>
              <a:gd name="T57" fmla="*/ 2147483647 h 410"/>
              <a:gd name="T58" fmla="*/ 2147483647 w 263"/>
              <a:gd name="T59" fmla="*/ 2147483647 h 410"/>
              <a:gd name="T60" fmla="*/ 2147483647 w 263"/>
              <a:gd name="T61" fmla="*/ 2147483647 h 410"/>
              <a:gd name="T62" fmla="*/ 2147483647 w 263"/>
              <a:gd name="T63" fmla="*/ 2147483647 h 410"/>
              <a:gd name="T64" fmla="*/ 2147483647 w 263"/>
              <a:gd name="T65" fmla="*/ 2147483647 h 410"/>
              <a:gd name="T66" fmla="*/ 2147483647 w 263"/>
              <a:gd name="T67" fmla="*/ 2147483647 h 410"/>
              <a:gd name="T68" fmla="*/ 2147483647 w 263"/>
              <a:gd name="T69" fmla="*/ 2147483647 h 410"/>
              <a:gd name="T70" fmla="*/ 2147483647 w 263"/>
              <a:gd name="T71" fmla="*/ 2147483647 h 410"/>
              <a:gd name="T72" fmla="*/ 2147483647 w 263"/>
              <a:gd name="T73" fmla="*/ 2147483647 h 410"/>
              <a:gd name="T74" fmla="*/ 2147483647 w 263"/>
              <a:gd name="T75" fmla="*/ 2147483647 h 41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63"/>
              <a:gd name="T115" fmla="*/ 0 h 410"/>
              <a:gd name="T116" fmla="*/ 263 w 263"/>
              <a:gd name="T117" fmla="*/ 410 h 410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263" h="410">
                <a:moveTo>
                  <a:pt x="111" y="28"/>
                </a:moveTo>
                <a:lnTo>
                  <a:pt x="104" y="38"/>
                </a:lnTo>
                <a:lnTo>
                  <a:pt x="106" y="34"/>
                </a:lnTo>
                <a:lnTo>
                  <a:pt x="94" y="34"/>
                </a:lnTo>
                <a:lnTo>
                  <a:pt x="78" y="54"/>
                </a:lnTo>
                <a:lnTo>
                  <a:pt x="75" y="72"/>
                </a:lnTo>
                <a:lnTo>
                  <a:pt x="51" y="96"/>
                </a:lnTo>
                <a:lnTo>
                  <a:pt x="48" y="109"/>
                </a:lnTo>
                <a:lnTo>
                  <a:pt x="44" y="97"/>
                </a:lnTo>
                <a:lnTo>
                  <a:pt x="39" y="91"/>
                </a:lnTo>
                <a:lnTo>
                  <a:pt x="40" y="110"/>
                </a:lnTo>
                <a:lnTo>
                  <a:pt x="32" y="116"/>
                </a:lnTo>
                <a:lnTo>
                  <a:pt x="27" y="126"/>
                </a:lnTo>
                <a:lnTo>
                  <a:pt x="33" y="137"/>
                </a:lnTo>
                <a:lnTo>
                  <a:pt x="38" y="160"/>
                </a:lnTo>
                <a:lnTo>
                  <a:pt x="33" y="170"/>
                </a:lnTo>
                <a:lnTo>
                  <a:pt x="34" y="188"/>
                </a:lnTo>
                <a:lnTo>
                  <a:pt x="36" y="208"/>
                </a:lnTo>
                <a:lnTo>
                  <a:pt x="39" y="210"/>
                </a:lnTo>
                <a:lnTo>
                  <a:pt x="24" y="238"/>
                </a:lnTo>
                <a:lnTo>
                  <a:pt x="11" y="244"/>
                </a:lnTo>
                <a:lnTo>
                  <a:pt x="6" y="258"/>
                </a:lnTo>
                <a:lnTo>
                  <a:pt x="0" y="262"/>
                </a:lnTo>
                <a:lnTo>
                  <a:pt x="2" y="270"/>
                </a:lnTo>
                <a:lnTo>
                  <a:pt x="20" y="283"/>
                </a:lnTo>
                <a:lnTo>
                  <a:pt x="33" y="296"/>
                </a:lnTo>
                <a:lnTo>
                  <a:pt x="54" y="296"/>
                </a:lnTo>
                <a:lnTo>
                  <a:pt x="78" y="308"/>
                </a:lnTo>
                <a:lnTo>
                  <a:pt x="80" y="307"/>
                </a:lnTo>
                <a:lnTo>
                  <a:pt x="93" y="319"/>
                </a:lnTo>
                <a:lnTo>
                  <a:pt x="105" y="331"/>
                </a:lnTo>
                <a:lnTo>
                  <a:pt x="122" y="350"/>
                </a:lnTo>
                <a:lnTo>
                  <a:pt x="126" y="362"/>
                </a:lnTo>
                <a:lnTo>
                  <a:pt x="153" y="362"/>
                </a:lnTo>
                <a:lnTo>
                  <a:pt x="170" y="364"/>
                </a:lnTo>
                <a:lnTo>
                  <a:pt x="192" y="371"/>
                </a:lnTo>
                <a:lnTo>
                  <a:pt x="184" y="401"/>
                </a:lnTo>
                <a:lnTo>
                  <a:pt x="197" y="410"/>
                </a:lnTo>
                <a:lnTo>
                  <a:pt x="202" y="376"/>
                </a:lnTo>
                <a:lnTo>
                  <a:pt x="208" y="341"/>
                </a:lnTo>
                <a:lnTo>
                  <a:pt x="198" y="316"/>
                </a:lnTo>
                <a:lnTo>
                  <a:pt x="194" y="292"/>
                </a:lnTo>
                <a:lnTo>
                  <a:pt x="209" y="290"/>
                </a:lnTo>
                <a:lnTo>
                  <a:pt x="213" y="284"/>
                </a:lnTo>
                <a:lnTo>
                  <a:pt x="201" y="280"/>
                </a:lnTo>
                <a:lnTo>
                  <a:pt x="198" y="263"/>
                </a:lnTo>
                <a:lnTo>
                  <a:pt x="218" y="263"/>
                </a:lnTo>
                <a:lnTo>
                  <a:pt x="236" y="263"/>
                </a:lnTo>
                <a:lnTo>
                  <a:pt x="233" y="259"/>
                </a:lnTo>
                <a:lnTo>
                  <a:pt x="239" y="262"/>
                </a:lnTo>
                <a:lnTo>
                  <a:pt x="251" y="253"/>
                </a:lnTo>
                <a:lnTo>
                  <a:pt x="260" y="274"/>
                </a:lnTo>
                <a:lnTo>
                  <a:pt x="263" y="276"/>
                </a:lnTo>
                <a:lnTo>
                  <a:pt x="258" y="256"/>
                </a:lnTo>
                <a:lnTo>
                  <a:pt x="246" y="236"/>
                </a:lnTo>
                <a:lnTo>
                  <a:pt x="254" y="224"/>
                </a:lnTo>
                <a:lnTo>
                  <a:pt x="243" y="194"/>
                </a:lnTo>
                <a:lnTo>
                  <a:pt x="249" y="173"/>
                </a:lnTo>
                <a:lnTo>
                  <a:pt x="254" y="152"/>
                </a:lnTo>
                <a:lnTo>
                  <a:pt x="234" y="154"/>
                </a:lnTo>
                <a:lnTo>
                  <a:pt x="215" y="155"/>
                </a:lnTo>
                <a:lnTo>
                  <a:pt x="196" y="133"/>
                </a:lnTo>
                <a:lnTo>
                  <a:pt x="179" y="132"/>
                </a:lnTo>
                <a:lnTo>
                  <a:pt x="162" y="131"/>
                </a:lnTo>
                <a:lnTo>
                  <a:pt x="147" y="122"/>
                </a:lnTo>
                <a:lnTo>
                  <a:pt x="147" y="107"/>
                </a:lnTo>
                <a:lnTo>
                  <a:pt x="136" y="79"/>
                </a:lnTo>
                <a:lnTo>
                  <a:pt x="128" y="78"/>
                </a:lnTo>
                <a:lnTo>
                  <a:pt x="136" y="58"/>
                </a:lnTo>
                <a:lnTo>
                  <a:pt x="149" y="37"/>
                </a:lnTo>
                <a:lnTo>
                  <a:pt x="161" y="17"/>
                </a:lnTo>
                <a:lnTo>
                  <a:pt x="176" y="12"/>
                </a:lnTo>
                <a:lnTo>
                  <a:pt x="178" y="0"/>
                </a:lnTo>
                <a:lnTo>
                  <a:pt x="165" y="1"/>
                </a:lnTo>
                <a:lnTo>
                  <a:pt x="144" y="13"/>
                </a:lnTo>
                <a:lnTo>
                  <a:pt x="124" y="26"/>
                </a:lnTo>
                <a:lnTo>
                  <a:pt x="111" y="2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62" name="Freeform 69"/>
          <p:cNvSpPr>
            <a:spLocks/>
          </p:cNvSpPr>
          <p:nvPr/>
        </p:nvSpPr>
        <p:spPr bwMode="auto">
          <a:xfrm>
            <a:off x="2938463" y="4454525"/>
            <a:ext cx="141287" cy="244475"/>
          </a:xfrm>
          <a:custGeom>
            <a:avLst/>
            <a:gdLst>
              <a:gd name="T0" fmla="*/ 2147483647 w 106"/>
              <a:gd name="T1" fmla="*/ 2147483647 h 177"/>
              <a:gd name="T2" fmla="*/ 2147483647 w 106"/>
              <a:gd name="T3" fmla="*/ 2147483647 h 177"/>
              <a:gd name="T4" fmla="*/ 2147483647 w 106"/>
              <a:gd name="T5" fmla="*/ 2147483647 h 177"/>
              <a:gd name="T6" fmla="*/ 2147483647 w 106"/>
              <a:gd name="T7" fmla="*/ 2147483647 h 177"/>
              <a:gd name="T8" fmla="*/ 2147483647 w 106"/>
              <a:gd name="T9" fmla="*/ 2147483647 h 177"/>
              <a:gd name="T10" fmla="*/ 2147483647 w 106"/>
              <a:gd name="T11" fmla="*/ 2147483647 h 177"/>
              <a:gd name="T12" fmla="*/ 2147483647 w 106"/>
              <a:gd name="T13" fmla="*/ 2147483647 h 177"/>
              <a:gd name="T14" fmla="*/ 2147483647 w 106"/>
              <a:gd name="T15" fmla="*/ 2147483647 h 177"/>
              <a:gd name="T16" fmla="*/ 2147483647 w 106"/>
              <a:gd name="T17" fmla="*/ 2147483647 h 177"/>
              <a:gd name="T18" fmla="*/ 2147483647 w 106"/>
              <a:gd name="T19" fmla="*/ 2147483647 h 177"/>
              <a:gd name="T20" fmla="*/ 2147483647 w 106"/>
              <a:gd name="T21" fmla="*/ 2147483647 h 177"/>
              <a:gd name="T22" fmla="*/ 2147483647 w 106"/>
              <a:gd name="T23" fmla="*/ 2147483647 h 177"/>
              <a:gd name="T24" fmla="*/ 2147483647 w 106"/>
              <a:gd name="T25" fmla="*/ 0 h 177"/>
              <a:gd name="T26" fmla="*/ 2147483647 w 106"/>
              <a:gd name="T27" fmla="*/ 2147483647 h 177"/>
              <a:gd name="T28" fmla="*/ 2147483647 w 106"/>
              <a:gd name="T29" fmla="*/ 2147483647 h 177"/>
              <a:gd name="T30" fmla="*/ 2147483647 w 106"/>
              <a:gd name="T31" fmla="*/ 2147483647 h 177"/>
              <a:gd name="T32" fmla="*/ 2147483647 w 106"/>
              <a:gd name="T33" fmla="*/ 2147483647 h 177"/>
              <a:gd name="T34" fmla="*/ 0 w 106"/>
              <a:gd name="T35" fmla="*/ 2147483647 h 177"/>
              <a:gd name="T36" fmla="*/ 2147483647 w 106"/>
              <a:gd name="T37" fmla="*/ 2147483647 h 177"/>
              <a:gd name="T38" fmla="*/ 2147483647 w 106"/>
              <a:gd name="T39" fmla="*/ 2147483647 h 177"/>
              <a:gd name="T40" fmla="*/ 2147483647 w 106"/>
              <a:gd name="T41" fmla="*/ 2147483647 h 177"/>
              <a:gd name="T42" fmla="*/ 2147483647 w 106"/>
              <a:gd name="T43" fmla="*/ 2147483647 h 177"/>
              <a:gd name="T44" fmla="*/ 2147483647 w 106"/>
              <a:gd name="T45" fmla="*/ 2147483647 h 177"/>
              <a:gd name="T46" fmla="*/ 2147483647 w 106"/>
              <a:gd name="T47" fmla="*/ 2147483647 h 177"/>
              <a:gd name="T48" fmla="*/ 2147483647 w 106"/>
              <a:gd name="T49" fmla="*/ 2147483647 h 177"/>
              <a:gd name="T50" fmla="*/ 2147483647 w 106"/>
              <a:gd name="T51" fmla="*/ 2147483647 h 177"/>
              <a:gd name="T52" fmla="*/ 2147483647 w 106"/>
              <a:gd name="T53" fmla="*/ 2147483647 h 177"/>
              <a:gd name="T54" fmla="*/ 2147483647 w 106"/>
              <a:gd name="T55" fmla="*/ 2147483647 h 177"/>
              <a:gd name="T56" fmla="*/ 2147483647 w 106"/>
              <a:gd name="T57" fmla="*/ 2147483647 h 177"/>
              <a:gd name="T58" fmla="*/ 2147483647 w 106"/>
              <a:gd name="T59" fmla="*/ 2147483647 h 17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06"/>
              <a:gd name="T91" fmla="*/ 0 h 177"/>
              <a:gd name="T92" fmla="*/ 106 w 106"/>
              <a:gd name="T93" fmla="*/ 177 h 177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06" h="177">
                <a:moveTo>
                  <a:pt x="84" y="128"/>
                </a:moveTo>
                <a:lnTo>
                  <a:pt x="73" y="114"/>
                </a:lnTo>
                <a:lnTo>
                  <a:pt x="75" y="92"/>
                </a:lnTo>
                <a:lnTo>
                  <a:pt x="85" y="87"/>
                </a:lnTo>
                <a:lnTo>
                  <a:pt x="90" y="75"/>
                </a:lnTo>
                <a:lnTo>
                  <a:pt x="89" y="55"/>
                </a:lnTo>
                <a:lnTo>
                  <a:pt x="65" y="41"/>
                </a:lnTo>
                <a:lnTo>
                  <a:pt x="60" y="50"/>
                </a:lnTo>
                <a:lnTo>
                  <a:pt x="62" y="25"/>
                </a:lnTo>
                <a:lnTo>
                  <a:pt x="49" y="14"/>
                </a:lnTo>
                <a:lnTo>
                  <a:pt x="37" y="3"/>
                </a:lnTo>
                <a:lnTo>
                  <a:pt x="42" y="7"/>
                </a:lnTo>
                <a:lnTo>
                  <a:pt x="32" y="0"/>
                </a:lnTo>
                <a:lnTo>
                  <a:pt x="36" y="5"/>
                </a:lnTo>
                <a:lnTo>
                  <a:pt x="15" y="24"/>
                </a:lnTo>
                <a:lnTo>
                  <a:pt x="24" y="35"/>
                </a:lnTo>
                <a:lnTo>
                  <a:pt x="8" y="44"/>
                </a:lnTo>
                <a:lnTo>
                  <a:pt x="0" y="62"/>
                </a:lnTo>
                <a:lnTo>
                  <a:pt x="13" y="81"/>
                </a:lnTo>
                <a:lnTo>
                  <a:pt x="25" y="81"/>
                </a:lnTo>
                <a:lnTo>
                  <a:pt x="27" y="95"/>
                </a:lnTo>
                <a:lnTo>
                  <a:pt x="36" y="108"/>
                </a:lnTo>
                <a:lnTo>
                  <a:pt x="31" y="131"/>
                </a:lnTo>
                <a:lnTo>
                  <a:pt x="33" y="159"/>
                </a:lnTo>
                <a:lnTo>
                  <a:pt x="48" y="177"/>
                </a:lnTo>
                <a:lnTo>
                  <a:pt x="61" y="177"/>
                </a:lnTo>
                <a:lnTo>
                  <a:pt x="83" y="167"/>
                </a:lnTo>
                <a:lnTo>
                  <a:pt x="106" y="163"/>
                </a:lnTo>
                <a:lnTo>
                  <a:pt x="95" y="145"/>
                </a:lnTo>
                <a:lnTo>
                  <a:pt x="84" y="12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63" name="Freeform 70"/>
          <p:cNvSpPr>
            <a:spLocks/>
          </p:cNvSpPr>
          <p:nvPr/>
        </p:nvSpPr>
        <p:spPr bwMode="auto">
          <a:xfrm>
            <a:off x="3036888" y="4543425"/>
            <a:ext cx="111125" cy="138113"/>
          </a:xfrm>
          <a:custGeom>
            <a:avLst/>
            <a:gdLst>
              <a:gd name="T0" fmla="*/ 2147483647 w 85"/>
              <a:gd name="T1" fmla="*/ 2147483647 h 100"/>
              <a:gd name="T2" fmla="*/ 0 w 85"/>
              <a:gd name="T3" fmla="*/ 2147483647 h 100"/>
              <a:gd name="T4" fmla="*/ 2147483647 w 85"/>
              <a:gd name="T5" fmla="*/ 2147483647 h 100"/>
              <a:gd name="T6" fmla="*/ 2147483647 w 85"/>
              <a:gd name="T7" fmla="*/ 2147483647 h 100"/>
              <a:gd name="T8" fmla="*/ 2147483647 w 85"/>
              <a:gd name="T9" fmla="*/ 2147483647 h 100"/>
              <a:gd name="T10" fmla="*/ 2147483647 w 85"/>
              <a:gd name="T11" fmla="*/ 0 h 100"/>
              <a:gd name="T12" fmla="*/ 2147483647 w 85"/>
              <a:gd name="T13" fmla="*/ 2147483647 h 100"/>
              <a:gd name="T14" fmla="*/ 2147483647 w 85"/>
              <a:gd name="T15" fmla="*/ 2147483647 h 100"/>
              <a:gd name="T16" fmla="*/ 2147483647 w 85"/>
              <a:gd name="T17" fmla="*/ 0 h 100"/>
              <a:gd name="T18" fmla="*/ 2147483647 w 85"/>
              <a:gd name="T19" fmla="*/ 2147483647 h 100"/>
              <a:gd name="T20" fmla="*/ 2147483647 w 85"/>
              <a:gd name="T21" fmla="*/ 2147483647 h 100"/>
              <a:gd name="T22" fmla="*/ 2147483647 w 85"/>
              <a:gd name="T23" fmla="*/ 2147483647 h 100"/>
              <a:gd name="T24" fmla="*/ 2147483647 w 85"/>
              <a:gd name="T25" fmla="*/ 2147483647 h 100"/>
              <a:gd name="T26" fmla="*/ 2147483647 w 85"/>
              <a:gd name="T27" fmla="*/ 2147483647 h 100"/>
              <a:gd name="T28" fmla="*/ 2147483647 w 85"/>
              <a:gd name="T29" fmla="*/ 2147483647 h 100"/>
              <a:gd name="T30" fmla="*/ 2147483647 w 85"/>
              <a:gd name="T31" fmla="*/ 2147483647 h 100"/>
              <a:gd name="T32" fmla="*/ 2147483647 w 85"/>
              <a:gd name="T33" fmla="*/ 2147483647 h 100"/>
              <a:gd name="T34" fmla="*/ 2147483647 w 85"/>
              <a:gd name="T35" fmla="*/ 2147483647 h 100"/>
              <a:gd name="T36" fmla="*/ 2147483647 w 85"/>
              <a:gd name="T37" fmla="*/ 2147483647 h 100"/>
              <a:gd name="T38" fmla="*/ 2147483647 w 85"/>
              <a:gd name="T39" fmla="*/ 2147483647 h 100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85"/>
              <a:gd name="T61" fmla="*/ 0 h 100"/>
              <a:gd name="T62" fmla="*/ 85 w 85"/>
              <a:gd name="T63" fmla="*/ 100 h 100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85" h="100">
                <a:moveTo>
                  <a:pt x="11" y="63"/>
                </a:moveTo>
                <a:lnTo>
                  <a:pt x="0" y="49"/>
                </a:lnTo>
                <a:lnTo>
                  <a:pt x="2" y="27"/>
                </a:lnTo>
                <a:lnTo>
                  <a:pt x="12" y="22"/>
                </a:lnTo>
                <a:lnTo>
                  <a:pt x="17" y="10"/>
                </a:lnTo>
                <a:lnTo>
                  <a:pt x="21" y="0"/>
                </a:lnTo>
                <a:lnTo>
                  <a:pt x="46" y="2"/>
                </a:lnTo>
                <a:lnTo>
                  <a:pt x="66" y="1"/>
                </a:lnTo>
                <a:lnTo>
                  <a:pt x="65" y="0"/>
                </a:lnTo>
                <a:lnTo>
                  <a:pt x="85" y="1"/>
                </a:lnTo>
                <a:lnTo>
                  <a:pt x="84" y="13"/>
                </a:lnTo>
                <a:lnTo>
                  <a:pt x="77" y="34"/>
                </a:lnTo>
                <a:lnTo>
                  <a:pt x="85" y="64"/>
                </a:lnTo>
                <a:lnTo>
                  <a:pt x="73" y="88"/>
                </a:lnTo>
                <a:lnTo>
                  <a:pt x="60" y="84"/>
                </a:lnTo>
                <a:lnTo>
                  <a:pt x="41" y="87"/>
                </a:lnTo>
                <a:lnTo>
                  <a:pt x="42" y="100"/>
                </a:lnTo>
                <a:lnTo>
                  <a:pt x="33" y="98"/>
                </a:lnTo>
                <a:lnTo>
                  <a:pt x="22" y="80"/>
                </a:lnTo>
                <a:lnTo>
                  <a:pt x="11" y="6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64" name="Freeform 71"/>
          <p:cNvSpPr>
            <a:spLocks/>
          </p:cNvSpPr>
          <p:nvPr/>
        </p:nvSpPr>
        <p:spPr bwMode="auto">
          <a:xfrm>
            <a:off x="2930525" y="4379913"/>
            <a:ext cx="26988" cy="20637"/>
          </a:xfrm>
          <a:custGeom>
            <a:avLst/>
            <a:gdLst>
              <a:gd name="T0" fmla="*/ 2147483647 w 19"/>
              <a:gd name="T1" fmla="*/ 0 h 16"/>
              <a:gd name="T2" fmla="*/ 2147483647 w 19"/>
              <a:gd name="T3" fmla="*/ 0 h 16"/>
              <a:gd name="T4" fmla="*/ 2147483647 w 19"/>
              <a:gd name="T5" fmla="*/ 2147483647 h 16"/>
              <a:gd name="T6" fmla="*/ 0 w 19"/>
              <a:gd name="T7" fmla="*/ 2147483647 h 16"/>
              <a:gd name="T8" fmla="*/ 2147483647 w 19"/>
              <a:gd name="T9" fmla="*/ 2147483647 h 16"/>
              <a:gd name="T10" fmla="*/ 2147483647 w 19"/>
              <a:gd name="T11" fmla="*/ 0 h 1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9"/>
              <a:gd name="T19" fmla="*/ 0 h 16"/>
              <a:gd name="T20" fmla="*/ 19 w 19"/>
              <a:gd name="T21" fmla="*/ 16 h 1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9" h="16">
                <a:moveTo>
                  <a:pt x="5" y="0"/>
                </a:moveTo>
                <a:lnTo>
                  <a:pt x="19" y="0"/>
                </a:lnTo>
                <a:lnTo>
                  <a:pt x="13" y="16"/>
                </a:lnTo>
                <a:lnTo>
                  <a:pt x="0" y="14"/>
                </a:lnTo>
                <a:lnTo>
                  <a:pt x="8" y="4"/>
                </a:lnTo>
                <a:lnTo>
                  <a:pt x="5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65" name="Freeform 72"/>
          <p:cNvSpPr>
            <a:spLocks/>
          </p:cNvSpPr>
          <p:nvPr/>
        </p:nvSpPr>
        <p:spPr bwMode="auto">
          <a:xfrm>
            <a:off x="2592388" y="4329113"/>
            <a:ext cx="393700" cy="388937"/>
          </a:xfrm>
          <a:custGeom>
            <a:avLst/>
            <a:gdLst>
              <a:gd name="T0" fmla="*/ 2147483647 w 295"/>
              <a:gd name="T1" fmla="*/ 2147483647 h 283"/>
              <a:gd name="T2" fmla="*/ 2147483647 w 295"/>
              <a:gd name="T3" fmla="*/ 2147483647 h 283"/>
              <a:gd name="T4" fmla="*/ 2147483647 w 295"/>
              <a:gd name="T5" fmla="*/ 2147483647 h 283"/>
              <a:gd name="T6" fmla="*/ 2147483647 w 295"/>
              <a:gd name="T7" fmla="*/ 2147483647 h 283"/>
              <a:gd name="T8" fmla="*/ 2147483647 w 295"/>
              <a:gd name="T9" fmla="*/ 2147483647 h 283"/>
              <a:gd name="T10" fmla="*/ 2147483647 w 295"/>
              <a:gd name="T11" fmla="*/ 2147483647 h 283"/>
              <a:gd name="T12" fmla="*/ 2147483647 w 295"/>
              <a:gd name="T13" fmla="*/ 2147483647 h 283"/>
              <a:gd name="T14" fmla="*/ 2147483647 w 295"/>
              <a:gd name="T15" fmla="*/ 2147483647 h 283"/>
              <a:gd name="T16" fmla="*/ 2147483647 w 295"/>
              <a:gd name="T17" fmla="*/ 2147483647 h 283"/>
              <a:gd name="T18" fmla="*/ 2147483647 w 295"/>
              <a:gd name="T19" fmla="*/ 2147483647 h 283"/>
              <a:gd name="T20" fmla="*/ 2147483647 w 295"/>
              <a:gd name="T21" fmla="*/ 2147483647 h 283"/>
              <a:gd name="T22" fmla="*/ 2147483647 w 295"/>
              <a:gd name="T23" fmla="*/ 2147483647 h 283"/>
              <a:gd name="T24" fmla="*/ 2147483647 w 295"/>
              <a:gd name="T25" fmla="*/ 2147483647 h 283"/>
              <a:gd name="T26" fmla="*/ 2147483647 w 295"/>
              <a:gd name="T27" fmla="*/ 2147483647 h 283"/>
              <a:gd name="T28" fmla="*/ 2147483647 w 295"/>
              <a:gd name="T29" fmla="*/ 2147483647 h 283"/>
              <a:gd name="T30" fmla="*/ 0 w 295"/>
              <a:gd name="T31" fmla="*/ 2147483647 h 283"/>
              <a:gd name="T32" fmla="*/ 2147483647 w 295"/>
              <a:gd name="T33" fmla="*/ 2147483647 h 283"/>
              <a:gd name="T34" fmla="*/ 2147483647 w 295"/>
              <a:gd name="T35" fmla="*/ 2147483647 h 283"/>
              <a:gd name="T36" fmla="*/ 2147483647 w 295"/>
              <a:gd name="T37" fmla="*/ 2147483647 h 283"/>
              <a:gd name="T38" fmla="*/ 2147483647 w 295"/>
              <a:gd name="T39" fmla="*/ 2147483647 h 283"/>
              <a:gd name="T40" fmla="*/ 2147483647 w 295"/>
              <a:gd name="T41" fmla="*/ 2147483647 h 283"/>
              <a:gd name="T42" fmla="*/ 2147483647 w 295"/>
              <a:gd name="T43" fmla="*/ 2147483647 h 283"/>
              <a:gd name="T44" fmla="*/ 2147483647 w 295"/>
              <a:gd name="T45" fmla="*/ 2147483647 h 283"/>
              <a:gd name="T46" fmla="*/ 2147483647 w 295"/>
              <a:gd name="T47" fmla="*/ 2147483647 h 283"/>
              <a:gd name="T48" fmla="*/ 2147483647 w 295"/>
              <a:gd name="T49" fmla="*/ 2147483647 h 283"/>
              <a:gd name="T50" fmla="*/ 2147483647 w 295"/>
              <a:gd name="T51" fmla="*/ 2147483647 h 283"/>
              <a:gd name="T52" fmla="*/ 2147483647 w 295"/>
              <a:gd name="T53" fmla="*/ 2147483647 h 283"/>
              <a:gd name="T54" fmla="*/ 2147483647 w 295"/>
              <a:gd name="T55" fmla="*/ 2147483647 h 283"/>
              <a:gd name="T56" fmla="*/ 2147483647 w 295"/>
              <a:gd name="T57" fmla="*/ 2147483647 h 283"/>
              <a:gd name="T58" fmla="*/ 2147483647 w 295"/>
              <a:gd name="T59" fmla="*/ 2147483647 h 283"/>
              <a:gd name="T60" fmla="*/ 2147483647 w 295"/>
              <a:gd name="T61" fmla="*/ 2147483647 h 283"/>
              <a:gd name="T62" fmla="*/ 2147483647 w 295"/>
              <a:gd name="T63" fmla="*/ 2147483647 h 283"/>
              <a:gd name="T64" fmla="*/ 2147483647 w 295"/>
              <a:gd name="T65" fmla="*/ 2147483647 h 283"/>
              <a:gd name="T66" fmla="*/ 2147483647 w 295"/>
              <a:gd name="T67" fmla="*/ 2147483647 h 283"/>
              <a:gd name="T68" fmla="*/ 2147483647 w 295"/>
              <a:gd name="T69" fmla="*/ 2147483647 h 283"/>
              <a:gd name="T70" fmla="*/ 2147483647 w 295"/>
              <a:gd name="T71" fmla="*/ 2147483647 h 283"/>
              <a:gd name="T72" fmla="*/ 2147483647 w 295"/>
              <a:gd name="T73" fmla="*/ 2147483647 h 283"/>
              <a:gd name="T74" fmla="*/ 2147483647 w 295"/>
              <a:gd name="T75" fmla="*/ 2147483647 h 283"/>
              <a:gd name="T76" fmla="*/ 2147483647 w 295"/>
              <a:gd name="T77" fmla="*/ 2147483647 h 283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295"/>
              <a:gd name="T118" fmla="*/ 0 h 283"/>
              <a:gd name="T119" fmla="*/ 295 w 295"/>
              <a:gd name="T120" fmla="*/ 283 h 283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295" h="283">
                <a:moveTo>
                  <a:pt x="244" y="61"/>
                </a:moveTo>
                <a:lnTo>
                  <a:pt x="243" y="57"/>
                </a:lnTo>
                <a:lnTo>
                  <a:pt x="238" y="52"/>
                </a:lnTo>
                <a:lnTo>
                  <a:pt x="230" y="52"/>
                </a:lnTo>
                <a:lnTo>
                  <a:pt x="234" y="51"/>
                </a:lnTo>
                <a:lnTo>
                  <a:pt x="228" y="45"/>
                </a:lnTo>
                <a:lnTo>
                  <a:pt x="250" y="38"/>
                </a:lnTo>
                <a:lnTo>
                  <a:pt x="226" y="38"/>
                </a:lnTo>
                <a:lnTo>
                  <a:pt x="202" y="38"/>
                </a:lnTo>
                <a:lnTo>
                  <a:pt x="211" y="42"/>
                </a:lnTo>
                <a:lnTo>
                  <a:pt x="189" y="51"/>
                </a:lnTo>
                <a:lnTo>
                  <a:pt x="159" y="42"/>
                </a:lnTo>
                <a:lnTo>
                  <a:pt x="139" y="42"/>
                </a:lnTo>
                <a:lnTo>
                  <a:pt x="118" y="42"/>
                </a:lnTo>
                <a:lnTo>
                  <a:pt x="111" y="26"/>
                </a:lnTo>
                <a:lnTo>
                  <a:pt x="87" y="16"/>
                </a:lnTo>
                <a:lnTo>
                  <a:pt x="78" y="0"/>
                </a:lnTo>
                <a:lnTo>
                  <a:pt x="72" y="10"/>
                </a:lnTo>
                <a:lnTo>
                  <a:pt x="82" y="16"/>
                </a:lnTo>
                <a:lnTo>
                  <a:pt x="76" y="16"/>
                </a:lnTo>
                <a:lnTo>
                  <a:pt x="48" y="28"/>
                </a:lnTo>
                <a:lnTo>
                  <a:pt x="44" y="34"/>
                </a:lnTo>
                <a:lnTo>
                  <a:pt x="50" y="66"/>
                </a:lnTo>
                <a:lnTo>
                  <a:pt x="40" y="78"/>
                </a:lnTo>
                <a:lnTo>
                  <a:pt x="28" y="61"/>
                </a:lnTo>
                <a:lnTo>
                  <a:pt x="39" y="39"/>
                </a:lnTo>
                <a:lnTo>
                  <a:pt x="33" y="19"/>
                </a:lnTo>
                <a:lnTo>
                  <a:pt x="48" y="8"/>
                </a:lnTo>
                <a:lnTo>
                  <a:pt x="33" y="13"/>
                </a:lnTo>
                <a:lnTo>
                  <a:pt x="21" y="33"/>
                </a:lnTo>
                <a:lnTo>
                  <a:pt x="8" y="54"/>
                </a:lnTo>
                <a:lnTo>
                  <a:pt x="0" y="74"/>
                </a:lnTo>
                <a:lnTo>
                  <a:pt x="8" y="75"/>
                </a:lnTo>
                <a:lnTo>
                  <a:pt x="19" y="103"/>
                </a:lnTo>
                <a:lnTo>
                  <a:pt x="19" y="118"/>
                </a:lnTo>
                <a:lnTo>
                  <a:pt x="34" y="127"/>
                </a:lnTo>
                <a:lnTo>
                  <a:pt x="51" y="128"/>
                </a:lnTo>
                <a:lnTo>
                  <a:pt x="68" y="129"/>
                </a:lnTo>
                <a:lnTo>
                  <a:pt x="87" y="151"/>
                </a:lnTo>
                <a:lnTo>
                  <a:pt x="106" y="150"/>
                </a:lnTo>
                <a:lnTo>
                  <a:pt x="126" y="148"/>
                </a:lnTo>
                <a:lnTo>
                  <a:pt x="121" y="169"/>
                </a:lnTo>
                <a:lnTo>
                  <a:pt x="115" y="190"/>
                </a:lnTo>
                <a:lnTo>
                  <a:pt x="126" y="220"/>
                </a:lnTo>
                <a:lnTo>
                  <a:pt x="118" y="232"/>
                </a:lnTo>
                <a:lnTo>
                  <a:pt x="130" y="252"/>
                </a:lnTo>
                <a:lnTo>
                  <a:pt x="135" y="272"/>
                </a:lnTo>
                <a:lnTo>
                  <a:pt x="153" y="283"/>
                </a:lnTo>
                <a:lnTo>
                  <a:pt x="165" y="282"/>
                </a:lnTo>
                <a:lnTo>
                  <a:pt x="168" y="283"/>
                </a:lnTo>
                <a:lnTo>
                  <a:pt x="190" y="266"/>
                </a:lnTo>
                <a:lnTo>
                  <a:pt x="210" y="249"/>
                </a:lnTo>
                <a:lnTo>
                  <a:pt x="213" y="242"/>
                </a:lnTo>
                <a:lnTo>
                  <a:pt x="199" y="237"/>
                </a:lnTo>
                <a:lnTo>
                  <a:pt x="193" y="210"/>
                </a:lnTo>
                <a:lnTo>
                  <a:pt x="186" y="196"/>
                </a:lnTo>
                <a:lnTo>
                  <a:pt x="207" y="204"/>
                </a:lnTo>
                <a:lnTo>
                  <a:pt x="228" y="211"/>
                </a:lnTo>
                <a:lnTo>
                  <a:pt x="231" y="202"/>
                </a:lnTo>
                <a:lnTo>
                  <a:pt x="249" y="194"/>
                </a:lnTo>
                <a:lnTo>
                  <a:pt x="267" y="187"/>
                </a:lnTo>
                <a:lnTo>
                  <a:pt x="273" y="174"/>
                </a:lnTo>
                <a:lnTo>
                  <a:pt x="272" y="172"/>
                </a:lnTo>
                <a:lnTo>
                  <a:pt x="259" y="153"/>
                </a:lnTo>
                <a:lnTo>
                  <a:pt x="267" y="135"/>
                </a:lnTo>
                <a:lnTo>
                  <a:pt x="283" y="126"/>
                </a:lnTo>
                <a:lnTo>
                  <a:pt x="274" y="115"/>
                </a:lnTo>
                <a:lnTo>
                  <a:pt x="295" y="96"/>
                </a:lnTo>
                <a:lnTo>
                  <a:pt x="291" y="91"/>
                </a:lnTo>
                <a:lnTo>
                  <a:pt x="270" y="90"/>
                </a:lnTo>
                <a:lnTo>
                  <a:pt x="255" y="90"/>
                </a:lnTo>
                <a:lnTo>
                  <a:pt x="260" y="88"/>
                </a:lnTo>
                <a:lnTo>
                  <a:pt x="268" y="76"/>
                </a:lnTo>
                <a:lnTo>
                  <a:pt x="273" y="72"/>
                </a:lnTo>
                <a:lnTo>
                  <a:pt x="260" y="60"/>
                </a:lnTo>
                <a:lnTo>
                  <a:pt x="252" y="61"/>
                </a:lnTo>
                <a:lnTo>
                  <a:pt x="243" y="56"/>
                </a:lnTo>
                <a:lnTo>
                  <a:pt x="244" y="6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66" name="Freeform 73"/>
          <p:cNvSpPr>
            <a:spLocks/>
          </p:cNvSpPr>
          <p:nvPr/>
        </p:nvSpPr>
        <p:spPr bwMode="auto">
          <a:xfrm>
            <a:off x="2860675" y="4368800"/>
            <a:ext cx="12700" cy="1588"/>
          </a:xfrm>
          <a:custGeom>
            <a:avLst/>
            <a:gdLst>
              <a:gd name="T0" fmla="*/ 2147483647 w 11"/>
              <a:gd name="T1" fmla="*/ 0 h 3"/>
              <a:gd name="T2" fmla="*/ 0 w 11"/>
              <a:gd name="T3" fmla="*/ 0 h 3"/>
              <a:gd name="T4" fmla="*/ 2147483647 w 11"/>
              <a:gd name="T5" fmla="*/ 0 h 3"/>
              <a:gd name="T6" fmla="*/ 0 60000 65536"/>
              <a:gd name="T7" fmla="*/ 0 60000 65536"/>
              <a:gd name="T8" fmla="*/ 0 60000 65536"/>
              <a:gd name="T9" fmla="*/ 0 w 11"/>
              <a:gd name="T10" fmla="*/ 0 h 3"/>
              <a:gd name="T11" fmla="*/ 11 w 11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" h="3">
                <a:moveTo>
                  <a:pt x="11" y="3"/>
                </a:moveTo>
                <a:lnTo>
                  <a:pt x="0" y="0"/>
                </a:lnTo>
                <a:lnTo>
                  <a:pt x="11" y="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67" name="Freeform 74"/>
          <p:cNvSpPr>
            <a:spLocks/>
          </p:cNvSpPr>
          <p:nvPr/>
        </p:nvSpPr>
        <p:spPr bwMode="auto">
          <a:xfrm>
            <a:off x="2303463" y="3956050"/>
            <a:ext cx="298450" cy="109538"/>
          </a:xfrm>
          <a:custGeom>
            <a:avLst/>
            <a:gdLst>
              <a:gd name="T0" fmla="*/ 2147483647 w 225"/>
              <a:gd name="T1" fmla="*/ 2147483647 h 81"/>
              <a:gd name="T2" fmla="*/ 2147483647 w 225"/>
              <a:gd name="T3" fmla="*/ 2147483647 h 81"/>
              <a:gd name="T4" fmla="*/ 2147483647 w 225"/>
              <a:gd name="T5" fmla="*/ 2147483647 h 81"/>
              <a:gd name="T6" fmla="*/ 2147483647 w 225"/>
              <a:gd name="T7" fmla="*/ 2147483647 h 81"/>
              <a:gd name="T8" fmla="*/ 2147483647 w 225"/>
              <a:gd name="T9" fmla="*/ 2147483647 h 81"/>
              <a:gd name="T10" fmla="*/ 2147483647 w 225"/>
              <a:gd name="T11" fmla="*/ 2147483647 h 81"/>
              <a:gd name="T12" fmla="*/ 2147483647 w 225"/>
              <a:gd name="T13" fmla="*/ 0 h 81"/>
              <a:gd name="T14" fmla="*/ 2147483647 w 225"/>
              <a:gd name="T15" fmla="*/ 2147483647 h 81"/>
              <a:gd name="T16" fmla="*/ 2147483647 w 225"/>
              <a:gd name="T17" fmla="*/ 2147483647 h 81"/>
              <a:gd name="T18" fmla="*/ 2147483647 w 225"/>
              <a:gd name="T19" fmla="*/ 2147483647 h 81"/>
              <a:gd name="T20" fmla="*/ 0 w 225"/>
              <a:gd name="T21" fmla="*/ 2147483647 h 81"/>
              <a:gd name="T22" fmla="*/ 2147483647 w 225"/>
              <a:gd name="T23" fmla="*/ 2147483647 h 81"/>
              <a:gd name="T24" fmla="*/ 2147483647 w 225"/>
              <a:gd name="T25" fmla="*/ 2147483647 h 81"/>
              <a:gd name="T26" fmla="*/ 2147483647 w 225"/>
              <a:gd name="T27" fmla="*/ 2147483647 h 81"/>
              <a:gd name="T28" fmla="*/ 2147483647 w 225"/>
              <a:gd name="T29" fmla="*/ 2147483647 h 81"/>
              <a:gd name="T30" fmla="*/ 2147483647 w 225"/>
              <a:gd name="T31" fmla="*/ 2147483647 h 81"/>
              <a:gd name="T32" fmla="*/ 2147483647 w 225"/>
              <a:gd name="T33" fmla="*/ 2147483647 h 81"/>
              <a:gd name="T34" fmla="*/ 2147483647 w 225"/>
              <a:gd name="T35" fmla="*/ 2147483647 h 81"/>
              <a:gd name="T36" fmla="*/ 2147483647 w 225"/>
              <a:gd name="T37" fmla="*/ 2147483647 h 81"/>
              <a:gd name="T38" fmla="*/ 2147483647 w 225"/>
              <a:gd name="T39" fmla="*/ 2147483647 h 81"/>
              <a:gd name="T40" fmla="*/ 2147483647 w 225"/>
              <a:gd name="T41" fmla="*/ 2147483647 h 81"/>
              <a:gd name="T42" fmla="*/ 2147483647 w 225"/>
              <a:gd name="T43" fmla="*/ 2147483647 h 81"/>
              <a:gd name="T44" fmla="*/ 2147483647 w 225"/>
              <a:gd name="T45" fmla="*/ 2147483647 h 81"/>
              <a:gd name="T46" fmla="*/ 2147483647 w 225"/>
              <a:gd name="T47" fmla="*/ 2147483647 h 81"/>
              <a:gd name="T48" fmla="*/ 2147483647 w 225"/>
              <a:gd name="T49" fmla="*/ 2147483647 h 81"/>
              <a:gd name="T50" fmla="*/ 2147483647 w 225"/>
              <a:gd name="T51" fmla="*/ 2147483647 h 81"/>
              <a:gd name="T52" fmla="*/ 2147483647 w 225"/>
              <a:gd name="T53" fmla="*/ 2147483647 h 81"/>
              <a:gd name="T54" fmla="*/ 2147483647 w 225"/>
              <a:gd name="T55" fmla="*/ 2147483647 h 81"/>
              <a:gd name="T56" fmla="*/ 2147483647 w 225"/>
              <a:gd name="T57" fmla="*/ 2147483647 h 81"/>
              <a:gd name="T58" fmla="*/ 2147483647 w 225"/>
              <a:gd name="T59" fmla="*/ 2147483647 h 81"/>
              <a:gd name="T60" fmla="*/ 2147483647 w 225"/>
              <a:gd name="T61" fmla="*/ 2147483647 h 81"/>
              <a:gd name="T62" fmla="*/ 2147483647 w 225"/>
              <a:gd name="T63" fmla="*/ 2147483647 h 81"/>
              <a:gd name="T64" fmla="*/ 2147483647 w 225"/>
              <a:gd name="T65" fmla="*/ 2147483647 h 8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25"/>
              <a:gd name="T100" fmla="*/ 0 h 81"/>
              <a:gd name="T101" fmla="*/ 225 w 225"/>
              <a:gd name="T102" fmla="*/ 81 h 81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25" h="81">
                <a:moveTo>
                  <a:pt x="157" y="33"/>
                </a:moveTo>
                <a:lnTo>
                  <a:pt x="159" y="35"/>
                </a:lnTo>
                <a:lnTo>
                  <a:pt x="136" y="24"/>
                </a:lnTo>
                <a:lnTo>
                  <a:pt x="114" y="13"/>
                </a:lnTo>
                <a:lnTo>
                  <a:pt x="97" y="5"/>
                </a:lnTo>
                <a:lnTo>
                  <a:pt x="82" y="1"/>
                </a:lnTo>
                <a:lnTo>
                  <a:pt x="73" y="0"/>
                </a:lnTo>
                <a:lnTo>
                  <a:pt x="48" y="5"/>
                </a:lnTo>
                <a:lnTo>
                  <a:pt x="22" y="11"/>
                </a:lnTo>
                <a:lnTo>
                  <a:pt x="11" y="27"/>
                </a:lnTo>
                <a:lnTo>
                  <a:pt x="0" y="34"/>
                </a:lnTo>
                <a:lnTo>
                  <a:pt x="7" y="31"/>
                </a:lnTo>
                <a:lnTo>
                  <a:pt x="25" y="23"/>
                </a:lnTo>
                <a:lnTo>
                  <a:pt x="42" y="16"/>
                </a:lnTo>
                <a:lnTo>
                  <a:pt x="71" y="15"/>
                </a:lnTo>
                <a:lnTo>
                  <a:pt x="60" y="18"/>
                </a:lnTo>
                <a:lnTo>
                  <a:pt x="79" y="24"/>
                </a:lnTo>
                <a:lnTo>
                  <a:pt x="91" y="28"/>
                </a:lnTo>
                <a:lnTo>
                  <a:pt x="97" y="31"/>
                </a:lnTo>
                <a:lnTo>
                  <a:pt x="127" y="39"/>
                </a:lnTo>
                <a:lnTo>
                  <a:pt x="133" y="53"/>
                </a:lnTo>
                <a:lnTo>
                  <a:pt x="160" y="65"/>
                </a:lnTo>
                <a:lnTo>
                  <a:pt x="147" y="81"/>
                </a:lnTo>
                <a:lnTo>
                  <a:pt x="168" y="81"/>
                </a:lnTo>
                <a:lnTo>
                  <a:pt x="190" y="79"/>
                </a:lnTo>
                <a:lnTo>
                  <a:pt x="207" y="77"/>
                </a:lnTo>
                <a:lnTo>
                  <a:pt x="225" y="75"/>
                </a:lnTo>
                <a:lnTo>
                  <a:pt x="209" y="66"/>
                </a:lnTo>
                <a:lnTo>
                  <a:pt x="192" y="58"/>
                </a:lnTo>
                <a:lnTo>
                  <a:pt x="192" y="51"/>
                </a:lnTo>
                <a:lnTo>
                  <a:pt x="177" y="45"/>
                </a:lnTo>
                <a:lnTo>
                  <a:pt x="161" y="39"/>
                </a:lnTo>
                <a:lnTo>
                  <a:pt x="157" y="3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68" name="Freeform 75"/>
          <p:cNvSpPr>
            <a:spLocks/>
          </p:cNvSpPr>
          <p:nvPr/>
        </p:nvSpPr>
        <p:spPr bwMode="auto">
          <a:xfrm>
            <a:off x="2351088" y="3997325"/>
            <a:ext cx="17462" cy="12700"/>
          </a:xfrm>
          <a:custGeom>
            <a:avLst/>
            <a:gdLst>
              <a:gd name="T0" fmla="*/ 0 w 12"/>
              <a:gd name="T1" fmla="*/ 2147483647 h 11"/>
              <a:gd name="T2" fmla="*/ 2147483647 w 12"/>
              <a:gd name="T3" fmla="*/ 2147483647 h 11"/>
              <a:gd name="T4" fmla="*/ 2147483647 w 12"/>
              <a:gd name="T5" fmla="*/ 0 h 11"/>
              <a:gd name="T6" fmla="*/ 0 w 12"/>
              <a:gd name="T7" fmla="*/ 2147483647 h 11"/>
              <a:gd name="T8" fmla="*/ 0 60000 65536"/>
              <a:gd name="T9" fmla="*/ 0 60000 65536"/>
              <a:gd name="T10" fmla="*/ 0 60000 65536"/>
              <a:gd name="T11" fmla="*/ 0 60000 65536"/>
              <a:gd name="T12" fmla="*/ 0 w 12"/>
              <a:gd name="T13" fmla="*/ 0 h 11"/>
              <a:gd name="T14" fmla="*/ 12 w 12"/>
              <a:gd name="T15" fmla="*/ 11 h 1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2" h="11">
                <a:moveTo>
                  <a:pt x="0" y="11"/>
                </a:moveTo>
                <a:lnTo>
                  <a:pt x="12" y="10"/>
                </a:lnTo>
                <a:lnTo>
                  <a:pt x="4" y="0"/>
                </a:lnTo>
                <a:lnTo>
                  <a:pt x="0" y="1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69" name="Freeform 76"/>
          <p:cNvSpPr>
            <a:spLocks/>
          </p:cNvSpPr>
          <p:nvPr/>
        </p:nvSpPr>
        <p:spPr bwMode="auto">
          <a:xfrm>
            <a:off x="2389188" y="4083050"/>
            <a:ext cx="11112" cy="4763"/>
          </a:xfrm>
          <a:custGeom>
            <a:avLst/>
            <a:gdLst>
              <a:gd name="T0" fmla="*/ 2147483647 w 7"/>
              <a:gd name="T1" fmla="*/ 2147483647 h 3"/>
              <a:gd name="T2" fmla="*/ 2147483647 w 7"/>
              <a:gd name="T3" fmla="*/ 2147483647 h 3"/>
              <a:gd name="T4" fmla="*/ 2147483647 w 7"/>
              <a:gd name="T5" fmla="*/ 2147483647 h 3"/>
              <a:gd name="T6" fmla="*/ 2147483647 w 7"/>
              <a:gd name="T7" fmla="*/ 2147483647 h 3"/>
              <a:gd name="T8" fmla="*/ 2147483647 w 7"/>
              <a:gd name="T9" fmla="*/ 0 h 3"/>
              <a:gd name="T10" fmla="*/ 2147483647 w 7"/>
              <a:gd name="T11" fmla="*/ 2147483647 h 3"/>
              <a:gd name="T12" fmla="*/ 2147483647 w 7"/>
              <a:gd name="T13" fmla="*/ 2147483647 h 3"/>
              <a:gd name="T14" fmla="*/ 2147483647 w 7"/>
              <a:gd name="T15" fmla="*/ 2147483647 h 3"/>
              <a:gd name="T16" fmla="*/ 2147483647 w 7"/>
              <a:gd name="T17" fmla="*/ 2147483647 h 3"/>
              <a:gd name="T18" fmla="*/ 2147483647 w 7"/>
              <a:gd name="T19" fmla="*/ 2147483647 h 3"/>
              <a:gd name="T20" fmla="*/ 2147483647 w 7"/>
              <a:gd name="T21" fmla="*/ 0 h 3"/>
              <a:gd name="T22" fmla="*/ 0 w 7"/>
              <a:gd name="T23" fmla="*/ 0 h 3"/>
              <a:gd name="T24" fmla="*/ 0 w 7"/>
              <a:gd name="T25" fmla="*/ 2147483647 h 3"/>
              <a:gd name="T26" fmla="*/ 0 w 7"/>
              <a:gd name="T27" fmla="*/ 2147483647 h 3"/>
              <a:gd name="T28" fmla="*/ 0 w 7"/>
              <a:gd name="T29" fmla="*/ 2147483647 h 3"/>
              <a:gd name="T30" fmla="*/ 2147483647 w 7"/>
              <a:gd name="T31" fmla="*/ 2147483647 h 3"/>
              <a:gd name="T32" fmla="*/ 2147483647 w 7"/>
              <a:gd name="T33" fmla="*/ 2147483647 h 3"/>
              <a:gd name="T34" fmla="*/ 2147483647 w 7"/>
              <a:gd name="T35" fmla="*/ 2147483647 h 3"/>
              <a:gd name="T36" fmla="*/ 2147483647 w 7"/>
              <a:gd name="T37" fmla="*/ 2147483647 h 3"/>
              <a:gd name="T38" fmla="*/ 2147483647 w 7"/>
              <a:gd name="T39" fmla="*/ 2147483647 h 3"/>
              <a:gd name="T40" fmla="*/ 2147483647 w 7"/>
              <a:gd name="T41" fmla="*/ 2147483647 h 3"/>
              <a:gd name="T42" fmla="*/ 2147483647 w 7"/>
              <a:gd name="T43" fmla="*/ 2147483647 h 3"/>
              <a:gd name="T44" fmla="*/ 2147483647 w 7"/>
              <a:gd name="T45" fmla="*/ 2147483647 h 3"/>
              <a:gd name="T46" fmla="*/ 2147483647 w 7"/>
              <a:gd name="T47" fmla="*/ 2147483647 h 3"/>
              <a:gd name="T48" fmla="*/ 2147483647 w 7"/>
              <a:gd name="T49" fmla="*/ 2147483647 h 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7"/>
              <a:gd name="T76" fmla="*/ 0 h 3"/>
              <a:gd name="T77" fmla="*/ 7 w 7"/>
              <a:gd name="T78" fmla="*/ 3 h 3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7" h="3">
                <a:moveTo>
                  <a:pt x="7" y="1"/>
                </a:moveTo>
                <a:lnTo>
                  <a:pt x="6" y="1"/>
                </a:lnTo>
                <a:lnTo>
                  <a:pt x="5" y="1"/>
                </a:lnTo>
                <a:lnTo>
                  <a:pt x="4" y="1"/>
                </a:lnTo>
                <a:lnTo>
                  <a:pt x="4" y="0"/>
                </a:lnTo>
                <a:lnTo>
                  <a:pt x="4" y="1"/>
                </a:lnTo>
                <a:lnTo>
                  <a:pt x="2" y="1"/>
                </a:lnTo>
                <a:lnTo>
                  <a:pt x="2" y="2"/>
                </a:lnTo>
                <a:lnTo>
                  <a:pt x="1" y="2"/>
                </a:lnTo>
                <a:lnTo>
                  <a:pt x="1" y="1"/>
                </a:lnTo>
                <a:lnTo>
                  <a:pt x="1" y="0"/>
                </a:lnTo>
                <a:lnTo>
                  <a:pt x="0" y="0"/>
                </a:lnTo>
                <a:lnTo>
                  <a:pt x="0" y="1"/>
                </a:lnTo>
                <a:lnTo>
                  <a:pt x="0" y="2"/>
                </a:lnTo>
                <a:lnTo>
                  <a:pt x="0" y="3"/>
                </a:lnTo>
                <a:lnTo>
                  <a:pt x="1" y="3"/>
                </a:lnTo>
                <a:lnTo>
                  <a:pt x="1" y="2"/>
                </a:lnTo>
                <a:lnTo>
                  <a:pt x="2" y="2"/>
                </a:lnTo>
                <a:lnTo>
                  <a:pt x="2" y="3"/>
                </a:lnTo>
                <a:lnTo>
                  <a:pt x="4" y="3"/>
                </a:lnTo>
                <a:lnTo>
                  <a:pt x="4" y="2"/>
                </a:lnTo>
                <a:lnTo>
                  <a:pt x="5" y="2"/>
                </a:lnTo>
                <a:lnTo>
                  <a:pt x="6" y="2"/>
                </a:lnTo>
                <a:lnTo>
                  <a:pt x="7" y="2"/>
                </a:lnTo>
                <a:lnTo>
                  <a:pt x="7" y="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70" name="Freeform 77"/>
          <p:cNvSpPr>
            <a:spLocks/>
          </p:cNvSpPr>
          <p:nvPr/>
        </p:nvSpPr>
        <p:spPr bwMode="auto">
          <a:xfrm>
            <a:off x="2433638" y="4070350"/>
            <a:ext cx="6350" cy="3175"/>
          </a:xfrm>
          <a:custGeom>
            <a:avLst/>
            <a:gdLst>
              <a:gd name="T0" fmla="*/ 2147483647 w 3"/>
              <a:gd name="T1" fmla="*/ 0 h 3"/>
              <a:gd name="T2" fmla="*/ 2147483647 w 3"/>
              <a:gd name="T3" fmla="*/ 0 h 3"/>
              <a:gd name="T4" fmla="*/ 2147483647 w 3"/>
              <a:gd name="T5" fmla="*/ 0 h 3"/>
              <a:gd name="T6" fmla="*/ 2147483647 w 3"/>
              <a:gd name="T7" fmla="*/ 0 h 3"/>
              <a:gd name="T8" fmla="*/ 2147483647 w 3"/>
              <a:gd name="T9" fmla="*/ 0 h 3"/>
              <a:gd name="T10" fmla="*/ 2147483647 w 3"/>
              <a:gd name="T11" fmla="*/ 0 h 3"/>
              <a:gd name="T12" fmla="*/ 0 w 3"/>
              <a:gd name="T13" fmla="*/ 0 h 3"/>
              <a:gd name="T14" fmla="*/ 2147483647 w 3"/>
              <a:gd name="T15" fmla="*/ 0 h 3"/>
              <a:gd name="T16" fmla="*/ 2147483647 w 3"/>
              <a:gd name="T17" fmla="*/ 0 h 3"/>
              <a:gd name="T18" fmla="*/ 2147483647 w 3"/>
              <a:gd name="T19" fmla="*/ 0 h 3"/>
              <a:gd name="T20" fmla="*/ 2147483647 w 3"/>
              <a:gd name="T21" fmla="*/ 0 h 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"/>
              <a:gd name="T34" fmla="*/ 0 h 3"/>
              <a:gd name="T35" fmla="*/ 3 w 3"/>
              <a:gd name="T36" fmla="*/ 3 h 3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" h="3">
                <a:moveTo>
                  <a:pt x="3" y="1"/>
                </a:moveTo>
                <a:lnTo>
                  <a:pt x="3" y="0"/>
                </a:lnTo>
                <a:lnTo>
                  <a:pt x="2" y="0"/>
                </a:lnTo>
                <a:lnTo>
                  <a:pt x="2" y="1"/>
                </a:lnTo>
                <a:lnTo>
                  <a:pt x="1" y="1"/>
                </a:lnTo>
                <a:lnTo>
                  <a:pt x="1" y="3"/>
                </a:lnTo>
                <a:lnTo>
                  <a:pt x="0" y="3"/>
                </a:lnTo>
                <a:lnTo>
                  <a:pt x="1" y="3"/>
                </a:lnTo>
                <a:lnTo>
                  <a:pt x="1" y="1"/>
                </a:lnTo>
                <a:lnTo>
                  <a:pt x="2" y="1"/>
                </a:lnTo>
                <a:lnTo>
                  <a:pt x="3" y="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71" name="Freeform 78"/>
          <p:cNvSpPr>
            <a:spLocks/>
          </p:cNvSpPr>
          <p:nvPr/>
        </p:nvSpPr>
        <p:spPr bwMode="auto">
          <a:xfrm>
            <a:off x="2428875" y="4070350"/>
            <a:ext cx="4763" cy="3175"/>
          </a:xfrm>
          <a:custGeom>
            <a:avLst/>
            <a:gdLst>
              <a:gd name="T0" fmla="*/ 2147483647 w 3"/>
              <a:gd name="T1" fmla="*/ 0 h 3"/>
              <a:gd name="T2" fmla="*/ 2147483647 w 3"/>
              <a:gd name="T3" fmla="*/ 0 h 3"/>
              <a:gd name="T4" fmla="*/ 2147483647 w 3"/>
              <a:gd name="T5" fmla="*/ 0 h 3"/>
              <a:gd name="T6" fmla="*/ 2147483647 w 3"/>
              <a:gd name="T7" fmla="*/ 0 h 3"/>
              <a:gd name="T8" fmla="*/ 0 w 3"/>
              <a:gd name="T9" fmla="*/ 0 h 3"/>
              <a:gd name="T10" fmla="*/ 0 w 3"/>
              <a:gd name="T11" fmla="*/ 0 h 3"/>
              <a:gd name="T12" fmla="*/ 2147483647 w 3"/>
              <a:gd name="T13" fmla="*/ 0 h 3"/>
              <a:gd name="T14" fmla="*/ 2147483647 w 3"/>
              <a:gd name="T15" fmla="*/ 0 h 3"/>
              <a:gd name="T16" fmla="*/ 2147483647 w 3"/>
              <a:gd name="T17" fmla="*/ 0 h 3"/>
              <a:gd name="T18" fmla="*/ 2147483647 w 3"/>
              <a:gd name="T19" fmla="*/ 0 h 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"/>
              <a:gd name="T31" fmla="*/ 0 h 3"/>
              <a:gd name="T32" fmla="*/ 3 w 3"/>
              <a:gd name="T33" fmla="*/ 3 h 3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" h="3">
                <a:moveTo>
                  <a:pt x="3" y="0"/>
                </a:moveTo>
                <a:lnTo>
                  <a:pt x="2" y="0"/>
                </a:lnTo>
                <a:lnTo>
                  <a:pt x="2" y="2"/>
                </a:lnTo>
                <a:lnTo>
                  <a:pt x="1" y="2"/>
                </a:lnTo>
                <a:lnTo>
                  <a:pt x="0" y="2"/>
                </a:lnTo>
                <a:lnTo>
                  <a:pt x="0" y="3"/>
                </a:lnTo>
                <a:lnTo>
                  <a:pt x="1" y="2"/>
                </a:lnTo>
                <a:lnTo>
                  <a:pt x="2" y="2"/>
                </a:lnTo>
                <a:lnTo>
                  <a:pt x="3" y="2"/>
                </a:lnTo>
                <a:lnTo>
                  <a:pt x="3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72" name="Freeform 79"/>
          <p:cNvSpPr>
            <a:spLocks/>
          </p:cNvSpPr>
          <p:nvPr/>
        </p:nvSpPr>
        <p:spPr bwMode="auto">
          <a:xfrm>
            <a:off x="2867025" y="4116388"/>
            <a:ext cx="3175" cy="1587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2147483647 h 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"/>
              <a:gd name="T28" fmla="*/ 0 h 2"/>
              <a:gd name="T29" fmla="*/ 2 w 2"/>
              <a:gd name="T30" fmla="*/ 2 h 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" h="2">
                <a:moveTo>
                  <a:pt x="2" y="1"/>
                </a:moveTo>
                <a:lnTo>
                  <a:pt x="2" y="0"/>
                </a:lnTo>
                <a:lnTo>
                  <a:pt x="1" y="0"/>
                </a:lnTo>
                <a:lnTo>
                  <a:pt x="1" y="1"/>
                </a:lnTo>
                <a:lnTo>
                  <a:pt x="0" y="1"/>
                </a:lnTo>
                <a:lnTo>
                  <a:pt x="0" y="2"/>
                </a:lnTo>
                <a:lnTo>
                  <a:pt x="1" y="2"/>
                </a:lnTo>
                <a:lnTo>
                  <a:pt x="1" y="1"/>
                </a:lnTo>
                <a:lnTo>
                  <a:pt x="2" y="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73" name="Freeform 80"/>
          <p:cNvSpPr>
            <a:spLocks/>
          </p:cNvSpPr>
          <p:nvPr/>
        </p:nvSpPr>
        <p:spPr bwMode="auto">
          <a:xfrm>
            <a:off x="2878138" y="4103688"/>
            <a:ext cx="1587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"/>
              <a:gd name="T22" fmla="*/ 0 h 2"/>
              <a:gd name="T23" fmla="*/ 2 w 2"/>
              <a:gd name="T24" fmla="*/ 2 h 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1" y="0"/>
                </a:lnTo>
                <a:lnTo>
                  <a:pt x="0" y="0"/>
                </a:lnTo>
                <a:lnTo>
                  <a:pt x="0" y="2"/>
                </a:lnTo>
                <a:lnTo>
                  <a:pt x="1" y="2"/>
                </a:lnTo>
                <a:lnTo>
                  <a:pt x="2" y="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74" name="Freeform 81"/>
          <p:cNvSpPr>
            <a:spLocks/>
          </p:cNvSpPr>
          <p:nvPr/>
        </p:nvSpPr>
        <p:spPr bwMode="auto">
          <a:xfrm>
            <a:off x="2873375" y="4111625"/>
            <a:ext cx="4763" cy="4763"/>
          </a:xfrm>
          <a:custGeom>
            <a:avLst/>
            <a:gdLst>
              <a:gd name="T0" fmla="*/ 2147483647 w 2"/>
              <a:gd name="T1" fmla="*/ 0 h 3"/>
              <a:gd name="T2" fmla="*/ 2147483647 w 2"/>
              <a:gd name="T3" fmla="*/ 2147483647 h 3"/>
              <a:gd name="T4" fmla="*/ 0 w 2"/>
              <a:gd name="T5" fmla="*/ 2147483647 h 3"/>
              <a:gd name="T6" fmla="*/ 0 w 2"/>
              <a:gd name="T7" fmla="*/ 2147483647 h 3"/>
              <a:gd name="T8" fmla="*/ 0 w 2"/>
              <a:gd name="T9" fmla="*/ 2147483647 h 3"/>
              <a:gd name="T10" fmla="*/ 0 w 2"/>
              <a:gd name="T11" fmla="*/ 0 h 3"/>
              <a:gd name="T12" fmla="*/ 2147483647 w 2"/>
              <a:gd name="T13" fmla="*/ 0 h 3"/>
              <a:gd name="T14" fmla="*/ 2147483647 w 2"/>
              <a:gd name="T15" fmla="*/ 0 h 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"/>
              <a:gd name="T25" fmla="*/ 0 h 3"/>
              <a:gd name="T26" fmla="*/ 2 w 2"/>
              <a:gd name="T27" fmla="*/ 3 h 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" h="3">
                <a:moveTo>
                  <a:pt x="2" y="0"/>
                </a:moveTo>
                <a:lnTo>
                  <a:pt x="1" y="2"/>
                </a:lnTo>
                <a:lnTo>
                  <a:pt x="0" y="2"/>
                </a:lnTo>
                <a:lnTo>
                  <a:pt x="0" y="3"/>
                </a:lnTo>
                <a:lnTo>
                  <a:pt x="0" y="2"/>
                </a:lnTo>
                <a:lnTo>
                  <a:pt x="0" y="0"/>
                </a:lnTo>
                <a:lnTo>
                  <a:pt x="1" y="0"/>
                </a:lnTo>
                <a:lnTo>
                  <a:pt x="2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75" name="Rectangle 82"/>
          <p:cNvSpPr>
            <a:spLocks noChangeArrowheads="1"/>
          </p:cNvSpPr>
          <p:nvPr/>
        </p:nvSpPr>
        <p:spPr bwMode="auto">
          <a:xfrm>
            <a:off x="2863850" y="4116388"/>
            <a:ext cx="0" cy="0"/>
          </a:xfrm>
          <a:prstGeom prst="rect">
            <a:avLst/>
          </a:pr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miter lim="800000"/>
            <a:headEnd/>
            <a:tailEnd/>
          </a:ln>
        </p:spPr>
        <p:txBody>
          <a:bodyPr lIns="91430" tIns="45716" rIns="91430" bIns="45716"/>
          <a:lstStyle/>
          <a:p>
            <a:pPr defTabSz="912813" eaLnBrk="0" hangingPunct="0"/>
            <a:endParaRPr lang="en-US" sz="1400">
              <a:latin typeface="Calibri" pitchFamily="34" charset="0"/>
            </a:endParaRPr>
          </a:p>
        </p:txBody>
      </p:sp>
      <p:sp>
        <p:nvSpPr>
          <p:cNvPr id="8276" name="Rectangle 83"/>
          <p:cNvSpPr>
            <a:spLocks noChangeArrowheads="1"/>
          </p:cNvSpPr>
          <p:nvPr/>
        </p:nvSpPr>
        <p:spPr bwMode="auto">
          <a:xfrm>
            <a:off x="2870200" y="4117975"/>
            <a:ext cx="0" cy="1588"/>
          </a:xfrm>
          <a:prstGeom prst="rect">
            <a:avLst/>
          </a:pr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miter lim="800000"/>
            <a:headEnd/>
            <a:tailEnd/>
          </a:ln>
        </p:spPr>
        <p:txBody>
          <a:bodyPr lIns="91430" tIns="45716" rIns="91430" bIns="45716"/>
          <a:lstStyle/>
          <a:p>
            <a:pPr defTabSz="912813" eaLnBrk="0" hangingPunct="0"/>
            <a:endParaRPr lang="en-US" sz="1400">
              <a:latin typeface="Calibri" pitchFamily="34" charset="0"/>
            </a:endParaRPr>
          </a:p>
        </p:txBody>
      </p:sp>
      <p:sp>
        <p:nvSpPr>
          <p:cNvPr id="8277" name="Freeform 84"/>
          <p:cNvSpPr>
            <a:spLocks/>
          </p:cNvSpPr>
          <p:nvPr/>
        </p:nvSpPr>
        <p:spPr bwMode="auto">
          <a:xfrm>
            <a:off x="2870200" y="4119563"/>
            <a:ext cx="1588" cy="4762"/>
          </a:xfrm>
          <a:custGeom>
            <a:avLst/>
            <a:gdLst>
              <a:gd name="T0" fmla="*/ 2147483647 w 1"/>
              <a:gd name="T1" fmla="*/ 0 h 2"/>
              <a:gd name="T2" fmla="*/ 0 w 1"/>
              <a:gd name="T3" fmla="*/ 0 h 2"/>
              <a:gd name="T4" fmla="*/ 2147483647 w 1"/>
              <a:gd name="T5" fmla="*/ 0 h 2"/>
              <a:gd name="T6" fmla="*/ 0 60000 65536"/>
              <a:gd name="T7" fmla="*/ 0 60000 65536"/>
              <a:gd name="T8" fmla="*/ 0 60000 65536"/>
              <a:gd name="T9" fmla="*/ 0 w 1"/>
              <a:gd name="T10" fmla="*/ 0 h 2"/>
              <a:gd name="T11" fmla="*/ 1 w 1"/>
              <a:gd name="T12" fmla="*/ 2 h 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" h="2">
                <a:moveTo>
                  <a:pt x="1" y="0"/>
                </a:move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78" name="Freeform 85"/>
          <p:cNvSpPr>
            <a:spLocks/>
          </p:cNvSpPr>
          <p:nvPr/>
        </p:nvSpPr>
        <p:spPr bwMode="auto">
          <a:xfrm>
            <a:off x="2660650" y="4065588"/>
            <a:ext cx="101600" cy="79375"/>
          </a:xfrm>
          <a:custGeom>
            <a:avLst/>
            <a:gdLst>
              <a:gd name="T0" fmla="*/ 2147483647 w 78"/>
              <a:gd name="T1" fmla="*/ 2147483647 h 56"/>
              <a:gd name="T2" fmla="*/ 2147483647 w 78"/>
              <a:gd name="T3" fmla="*/ 2147483647 h 56"/>
              <a:gd name="T4" fmla="*/ 0 w 78"/>
              <a:gd name="T5" fmla="*/ 2147483647 h 56"/>
              <a:gd name="T6" fmla="*/ 2147483647 w 78"/>
              <a:gd name="T7" fmla="*/ 2147483647 h 56"/>
              <a:gd name="T8" fmla="*/ 2147483647 w 78"/>
              <a:gd name="T9" fmla="*/ 2147483647 h 56"/>
              <a:gd name="T10" fmla="*/ 2147483647 w 78"/>
              <a:gd name="T11" fmla="*/ 2147483647 h 56"/>
              <a:gd name="T12" fmla="*/ 2147483647 w 78"/>
              <a:gd name="T13" fmla="*/ 2147483647 h 56"/>
              <a:gd name="T14" fmla="*/ 2147483647 w 78"/>
              <a:gd name="T15" fmla="*/ 2147483647 h 56"/>
              <a:gd name="T16" fmla="*/ 2147483647 w 78"/>
              <a:gd name="T17" fmla="*/ 2147483647 h 56"/>
              <a:gd name="T18" fmla="*/ 2147483647 w 78"/>
              <a:gd name="T19" fmla="*/ 2147483647 h 56"/>
              <a:gd name="T20" fmla="*/ 2147483647 w 78"/>
              <a:gd name="T21" fmla="*/ 2147483647 h 56"/>
              <a:gd name="T22" fmla="*/ 2147483647 w 78"/>
              <a:gd name="T23" fmla="*/ 2147483647 h 56"/>
              <a:gd name="T24" fmla="*/ 2147483647 w 78"/>
              <a:gd name="T25" fmla="*/ 2147483647 h 56"/>
              <a:gd name="T26" fmla="*/ 2147483647 w 78"/>
              <a:gd name="T27" fmla="*/ 0 h 56"/>
              <a:gd name="T28" fmla="*/ 2147483647 w 78"/>
              <a:gd name="T29" fmla="*/ 2147483647 h 5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78"/>
              <a:gd name="T46" fmla="*/ 0 h 56"/>
              <a:gd name="T47" fmla="*/ 78 w 78"/>
              <a:gd name="T48" fmla="*/ 56 h 5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78" h="56">
                <a:moveTo>
                  <a:pt x="7" y="5"/>
                </a:moveTo>
                <a:lnTo>
                  <a:pt x="3" y="21"/>
                </a:lnTo>
                <a:lnTo>
                  <a:pt x="0" y="31"/>
                </a:lnTo>
                <a:lnTo>
                  <a:pt x="2" y="45"/>
                </a:lnTo>
                <a:lnTo>
                  <a:pt x="8" y="56"/>
                </a:lnTo>
                <a:lnTo>
                  <a:pt x="18" y="43"/>
                </a:lnTo>
                <a:lnTo>
                  <a:pt x="29" y="37"/>
                </a:lnTo>
                <a:lnTo>
                  <a:pt x="39" y="38"/>
                </a:lnTo>
                <a:lnTo>
                  <a:pt x="67" y="39"/>
                </a:lnTo>
                <a:lnTo>
                  <a:pt x="78" y="30"/>
                </a:lnTo>
                <a:lnTo>
                  <a:pt x="53" y="19"/>
                </a:lnTo>
                <a:lnTo>
                  <a:pt x="57" y="14"/>
                </a:lnTo>
                <a:lnTo>
                  <a:pt x="47" y="8"/>
                </a:lnTo>
                <a:lnTo>
                  <a:pt x="17" y="0"/>
                </a:lnTo>
                <a:lnTo>
                  <a:pt x="7" y="5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79" name="Freeform 86"/>
          <p:cNvSpPr>
            <a:spLocks/>
          </p:cNvSpPr>
          <p:nvPr/>
        </p:nvSpPr>
        <p:spPr bwMode="auto">
          <a:xfrm>
            <a:off x="2584450" y="4068763"/>
            <a:ext cx="85725" cy="60325"/>
          </a:xfrm>
          <a:custGeom>
            <a:avLst/>
            <a:gdLst>
              <a:gd name="T0" fmla="*/ 2147483647 w 62"/>
              <a:gd name="T1" fmla="*/ 2147483647 h 44"/>
              <a:gd name="T2" fmla="*/ 2147483647 w 62"/>
              <a:gd name="T3" fmla="*/ 2147483647 h 44"/>
              <a:gd name="T4" fmla="*/ 2147483647 w 62"/>
              <a:gd name="T5" fmla="*/ 2147483647 h 44"/>
              <a:gd name="T6" fmla="*/ 2147483647 w 62"/>
              <a:gd name="T7" fmla="*/ 2147483647 h 44"/>
              <a:gd name="T8" fmla="*/ 2147483647 w 62"/>
              <a:gd name="T9" fmla="*/ 2147483647 h 44"/>
              <a:gd name="T10" fmla="*/ 2147483647 w 62"/>
              <a:gd name="T11" fmla="*/ 2147483647 h 44"/>
              <a:gd name="T12" fmla="*/ 0 w 62"/>
              <a:gd name="T13" fmla="*/ 2147483647 h 44"/>
              <a:gd name="T14" fmla="*/ 2147483647 w 62"/>
              <a:gd name="T15" fmla="*/ 2147483647 h 44"/>
              <a:gd name="T16" fmla="*/ 2147483647 w 62"/>
              <a:gd name="T17" fmla="*/ 2147483647 h 44"/>
              <a:gd name="T18" fmla="*/ 2147483647 w 62"/>
              <a:gd name="T19" fmla="*/ 2147483647 h 44"/>
              <a:gd name="T20" fmla="*/ 2147483647 w 62"/>
              <a:gd name="T21" fmla="*/ 2147483647 h 44"/>
              <a:gd name="T22" fmla="*/ 2147483647 w 62"/>
              <a:gd name="T23" fmla="*/ 2147483647 h 44"/>
              <a:gd name="T24" fmla="*/ 2147483647 w 62"/>
              <a:gd name="T25" fmla="*/ 0 h 44"/>
              <a:gd name="T26" fmla="*/ 2147483647 w 62"/>
              <a:gd name="T27" fmla="*/ 2147483647 h 44"/>
              <a:gd name="T28" fmla="*/ 2147483647 w 62"/>
              <a:gd name="T29" fmla="*/ 2147483647 h 4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62"/>
              <a:gd name="T46" fmla="*/ 0 h 44"/>
              <a:gd name="T47" fmla="*/ 62 w 62"/>
              <a:gd name="T48" fmla="*/ 44 h 44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62" h="44">
                <a:moveTo>
                  <a:pt x="62" y="4"/>
                </a:moveTo>
                <a:lnTo>
                  <a:pt x="58" y="20"/>
                </a:lnTo>
                <a:lnTo>
                  <a:pt x="55" y="30"/>
                </a:lnTo>
                <a:lnTo>
                  <a:pt x="57" y="44"/>
                </a:lnTo>
                <a:lnTo>
                  <a:pt x="34" y="43"/>
                </a:lnTo>
                <a:lnTo>
                  <a:pt x="13" y="42"/>
                </a:lnTo>
                <a:lnTo>
                  <a:pt x="0" y="35"/>
                </a:lnTo>
                <a:lnTo>
                  <a:pt x="10" y="30"/>
                </a:lnTo>
                <a:lnTo>
                  <a:pt x="28" y="31"/>
                </a:lnTo>
                <a:lnTo>
                  <a:pt x="45" y="32"/>
                </a:lnTo>
                <a:lnTo>
                  <a:pt x="38" y="13"/>
                </a:lnTo>
                <a:lnTo>
                  <a:pt x="30" y="5"/>
                </a:lnTo>
                <a:lnTo>
                  <a:pt x="27" y="0"/>
                </a:lnTo>
                <a:lnTo>
                  <a:pt x="49" y="2"/>
                </a:lnTo>
                <a:lnTo>
                  <a:pt x="62" y="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280" name="Freeform 87"/>
          <p:cNvSpPr>
            <a:spLocks/>
          </p:cNvSpPr>
          <p:nvPr/>
        </p:nvSpPr>
        <p:spPr bwMode="auto">
          <a:xfrm>
            <a:off x="2660650" y="4000500"/>
            <a:ext cx="3175" cy="1588"/>
          </a:xfrm>
          <a:custGeom>
            <a:avLst/>
            <a:gdLst>
              <a:gd name="T0" fmla="*/ 0 w 5"/>
              <a:gd name="T1" fmla="*/ 2147483647 h 2"/>
              <a:gd name="T2" fmla="*/ 0 w 5"/>
              <a:gd name="T3" fmla="*/ 2147483647 h 2"/>
              <a:gd name="T4" fmla="*/ 0 w 5"/>
              <a:gd name="T5" fmla="*/ 0 h 2"/>
              <a:gd name="T6" fmla="*/ 0 w 5"/>
              <a:gd name="T7" fmla="*/ 2147483647 h 2"/>
              <a:gd name="T8" fmla="*/ 0 w 5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2"/>
              <a:gd name="T17" fmla="*/ 5 w 5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2">
                <a:moveTo>
                  <a:pt x="3" y="2"/>
                </a:moveTo>
                <a:lnTo>
                  <a:pt x="1" y="1"/>
                </a:lnTo>
                <a:lnTo>
                  <a:pt x="0" y="0"/>
                </a:lnTo>
                <a:lnTo>
                  <a:pt x="5" y="1"/>
                </a:lnTo>
                <a:lnTo>
                  <a:pt x="3" y="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81" name="Freeform 88"/>
          <p:cNvSpPr>
            <a:spLocks/>
          </p:cNvSpPr>
          <p:nvPr/>
        </p:nvSpPr>
        <p:spPr bwMode="auto">
          <a:xfrm>
            <a:off x="2673350" y="4000500"/>
            <a:ext cx="4763" cy="1588"/>
          </a:xfrm>
          <a:custGeom>
            <a:avLst/>
            <a:gdLst>
              <a:gd name="T0" fmla="*/ 2147483647 w 3"/>
              <a:gd name="T1" fmla="*/ 2147483647 h 1"/>
              <a:gd name="T2" fmla="*/ 2147483647 w 3"/>
              <a:gd name="T3" fmla="*/ 0 h 1"/>
              <a:gd name="T4" fmla="*/ 0 w 3"/>
              <a:gd name="T5" fmla="*/ 0 h 1"/>
              <a:gd name="T6" fmla="*/ 2147483647 w 3"/>
              <a:gd name="T7" fmla="*/ 2147483647 h 1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1"/>
              <a:gd name="T14" fmla="*/ 3 w 3"/>
              <a:gd name="T15" fmla="*/ 1 h 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1">
                <a:moveTo>
                  <a:pt x="3" y="1"/>
                </a:moveTo>
                <a:lnTo>
                  <a:pt x="3" y="0"/>
                </a:lnTo>
                <a:lnTo>
                  <a:pt x="0" y="0"/>
                </a:lnTo>
                <a:lnTo>
                  <a:pt x="3" y="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82" name="Freeform 89"/>
          <p:cNvSpPr>
            <a:spLocks/>
          </p:cNvSpPr>
          <p:nvPr/>
        </p:nvSpPr>
        <p:spPr bwMode="auto">
          <a:xfrm>
            <a:off x="2235200" y="4368800"/>
            <a:ext cx="93663" cy="101600"/>
          </a:xfrm>
          <a:custGeom>
            <a:avLst/>
            <a:gdLst>
              <a:gd name="T0" fmla="*/ 2147483647 w 71"/>
              <a:gd name="T1" fmla="*/ 2147483647 h 76"/>
              <a:gd name="T2" fmla="*/ 0 w 71"/>
              <a:gd name="T3" fmla="*/ 2147483647 h 76"/>
              <a:gd name="T4" fmla="*/ 2147483647 w 71"/>
              <a:gd name="T5" fmla="*/ 2147483647 h 76"/>
              <a:gd name="T6" fmla="*/ 2147483647 w 71"/>
              <a:gd name="T7" fmla="*/ 2147483647 h 76"/>
              <a:gd name="T8" fmla="*/ 2147483647 w 71"/>
              <a:gd name="T9" fmla="*/ 0 h 76"/>
              <a:gd name="T10" fmla="*/ 2147483647 w 71"/>
              <a:gd name="T11" fmla="*/ 2147483647 h 76"/>
              <a:gd name="T12" fmla="*/ 2147483647 w 71"/>
              <a:gd name="T13" fmla="*/ 2147483647 h 76"/>
              <a:gd name="T14" fmla="*/ 2147483647 w 71"/>
              <a:gd name="T15" fmla="*/ 2147483647 h 76"/>
              <a:gd name="T16" fmla="*/ 2147483647 w 71"/>
              <a:gd name="T17" fmla="*/ 2147483647 h 76"/>
              <a:gd name="T18" fmla="*/ 2147483647 w 71"/>
              <a:gd name="T19" fmla="*/ 2147483647 h 76"/>
              <a:gd name="T20" fmla="*/ 2147483647 w 71"/>
              <a:gd name="T21" fmla="*/ 2147483647 h 76"/>
              <a:gd name="T22" fmla="*/ 2147483647 w 71"/>
              <a:gd name="T23" fmla="*/ 2147483647 h 76"/>
              <a:gd name="T24" fmla="*/ 2147483647 w 71"/>
              <a:gd name="T25" fmla="*/ 2147483647 h 76"/>
              <a:gd name="T26" fmla="*/ 2147483647 w 71"/>
              <a:gd name="T27" fmla="*/ 2147483647 h 76"/>
              <a:gd name="T28" fmla="*/ 2147483647 w 71"/>
              <a:gd name="T29" fmla="*/ 2147483647 h 76"/>
              <a:gd name="T30" fmla="*/ 2147483647 w 71"/>
              <a:gd name="T31" fmla="*/ 2147483647 h 76"/>
              <a:gd name="T32" fmla="*/ 2147483647 w 71"/>
              <a:gd name="T33" fmla="*/ 2147483647 h 76"/>
              <a:gd name="T34" fmla="*/ 2147483647 w 71"/>
              <a:gd name="T35" fmla="*/ 2147483647 h 76"/>
              <a:gd name="T36" fmla="*/ 2147483647 w 71"/>
              <a:gd name="T37" fmla="*/ 2147483647 h 76"/>
              <a:gd name="T38" fmla="*/ 2147483647 w 71"/>
              <a:gd name="T39" fmla="*/ 2147483647 h 7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71"/>
              <a:gd name="T61" fmla="*/ 0 h 76"/>
              <a:gd name="T62" fmla="*/ 71 w 71"/>
              <a:gd name="T63" fmla="*/ 76 h 7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71" h="76">
                <a:moveTo>
                  <a:pt x="15" y="37"/>
                </a:moveTo>
                <a:lnTo>
                  <a:pt x="0" y="18"/>
                </a:lnTo>
                <a:lnTo>
                  <a:pt x="3" y="7"/>
                </a:lnTo>
                <a:lnTo>
                  <a:pt x="3" y="4"/>
                </a:lnTo>
                <a:lnTo>
                  <a:pt x="5" y="0"/>
                </a:lnTo>
                <a:lnTo>
                  <a:pt x="36" y="6"/>
                </a:lnTo>
                <a:lnTo>
                  <a:pt x="50" y="4"/>
                </a:lnTo>
                <a:lnTo>
                  <a:pt x="60" y="21"/>
                </a:lnTo>
                <a:lnTo>
                  <a:pt x="71" y="37"/>
                </a:lnTo>
                <a:lnTo>
                  <a:pt x="63" y="40"/>
                </a:lnTo>
                <a:lnTo>
                  <a:pt x="63" y="57"/>
                </a:lnTo>
                <a:lnTo>
                  <a:pt x="62" y="76"/>
                </a:lnTo>
                <a:lnTo>
                  <a:pt x="51" y="59"/>
                </a:lnTo>
                <a:lnTo>
                  <a:pt x="51" y="66"/>
                </a:lnTo>
                <a:lnTo>
                  <a:pt x="46" y="58"/>
                </a:lnTo>
                <a:lnTo>
                  <a:pt x="41" y="45"/>
                </a:lnTo>
                <a:lnTo>
                  <a:pt x="26" y="33"/>
                </a:lnTo>
                <a:lnTo>
                  <a:pt x="14" y="21"/>
                </a:lnTo>
                <a:lnTo>
                  <a:pt x="18" y="34"/>
                </a:lnTo>
                <a:lnTo>
                  <a:pt x="15" y="3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283" name="Freeform 90"/>
          <p:cNvSpPr>
            <a:spLocks/>
          </p:cNvSpPr>
          <p:nvPr/>
        </p:nvSpPr>
        <p:spPr bwMode="auto">
          <a:xfrm>
            <a:off x="2697163" y="4313238"/>
            <a:ext cx="4762" cy="7937"/>
          </a:xfrm>
          <a:custGeom>
            <a:avLst/>
            <a:gdLst>
              <a:gd name="T0" fmla="*/ 2147483647 w 4"/>
              <a:gd name="T1" fmla="*/ 0 h 5"/>
              <a:gd name="T2" fmla="*/ 0 w 4"/>
              <a:gd name="T3" fmla="*/ 2147483647 h 5"/>
              <a:gd name="T4" fmla="*/ 2147483647 w 4"/>
              <a:gd name="T5" fmla="*/ 2147483647 h 5"/>
              <a:gd name="T6" fmla="*/ 2147483647 w 4"/>
              <a:gd name="T7" fmla="*/ 0 h 5"/>
              <a:gd name="T8" fmla="*/ 0 60000 65536"/>
              <a:gd name="T9" fmla="*/ 0 60000 65536"/>
              <a:gd name="T10" fmla="*/ 0 60000 65536"/>
              <a:gd name="T11" fmla="*/ 0 60000 65536"/>
              <a:gd name="T12" fmla="*/ 0 w 4"/>
              <a:gd name="T13" fmla="*/ 0 h 5"/>
              <a:gd name="T14" fmla="*/ 4 w 4"/>
              <a:gd name="T15" fmla="*/ 5 h 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" h="5">
                <a:moveTo>
                  <a:pt x="2" y="0"/>
                </a:moveTo>
                <a:lnTo>
                  <a:pt x="0" y="1"/>
                </a:lnTo>
                <a:lnTo>
                  <a:pt x="4" y="5"/>
                </a:lnTo>
                <a:lnTo>
                  <a:pt x="2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84" name="Freeform 91"/>
          <p:cNvSpPr>
            <a:spLocks/>
          </p:cNvSpPr>
          <p:nvPr/>
        </p:nvSpPr>
        <p:spPr bwMode="auto">
          <a:xfrm>
            <a:off x="2120900" y="4252913"/>
            <a:ext cx="63500" cy="42862"/>
          </a:xfrm>
          <a:custGeom>
            <a:avLst/>
            <a:gdLst>
              <a:gd name="T0" fmla="*/ 2147483647 w 48"/>
              <a:gd name="T1" fmla="*/ 2147483647 h 33"/>
              <a:gd name="T2" fmla="*/ 2147483647 w 48"/>
              <a:gd name="T3" fmla="*/ 2147483647 h 33"/>
              <a:gd name="T4" fmla="*/ 2147483647 w 48"/>
              <a:gd name="T5" fmla="*/ 2147483647 h 33"/>
              <a:gd name="T6" fmla="*/ 2147483647 w 48"/>
              <a:gd name="T7" fmla="*/ 2147483647 h 33"/>
              <a:gd name="T8" fmla="*/ 0 w 48"/>
              <a:gd name="T9" fmla="*/ 2147483647 h 33"/>
              <a:gd name="T10" fmla="*/ 2147483647 w 48"/>
              <a:gd name="T11" fmla="*/ 0 h 33"/>
              <a:gd name="T12" fmla="*/ 2147483647 w 48"/>
              <a:gd name="T13" fmla="*/ 2147483647 h 33"/>
              <a:gd name="T14" fmla="*/ 2147483647 w 48"/>
              <a:gd name="T15" fmla="*/ 2147483647 h 33"/>
              <a:gd name="T16" fmla="*/ 2147483647 w 48"/>
              <a:gd name="T17" fmla="*/ 2147483647 h 3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8"/>
              <a:gd name="T28" fmla="*/ 0 h 33"/>
              <a:gd name="T29" fmla="*/ 48 w 48"/>
              <a:gd name="T30" fmla="*/ 33 h 3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8" h="33">
                <a:moveTo>
                  <a:pt x="48" y="25"/>
                </a:moveTo>
                <a:lnTo>
                  <a:pt x="43" y="33"/>
                </a:lnTo>
                <a:lnTo>
                  <a:pt x="31" y="30"/>
                </a:lnTo>
                <a:lnTo>
                  <a:pt x="16" y="24"/>
                </a:lnTo>
                <a:lnTo>
                  <a:pt x="0" y="18"/>
                </a:lnTo>
                <a:lnTo>
                  <a:pt x="17" y="0"/>
                </a:lnTo>
                <a:lnTo>
                  <a:pt x="31" y="11"/>
                </a:lnTo>
                <a:lnTo>
                  <a:pt x="48" y="15"/>
                </a:lnTo>
                <a:lnTo>
                  <a:pt x="48" y="25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85" name="Freeform 92"/>
          <p:cNvSpPr>
            <a:spLocks/>
          </p:cNvSpPr>
          <p:nvPr/>
        </p:nvSpPr>
        <p:spPr bwMode="auto">
          <a:xfrm>
            <a:off x="2141538" y="4203700"/>
            <a:ext cx="182562" cy="98425"/>
          </a:xfrm>
          <a:custGeom>
            <a:avLst/>
            <a:gdLst>
              <a:gd name="T0" fmla="*/ 2147483647 w 137"/>
              <a:gd name="T1" fmla="*/ 2147483647 h 72"/>
              <a:gd name="T2" fmla="*/ 2147483647 w 137"/>
              <a:gd name="T3" fmla="*/ 2147483647 h 72"/>
              <a:gd name="T4" fmla="*/ 2147483647 w 137"/>
              <a:gd name="T5" fmla="*/ 2147483647 h 72"/>
              <a:gd name="T6" fmla="*/ 2147483647 w 137"/>
              <a:gd name="T7" fmla="*/ 2147483647 h 72"/>
              <a:gd name="T8" fmla="*/ 2147483647 w 137"/>
              <a:gd name="T9" fmla="*/ 2147483647 h 72"/>
              <a:gd name="T10" fmla="*/ 2147483647 w 137"/>
              <a:gd name="T11" fmla="*/ 2147483647 h 72"/>
              <a:gd name="T12" fmla="*/ 2147483647 w 137"/>
              <a:gd name="T13" fmla="*/ 2147483647 h 72"/>
              <a:gd name="T14" fmla="*/ 2147483647 w 137"/>
              <a:gd name="T15" fmla="*/ 2147483647 h 72"/>
              <a:gd name="T16" fmla="*/ 2147483647 w 137"/>
              <a:gd name="T17" fmla="*/ 2147483647 h 72"/>
              <a:gd name="T18" fmla="*/ 0 w 137"/>
              <a:gd name="T19" fmla="*/ 2147483647 h 72"/>
              <a:gd name="T20" fmla="*/ 2147483647 w 137"/>
              <a:gd name="T21" fmla="*/ 2147483647 h 72"/>
              <a:gd name="T22" fmla="*/ 2147483647 w 137"/>
              <a:gd name="T23" fmla="*/ 2147483647 h 72"/>
              <a:gd name="T24" fmla="*/ 2147483647 w 137"/>
              <a:gd name="T25" fmla="*/ 2147483647 h 72"/>
              <a:gd name="T26" fmla="*/ 2147483647 w 137"/>
              <a:gd name="T27" fmla="*/ 2147483647 h 72"/>
              <a:gd name="T28" fmla="*/ 2147483647 w 137"/>
              <a:gd name="T29" fmla="*/ 0 h 72"/>
              <a:gd name="T30" fmla="*/ 2147483647 w 137"/>
              <a:gd name="T31" fmla="*/ 2147483647 h 72"/>
              <a:gd name="T32" fmla="*/ 2147483647 w 137"/>
              <a:gd name="T33" fmla="*/ 2147483647 h 72"/>
              <a:gd name="T34" fmla="*/ 2147483647 w 137"/>
              <a:gd name="T35" fmla="*/ 2147483647 h 72"/>
              <a:gd name="T36" fmla="*/ 2147483647 w 137"/>
              <a:gd name="T37" fmla="*/ 2147483647 h 72"/>
              <a:gd name="T38" fmla="*/ 2147483647 w 137"/>
              <a:gd name="T39" fmla="*/ 2147483647 h 72"/>
              <a:gd name="T40" fmla="*/ 2147483647 w 137"/>
              <a:gd name="T41" fmla="*/ 2147483647 h 72"/>
              <a:gd name="T42" fmla="*/ 2147483647 w 137"/>
              <a:gd name="T43" fmla="*/ 2147483647 h 72"/>
              <a:gd name="T44" fmla="*/ 2147483647 w 137"/>
              <a:gd name="T45" fmla="*/ 2147483647 h 72"/>
              <a:gd name="T46" fmla="*/ 2147483647 w 137"/>
              <a:gd name="T47" fmla="*/ 2147483647 h 72"/>
              <a:gd name="T48" fmla="*/ 2147483647 w 137"/>
              <a:gd name="T49" fmla="*/ 2147483647 h 7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37"/>
              <a:gd name="T76" fmla="*/ 0 h 72"/>
              <a:gd name="T77" fmla="*/ 137 w 137"/>
              <a:gd name="T78" fmla="*/ 72 h 72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37" h="72">
                <a:moveTo>
                  <a:pt x="74" y="49"/>
                </a:moveTo>
                <a:lnTo>
                  <a:pt x="66" y="53"/>
                </a:lnTo>
                <a:lnTo>
                  <a:pt x="55" y="58"/>
                </a:lnTo>
                <a:lnTo>
                  <a:pt x="48" y="72"/>
                </a:lnTo>
                <a:lnTo>
                  <a:pt x="42" y="72"/>
                </a:lnTo>
                <a:lnTo>
                  <a:pt x="40" y="64"/>
                </a:lnTo>
                <a:lnTo>
                  <a:pt x="31" y="61"/>
                </a:lnTo>
                <a:lnTo>
                  <a:pt x="31" y="51"/>
                </a:lnTo>
                <a:lnTo>
                  <a:pt x="14" y="47"/>
                </a:lnTo>
                <a:lnTo>
                  <a:pt x="0" y="36"/>
                </a:lnTo>
                <a:lnTo>
                  <a:pt x="13" y="17"/>
                </a:lnTo>
                <a:lnTo>
                  <a:pt x="29" y="5"/>
                </a:lnTo>
                <a:lnTo>
                  <a:pt x="31" y="5"/>
                </a:lnTo>
                <a:lnTo>
                  <a:pt x="53" y="3"/>
                </a:lnTo>
                <a:lnTo>
                  <a:pt x="73" y="0"/>
                </a:lnTo>
                <a:lnTo>
                  <a:pt x="91" y="1"/>
                </a:lnTo>
                <a:lnTo>
                  <a:pt x="108" y="1"/>
                </a:lnTo>
                <a:lnTo>
                  <a:pt x="122" y="11"/>
                </a:lnTo>
                <a:lnTo>
                  <a:pt x="119" y="10"/>
                </a:lnTo>
                <a:lnTo>
                  <a:pt x="121" y="15"/>
                </a:lnTo>
                <a:lnTo>
                  <a:pt x="128" y="15"/>
                </a:lnTo>
                <a:lnTo>
                  <a:pt x="137" y="23"/>
                </a:lnTo>
                <a:lnTo>
                  <a:pt x="119" y="25"/>
                </a:lnTo>
                <a:lnTo>
                  <a:pt x="101" y="29"/>
                </a:lnTo>
                <a:lnTo>
                  <a:pt x="74" y="49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86" name="Freeform 93"/>
          <p:cNvSpPr>
            <a:spLocks/>
          </p:cNvSpPr>
          <p:nvPr/>
        </p:nvSpPr>
        <p:spPr bwMode="auto">
          <a:xfrm>
            <a:off x="2185988" y="4233863"/>
            <a:ext cx="138112" cy="141287"/>
          </a:xfrm>
          <a:custGeom>
            <a:avLst/>
            <a:gdLst>
              <a:gd name="T0" fmla="*/ 2147483647 w 103"/>
              <a:gd name="T1" fmla="*/ 2147483647 h 103"/>
              <a:gd name="T2" fmla="*/ 2147483647 w 103"/>
              <a:gd name="T3" fmla="*/ 2147483647 h 103"/>
              <a:gd name="T4" fmla="*/ 2147483647 w 103"/>
              <a:gd name="T5" fmla="*/ 2147483647 h 103"/>
              <a:gd name="T6" fmla="*/ 2147483647 w 103"/>
              <a:gd name="T7" fmla="*/ 2147483647 h 103"/>
              <a:gd name="T8" fmla="*/ 2147483647 w 103"/>
              <a:gd name="T9" fmla="*/ 2147483647 h 103"/>
              <a:gd name="T10" fmla="*/ 0 w 103"/>
              <a:gd name="T11" fmla="*/ 2147483647 h 103"/>
              <a:gd name="T12" fmla="*/ 2147483647 w 103"/>
              <a:gd name="T13" fmla="*/ 2147483647 h 103"/>
              <a:gd name="T14" fmla="*/ 2147483647 w 103"/>
              <a:gd name="T15" fmla="*/ 2147483647 h 103"/>
              <a:gd name="T16" fmla="*/ 2147483647 w 103"/>
              <a:gd name="T17" fmla="*/ 2147483647 h 103"/>
              <a:gd name="T18" fmla="*/ 2147483647 w 103"/>
              <a:gd name="T19" fmla="*/ 2147483647 h 103"/>
              <a:gd name="T20" fmla="*/ 2147483647 w 103"/>
              <a:gd name="T21" fmla="*/ 2147483647 h 103"/>
              <a:gd name="T22" fmla="*/ 2147483647 w 103"/>
              <a:gd name="T23" fmla="*/ 2147483647 h 103"/>
              <a:gd name="T24" fmla="*/ 2147483647 w 103"/>
              <a:gd name="T25" fmla="*/ 2147483647 h 103"/>
              <a:gd name="T26" fmla="*/ 2147483647 w 103"/>
              <a:gd name="T27" fmla="*/ 2147483647 h 103"/>
              <a:gd name="T28" fmla="*/ 2147483647 w 103"/>
              <a:gd name="T29" fmla="*/ 2147483647 h 103"/>
              <a:gd name="T30" fmla="*/ 2147483647 w 103"/>
              <a:gd name="T31" fmla="*/ 2147483647 h 103"/>
              <a:gd name="T32" fmla="*/ 2147483647 w 103"/>
              <a:gd name="T33" fmla="*/ 2147483647 h 103"/>
              <a:gd name="T34" fmla="*/ 2147483647 w 103"/>
              <a:gd name="T35" fmla="*/ 0 h 103"/>
              <a:gd name="T36" fmla="*/ 2147483647 w 103"/>
              <a:gd name="T37" fmla="*/ 2147483647 h 103"/>
              <a:gd name="T38" fmla="*/ 2147483647 w 103"/>
              <a:gd name="T39" fmla="*/ 2147483647 h 103"/>
              <a:gd name="T40" fmla="*/ 2147483647 w 103"/>
              <a:gd name="T41" fmla="*/ 2147483647 h 10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103"/>
              <a:gd name="T64" fmla="*/ 0 h 103"/>
              <a:gd name="T65" fmla="*/ 103 w 103"/>
              <a:gd name="T66" fmla="*/ 103 h 103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103" h="103">
                <a:moveTo>
                  <a:pt x="40" y="26"/>
                </a:moveTo>
                <a:lnTo>
                  <a:pt x="32" y="30"/>
                </a:lnTo>
                <a:lnTo>
                  <a:pt x="21" y="35"/>
                </a:lnTo>
                <a:lnTo>
                  <a:pt x="14" y="49"/>
                </a:lnTo>
                <a:lnTo>
                  <a:pt x="8" y="49"/>
                </a:lnTo>
                <a:lnTo>
                  <a:pt x="0" y="52"/>
                </a:lnTo>
                <a:lnTo>
                  <a:pt x="20" y="74"/>
                </a:lnTo>
                <a:lnTo>
                  <a:pt x="39" y="97"/>
                </a:lnTo>
                <a:lnTo>
                  <a:pt x="70" y="103"/>
                </a:lnTo>
                <a:lnTo>
                  <a:pt x="84" y="101"/>
                </a:lnTo>
                <a:lnTo>
                  <a:pt x="84" y="85"/>
                </a:lnTo>
                <a:lnTo>
                  <a:pt x="85" y="72"/>
                </a:lnTo>
                <a:lnTo>
                  <a:pt x="88" y="58"/>
                </a:lnTo>
                <a:lnTo>
                  <a:pt x="90" y="62"/>
                </a:lnTo>
                <a:lnTo>
                  <a:pt x="93" y="43"/>
                </a:lnTo>
                <a:lnTo>
                  <a:pt x="97" y="23"/>
                </a:lnTo>
                <a:lnTo>
                  <a:pt x="97" y="5"/>
                </a:lnTo>
                <a:lnTo>
                  <a:pt x="103" y="0"/>
                </a:lnTo>
                <a:lnTo>
                  <a:pt x="85" y="2"/>
                </a:lnTo>
                <a:lnTo>
                  <a:pt x="67" y="6"/>
                </a:lnTo>
                <a:lnTo>
                  <a:pt x="40" y="26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87" name="Freeform 94"/>
          <p:cNvSpPr>
            <a:spLocks/>
          </p:cNvSpPr>
          <p:nvPr/>
        </p:nvSpPr>
        <p:spPr bwMode="auto">
          <a:xfrm>
            <a:off x="2152650" y="4116388"/>
            <a:ext cx="39688" cy="87312"/>
          </a:xfrm>
          <a:custGeom>
            <a:avLst/>
            <a:gdLst>
              <a:gd name="T0" fmla="*/ 2147483647 w 30"/>
              <a:gd name="T1" fmla="*/ 2147483647 h 63"/>
              <a:gd name="T2" fmla="*/ 2147483647 w 30"/>
              <a:gd name="T3" fmla="*/ 2147483647 h 63"/>
              <a:gd name="T4" fmla="*/ 0 w 30"/>
              <a:gd name="T5" fmla="*/ 2147483647 h 63"/>
              <a:gd name="T6" fmla="*/ 2147483647 w 30"/>
              <a:gd name="T7" fmla="*/ 2147483647 h 63"/>
              <a:gd name="T8" fmla="*/ 2147483647 w 30"/>
              <a:gd name="T9" fmla="*/ 2147483647 h 63"/>
              <a:gd name="T10" fmla="*/ 2147483647 w 30"/>
              <a:gd name="T11" fmla="*/ 0 h 63"/>
              <a:gd name="T12" fmla="*/ 2147483647 w 30"/>
              <a:gd name="T13" fmla="*/ 2147483647 h 63"/>
              <a:gd name="T14" fmla="*/ 2147483647 w 30"/>
              <a:gd name="T15" fmla="*/ 2147483647 h 63"/>
              <a:gd name="T16" fmla="*/ 2147483647 w 30"/>
              <a:gd name="T17" fmla="*/ 2147483647 h 6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0"/>
              <a:gd name="T28" fmla="*/ 0 h 63"/>
              <a:gd name="T29" fmla="*/ 30 w 30"/>
              <a:gd name="T30" fmla="*/ 63 h 6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0" h="63">
                <a:moveTo>
                  <a:pt x="18" y="51"/>
                </a:moveTo>
                <a:lnTo>
                  <a:pt x="7" y="63"/>
                </a:lnTo>
                <a:lnTo>
                  <a:pt x="0" y="63"/>
                </a:lnTo>
                <a:lnTo>
                  <a:pt x="4" y="39"/>
                </a:lnTo>
                <a:lnTo>
                  <a:pt x="9" y="15"/>
                </a:lnTo>
                <a:lnTo>
                  <a:pt x="28" y="0"/>
                </a:lnTo>
                <a:lnTo>
                  <a:pt x="30" y="3"/>
                </a:lnTo>
                <a:lnTo>
                  <a:pt x="24" y="27"/>
                </a:lnTo>
                <a:lnTo>
                  <a:pt x="18" y="5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88" name="Freeform 95"/>
          <p:cNvSpPr>
            <a:spLocks/>
          </p:cNvSpPr>
          <p:nvPr/>
        </p:nvSpPr>
        <p:spPr bwMode="auto">
          <a:xfrm>
            <a:off x="2060575" y="4137025"/>
            <a:ext cx="120650" cy="141288"/>
          </a:xfrm>
          <a:custGeom>
            <a:avLst/>
            <a:gdLst>
              <a:gd name="T0" fmla="*/ 2147483647 w 91"/>
              <a:gd name="T1" fmla="*/ 2147483647 h 102"/>
              <a:gd name="T2" fmla="*/ 0 w 91"/>
              <a:gd name="T3" fmla="*/ 2147483647 h 102"/>
              <a:gd name="T4" fmla="*/ 2147483647 w 91"/>
              <a:gd name="T5" fmla="*/ 2147483647 h 102"/>
              <a:gd name="T6" fmla="*/ 2147483647 w 91"/>
              <a:gd name="T7" fmla="*/ 2147483647 h 102"/>
              <a:gd name="T8" fmla="*/ 2147483647 w 91"/>
              <a:gd name="T9" fmla="*/ 2147483647 h 102"/>
              <a:gd name="T10" fmla="*/ 2147483647 w 91"/>
              <a:gd name="T11" fmla="*/ 2147483647 h 102"/>
              <a:gd name="T12" fmla="*/ 2147483647 w 91"/>
              <a:gd name="T13" fmla="*/ 2147483647 h 102"/>
              <a:gd name="T14" fmla="*/ 2147483647 w 91"/>
              <a:gd name="T15" fmla="*/ 0 h 102"/>
              <a:gd name="T16" fmla="*/ 2147483647 w 91"/>
              <a:gd name="T17" fmla="*/ 0 h 102"/>
              <a:gd name="T18" fmla="*/ 2147483647 w 91"/>
              <a:gd name="T19" fmla="*/ 0 h 102"/>
              <a:gd name="T20" fmla="*/ 2147483647 w 91"/>
              <a:gd name="T21" fmla="*/ 2147483647 h 102"/>
              <a:gd name="T22" fmla="*/ 2147483647 w 91"/>
              <a:gd name="T23" fmla="*/ 2147483647 h 102"/>
              <a:gd name="T24" fmla="*/ 2147483647 w 91"/>
              <a:gd name="T25" fmla="*/ 2147483647 h 102"/>
              <a:gd name="T26" fmla="*/ 2147483647 w 91"/>
              <a:gd name="T27" fmla="*/ 2147483647 h 102"/>
              <a:gd name="T28" fmla="*/ 2147483647 w 91"/>
              <a:gd name="T29" fmla="*/ 2147483647 h 102"/>
              <a:gd name="T30" fmla="*/ 2147483647 w 91"/>
              <a:gd name="T31" fmla="*/ 2147483647 h 102"/>
              <a:gd name="T32" fmla="*/ 2147483647 w 91"/>
              <a:gd name="T33" fmla="*/ 2147483647 h 102"/>
              <a:gd name="T34" fmla="*/ 2147483647 w 91"/>
              <a:gd name="T35" fmla="*/ 2147483647 h 102"/>
              <a:gd name="T36" fmla="*/ 2147483647 w 91"/>
              <a:gd name="T37" fmla="*/ 2147483647 h 102"/>
              <a:gd name="T38" fmla="*/ 2147483647 w 91"/>
              <a:gd name="T39" fmla="*/ 2147483647 h 102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91"/>
              <a:gd name="T61" fmla="*/ 0 h 102"/>
              <a:gd name="T62" fmla="*/ 91 w 91"/>
              <a:gd name="T63" fmla="*/ 102 h 102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91" h="102">
                <a:moveTo>
                  <a:pt x="8" y="90"/>
                </a:moveTo>
                <a:lnTo>
                  <a:pt x="0" y="82"/>
                </a:lnTo>
                <a:lnTo>
                  <a:pt x="2" y="64"/>
                </a:lnTo>
                <a:lnTo>
                  <a:pt x="15" y="45"/>
                </a:lnTo>
                <a:lnTo>
                  <a:pt x="44" y="40"/>
                </a:lnTo>
                <a:lnTo>
                  <a:pt x="28" y="17"/>
                </a:lnTo>
                <a:lnTo>
                  <a:pt x="36" y="15"/>
                </a:lnTo>
                <a:lnTo>
                  <a:pt x="37" y="0"/>
                </a:lnTo>
                <a:lnTo>
                  <a:pt x="57" y="0"/>
                </a:lnTo>
                <a:lnTo>
                  <a:pt x="78" y="0"/>
                </a:lnTo>
                <a:lnTo>
                  <a:pt x="73" y="24"/>
                </a:lnTo>
                <a:lnTo>
                  <a:pt x="69" y="48"/>
                </a:lnTo>
                <a:lnTo>
                  <a:pt x="76" y="48"/>
                </a:lnTo>
                <a:lnTo>
                  <a:pt x="84" y="49"/>
                </a:lnTo>
                <a:lnTo>
                  <a:pt x="91" y="53"/>
                </a:lnTo>
                <a:lnTo>
                  <a:pt x="75" y="65"/>
                </a:lnTo>
                <a:lnTo>
                  <a:pt x="62" y="84"/>
                </a:lnTo>
                <a:lnTo>
                  <a:pt x="45" y="102"/>
                </a:lnTo>
                <a:lnTo>
                  <a:pt x="27" y="96"/>
                </a:lnTo>
                <a:lnTo>
                  <a:pt x="8" y="9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89" name="Freeform 96"/>
          <p:cNvSpPr>
            <a:spLocks/>
          </p:cNvSpPr>
          <p:nvPr/>
        </p:nvSpPr>
        <p:spPr bwMode="auto">
          <a:xfrm>
            <a:off x="2473325" y="4116388"/>
            <a:ext cx="60325" cy="20637"/>
          </a:xfrm>
          <a:custGeom>
            <a:avLst/>
            <a:gdLst>
              <a:gd name="T0" fmla="*/ 2147483647 w 47"/>
              <a:gd name="T1" fmla="*/ 0 h 16"/>
              <a:gd name="T2" fmla="*/ 0 w 47"/>
              <a:gd name="T3" fmla="*/ 2147483647 h 16"/>
              <a:gd name="T4" fmla="*/ 2147483647 w 47"/>
              <a:gd name="T5" fmla="*/ 2147483647 h 16"/>
              <a:gd name="T6" fmla="*/ 2147483647 w 47"/>
              <a:gd name="T7" fmla="*/ 2147483647 h 16"/>
              <a:gd name="T8" fmla="*/ 2147483647 w 47"/>
              <a:gd name="T9" fmla="*/ 0 h 1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7"/>
              <a:gd name="T16" fmla="*/ 0 h 16"/>
              <a:gd name="T17" fmla="*/ 47 w 47"/>
              <a:gd name="T18" fmla="*/ 16 h 1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7" h="16">
                <a:moveTo>
                  <a:pt x="18" y="0"/>
                </a:moveTo>
                <a:lnTo>
                  <a:pt x="0" y="6"/>
                </a:lnTo>
                <a:lnTo>
                  <a:pt x="26" y="16"/>
                </a:lnTo>
                <a:lnTo>
                  <a:pt x="47" y="13"/>
                </a:lnTo>
                <a:lnTo>
                  <a:pt x="18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90" name="Freeform 97"/>
          <p:cNvSpPr>
            <a:spLocks/>
          </p:cNvSpPr>
          <p:nvPr/>
        </p:nvSpPr>
        <p:spPr bwMode="auto">
          <a:xfrm>
            <a:off x="2794000" y="4111625"/>
            <a:ext cx="46038" cy="20638"/>
          </a:xfrm>
          <a:custGeom>
            <a:avLst/>
            <a:gdLst>
              <a:gd name="T0" fmla="*/ 2147483647 w 33"/>
              <a:gd name="T1" fmla="*/ 2147483647 h 14"/>
              <a:gd name="T2" fmla="*/ 2147483647 w 33"/>
              <a:gd name="T3" fmla="*/ 2147483647 h 14"/>
              <a:gd name="T4" fmla="*/ 2147483647 w 33"/>
              <a:gd name="T5" fmla="*/ 2147483647 h 14"/>
              <a:gd name="T6" fmla="*/ 0 w 33"/>
              <a:gd name="T7" fmla="*/ 2147483647 h 14"/>
              <a:gd name="T8" fmla="*/ 2147483647 w 33"/>
              <a:gd name="T9" fmla="*/ 0 h 14"/>
              <a:gd name="T10" fmla="*/ 2147483647 w 33"/>
              <a:gd name="T11" fmla="*/ 2147483647 h 1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3"/>
              <a:gd name="T19" fmla="*/ 0 h 14"/>
              <a:gd name="T20" fmla="*/ 33 w 33"/>
              <a:gd name="T21" fmla="*/ 14 h 1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3" h="14">
                <a:moveTo>
                  <a:pt x="33" y="8"/>
                </a:moveTo>
                <a:lnTo>
                  <a:pt x="31" y="9"/>
                </a:lnTo>
                <a:lnTo>
                  <a:pt x="8" y="14"/>
                </a:lnTo>
                <a:lnTo>
                  <a:pt x="0" y="11"/>
                </a:lnTo>
                <a:lnTo>
                  <a:pt x="2" y="0"/>
                </a:lnTo>
                <a:lnTo>
                  <a:pt x="33" y="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91" name="Freeform 98"/>
          <p:cNvSpPr>
            <a:spLocks/>
          </p:cNvSpPr>
          <p:nvPr/>
        </p:nvSpPr>
        <p:spPr bwMode="auto">
          <a:xfrm>
            <a:off x="2859088" y="4137025"/>
            <a:ext cx="11112" cy="1588"/>
          </a:xfrm>
          <a:custGeom>
            <a:avLst/>
            <a:gdLst>
              <a:gd name="T0" fmla="*/ 2147483647 w 7"/>
              <a:gd name="T1" fmla="*/ 0 h 3"/>
              <a:gd name="T2" fmla="*/ 2147483647 w 7"/>
              <a:gd name="T3" fmla="*/ 0 h 3"/>
              <a:gd name="T4" fmla="*/ 0 w 7"/>
              <a:gd name="T5" fmla="*/ 0 h 3"/>
              <a:gd name="T6" fmla="*/ 2147483647 w 7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7"/>
              <a:gd name="T13" fmla="*/ 0 h 3"/>
              <a:gd name="T14" fmla="*/ 7 w 7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" h="3">
                <a:moveTo>
                  <a:pt x="7" y="2"/>
                </a:moveTo>
                <a:lnTo>
                  <a:pt x="2" y="0"/>
                </a:lnTo>
                <a:lnTo>
                  <a:pt x="0" y="3"/>
                </a:lnTo>
                <a:lnTo>
                  <a:pt x="7" y="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92" name="Freeform 99"/>
          <p:cNvSpPr>
            <a:spLocks/>
          </p:cNvSpPr>
          <p:nvPr/>
        </p:nvSpPr>
        <p:spPr bwMode="auto">
          <a:xfrm>
            <a:off x="1477963" y="3630613"/>
            <a:ext cx="766762" cy="615950"/>
          </a:xfrm>
          <a:custGeom>
            <a:avLst/>
            <a:gdLst>
              <a:gd name="T0" fmla="*/ 2147483647 w 580"/>
              <a:gd name="T1" fmla="*/ 2147483647 h 449"/>
              <a:gd name="T2" fmla="*/ 2147483647 w 580"/>
              <a:gd name="T3" fmla="*/ 2147483647 h 449"/>
              <a:gd name="T4" fmla="*/ 2147483647 w 580"/>
              <a:gd name="T5" fmla="*/ 2147483647 h 449"/>
              <a:gd name="T6" fmla="*/ 2147483647 w 580"/>
              <a:gd name="T7" fmla="*/ 2147483647 h 449"/>
              <a:gd name="T8" fmla="*/ 2147483647 w 580"/>
              <a:gd name="T9" fmla="*/ 2147483647 h 449"/>
              <a:gd name="T10" fmla="*/ 2147483647 w 580"/>
              <a:gd name="T11" fmla="*/ 0 h 449"/>
              <a:gd name="T12" fmla="*/ 2147483647 w 580"/>
              <a:gd name="T13" fmla="*/ 2147483647 h 449"/>
              <a:gd name="T14" fmla="*/ 2147483647 w 580"/>
              <a:gd name="T15" fmla="*/ 2147483647 h 449"/>
              <a:gd name="T16" fmla="*/ 2147483647 w 580"/>
              <a:gd name="T17" fmla="*/ 2147483647 h 449"/>
              <a:gd name="T18" fmla="*/ 2147483647 w 580"/>
              <a:gd name="T19" fmla="*/ 2147483647 h 449"/>
              <a:gd name="T20" fmla="*/ 2147483647 w 580"/>
              <a:gd name="T21" fmla="*/ 2147483647 h 449"/>
              <a:gd name="T22" fmla="*/ 2147483647 w 580"/>
              <a:gd name="T23" fmla="*/ 2147483647 h 449"/>
              <a:gd name="T24" fmla="*/ 2147483647 w 580"/>
              <a:gd name="T25" fmla="*/ 2147483647 h 449"/>
              <a:gd name="T26" fmla="*/ 2147483647 w 580"/>
              <a:gd name="T27" fmla="*/ 2147483647 h 449"/>
              <a:gd name="T28" fmla="*/ 2147483647 w 580"/>
              <a:gd name="T29" fmla="*/ 2147483647 h 449"/>
              <a:gd name="T30" fmla="*/ 2147483647 w 580"/>
              <a:gd name="T31" fmla="*/ 2147483647 h 449"/>
              <a:gd name="T32" fmla="*/ 2147483647 w 580"/>
              <a:gd name="T33" fmla="*/ 2147483647 h 449"/>
              <a:gd name="T34" fmla="*/ 2147483647 w 580"/>
              <a:gd name="T35" fmla="*/ 2147483647 h 449"/>
              <a:gd name="T36" fmla="*/ 2147483647 w 580"/>
              <a:gd name="T37" fmla="*/ 2147483647 h 449"/>
              <a:gd name="T38" fmla="*/ 2147483647 w 580"/>
              <a:gd name="T39" fmla="*/ 2147483647 h 449"/>
              <a:gd name="T40" fmla="*/ 2147483647 w 580"/>
              <a:gd name="T41" fmla="*/ 2147483647 h 449"/>
              <a:gd name="T42" fmla="*/ 2147483647 w 580"/>
              <a:gd name="T43" fmla="*/ 2147483647 h 449"/>
              <a:gd name="T44" fmla="*/ 2147483647 w 580"/>
              <a:gd name="T45" fmla="*/ 2147483647 h 449"/>
              <a:gd name="T46" fmla="*/ 2147483647 w 580"/>
              <a:gd name="T47" fmla="*/ 2147483647 h 449"/>
              <a:gd name="T48" fmla="*/ 2147483647 w 580"/>
              <a:gd name="T49" fmla="*/ 2147483647 h 449"/>
              <a:gd name="T50" fmla="*/ 2147483647 w 580"/>
              <a:gd name="T51" fmla="*/ 2147483647 h 449"/>
              <a:gd name="T52" fmla="*/ 2147483647 w 580"/>
              <a:gd name="T53" fmla="*/ 2147483647 h 449"/>
              <a:gd name="T54" fmla="*/ 2147483647 w 580"/>
              <a:gd name="T55" fmla="*/ 2147483647 h 449"/>
              <a:gd name="T56" fmla="*/ 2147483647 w 580"/>
              <a:gd name="T57" fmla="*/ 2147483647 h 449"/>
              <a:gd name="T58" fmla="*/ 2147483647 w 580"/>
              <a:gd name="T59" fmla="*/ 2147483647 h 449"/>
              <a:gd name="T60" fmla="*/ 2147483647 w 580"/>
              <a:gd name="T61" fmla="*/ 2147483647 h 449"/>
              <a:gd name="T62" fmla="*/ 2147483647 w 580"/>
              <a:gd name="T63" fmla="*/ 2147483647 h 449"/>
              <a:gd name="T64" fmla="*/ 2147483647 w 580"/>
              <a:gd name="T65" fmla="*/ 2147483647 h 449"/>
              <a:gd name="T66" fmla="*/ 2147483647 w 580"/>
              <a:gd name="T67" fmla="*/ 2147483647 h 449"/>
              <a:gd name="T68" fmla="*/ 2147483647 w 580"/>
              <a:gd name="T69" fmla="*/ 2147483647 h 449"/>
              <a:gd name="T70" fmla="*/ 2147483647 w 580"/>
              <a:gd name="T71" fmla="*/ 2147483647 h 449"/>
              <a:gd name="T72" fmla="*/ 2147483647 w 580"/>
              <a:gd name="T73" fmla="*/ 2147483647 h 449"/>
              <a:gd name="T74" fmla="*/ 2147483647 w 580"/>
              <a:gd name="T75" fmla="*/ 2147483647 h 449"/>
              <a:gd name="T76" fmla="*/ 2147483647 w 580"/>
              <a:gd name="T77" fmla="*/ 2147483647 h 449"/>
              <a:gd name="T78" fmla="*/ 2147483647 w 580"/>
              <a:gd name="T79" fmla="*/ 2147483647 h 449"/>
              <a:gd name="T80" fmla="*/ 2147483647 w 580"/>
              <a:gd name="T81" fmla="*/ 2147483647 h 449"/>
              <a:gd name="T82" fmla="*/ 2147483647 w 580"/>
              <a:gd name="T83" fmla="*/ 2147483647 h 449"/>
              <a:gd name="T84" fmla="*/ 2147483647 w 580"/>
              <a:gd name="T85" fmla="*/ 2147483647 h 44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580"/>
              <a:gd name="T130" fmla="*/ 0 h 449"/>
              <a:gd name="T131" fmla="*/ 580 w 580"/>
              <a:gd name="T132" fmla="*/ 449 h 449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580" h="449">
                <a:moveTo>
                  <a:pt x="101" y="233"/>
                </a:moveTo>
                <a:lnTo>
                  <a:pt x="85" y="240"/>
                </a:lnTo>
                <a:lnTo>
                  <a:pt x="73" y="216"/>
                </a:lnTo>
                <a:lnTo>
                  <a:pt x="53" y="194"/>
                </a:lnTo>
                <a:lnTo>
                  <a:pt x="55" y="175"/>
                </a:lnTo>
                <a:lnTo>
                  <a:pt x="48" y="156"/>
                </a:lnTo>
                <a:lnTo>
                  <a:pt x="41" y="143"/>
                </a:lnTo>
                <a:lnTo>
                  <a:pt x="29" y="143"/>
                </a:lnTo>
                <a:lnTo>
                  <a:pt x="18" y="131"/>
                </a:lnTo>
                <a:lnTo>
                  <a:pt x="9" y="119"/>
                </a:lnTo>
                <a:lnTo>
                  <a:pt x="25" y="122"/>
                </a:lnTo>
                <a:lnTo>
                  <a:pt x="29" y="97"/>
                </a:lnTo>
                <a:lnTo>
                  <a:pt x="18" y="80"/>
                </a:lnTo>
                <a:lnTo>
                  <a:pt x="6" y="64"/>
                </a:lnTo>
                <a:lnTo>
                  <a:pt x="4" y="34"/>
                </a:lnTo>
                <a:lnTo>
                  <a:pt x="0" y="2"/>
                </a:lnTo>
                <a:lnTo>
                  <a:pt x="25" y="1"/>
                </a:lnTo>
                <a:lnTo>
                  <a:pt x="51" y="0"/>
                </a:lnTo>
                <a:lnTo>
                  <a:pt x="67" y="8"/>
                </a:lnTo>
                <a:lnTo>
                  <a:pt x="84" y="16"/>
                </a:lnTo>
                <a:lnTo>
                  <a:pt x="100" y="24"/>
                </a:lnTo>
                <a:lnTo>
                  <a:pt x="117" y="32"/>
                </a:lnTo>
                <a:lnTo>
                  <a:pt x="147" y="32"/>
                </a:lnTo>
                <a:lnTo>
                  <a:pt x="177" y="32"/>
                </a:lnTo>
                <a:lnTo>
                  <a:pt x="180" y="22"/>
                </a:lnTo>
                <a:lnTo>
                  <a:pt x="215" y="22"/>
                </a:lnTo>
                <a:lnTo>
                  <a:pt x="233" y="46"/>
                </a:lnTo>
                <a:lnTo>
                  <a:pt x="240" y="70"/>
                </a:lnTo>
                <a:lnTo>
                  <a:pt x="253" y="80"/>
                </a:lnTo>
                <a:lnTo>
                  <a:pt x="265" y="91"/>
                </a:lnTo>
                <a:lnTo>
                  <a:pt x="281" y="72"/>
                </a:lnTo>
                <a:lnTo>
                  <a:pt x="310" y="74"/>
                </a:lnTo>
                <a:lnTo>
                  <a:pt x="319" y="97"/>
                </a:lnTo>
                <a:lnTo>
                  <a:pt x="329" y="120"/>
                </a:lnTo>
                <a:lnTo>
                  <a:pt x="336" y="149"/>
                </a:lnTo>
                <a:lnTo>
                  <a:pt x="351" y="161"/>
                </a:lnTo>
                <a:lnTo>
                  <a:pt x="376" y="166"/>
                </a:lnTo>
                <a:lnTo>
                  <a:pt x="363" y="199"/>
                </a:lnTo>
                <a:lnTo>
                  <a:pt x="351" y="232"/>
                </a:lnTo>
                <a:lnTo>
                  <a:pt x="347" y="265"/>
                </a:lnTo>
                <a:lnTo>
                  <a:pt x="354" y="288"/>
                </a:lnTo>
                <a:lnTo>
                  <a:pt x="362" y="312"/>
                </a:lnTo>
                <a:lnTo>
                  <a:pt x="369" y="328"/>
                </a:lnTo>
                <a:lnTo>
                  <a:pt x="375" y="343"/>
                </a:lnTo>
                <a:lnTo>
                  <a:pt x="377" y="344"/>
                </a:lnTo>
                <a:lnTo>
                  <a:pt x="400" y="356"/>
                </a:lnTo>
                <a:lnTo>
                  <a:pt x="419" y="354"/>
                </a:lnTo>
                <a:lnTo>
                  <a:pt x="443" y="349"/>
                </a:lnTo>
                <a:lnTo>
                  <a:pt x="458" y="349"/>
                </a:lnTo>
                <a:lnTo>
                  <a:pt x="467" y="352"/>
                </a:lnTo>
                <a:lnTo>
                  <a:pt x="474" y="346"/>
                </a:lnTo>
                <a:lnTo>
                  <a:pt x="472" y="341"/>
                </a:lnTo>
                <a:lnTo>
                  <a:pt x="489" y="323"/>
                </a:lnTo>
                <a:lnTo>
                  <a:pt x="500" y="293"/>
                </a:lnTo>
                <a:lnTo>
                  <a:pt x="522" y="281"/>
                </a:lnTo>
                <a:lnTo>
                  <a:pt x="543" y="278"/>
                </a:lnTo>
                <a:lnTo>
                  <a:pt x="564" y="276"/>
                </a:lnTo>
                <a:lnTo>
                  <a:pt x="569" y="276"/>
                </a:lnTo>
                <a:lnTo>
                  <a:pt x="578" y="281"/>
                </a:lnTo>
                <a:lnTo>
                  <a:pt x="580" y="286"/>
                </a:lnTo>
                <a:lnTo>
                  <a:pt x="560" y="316"/>
                </a:lnTo>
                <a:lnTo>
                  <a:pt x="556" y="325"/>
                </a:lnTo>
                <a:lnTo>
                  <a:pt x="556" y="328"/>
                </a:lnTo>
                <a:lnTo>
                  <a:pt x="556" y="330"/>
                </a:lnTo>
                <a:lnTo>
                  <a:pt x="545" y="354"/>
                </a:lnTo>
                <a:lnTo>
                  <a:pt x="542" y="346"/>
                </a:lnTo>
                <a:lnTo>
                  <a:pt x="537" y="352"/>
                </a:lnTo>
                <a:lnTo>
                  <a:pt x="518" y="367"/>
                </a:lnTo>
                <a:lnTo>
                  <a:pt x="497" y="367"/>
                </a:lnTo>
                <a:lnTo>
                  <a:pt x="477" y="367"/>
                </a:lnTo>
                <a:lnTo>
                  <a:pt x="476" y="382"/>
                </a:lnTo>
                <a:lnTo>
                  <a:pt x="468" y="384"/>
                </a:lnTo>
                <a:lnTo>
                  <a:pt x="484" y="407"/>
                </a:lnTo>
                <a:lnTo>
                  <a:pt x="455" y="412"/>
                </a:lnTo>
                <a:lnTo>
                  <a:pt x="442" y="431"/>
                </a:lnTo>
                <a:lnTo>
                  <a:pt x="440" y="449"/>
                </a:lnTo>
                <a:lnTo>
                  <a:pt x="419" y="427"/>
                </a:lnTo>
                <a:lnTo>
                  <a:pt x="398" y="406"/>
                </a:lnTo>
                <a:lnTo>
                  <a:pt x="407" y="413"/>
                </a:lnTo>
                <a:lnTo>
                  <a:pt x="394" y="406"/>
                </a:lnTo>
                <a:lnTo>
                  <a:pt x="384" y="407"/>
                </a:lnTo>
                <a:lnTo>
                  <a:pt x="388" y="408"/>
                </a:lnTo>
                <a:lnTo>
                  <a:pt x="368" y="414"/>
                </a:lnTo>
                <a:lnTo>
                  <a:pt x="346" y="420"/>
                </a:lnTo>
                <a:lnTo>
                  <a:pt x="322" y="409"/>
                </a:lnTo>
                <a:lnTo>
                  <a:pt x="298" y="397"/>
                </a:lnTo>
                <a:lnTo>
                  <a:pt x="274" y="386"/>
                </a:lnTo>
                <a:lnTo>
                  <a:pt x="250" y="374"/>
                </a:lnTo>
                <a:lnTo>
                  <a:pt x="235" y="365"/>
                </a:lnTo>
                <a:lnTo>
                  <a:pt x="220" y="358"/>
                </a:lnTo>
                <a:lnTo>
                  <a:pt x="204" y="349"/>
                </a:lnTo>
                <a:lnTo>
                  <a:pt x="190" y="334"/>
                </a:lnTo>
                <a:lnTo>
                  <a:pt x="174" y="319"/>
                </a:lnTo>
                <a:lnTo>
                  <a:pt x="172" y="301"/>
                </a:lnTo>
                <a:lnTo>
                  <a:pt x="179" y="298"/>
                </a:lnTo>
                <a:lnTo>
                  <a:pt x="177" y="292"/>
                </a:lnTo>
                <a:lnTo>
                  <a:pt x="183" y="276"/>
                </a:lnTo>
                <a:lnTo>
                  <a:pt x="174" y="257"/>
                </a:lnTo>
                <a:lnTo>
                  <a:pt x="167" y="238"/>
                </a:lnTo>
                <a:lnTo>
                  <a:pt x="155" y="220"/>
                </a:lnTo>
                <a:lnTo>
                  <a:pt x="142" y="203"/>
                </a:lnTo>
                <a:lnTo>
                  <a:pt x="148" y="205"/>
                </a:lnTo>
                <a:lnTo>
                  <a:pt x="138" y="192"/>
                </a:lnTo>
                <a:lnTo>
                  <a:pt x="135" y="188"/>
                </a:lnTo>
                <a:lnTo>
                  <a:pt x="137" y="187"/>
                </a:lnTo>
                <a:lnTo>
                  <a:pt x="120" y="178"/>
                </a:lnTo>
                <a:lnTo>
                  <a:pt x="124" y="172"/>
                </a:lnTo>
                <a:lnTo>
                  <a:pt x="115" y="172"/>
                </a:lnTo>
                <a:lnTo>
                  <a:pt x="123" y="157"/>
                </a:lnTo>
                <a:lnTo>
                  <a:pt x="114" y="148"/>
                </a:lnTo>
                <a:lnTo>
                  <a:pt x="100" y="124"/>
                </a:lnTo>
                <a:lnTo>
                  <a:pt x="100" y="118"/>
                </a:lnTo>
                <a:lnTo>
                  <a:pt x="87" y="107"/>
                </a:lnTo>
                <a:lnTo>
                  <a:pt x="78" y="85"/>
                </a:lnTo>
                <a:lnTo>
                  <a:pt x="70" y="64"/>
                </a:lnTo>
                <a:lnTo>
                  <a:pt x="70" y="35"/>
                </a:lnTo>
                <a:lnTo>
                  <a:pt x="57" y="28"/>
                </a:lnTo>
                <a:lnTo>
                  <a:pt x="40" y="18"/>
                </a:lnTo>
                <a:lnTo>
                  <a:pt x="37" y="44"/>
                </a:lnTo>
                <a:lnTo>
                  <a:pt x="35" y="71"/>
                </a:lnTo>
                <a:lnTo>
                  <a:pt x="46" y="91"/>
                </a:lnTo>
                <a:lnTo>
                  <a:pt x="57" y="112"/>
                </a:lnTo>
                <a:lnTo>
                  <a:pt x="63" y="130"/>
                </a:lnTo>
                <a:lnTo>
                  <a:pt x="69" y="148"/>
                </a:lnTo>
                <a:lnTo>
                  <a:pt x="71" y="144"/>
                </a:lnTo>
                <a:lnTo>
                  <a:pt x="75" y="174"/>
                </a:lnTo>
                <a:lnTo>
                  <a:pt x="79" y="203"/>
                </a:lnTo>
                <a:lnTo>
                  <a:pt x="87" y="208"/>
                </a:lnTo>
                <a:lnTo>
                  <a:pt x="97" y="221"/>
                </a:lnTo>
                <a:lnTo>
                  <a:pt x="101" y="23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93" name="Freeform 100"/>
          <p:cNvSpPr>
            <a:spLocks/>
          </p:cNvSpPr>
          <p:nvPr/>
        </p:nvSpPr>
        <p:spPr bwMode="auto">
          <a:xfrm>
            <a:off x="2525713" y="3825875"/>
            <a:ext cx="22225" cy="33338"/>
          </a:xfrm>
          <a:custGeom>
            <a:avLst/>
            <a:gdLst>
              <a:gd name="T0" fmla="*/ 2147483647 w 16"/>
              <a:gd name="T1" fmla="*/ 2147483647 h 24"/>
              <a:gd name="T2" fmla="*/ 2147483647 w 16"/>
              <a:gd name="T3" fmla="*/ 2147483647 h 24"/>
              <a:gd name="T4" fmla="*/ 0 w 16"/>
              <a:gd name="T5" fmla="*/ 0 h 24"/>
              <a:gd name="T6" fmla="*/ 2147483647 w 16"/>
              <a:gd name="T7" fmla="*/ 2147483647 h 24"/>
              <a:gd name="T8" fmla="*/ 2147483647 w 16"/>
              <a:gd name="T9" fmla="*/ 2147483647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"/>
              <a:gd name="T16" fmla="*/ 0 h 24"/>
              <a:gd name="T17" fmla="*/ 16 w 16"/>
              <a:gd name="T18" fmla="*/ 24 h 2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" h="24">
                <a:moveTo>
                  <a:pt x="7" y="24"/>
                </a:moveTo>
                <a:lnTo>
                  <a:pt x="11" y="13"/>
                </a:lnTo>
                <a:lnTo>
                  <a:pt x="0" y="0"/>
                </a:lnTo>
                <a:lnTo>
                  <a:pt x="16" y="15"/>
                </a:lnTo>
                <a:lnTo>
                  <a:pt x="7" y="2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94" name="Freeform 101"/>
          <p:cNvSpPr>
            <a:spLocks/>
          </p:cNvSpPr>
          <p:nvPr/>
        </p:nvSpPr>
        <p:spPr bwMode="auto">
          <a:xfrm>
            <a:off x="2619375" y="4016375"/>
            <a:ext cx="19050" cy="12700"/>
          </a:xfrm>
          <a:custGeom>
            <a:avLst/>
            <a:gdLst>
              <a:gd name="T0" fmla="*/ 2147483647 w 14"/>
              <a:gd name="T1" fmla="*/ 0 h 9"/>
              <a:gd name="T2" fmla="*/ 2147483647 w 14"/>
              <a:gd name="T3" fmla="*/ 2147483647 h 9"/>
              <a:gd name="T4" fmla="*/ 0 w 14"/>
              <a:gd name="T5" fmla="*/ 2147483647 h 9"/>
              <a:gd name="T6" fmla="*/ 2147483647 w 14"/>
              <a:gd name="T7" fmla="*/ 0 h 9"/>
              <a:gd name="T8" fmla="*/ 0 60000 65536"/>
              <a:gd name="T9" fmla="*/ 0 60000 65536"/>
              <a:gd name="T10" fmla="*/ 0 60000 65536"/>
              <a:gd name="T11" fmla="*/ 0 60000 65536"/>
              <a:gd name="T12" fmla="*/ 0 w 14"/>
              <a:gd name="T13" fmla="*/ 0 h 9"/>
              <a:gd name="T14" fmla="*/ 14 w 14"/>
              <a:gd name="T15" fmla="*/ 9 h 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" h="9">
                <a:moveTo>
                  <a:pt x="14" y="0"/>
                </a:moveTo>
                <a:lnTo>
                  <a:pt x="13" y="3"/>
                </a:lnTo>
                <a:lnTo>
                  <a:pt x="0" y="9"/>
                </a:lnTo>
                <a:lnTo>
                  <a:pt x="14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95" name="Freeform 102"/>
          <p:cNvSpPr>
            <a:spLocks/>
          </p:cNvSpPr>
          <p:nvPr/>
        </p:nvSpPr>
        <p:spPr bwMode="auto">
          <a:xfrm>
            <a:off x="2609850" y="3971925"/>
            <a:ext cx="9525" cy="11113"/>
          </a:xfrm>
          <a:custGeom>
            <a:avLst/>
            <a:gdLst>
              <a:gd name="T0" fmla="*/ 2147483647 w 7"/>
              <a:gd name="T1" fmla="*/ 2147483647 h 9"/>
              <a:gd name="T2" fmla="*/ 2147483647 w 7"/>
              <a:gd name="T3" fmla="*/ 0 h 9"/>
              <a:gd name="T4" fmla="*/ 0 w 7"/>
              <a:gd name="T5" fmla="*/ 2147483647 h 9"/>
              <a:gd name="T6" fmla="*/ 2147483647 w 7"/>
              <a:gd name="T7" fmla="*/ 2147483647 h 9"/>
              <a:gd name="T8" fmla="*/ 0 60000 65536"/>
              <a:gd name="T9" fmla="*/ 0 60000 65536"/>
              <a:gd name="T10" fmla="*/ 0 60000 65536"/>
              <a:gd name="T11" fmla="*/ 0 60000 65536"/>
              <a:gd name="T12" fmla="*/ 0 w 7"/>
              <a:gd name="T13" fmla="*/ 0 h 9"/>
              <a:gd name="T14" fmla="*/ 7 w 7"/>
              <a:gd name="T15" fmla="*/ 9 h 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" h="9">
                <a:moveTo>
                  <a:pt x="7" y="3"/>
                </a:moveTo>
                <a:lnTo>
                  <a:pt x="3" y="0"/>
                </a:lnTo>
                <a:lnTo>
                  <a:pt x="0" y="9"/>
                </a:lnTo>
                <a:lnTo>
                  <a:pt x="7" y="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96" name="Freeform 103"/>
          <p:cNvSpPr>
            <a:spLocks/>
          </p:cNvSpPr>
          <p:nvPr/>
        </p:nvSpPr>
        <p:spPr bwMode="auto">
          <a:xfrm>
            <a:off x="4751388" y="5324475"/>
            <a:ext cx="390525" cy="404813"/>
          </a:xfrm>
          <a:custGeom>
            <a:avLst/>
            <a:gdLst>
              <a:gd name="T0" fmla="*/ 2147483647 w 293"/>
              <a:gd name="T1" fmla="*/ 2147483647 h 295"/>
              <a:gd name="T2" fmla="*/ 2147483647 w 293"/>
              <a:gd name="T3" fmla="*/ 2147483647 h 295"/>
              <a:gd name="T4" fmla="*/ 2147483647 w 293"/>
              <a:gd name="T5" fmla="*/ 2147483647 h 295"/>
              <a:gd name="T6" fmla="*/ 2147483647 w 293"/>
              <a:gd name="T7" fmla="*/ 2147483647 h 295"/>
              <a:gd name="T8" fmla="*/ 2147483647 w 293"/>
              <a:gd name="T9" fmla="*/ 2147483647 h 295"/>
              <a:gd name="T10" fmla="*/ 2147483647 w 293"/>
              <a:gd name="T11" fmla="*/ 2147483647 h 295"/>
              <a:gd name="T12" fmla="*/ 2147483647 w 293"/>
              <a:gd name="T13" fmla="*/ 2147483647 h 295"/>
              <a:gd name="T14" fmla="*/ 2147483647 w 293"/>
              <a:gd name="T15" fmla="*/ 2147483647 h 295"/>
              <a:gd name="T16" fmla="*/ 2147483647 w 293"/>
              <a:gd name="T17" fmla="*/ 2147483647 h 295"/>
              <a:gd name="T18" fmla="*/ 2147483647 w 293"/>
              <a:gd name="T19" fmla="*/ 2147483647 h 295"/>
              <a:gd name="T20" fmla="*/ 2147483647 w 293"/>
              <a:gd name="T21" fmla="*/ 2147483647 h 295"/>
              <a:gd name="T22" fmla="*/ 2147483647 w 293"/>
              <a:gd name="T23" fmla="*/ 2147483647 h 295"/>
              <a:gd name="T24" fmla="*/ 2147483647 w 293"/>
              <a:gd name="T25" fmla="*/ 2147483647 h 295"/>
              <a:gd name="T26" fmla="*/ 2147483647 w 293"/>
              <a:gd name="T27" fmla="*/ 2147483647 h 295"/>
              <a:gd name="T28" fmla="*/ 2147483647 w 293"/>
              <a:gd name="T29" fmla="*/ 2147483647 h 295"/>
              <a:gd name="T30" fmla="*/ 2147483647 w 293"/>
              <a:gd name="T31" fmla="*/ 2147483647 h 295"/>
              <a:gd name="T32" fmla="*/ 2147483647 w 293"/>
              <a:gd name="T33" fmla="*/ 2147483647 h 295"/>
              <a:gd name="T34" fmla="*/ 2147483647 w 293"/>
              <a:gd name="T35" fmla="*/ 2147483647 h 295"/>
              <a:gd name="T36" fmla="*/ 2147483647 w 293"/>
              <a:gd name="T37" fmla="*/ 2147483647 h 295"/>
              <a:gd name="T38" fmla="*/ 2147483647 w 293"/>
              <a:gd name="T39" fmla="*/ 2147483647 h 295"/>
              <a:gd name="T40" fmla="*/ 2147483647 w 293"/>
              <a:gd name="T41" fmla="*/ 2147483647 h 295"/>
              <a:gd name="T42" fmla="*/ 2147483647 w 293"/>
              <a:gd name="T43" fmla="*/ 2147483647 h 295"/>
              <a:gd name="T44" fmla="*/ 2147483647 w 293"/>
              <a:gd name="T45" fmla="*/ 2147483647 h 295"/>
              <a:gd name="T46" fmla="*/ 2147483647 w 293"/>
              <a:gd name="T47" fmla="*/ 2147483647 h 295"/>
              <a:gd name="T48" fmla="*/ 2147483647 w 293"/>
              <a:gd name="T49" fmla="*/ 0 h 295"/>
              <a:gd name="T50" fmla="*/ 2147483647 w 293"/>
              <a:gd name="T51" fmla="*/ 2147483647 h 295"/>
              <a:gd name="T52" fmla="*/ 0 w 293"/>
              <a:gd name="T53" fmla="*/ 2147483647 h 295"/>
              <a:gd name="T54" fmla="*/ 2147483647 w 293"/>
              <a:gd name="T55" fmla="*/ 2147483647 h 295"/>
              <a:gd name="T56" fmla="*/ 2147483647 w 293"/>
              <a:gd name="T57" fmla="*/ 2147483647 h 295"/>
              <a:gd name="T58" fmla="*/ 2147483647 w 293"/>
              <a:gd name="T59" fmla="*/ 2147483647 h 295"/>
              <a:gd name="T60" fmla="*/ 2147483647 w 293"/>
              <a:gd name="T61" fmla="*/ 2147483647 h 295"/>
              <a:gd name="T62" fmla="*/ 2147483647 w 293"/>
              <a:gd name="T63" fmla="*/ 2147483647 h 295"/>
              <a:gd name="T64" fmla="*/ 2147483647 w 293"/>
              <a:gd name="T65" fmla="*/ 2147483647 h 295"/>
              <a:gd name="T66" fmla="*/ 2147483647 w 293"/>
              <a:gd name="T67" fmla="*/ 2147483647 h 295"/>
              <a:gd name="T68" fmla="*/ 2147483647 w 293"/>
              <a:gd name="T69" fmla="*/ 2147483647 h 295"/>
              <a:gd name="T70" fmla="*/ 2147483647 w 293"/>
              <a:gd name="T71" fmla="*/ 2147483647 h 295"/>
              <a:gd name="T72" fmla="*/ 2147483647 w 293"/>
              <a:gd name="T73" fmla="*/ 2147483647 h 295"/>
              <a:gd name="T74" fmla="*/ 2147483647 w 293"/>
              <a:gd name="T75" fmla="*/ 2147483647 h 295"/>
              <a:gd name="T76" fmla="*/ 2147483647 w 293"/>
              <a:gd name="T77" fmla="*/ 2147483647 h 295"/>
              <a:gd name="T78" fmla="*/ 2147483647 w 293"/>
              <a:gd name="T79" fmla="*/ 2147483647 h 295"/>
              <a:gd name="T80" fmla="*/ 2147483647 w 293"/>
              <a:gd name="T81" fmla="*/ 2147483647 h 295"/>
              <a:gd name="T82" fmla="*/ 2147483647 w 293"/>
              <a:gd name="T83" fmla="*/ 2147483647 h 295"/>
              <a:gd name="T84" fmla="*/ 2147483647 w 293"/>
              <a:gd name="T85" fmla="*/ 2147483647 h 295"/>
              <a:gd name="T86" fmla="*/ 2147483647 w 293"/>
              <a:gd name="T87" fmla="*/ 2147483647 h 295"/>
              <a:gd name="T88" fmla="*/ 2147483647 w 293"/>
              <a:gd name="T89" fmla="*/ 2147483647 h 295"/>
              <a:gd name="T90" fmla="*/ 2147483647 w 293"/>
              <a:gd name="T91" fmla="*/ 2147483647 h 295"/>
              <a:gd name="T92" fmla="*/ 2147483647 w 293"/>
              <a:gd name="T93" fmla="*/ 2147483647 h 295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293"/>
              <a:gd name="T142" fmla="*/ 0 h 295"/>
              <a:gd name="T143" fmla="*/ 293 w 293"/>
              <a:gd name="T144" fmla="*/ 295 h 295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293" h="295">
                <a:moveTo>
                  <a:pt x="174" y="193"/>
                </a:moveTo>
                <a:lnTo>
                  <a:pt x="176" y="160"/>
                </a:lnTo>
                <a:lnTo>
                  <a:pt x="177" y="125"/>
                </a:lnTo>
                <a:lnTo>
                  <a:pt x="198" y="125"/>
                </a:lnTo>
                <a:lnTo>
                  <a:pt x="198" y="102"/>
                </a:lnTo>
                <a:lnTo>
                  <a:pt x="200" y="79"/>
                </a:lnTo>
                <a:lnTo>
                  <a:pt x="200" y="57"/>
                </a:lnTo>
                <a:lnTo>
                  <a:pt x="201" y="34"/>
                </a:lnTo>
                <a:lnTo>
                  <a:pt x="226" y="30"/>
                </a:lnTo>
                <a:lnTo>
                  <a:pt x="251" y="28"/>
                </a:lnTo>
                <a:lnTo>
                  <a:pt x="260" y="36"/>
                </a:lnTo>
                <a:lnTo>
                  <a:pt x="276" y="27"/>
                </a:lnTo>
                <a:lnTo>
                  <a:pt x="293" y="21"/>
                </a:lnTo>
                <a:lnTo>
                  <a:pt x="269" y="13"/>
                </a:lnTo>
                <a:lnTo>
                  <a:pt x="255" y="17"/>
                </a:lnTo>
                <a:lnTo>
                  <a:pt x="222" y="21"/>
                </a:lnTo>
                <a:lnTo>
                  <a:pt x="190" y="24"/>
                </a:lnTo>
                <a:lnTo>
                  <a:pt x="170" y="19"/>
                </a:lnTo>
                <a:lnTo>
                  <a:pt x="149" y="16"/>
                </a:lnTo>
                <a:lnTo>
                  <a:pt x="145" y="11"/>
                </a:lnTo>
                <a:lnTo>
                  <a:pt x="120" y="10"/>
                </a:lnTo>
                <a:lnTo>
                  <a:pt x="95" y="9"/>
                </a:lnTo>
                <a:lnTo>
                  <a:pt x="70" y="9"/>
                </a:lnTo>
                <a:lnTo>
                  <a:pt x="45" y="7"/>
                </a:lnTo>
                <a:lnTo>
                  <a:pt x="28" y="0"/>
                </a:lnTo>
                <a:lnTo>
                  <a:pt x="1" y="7"/>
                </a:lnTo>
                <a:lnTo>
                  <a:pt x="0" y="22"/>
                </a:lnTo>
                <a:lnTo>
                  <a:pt x="15" y="52"/>
                </a:lnTo>
                <a:lnTo>
                  <a:pt x="30" y="82"/>
                </a:lnTo>
                <a:lnTo>
                  <a:pt x="45" y="112"/>
                </a:lnTo>
                <a:lnTo>
                  <a:pt x="59" y="142"/>
                </a:lnTo>
                <a:lnTo>
                  <a:pt x="61" y="155"/>
                </a:lnTo>
                <a:lnTo>
                  <a:pt x="57" y="153"/>
                </a:lnTo>
                <a:lnTo>
                  <a:pt x="60" y="179"/>
                </a:lnTo>
                <a:lnTo>
                  <a:pt x="64" y="204"/>
                </a:lnTo>
                <a:lnTo>
                  <a:pt x="67" y="229"/>
                </a:lnTo>
                <a:lnTo>
                  <a:pt x="71" y="255"/>
                </a:lnTo>
                <a:lnTo>
                  <a:pt x="83" y="271"/>
                </a:lnTo>
                <a:lnTo>
                  <a:pt x="95" y="288"/>
                </a:lnTo>
                <a:lnTo>
                  <a:pt x="107" y="275"/>
                </a:lnTo>
                <a:lnTo>
                  <a:pt x="114" y="291"/>
                </a:lnTo>
                <a:lnTo>
                  <a:pt x="147" y="295"/>
                </a:lnTo>
                <a:lnTo>
                  <a:pt x="166" y="286"/>
                </a:lnTo>
                <a:lnTo>
                  <a:pt x="168" y="263"/>
                </a:lnTo>
                <a:lnTo>
                  <a:pt x="170" y="240"/>
                </a:lnTo>
                <a:lnTo>
                  <a:pt x="172" y="217"/>
                </a:lnTo>
                <a:lnTo>
                  <a:pt x="174" y="19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97" name="Freeform 104"/>
          <p:cNvSpPr>
            <a:spLocks/>
          </p:cNvSpPr>
          <p:nvPr/>
        </p:nvSpPr>
        <p:spPr bwMode="auto">
          <a:xfrm>
            <a:off x="2708275" y="5078413"/>
            <a:ext cx="361950" cy="444500"/>
          </a:xfrm>
          <a:custGeom>
            <a:avLst/>
            <a:gdLst>
              <a:gd name="T0" fmla="*/ 2147483647 w 274"/>
              <a:gd name="T1" fmla="*/ 2147483647 h 324"/>
              <a:gd name="T2" fmla="*/ 2147483647 w 274"/>
              <a:gd name="T3" fmla="*/ 2147483647 h 324"/>
              <a:gd name="T4" fmla="*/ 2147483647 w 274"/>
              <a:gd name="T5" fmla="*/ 2147483647 h 324"/>
              <a:gd name="T6" fmla="*/ 2147483647 w 274"/>
              <a:gd name="T7" fmla="*/ 2147483647 h 324"/>
              <a:gd name="T8" fmla="*/ 2147483647 w 274"/>
              <a:gd name="T9" fmla="*/ 2147483647 h 324"/>
              <a:gd name="T10" fmla="*/ 2147483647 w 274"/>
              <a:gd name="T11" fmla="*/ 2147483647 h 324"/>
              <a:gd name="T12" fmla="*/ 2147483647 w 274"/>
              <a:gd name="T13" fmla="*/ 2147483647 h 324"/>
              <a:gd name="T14" fmla="*/ 2147483647 w 274"/>
              <a:gd name="T15" fmla="*/ 2147483647 h 324"/>
              <a:gd name="T16" fmla="*/ 2147483647 w 274"/>
              <a:gd name="T17" fmla="*/ 2147483647 h 324"/>
              <a:gd name="T18" fmla="*/ 2147483647 w 274"/>
              <a:gd name="T19" fmla="*/ 2147483647 h 324"/>
              <a:gd name="T20" fmla="*/ 2147483647 w 274"/>
              <a:gd name="T21" fmla="*/ 2147483647 h 324"/>
              <a:gd name="T22" fmla="*/ 2147483647 w 274"/>
              <a:gd name="T23" fmla="*/ 2147483647 h 324"/>
              <a:gd name="T24" fmla="*/ 2147483647 w 274"/>
              <a:gd name="T25" fmla="*/ 2147483647 h 324"/>
              <a:gd name="T26" fmla="*/ 2147483647 w 274"/>
              <a:gd name="T27" fmla="*/ 2147483647 h 324"/>
              <a:gd name="T28" fmla="*/ 2147483647 w 274"/>
              <a:gd name="T29" fmla="*/ 2147483647 h 324"/>
              <a:gd name="T30" fmla="*/ 2147483647 w 274"/>
              <a:gd name="T31" fmla="*/ 2147483647 h 324"/>
              <a:gd name="T32" fmla="*/ 2147483647 w 274"/>
              <a:gd name="T33" fmla="*/ 2147483647 h 324"/>
              <a:gd name="T34" fmla="*/ 2147483647 w 274"/>
              <a:gd name="T35" fmla="*/ 2147483647 h 324"/>
              <a:gd name="T36" fmla="*/ 2147483647 w 274"/>
              <a:gd name="T37" fmla="*/ 2147483647 h 324"/>
              <a:gd name="T38" fmla="*/ 2147483647 w 274"/>
              <a:gd name="T39" fmla="*/ 2147483647 h 324"/>
              <a:gd name="T40" fmla="*/ 2147483647 w 274"/>
              <a:gd name="T41" fmla="*/ 2147483647 h 324"/>
              <a:gd name="T42" fmla="*/ 2147483647 w 274"/>
              <a:gd name="T43" fmla="*/ 2147483647 h 324"/>
              <a:gd name="T44" fmla="*/ 2147483647 w 274"/>
              <a:gd name="T45" fmla="*/ 2147483647 h 324"/>
              <a:gd name="T46" fmla="*/ 2147483647 w 274"/>
              <a:gd name="T47" fmla="*/ 2147483647 h 324"/>
              <a:gd name="T48" fmla="*/ 2147483647 w 274"/>
              <a:gd name="T49" fmla="*/ 2147483647 h 324"/>
              <a:gd name="T50" fmla="*/ 2147483647 w 274"/>
              <a:gd name="T51" fmla="*/ 2147483647 h 324"/>
              <a:gd name="T52" fmla="*/ 2147483647 w 274"/>
              <a:gd name="T53" fmla="*/ 2147483647 h 324"/>
              <a:gd name="T54" fmla="*/ 0 w 274"/>
              <a:gd name="T55" fmla="*/ 2147483647 h 324"/>
              <a:gd name="T56" fmla="*/ 2147483647 w 274"/>
              <a:gd name="T57" fmla="*/ 2147483647 h 324"/>
              <a:gd name="T58" fmla="*/ 2147483647 w 274"/>
              <a:gd name="T59" fmla="*/ 2147483647 h 324"/>
              <a:gd name="T60" fmla="*/ 2147483647 w 274"/>
              <a:gd name="T61" fmla="*/ 2147483647 h 324"/>
              <a:gd name="T62" fmla="*/ 2147483647 w 274"/>
              <a:gd name="T63" fmla="*/ 0 h 324"/>
              <a:gd name="T64" fmla="*/ 2147483647 w 274"/>
              <a:gd name="T65" fmla="*/ 2147483647 h 324"/>
              <a:gd name="T66" fmla="*/ 2147483647 w 274"/>
              <a:gd name="T67" fmla="*/ 2147483647 h 324"/>
              <a:gd name="T68" fmla="*/ 2147483647 w 274"/>
              <a:gd name="T69" fmla="*/ 2147483647 h 324"/>
              <a:gd name="T70" fmla="*/ 2147483647 w 274"/>
              <a:gd name="T71" fmla="*/ 2147483647 h 324"/>
              <a:gd name="T72" fmla="*/ 2147483647 w 274"/>
              <a:gd name="T73" fmla="*/ 2147483647 h 324"/>
              <a:gd name="T74" fmla="*/ 2147483647 w 274"/>
              <a:gd name="T75" fmla="*/ 2147483647 h 324"/>
              <a:gd name="T76" fmla="*/ 2147483647 w 274"/>
              <a:gd name="T77" fmla="*/ 2147483647 h 324"/>
              <a:gd name="T78" fmla="*/ 2147483647 w 274"/>
              <a:gd name="T79" fmla="*/ 2147483647 h 324"/>
              <a:gd name="T80" fmla="*/ 2147483647 w 274"/>
              <a:gd name="T81" fmla="*/ 2147483647 h 324"/>
              <a:gd name="T82" fmla="*/ 2147483647 w 274"/>
              <a:gd name="T83" fmla="*/ 2147483647 h 324"/>
              <a:gd name="T84" fmla="*/ 2147483647 w 274"/>
              <a:gd name="T85" fmla="*/ 2147483647 h 324"/>
              <a:gd name="T86" fmla="*/ 2147483647 w 274"/>
              <a:gd name="T87" fmla="*/ 2147483647 h 324"/>
              <a:gd name="T88" fmla="*/ 2147483647 w 274"/>
              <a:gd name="T89" fmla="*/ 2147483647 h 324"/>
              <a:gd name="T90" fmla="*/ 2147483647 w 274"/>
              <a:gd name="T91" fmla="*/ 2147483647 h 324"/>
              <a:gd name="T92" fmla="*/ 2147483647 w 274"/>
              <a:gd name="T93" fmla="*/ 2147483647 h 324"/>
              <a:gd name="T94" fmla="*/ 2147483647 w 274"/>
              <a:gd name="T95" fmla="*/ 2147483647 h 324"/>
              <a:gd name="T96" fmla="*/ 2147483647 w 274"/>
              <a:gd name="T97" fmla="*/ 2147483647 h 324"/>
              <a:gd name="T98" fmla="*/ 2147483647 w 274"/>
              <a:gd name="T99" fmla="*/ 2147483647 h 324"/>
              <a:gd name="T100" fmla="*/ 2147483647 w 274"/>
              <a:gd name="T101" fmla="*/ 2147483647 h 324"/>
              <a:gd name="T102" fmla="*/ 2147483647 w 274"/>
              <a:gd name="T103" fmla="*/ 2147483647 h 324"/>
              <a:gd name="T104" fmla="*/ 2147483647 w 274"/>
              <a:gd name="T105" fmla="*/ 2147483647 h 324"/>
              <a:gd name="T106" fmla="*/ 2147483647 w 274"/>
              <a:gd name="T107" fmla="*/ 2147483647 h 324"/>
              <a:gd name="T108" fmla="*/ 2147483647 w 274"/>
              <a:gd name="T109" fmla="*/ 2147483647 h 324"/>
              <a:gd name="T110" fmla="*/ 2147483647 w 274"/>
              <a:gd name="T111" fmla="*/ 2147483647 h 324"/>
              <a:gd name="T112" fmla="*/ 2147483647 w 274"/>
              <a:gd name="T113" fmla="*/ 2147483647 h 324"/>
              <a:gd name="T114" fmla="*/ 2147483647 w 274"/>
              <a:gd name="T115" fmla="*/ 2147483647 h 324"/>
              <a:gd name="T116" fmla="*/ 2147483647 w 274"/>
              <a:gd name="T117" fmla="*/ 2147483647 h 32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74"/>
              <a:gd name="T178" fmla="*/ 0 h 324"/>
              <a:gd name="T179" fmla="*/ 274 w 274"/>
              <a:gd name="T180" fmla="*/ 324 h 324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74" h="324">
                <a:moveTo>
                  <a:pt x="183" y="256"/>
                </a:moveTo>
                <a:lnTo>
                  <a:pt x="179" y="284"/>
                </a:lnTo>
                <a:lnTo>
                  <a:pt x="173" y="310"/>
                </a:lnTo>
                <a:lnTo>
                  <a:pt x="169" y="304"/>
                </a:lnTo>
                <a:lnTo>
                  <a:pt x="144" y="308"/>
                </a:lnTo>
                <a:lnTo>
                  <a:pt x="137" y="322"/>
                </a:lnTo>
                <a:lnTo>
                  <a:pt x="126" y="308"/>
                </a:lnTo>
                <a:lnTo>
                  <a:pt x="99" y="302"/>
                </a:lnTo>
                <a:lnTo>
                  <a:pt x="95" y="299"/>
                </a:lnTo>
                <a:lnTo>
                  <a:pt x="77" y="324"/>
                </a:lnTo>
                <a:lnTo>
                  <a:pt x="62" y="322"/>
                </a:lnTo>
                <a:lnTo>
                  <a:pt x="53" y="299"/>
                </a:lnTo>
                <a:lnTo>
                  <a:pt x="44" y="278"/>
                </a:lnTo>
                <a:lnTo>
                  <a:pt x="38" y="256"/>
                </a:lnTo>
                <a:lnTo>
                  <a:pt x="38" y="238"/>
                </a:lnTo>
                <a:lnTo>
                  <a:pt x="26" y="221"/>
                </a:lnTo>
                <a:lnTo>
                  <a:pt x="20" y="204"/>
                </a:lnTo>
                <a:lnTo>
                  <a:pt x="14" y="192"/>
                </a:lnTo>
                <a:lnTo>
                  <a:pt x="14" y="183"/>
                </a:lnTo>
                <a:lnTo>
                  <a:pt x="24" y="161"/>
                </a:lnTo>
                <a:lnTo>
                  <a:pt x="17" y="159"/>
                </a:lnTo>
                <a:lnTo>
                  <a:pt x="14" y="138"/>
                </a:lnTo>
                <a:lnTo>
                  <a:pt x="14" y="118"/>
                </a:lnTo>
                <a:lnTo>
                  <a:pt x="18" y="105"/>
                </a:lnTo>
                <a:lnTo>
                  <a:pt x="18" y="74"/>
                </a:lnTo>
                <a:lnTo>
                  <a:pt x="21" y="69"/>
                </a:lnTo>
                <a:lnTo>
                  <a:pt x="11" y="50"/>
                </a:lnTo>
                <a:lnTo>
                  <a:pt x="0" y="29"/>
                </a:lnTo>
                <a:lnTo>
                  <a:pt x="27" y="30"/>
                </a:lnTo>
                <a:lnTo>
                  <a:pt x="38" y="23"/>
                </a:lnTo>
                <a:lnTo>
                  <a:pt x="56" y="12"/>
                </a:lnTo>
                <a:lnTo>
                  <a:pt x="74" y="0"/>
                </a:lnTo>
                <a:lnTo>
                  <a:pt x="91" y="3"/>
                </a:lnTo>
                <a:lnTo>
                  <a:pt x="93" y="23"/>
                </a:lnTo>
                <a:lnTo>
                  <a:pt x="95" y="44"/>
                </a:lnTo>
                <a:lnTo>
                  <a:pt x="111" y="62"/>
                </a:lnTo>
                <a:lnTo>
                  <a:pt x="128" y="68"/>
                </a:lnTo>
                <a:lnTo>
                  <a:pt x="147" y="77"/>
                </a:lnTo>
                <a:lnTo>
                  <a:pt x="171" y="94"/>
                </a:lnTo>
                <a:lnTo>
                  <a:pt x="197" y="98"/>
                </a:lnTo>
                <a:lnTo>
                  <a:pt x="203" y="108"/>
                </a:lnTo>
                <a:lnTo>
                  <a:pt x="206" y="132"/>
                </a:lnTo>
                <a:lnTo>
                  <a:pt x="201" y="132"/>
                </a:lnTo>
                <a:lnTo>
                  <a:pt x="210" y="142"/>
                </a:lnTo>
                <a:lnTo>
                  <a:pt x="213" y="161"/>
                </a:lnTo>
                <a:lnTo>
                  <a:pt x="233" y="164"/>
                </a:lnTo>
                <a:lnTo>
                  <a:pt x="253" y="166"/>
                </a:lnTo>
                <a:lnTo>
                  <a:pt x="255" y="188"/>
                </a:lnTo>
                <a:lnTo>
                  <a:pt x="269" y="201"/>
                </a:lnTo>
                <a:lnTo>
                  <a:pt x="274" y="210"/>
                </a:lnTo>
                <a:lnTo>
                  <a:pt x="269" y="230"/>
                </a:lnTo>
                <a:lnTo>
                  <a:pt x="264" y="248"/>
                </a:lnTo>
                <a:lnTo>
                  <a:pt x="268" y="256"/>
                </a:lnTo>
                <a:lnTo>
                  <a:pt x="264" y="258"/>
                </a:lnTo>
                <a:lnTo>
                  <a:pt x="265" y="255"/>
                </a:lnTo>
                <a:lnTo>
                  <a:pt x="242" y="238"/>
                </a:lnTo>
                <a:lnTo>
                  <a:pt x="215" y="242"/>
                </a:lnTo>
                <a:lnTo>
                  <a:pt x="186" y="245"/>
                </a:lnTo>
                <a:lnTo>
                  <a:pt x="183" y="256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98" name="Freeform 105"/>
          <p:cNvSpPr>
            <a:spLocks/>
          </p:cNvSpPr>
          <p:nvPr/>
        </p:nvSpPr>
        <p:spPr bwMode="auto">
          <a:xfrm>
            <a:off x="4983163" y="5353050"/>
            <a:ext cx="268287" cy="306388"/>
          </a:xfrm>
          <a:custGeom>
            <a:avLst/>
            <a:gdLst>
              <a:gd name="T0" fmla="*/ 0 w 202"/>
              <a:gd name="T1" fmla="*/ 2147483647 h 224"/>
              <a:gd name="T2" fmla="*/ 2147483647 w 202"/>
              <a:gd name="T3" fmla="*/ 2147483647 h 224"/>
              <a:gd name="T4" fmla="*/ 2147483647 w 202"/>
              <a:gd name="T5" fmla="*/ 2147483647 h 224"/>
              <a:gd name="T6" fmla="*/ 2147483647 w 202"/>
              <a:gd name="T7" fmla="*/ 2147483647 h 224"/>
              <a:gd name="T8" fmla="*/ 2147483647 w 202"/>
              <a:gd name="T9" fmla="*/ 2147483647 h 224"/>
              <a:gd name="T10" fmla="*/ 2147483647 w 202"/>
              <a:gd name="T11" fmla="*/ 2147483647 h 224"/>
              <a:gd name="T12" fmla="*/ 2147483647 w 202"/>
              <a:gd name="T13" fmla="*/ 2147483647 h 224"/>
              <a:gd name="T14" fmla="*/ 2147483647 w 202"/>
              <a:gd name="T15" fmla="*/ 2147483647 h 224"/>
              <a:gd name="T16" fmla="*/ 2147483647 w 202"/>
              <a:gd name="T17" fmla="*/ 2147483647 h 224"/>
              <a:gd name="T18" fmla="*/ 2147483647 w 202"/>
              <a:gd name="T19" fmla="*/ 2147483647 h 224"/>
              <a:gd name="T20" fmla="*/ 2147483647 w 202"/>
              <a:gd name="T21" fmla="*/ 2147483647 h 224"/>
              <a:gd name="T22" fmla="*/ 2147483647 w 202"/>
              <a:gd name="T23" fmla="*/ 2147483647 h 224"/>
              <a:gd name="T24" fmla="*/ 2147483647 w 202"/>
              <a:gd name="T25" fmla="*/ 0 h 224"/>
              <a:gd name="T26" fmla="*/ 2147483647 w 202"/>
              <a:gd name="T27" fmla="*/ 2147483647 h 224"/>
              <a:gd name="T28" fmla="*/ 2147483647 w 202"/>
              <a:gd name="T29" fmla="*/ 2147483647 h 224"/>
              <a:gd name="T30" fmla="*/ 2147483647 w 202"/>
              <a:gd name="T31" fmla="*/ 2147483647 h 224"/>
              <a:gd name="T32" fmla="*/ 2147483647 w 202"/>
              <a:gd name="T33" fmla="*/ 2147483647 h 224"/>
              <a:gd name="T34" fmla="*/ 2147483647 w 202"/>
              <a:gd name="T35" fmla="*/ 2147483647 h 224"/>
              <a:gd name="T36" fmla="*/ 2147483647 w 202"/>
              <a:gd name="T37" fmla="*/ 2147483647 h 224"/>
              <a:gd name="T38" fmla="*/ 2147483647 w 202"/>
              <a:gd name="T39" fmla="*/ 2147483647 h 224"/>
              <a:gd name="T40" fmla="*/ 2147483647 w 202"/>
              <a:gd name="T41" fmla="*/ 2147483647 h 224"/>
              <a:gd name="T42" fmla="*/ 2147483647 w 202"/>
              <a:gd name="T43" fmla="*/ 2147483647 h 224"/>
              <a:gd name="T44" fmla="*/ 2147483647 w 202"/>
              <a:gd name="T45" fmla="*/ 2147483647 h 224"/>
              <a:gd name="T46" fmla="*/ 2147483647 w 202"/>
              <a:gd name="T47" fmla="*/ 2147483647 h 224"/>
              <a:gd name="T48" fmla="*/ 2147483647 w 202"/>
              <a:gd name="T49" fmla="*/ 2147483647 h 224"/>
              <a:gd name="T50" fmla="*/ 2147483647 w 202"/>
              <a:gd name="T51" fmla="*/ 2147483647 h 224"/>
              <a:gd name="T52" fmla="*/ 2147483647 w 202"/>
              <a:gd name="T53" fmla="*/ 2147483647 h 224"/>
              <a:gd name="T54" fmla="*/ 2147483647 w 202"/>
              <a:gd name="T55" fmla="*/ 2147483647 h 224"/>
              <a:gd name="T56" fmla="*/ 2147483647 w 202"/>
              <a:gd name="T57" fmla="*/ 2147483647 h 224"/>
              <a:gd name="T58" fmla="*/ 2147483647 w 202"/>
              <a:gd name="T59" fmla="*/ 2147483647 h 224"/>
              <a:gd name="T60" fmla="*/ 2147483647 w 202"/>
              <a:gd name="T61" fmla="*/ 2147483647 h 224"/>
              <a:gd name="T62" fmla="*/ 2147483647 w 202"/>
              <a:gd name="T63" fmla="*/ 2147483647 h 224"/>
              <a:gd name="T64" fmla="*/ 2147483647 w 202"/>
              <a:gd name="T65" fmla="*/ 2147483647 h 224"/>
              <a:gd name="T66" fmla="*/ 2147483647 w 202"/>
              <a:gd name="T67" fmla="*/ 2147483647 h 224"/>
              <a:gd name="T68" fmla="*/ 0 w 202"/>
              <a:gd name="T69" fmla="*/ 2147483647 h 22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202"/>
              <a:gd name="T106" fmla="*/ 0 h 224"/>
              <a:gd name="T107" fmla="*/ 202 w 202"/>
              <a:gd name="T108" fmla="*/ 224 h 224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202" h="224">
                <a:moveTo>
                  <a:pt x="0" y="172"/>
                </a:moveTo>
                <a:lnTo>
                  <a:pt x="2" y="139"/>
                </a:lnTo>
                <a:lnTo>
                  <a:pt x="3" y="104"/>
                </a:lnTo>
                <a:lnTo>
                  <a:pt x="24" y="104"/>
                </a:lnTo>
                <a:lnTo>
                  <a:pt x="24" y="81"/>
                </a:lnTo>
                <a:lnTo>
                  <a:pt x="26" y="58"/>
                </a:lnTo>
                <a:lnTo>
                  <a:pt x="26" y="36"/>
                </a:lnTo>
                <a:lnTo>
                  <a:pt x="27" y="13"/>
                </a:lnTo>
                <a:lnTo>
                  <a:pt x="52" y="9"/>
                </a:lnTo>
                <a:lnTo>
                  <a:pt x="77" y="7"/>
                </a:lnTo>
                <a:lnTo>
                  <a:pt x="86" y="15"/>
                </a:lnTo>
                <a:lnTo>
                  <a:pt x="102" y="6"/>
                </a:lnTo>
                <a:lnTo>
                  <a:pt x="119" y="0"/>
                </a:lnTo>
                <a:lnTo>
                  <a:pt x="132" y="24"/>
                </a:lnTo>
                <a:lnTo>
                  <a:pt x="144" y="48"/>
                </a:lnTo>
                <a:lnTo>
                  <a:pt x="160" y="61"/>
                </a:lnTo>
                <a:lnTo>
                  <a:pt x="165" y="66"/>
                </a:lnTo>
                <a:lnTo>
                  <a:pt x="170" y="73"/>
                </a:lnTo>
                <a:lnTo>
                  <a:pt x="177" y="93"/>
                </a:lnTo>
                <a:lnTo>
                  <a:pt x="196" y="103"/>
                </a:lnTo>
                <a:lnTo>
                  <a:pt x="202" y="106"/>
                </a:lnTo>
                <a:lnTo>
                  <a:pt x="201" y="109"/>
                </a:lnTo>
                <a:lnTo>
                  <a:pt x="172" y="128"/>
                </a:lnTo>
                <a:lnTo>
                  <a:pt x="150" y="146"/>
                </a:lnTo>
                <a:lnTo>
                  <a:pt x="138" y="168"/>
                </a:lnTo>
                <a:lnTo>
                  <a:pt x="125" y="176"/>
                </a:lnTo>
                <a:lnTo>
                  <a:pt x="113" y="198"/>
                </a:lnTo>
                <a:lnTo>
                  <a:pt x="81" y="193"/>
                </a:lnTo>
                <a:lnTo>
                  <a:pt x="64" y="187"/>
                </a:lnTo>
                <a:lnTo>
                  <a:pt x="52" y="202"/>
                </a:lnTo>
                <a:lnTo>
                  <a:pt x="41" y="219"/>
                </a:lnTo>
                <a:lnTo>
                  <a:pt x="18" y="224"/>
                </a:lnTo>
                <a:lnTo>
                  <a:pt x="11" y="220"/>
                </a:lnTo>
                <a:lnTo>
                  <a:pt x="15" y="196"/>
                </a:lnTo>
                <a:lnTo>
                  <a:pt x="0" y="17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99" name="Freeform 106"/>
          <p:cNvSpPr>
            <a:spLocks/>
          </p:cNvSpPr>
          <p:nvPr/>
        </p:nvSpPr>
        <p:spPr bwMode="auto">
          <a:xfrm>
            <a:off x="5173663" y="5721350"/>
            <a:ext cx="65087" cy="68263"/>
          </a:xfrm>
          <a:custGeom>
            <a:avLst/>
            <a:gdLst>
              <a:gd name="T0" fmla="*/ 2147483647 w 48"/>
              <a:gd name="T1" fmla="*/ 2147483647 h 50"/>
              <a:gd name="T2" fmla="*/ 0 w 48"/>
              <a:gd name="T3" fmla="*/ 2147483647 h 50"/>
              <a:gd name="T4" fmla="*/ 2147483647 w 48"/>
              <a:gd name="T5" fmla="*/ 2147483647 h 50"/>
              <a:gd name="T6" fmla="*/ 2147483647 w 48"/>
              <a:gd name="T7" fmla="*/ 2147483647 h 50"/>
              <a:gd name="T8" fmla="*/ 2147483647 w 48"/>
              <a:gd name="T9" fmla="*/ 2147483647 h 50"/>
              <a:gd name="T10" fmla="*/ 2147483647 w 48"/>
              <a:gd name="T11" fmla="*/ 2147483647 h 50"/>
              <a:gd name="T12" fmla="*/ 2147483647 w 48"/>
              <a:gd name="T13" fmla="*/ 0 h 50"/>
              <a:gd name="T14" fmla="*/ 2147483647 w 48"/>
              <a:gd name="T15" fmla="*/ 2147483647 h 5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8"/>
              <a:gd name="T25" fmla="*/ 0 h 50"/>
              <a:gd name="T26" fmla="*/ 48 w 48"/>
              <a:gd name="T27" fmla="*/ 50 h 5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8" h="50">
                <a:moveTo>
                  <a:pt x="21" y="6"/>
                </a:moveTo>
                <a:lnTo>
                  <a:pt x="0" y="28"/>
                </a:lnTo>
                <a:lnTo>
                  <a:pt x="15" y="50"/>
                </a:lnTo>
                <a:lnTo>
                  <a:pt x="23" y="42"/>
                </a:lnTo>
                <a:lnTo>
                  <a:pt x="44" y="27"/>
                </a:lnTo>
                <a:lnTo>
                  <a:pt x="48" y="12"/>
                </a:lnTo>
                <a:lnTo>
                  <a:pt x="29" y="0"/>
                </a:lnTo>
                <a:lnTo>
                  <a:pt x="21" y="6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00" name="Freeform 107"/>
          <p:cNvSpPr>
            <a:spLocks/>
          </p:cNvSpPr>
          <p:nvPr/>
        </p:nvSpPr>
        <p:spPr bwMode="auto">
          <a:xfrm>
            <a:off x="5649913" y="5157788"/>
            <a:ext cx="219075" cy="458787"/>
          </a:xfrm>
          <a:custGeom>
            <a:avLst/>
            <a:gdLst>
              <a:gd name="T0" fmla="*/ 2147483647 w 167"/>
              <a:gd name="T1" fmla="*/ 2147483647 h 334"/>
              <a:gd name="T2" fmla="*/ 2147483647 w 167"/>
              <a:gd name="T3" fmla="*/ 2147483647 h 334"/>
              <a:gd name="T4" fmla="*/ 2147483647 w 167"/>
              <a:gd name="T5" fmla="*/ 2147483647 h 334"/>
              <a:gd name="T6" fmla="*/ 2147483647 w 167"/>
              <a:gd name="T7" fmla="*/ 2147483647 h 334"/>
              <a:gd name="T8" fmla="*/ 2147483647 w 167"/>
              <a:gd name="T9" fmla="*/ 2147483647 h 334"/>
              <a:gd name="T10" fmla="*/ 2147483647 w 167"/>
              <a:gd name="T11" fmla="*/ 2147483647 h 334"/>
              <a:gd name="T12" fmla="*/ 2147483647 w 167"/>
              <a:gd name="T13" fmla="*/ 2147483647 h 334"/>
              <a:gd name="T14" fmla="*/ 2147483647 w 167"/>
              <a:gd name="T15" fmla="*/ 2147483647 h 334"/>
              <a:gd name="T16" fmla="*/ 2147483647 w 167"/>
              <a:gd name="T17" fmla="*/ 2147483647 h 334"/>
              <a:gd name="T18" fmla="*/ 0 w 167"/>
              <a:gd name="T19" fmla="*/ 2147483647 h 334"/>
              <a:gd name="T20" fmla="*/ 2147483647 w 167"/>
              <a:gd name="T21" fmla="*/ 2147483647 h 334"/>
              <a:gd name="T22" fmla="*/ 2147483647 w 167"/>
              <a:gd name="T23" fmla="*/ 2147483647 h 334"/>
              <a:gd name="T24" fmla="*/ 2147483647 w 167"/>
              <a:gd name="T25" fmla="*/ 2147483647 h 334"/>
              <a:gd name="T26" fmla="*/ 2147483647 w 167"/>
              <a:gd name="T27" fmla="*/ 2147483647 h 334"/>
              <a:gd name="T28" fmla="*/ 2147483647 w 167"/>
              <a:gd name="T29" fmla="*/ 2147483647 h 334"/>
              <a:gd name="T30" fmla="*/ 2147483647 w 167"/>
              <a:gd name="T31" fmla="*/ 2147483647 h 334"/>
              <a:gd name="T32" fmla="*/ 2147483647 w 167"/>
              <a:gd name="T33" fmla="*/ 2147483647 h 334"/>
              <a:gd name="T34" fmla="*/ 2147483647 w 167"/>
              <a:gd name="T35" fmla="*/ 2147483647 h 334"/>
              <a:gd name="T36" fmla="*/ 2147483647 w 167"/>
              <a:gd name="T37" fmla="*/ 2147483647 h 334"/>
              <a:gd name="T38" fmla="*/ 2147483647 w 167"/>
              <a:gd name="T39" fmla="*/ 2147483647 h 334"/>
              <a:gd name="T40" fmla="*/ 2147483647 w 167"/>
              <a:gd name="T41" fmla="*/ 2147483647 h 334"/>
              <a:gd name="T42" fmla="*/ 2147483647 w 167"/>
              <a:gd name="T43" fmla="*/ 2147483647 h 334"/>
              <a:gd name="T44" fmla="*/ 2147483647 w 167"/>
              <a:gd name="T45" fmla="*/ 2147483647 h 334"/>
              <a:gd name="T46" fmla="*/ 2147483647 w 167"/>
              <a:gd name="T47" fmla="*/ 2147483647 h 334"/>
              <a:gd name="T48" fmla="*/ 2147483647 w 167"/>
              <a:gd name="T49" fmla="*/ 2147483647 h 334"/>
              <a:gd name="T50" fmla="*/ 2147483647 w 167"/>
              <a:gd name="T51" fmla="*/ 2147483647 h 334"/>
              <a:gd name="T52" fmla="*/ 2147483647 w 167"/>
              <a:gd name="T53" fmla="*/ 2147483647 h 334"/>
              <a:gd name="T54" fmla="*/ 2147483647 w 167"/>
              <a:gd name="T55" fmla="*/ 2147483647 h 334"/>
              <a:gd name="T56" fmla="*/ 2147483647 w 167"/>
              <a:gd name="T57" fmla="*/ 2147483647 h 334"/>
              <a:gd name="T58" fmla="*/ 2147483647 w 167"/>
              <a:gd name="T59" fmla="*/ 2147483647 h 334"/>
              <a:gd name="T60" fmla="*/ 2147483647 w 167"/>
              <a:gd name="T61" fmla="*/ 0 h 334"/>
              <a:gd name="T62" fmla="*/ 2147483647 w 167"/>
              <a:gd name="T63" fmla="*/ 2147483647 h 334"/>
              <a:gd name="T64" fmla="*/ 2147483647 w 167"/>
              <a:gd name="T65" fmla="*/ 2147483647 h 334"/>
              <a:gd name="T66" fmla="*/ 2147483647 w 167"/>
              <a:gd name="T67" fmla="*/ 2147483647 h 334"/>
              <a:gd name="T68" fmla="*/ 2147483647 w 167"/>
              <a:gd name="T69" fmla="*/ 2147483647 h 334"/>
              <a:gd name="T70" fmla="*/ 2147483647 w 167"/>
              <a:gd name="T71" fmla="*/ 2147483647 h 334"/>
              <a:gd name="T72" fmla="*/ 2147483647 w 167"/>
              <a:gd name="T73" fmla="*/ 2147483647 h 334"/>
              <a:gd name="T74" fmla="*/ 2147483647 w 167"/>
              <a:gd name="T75" fmla="*/ 2147483647 h 334"/>
              <a:gd name="T76" fmla="*/ 2147483647 w 167"/>
              <a:gd name="T77" fmla="*/ 2147483647 h 334"/>
              <a:gd name="T78" fmla="*/ 2147483647 w 167"/>
              <a:gd name="T79" fmla="*/ 2147483647 h 334"/>
              <a:gd name="T80" fmla="*/ 2147483647 w 167"/>
              <a:gd name="T81" fmla="*/ 2147483647 h 334"/>
              <a:gd name="T82" fmla="*/ 2147483647 w 167"/>
              <a:gd name="T83" fmla="*/ 2147483647 h 334"/>
              <a:gd name="T84" fmla="*/ 2147483647 w 167"/>
              <a:gd name="T85" fmla="*/ 2147483647 h 334"/>
              <a:gd name="T86" fmla="*/ 2147483647 w 167"/>
              <a:gd name="T87" fmla="*/ 2147483647 h 334"/>
              <a:gd name="T88" fmla="*/ 2147483647 w 167"/>
              <a:gd name="T89" fmla="*/ 2147483647 h 334"/>
              <a:gd name="T90" fmla="*/ 2147483647 w 167"/>
              <a:gd name="T91" fmla="*/ 2147483647 h 334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167"/>
              <a:gd name="T139" fmla="*/ 0 h 334"/>
              <a:gd name="T140" fmla="*/ 167 w 167"/>
              <a:gd name="T141" fmla="*/ 334 h 334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167" h="334">
                <a:moveTo>
                  <a:pt x="61" y="95"/>
                </a:moveTo>
                <a:lnTo>
                  <a:pt x="53" y="96"/>
                </a:lnTo>
                <a:lnTo>
                  <a:pt x="34" y="106"/>
                </a:lnTo>
                <a:lnTo>
                  <a:pt x="28" y="126"/>
                </a:lnTo>
                <a:lnTo>
                  <a:pt x="23" y="145"/>
                </a:lnTo>
                <a:lnTo>
                  <a:pt x="26" y="170"/>
                </a:lnTo>
                <a:lnTo>
                  <a:pt x="29" y="196"/>
                </a:lnTo>
                <a:lnTo>
                  <a:pt x="18" y="212"/>
                </a:lnTo>
                <a:lnTo>
                  <a:pt x="6" y="229"/>
                </a:lnTo>
                <a:lnTo>
                  <a:pt x="0" y="263"/>
                </a:lnTo>
                <a:lnTo>
                  <a:pt x="5" y="290"/>
                </a:lnTo>
                <a:lnTo>
                  <a:pt x="13" y="322"/>
                </a:lnTo>
                <a:lnTo>
                  <a:pt x="41" y="334"/>
                </a:lnTo>
                <a:lnTo>
                  <a:pt x="60" y="324"/>
                </a:lnTo>
                <a:lnTo>
                  <a:pt x="79" y="314"/>
                </a:lnTo>
                <a:lnTo>
                  <a:pt x="86" y="292"/>
                </a:lnTo>
                <a:lnTo>
                  <a:pt x="95" y="270"/>
                </a:lnTo>
                <a:lnTo>
                  <a:pt x="102" y="247"/>
                </a:lnTo>
                <a:lnTo>
                  <a:pt x="110" y="224"/>
                </a:lnTo>
                <a:lnTo>
                  <a:pt x="119" y="202"/>
                </a:lnTo>
                <a:lnTo>
                  <a:pt x="126" y="179"/>
                </a:lnTo>
                <a:lnTo>
                  <a:pt x="133" y="156"/>
                </a:lnTo>
                <a:lnTo>
                  <a:pt x="142" y="134"/>
                </a:lnTo>
                <a:lnTo>
                  <a:pt x="150" y="119"/>
                </a:lnTo>
                <a:lnTo>
                  <a:pt x="150" y="84"/>
                </a:lnTo>
                <a:lnTo>
                  <a:pt x="162" y="94"/>
                </a:lnTo>
                <a:lnTo>
                  <a:pt x="167" y="80"/>
                </a:lnTo>
                <a:lnTo>
                  <a:pt x="160" y="49"/>
                </a:lnTo>
                <a:lnTo>
                  <a:pt x="152" y="18"/>
                </a:lnTo>
                <a:lnTo>
                  <a:pt x="146" y="1"/>
                </a:lnTo>
                <a:lnTo>
                  <a:pt x="142" y="0"/>
                </a:lnTo>
                <a:lnTo>
                  <a:pt x="136" y="8"/>
                </a:lnTo>
                <a:lnTo>
                  <a:pt x="131" y="34"/>
                </a:lnTo>
                <a:lnTo>
                  <a:pt x="122" y="37"/>
                </a:lnTo>
                <a:lnTo>
                  <a:pt x="119" y="41"/>
                </a:lnTo>
                <a:lnTo>
                  <a:pt x="113" y="37"/>
                </a:lnTo>
                <a:lnTo>
                  <a:pt x="115" y="52"/>
                </a:lnTo>
                <a:lnTo>
                  <a:pt x="109" y="61"/>
                </a:lnTo>
                <a:lnTo>
                  <a:pt x="112" y="64"/>
                </a:lnTo>
                <a:lnTo>
                  <a:pt x="101" y="72"/>
                </a:lnTo>
                <a:lnTo>
                  <a:pt x="102" y="64"/>
                </a:lnTo>
                <a:lnTo>
                  <a:pt x="95" y="80"/>
                </a:lnTo>
                <a:lnTo>
                  <a:pt x="91" y="83"/>
                </a:lnTo>
                <a:lnTo>
                  <a:pt x="86" y="80"/>
                </a:lnTo>
                <a:lnTo>
                  <a:pt x="78" y="94"/>
                </a:lnTo>
                <a:lnTo>
                  <a:pt x="61" y="95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301" name="Freeform 108"/>
          <p:cNvSpPr>
            <a:spLocks/>
          </p:cNvSpPr>
          <p:nvPr/>
        </p:nvSpPr>
        <p:spPr bwMode="auto">
          <a:xfrm>
            <a:off x="5359400" y="5064125"/>
            <a:ext cx="90488" cy="263525"/>
          </a:xfrm>
          <a:custGeom>
            <a:avLst/>
            <a:gdLst>
              <a:gd name="T0" fmla="*/ 2147483647 w 67"/>
              <a:gd name="T1" fmla="*/ 2147483647 h 192"/>
              <a:gd name="T2" fmla="*/ 2147483647 w 67"/>
              <a:gd name="T3" fmla="*/ 2147483647 h 192"/>
              <a:gd name="T4" fmla="*/ 2147483647 w 67"/>
              <a:gd name="T5" fmla="*/ 2147483647 h 192"/>
              <a:gd name="T6" fmla="*/ 2147483647 w 67"/>
              <a:gd name="T7" fmla="*/ 2147483647 h 192"/>
              <a:gd name="T8" fmla="*/ 2147483647 w 67"/>
              <a:gd name="T9" fmla="*/ 2147483647 h 192"/>
              <a:gd name="T10" fmla="*/ 2147483647 w 67"/>
              <a:gd name="T11" fmla="*/ 2147483647 h 192"/>
              <a:gd name="T12" fmla="*/ 2147483647 w 67"/>
              <a:gd name="T13" fmla="*/ 2147483647 h 192"/>
              <a:gd name="T14" fmla="*/ 2147483647 w 67"/>
              <a:gd name="T15" fmla="*/ 2147483647 h 192"/>
              <a:gd name="T16" fmla="*/ 2147483647 w 67"/>
              <a:gd name="T17" fmla="*/ 2147483647 h 192"/>
              <a:gd name="T18" fmla="*/ 2147483647 w 67"/>
              <a:gd name="T19" fmla="*/ 2147483647 h 192"/>
              <a:gd name="T20" fmla="*/ 2147483647 w 67"/>
              <a:gd name="T21" fmla="*/ 2147483647 h 192"/>
              <a:gd name="T22" fmla="*/ 2147483647 w 67"/>
              <a:gd name="T23" fmla="*/ 2147483647 h 192"/>
              <a:gd name="T24" fmla="*/ 2147483647 w 67"/>
              <a:gd name="T25" fmla="*/ 2147483647 h 192"/>
              <a:gd name="T26" fmla="*/ 2147483647 w 67"/>
              <a:gd name="T27" fmla="*/ 2147483647 h 192"/>
              <a:gd name="T28" fmla="*/ 2147483647 w 67"/>
              <a:gd name="T29" fmla="*/ 2147483647 h 192"/>
              <a:gd name="T30" fmla="*/ 2147483647 w 67"/>
              <a:gd name="T31" fmla="*/ 2147483647 h 192"/>
              <a:gd name="T32" fmla="*/ 2147483647 w 67"/>
              <a:gd name="T33" fmla="*/ 0 h 192"/>
              <a:gd name="T34" fmla="*/ 2147483647 w 67"/>
              <a:gd name="T35" fmla="*/ 2147483647 h 192"/>
              <a:gd name="T36" fmla="*/ 2147483647 w 67"/>
              <a:gd name="T37" fmla="*/ 2147483647 h 192"/>
              <a:gd name="T38" fmla="*/ 2147483647 w 67"/>
              <a:gd name="T39" fmla="*/ 2147483647 h 192"/>
              <a:gd name="T40" fmla="*/ 2147483647 w 67"/>
              <a:gd name="T41" fmla="*/ 2147483647 h 192"/>
              <a:gd name="T42" fmla="*/ 2147483647 w 67"/>
              <a:gd name="T43" fmla="*/ 2147483647 h 192"/>
              <a:gd name="T44" fmla="*/ 2147483647 w 67"/>
              <a:gd name="T45" fmla="*/ 2147483647 h 192"/>
              <a:gd name="T46" fmla="*/ 0 w 67"/>
              <a:gd name="T47" fmla="*/ 2147483647 h 192"/>
              <a:gd name="T48" fmla="*/ 2147483647 w 67"/>
              <a:gd name="T49" fmla="*/ 2147483647 h 192"/>
              <a:gd name="T50" fmla="*/ 2147483647 w 67"/>
              <a:gd name="T51" fmla="*/ 2147483647 h 192"/>
              <a:gd name="T52" fmla="*/ 2147483647 w 67"/>
              <a:gd name="T53" fmla="*/ 2147483647 h 192"/>
              <a:gd name="T54" fmla="*/ 2147483647 w 67"/>
              <a:gd name="T55" fmla="*/ 2147483647 h 192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67"/>
              <a:gd name="T85" fmla="*/ 0 h 192"/>
              <a:gd name="T86" fmla="*/ 67 w 67"/>
              <a:gd name="T87" fmla="*/ 192 h 192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67" h="192">
                <a:moveTo>
                  <a:pt x="39" y="134"/>
                </a:moveTo>
                <a:lnTo>
                  <a:pt x="31" y="159"/>
                </a:lnTo>
                <a:lnTo>
                  <a:pt x="42" y="176"/>
                </a:lnTo>
                <a:lnTo>
                  <a:pt x="51" y="192"/>
                </a:lnTo>
                <a:lnTo>
                  <a:pt x="49" y="177"/>
                </a:lnTo>
                <a:lnTo>
                  <a:pt x="61" y="167"/>
                </a:lnTo>
                <a:lnTo>
                  <a:pt x="65" y="149"/>
                </a:lnTo>
                <a:lnTo>
                  <a:pt x="67" y="131"/>
                </a:lnTo>
                <a:lnTo>
                  <a:pt x="55" y="116"/>
                </a:lnTo>
                <a:lnTo>
                  <a:pt x="42" y="102"/>
                </a:lnTo>
                <a:lnTo>
                  <a:pt x="38" y="78"/>
                </a:lnTo>
                <a:lnTo>
                  <a:pt x="42" y="59"/>
                </a:lnTo>
                <a:lnTo>
                  <a:pt x="50" y="54"/>
                </a:lnTo>
                <a:lnTo>
                  <a:pt x="44" y="35"/>
                </a:lnTo>
                <a:lnTo>
                  <a:pt x="38" y="8"/>
                </a:lnTo>
                <a:lnTo>
                  <a:pt x="30" y="3"/>
                </a:lnTo>
                <a:lnTo>
                  <a:pt x="7" y="0"/>
                </a:lnTo>
                <a:lnTo>
                  <a:pt x="9" y="6"/>
                </a:lnTo>
                <a:lnTo>
                  <a:pt x="23" y="26"/>
                </a:lnTo>
                <a:lnTo>
                  <a:pt x="17" y="35"/>
                </a:lnTo>
                <a:lnTo>
                  <a:pt x="17" y="54"/>
                </a:lnTo>
                <a:lnTo>
                  <a:pt x="15" y="73"/>
                </a:lnTo>
                <a:lnTo>
                  <a:pt x="12" y="80"/>
                </a:lnTo>
                <a:lnTo>
                  <a:pt x="0" y="104"/>
                </a:lnTo>
                <a:lnTo>
                  <a:pt x="11" y="115"/>
                </a:lnTo>
                <a:lnTo>
                  <a:pt x="17" y="126"/>
                </a:lnTo>
                <a:lnTo>
                  <a:pt x="31" y="126"/>
                </a:lnTo>
                <a:lnTo>
                  <a:pt x="39" y="13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302" name="Freeform 109"/>
          <p:cNvSpPr>
            <a:spLocks/>
          </p:cNvSpPr>
          <p:nvPr/>
        </p:nvSpPr>
        <p:spPr bwMode="auto">
          <a:xfrm>
            <a:off x="5287963" y="5103813"/>
            <a:ext cx="303212" cy="555625"/>
          </a:xfrm>
          <a:custGeom>
            <a:avLst/>
            <a:gdLst>
              <a:gd name="T0" fmla="*/ 2147483647 w 229"/>
              <a:gd name="T1" fmla="*/ 2147483647 h 406"/>
              <a:gd name="T2" fmla="*/ 2147483647 w 229"/>
              <a:gd name="T3" fmla="*/ 2147483647 h 406"/>
              <a:gd name="T4" fmla="*/ 2147483647 w 229"/>
              <a:gd name="T5" fmla="*/ 2147483647 h 406"/>
              <a:gd name="T6" fmla="*/ 2147483647 w 229"/>
              <a:gd name="T7" fmla="*/ 2147483647 h 406"/>
              <a:gd name="T8" fmla="*/ 2147483647 w 229"/>
              <a:gd name="T9" fmla="*/ 2147483647 h 406"/>
              <a:gd name="T10" fmla="*/ 2147483647 w 229"/>
              <a:gd name="T11" fmla="*/ 2147483647 h 406"/>
              <a:gd name="T12" fmla="*/ 2147483647 w 229"/>
              <a:gd name="T13" fmla="*/ 2147483647 h 406"/>
              <a:gd name="T14" fmla="*/ 2147483647 w 229"/>
              <a:gd name="T15" fmla="*/ 0 h 406"/>
              <a:gd name="T16" fmla="*/ 2147483647 w 229"/>
              <a:gd name="T17" fmla="*/ 2147483647 h 406"/>
              <a:gd name="T18" fmla="*/ 2147483647 w 229"/>
              <a:gd name="T19" fmla="*/ 2147483647 h 406"/>
              <a:gd name="T20" fmla="*/ 2147483647 w 229"/>
              <a:gd name="T21" fmla="*/ 2147483647 h 406"/>
              <a:gd name="T22" fmla="*/ 2147483647 w 229"/>
              <a:gd name="T23" fmla="*/ 2147483647 h 406"/>
              <a:gd name="T24" fmla="*/ 2147483647 w 229"/>
              <a:gd name="T25" fmla="*/ 2147483647 h 406"/>
              <a:gd name="T26" fmla="*/ 2147483647 w 229"/>
              <a:gd name="T27" fmla="*/ 2147483647 h 406"/>
              <a:gd name="T28" fmla="*/ 2147483647 w 229"/>
              <a:gd name="T29" fmla="*/ 2147483647 h 406"/>
              <a:gd name="T30" fmla="*/ 2147483647 w 229"/>
              <a:gd name="T31" fmla="*/ 2147483647 h 406"/>
              <a:gd name="T32" fmla="*/ 2147483647 w 229"/>
              <a:gd name="T33" fmla="*/ 2147483647 h 406"/>
              <a:gd name="T34" fmla="*/ 2147483647 w 229"/>
              <a:gd name="T35" fmla="*/ 2147483647 h 406"/>
              <a:gd name="T36" fmla="*/ 2147483647 w 229"/>
              <a:gd name="T37" fmla="*/ 2147483647 h 406"/>
              <a:gd name="T38" fmla="*/ 2147483647 w 229"/>
              <a:gd name="T39" fmla="*/ 2147483647 h 406"/>
              <a:gd name="T40" fmla="*/ 2147483647 w 229"/>
              <a:gd name="T41" fmla="*/ 2147483647 h 406"/>
              <a:gd name="T42" fmla="*/ 2147483647 w 229"/>
              <a:gd name="T43" fmla="*/ 2147483647 h 406"/>
              <a:gd name="T44" fmla="*/ 2147483647 w 229"/>
              <a:gd name="T45" fmla="*/ 2147483647 h 406"/>
              <a:gd name="T46" fmla="*/ 2147483647 w 229"/>
              <a:gd name="T47" fmla="*/ 2147483647 h 406"/>
              <a:gd name="T48" fmla="*/ 2147483647 w 229"/>
              <a:gd name="T49" fmla="*/ 2147483647 h 406"/>
              <a:gd name="T50" fmla="*/ 2147483647 w 229"/>
              <a:gd name="T51" fmla="*/ 2147483647 h 406"/>
              <a:gd name="T52" fmla="*/ 2147483647 w 229"/>
              <a:gd name="T53" fmla="*/ 2147483647 h 406"/>
              <a:gd name="T54" fmla="*/ 2147483647 w 229"/>
              <a:gd name="T55" fmla="*/ 2147483647 h 406"/>
              <a:gd name="T56" fmla="*/ 2147483647 w 229"/>
              <a:gd name="T57" fmla="*/ 2147483647 h 406"/>
              <a:gd name="T58" fmla="*/ 2147483647 w 229"/>
              <a:gd name="T59" fmla="*/ 2147483647 h 406"/>
              <a:gd name="T60" fmla="*/ 2147483647 w 229"/>
              <a:gd name="T61" fmla="*/ 2147483647 h 406"/>
              <a:gd name="T62" fmla="*/ 2147483647 w 229"/>
              <a:gd name="T63" fmla="*/ 2147483647 h 406"/>
              <a:gd name="T64" fmla="*/ 2147483647 w 229"/>
              <a:gd name="T65" fmla="*/ 2147483647 h 406"/>
              <a:gd name="T66" fmla="*/ 2147483647 w 229"/>
              <a:gd name="T67" fmla="*/ 2147483647 h 406"/>
              <a:gd name="T68" fmla="*/ 2147483647 w 229"/>
              <a:gd name="T69" fmla="*/ 2147483647 h 406"/>
              <a:gd name="T70" fmla="*/ 2147483647 w 229"/>
              <a:gd name="T71" fmla="*/ 2147483647 h 40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229"/>
              <a:gd name="T109" fmla="*/ 0 h 406"/>
              <a:gd name="T110" fmla="*/ 229 w 229"/>
              <a:gd name="T111" fmla="*/ 406 h 40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229" h="406">
                <a:moveTo>
                  <a:pt x="93" y="254"/>
                </a:moveTo>
                <a:lnTo>
                  <a:pt x="92" y="237"/>
                </a:lnTo>
                <a:lnTo>
                  <a:pt x="91" y="230"/>
                </a:lnTo>
                <a:lnTo>
                  <a:pt x="100" y="230"/>
                </a:lnTo>
                <a:lnTo>
                  <a:pt x="124" y="209"/>
                </a:lnTo>
                <a:lnTo>
                  <a:pt x="140" y="188"/>
                </a:lnTo>
                <a:lnTo>
                  <a:pt x="159" y="176"/>
                </a:lnTo>
                <a:lnTo>
                  <a:pt x="178" y="165"/>
                </a:lnTo>
                <a:lnTo>
                  <a:pt x="206" y="148"/>
                </a:lnTo>
                <a:lnTo>
                  <a:pt x="224" y="117"/>
                </a:lnTo>
                <a:lnTo>
                  <a:pt x="229" y="98"/>
                </a:lnTo>
                <a:lnTo>
                  <a:pt x="226" y="99"/>
                </a:lnTo>
                <a:lnTo>
                  <a:pt x="224" y="63"/>
                </a:lnTo>
                <a:lnTo>
                  <a:pt x="226" y="51"/>
                </a:lnTo>
                <a:lnTo>
                  <a:pt x="226" y="17"/>
                </a:lnTo>
                <a:lnTo>
                  <a:pt x="228" y="0"/>
                </a:lnTo>
                <a:lnTo>
                  <a:pt x="225" y="0"/>
                </a:lnTo>
                <a:lnTo>
                  <a:pt x="202" y="11"/>
                </a:lnTo>
                <a:lnTo>
                  <a:pt x="180" y="22"/>
                </a:lnTo>
                <a:lnTo>
                  <a:pt x="168" y="23"/>
                </a:lnTo>
                <a:lnTo>
                  <a:pt x="152" y="29"/>
                </a:lnTo>
                <a:lnTo>
                  <a:pt x="127" y="26"/>
                </a:lnTo>
                <a:lnTo>
                  <a:pt x="115" y="27"/>
                </a:lnTo>
                <a:lnTo>
                  <a:pt x="105" y="27"/>
                </a:lnTo>
                <a:lnTo>
                  <a:pt x="97" y="32"/>
                </a:lnTo>
                <a:lnTo>
                  <a:pt x="93" y="51"/>
                </a:lnTo>
                <a:lnTo>
                  <a:pt x="97" y="75"/>
                </a:lnTo>
                <a:lnTo>
                  <a:pt x="110" y="89"/>
                </a:lnTo>
                <a:lnTo>
                  <a:pt x="122" y="104"/>
                </a:lnTo>
                <a:lnTo>
                  <a:pt x="120" y="122"/>
                </a:lnTo>
                <a:lnTo>
                  <a:pt x="116" y="140"/>
                </a:lnTo>
                <a:lnTo>
                  <a:pt x="104" y="150"/>
                </a:lnTo>
                <a:lnTo>
                  <a:pt x="106" y="165"/>
                </a:lnTo>
                <a:lnTo>
                  <a:pt x="97" y="149"/>
                </a:lnTo>
                <a:lnTo>
                  <a:pt x="86" y="132"/>
                </a:lnTo>
                <a:lnTo>
                  <a:pt x="94" y="107"/>
                </a:lnTo>
                <a:lnTo>
                  <a:pt x="86" y="99"/>
                </a:lnTo>
                <a:lnTo>
                  <a:pt x="72" y="99"/>
                </a:lnTo>
                <a:lnTo>
                  <a:pt x="66" y="88"/>
                </a:lnTo>
                <a:lnTo>
                  <a:pt x="49" y="95"/>
                </a:lnTo>
                <a:lnTo>
                  <a:pt x="32" y="101"/>
                </a:lnTo>
                <a:lnTo>
                  <a:pt x="15" y="108"/>
                </a:lnTo>
                <a:lnTo>
                  <a:pt x="0" y="114"/>
                </a:lnTo>
                <a:lnTo>
                  <a:pt x="3" y="128"/>
                </a:lnTo>
                <a:lnTo>
                  <a:pt x="2" y="137"/>
                </a:lnTo>
                <a:lnTo>
                  <a:pt x="14" y="137"/>
                </a:lnTo>
                <a:lnTo>
                  <a:pt x="34" y="146"/>
                </a:lnTo>
                <a:lnTo>
                  <a:pt x="56" y="155"/>
                </a:lnTo>
                <a:lnTo>
                  <a:pt x="56" y="185"/>
                </a:lnTo>
                <a:lnTo>
                  <a:pt x="51" y="206"/>
                </a:lnTo>
                <a:lnTo>
                  <a:pt x="54" y="228"/>
                </a:lnTo>
                <a:lnTo>
                  <a:pt x="46" y="250"/>
                </a:lnTo>
                <a:lnTo>
                  <a:pt x="42" y="270"/>
                </a:lnTo>
                <a:lnTo>
                  <a:pt x="28" y="284"/>
                </a:lnTo>
                <a:lnTo>
                  <a:pt x="14" y="297"/>
                </a:lnTo>
                <a:lnTo>
                  <a:pt x="19" y="314"/>
                </a:lnTo>
                <a:lnTo>
                  <a:pt x="22" y="332"/>
                </a:lnTo>
                <a:lnTo>
                  <a:pt x="24" y="358"/>
                </a:lnTo>
                <a:lnTo>
                  <a:pt x="24" y="384"/>
                </a:lnTo>
                <a:lnTo>
                  <a:pt x="26" y="406"/>
                </a:lnTo>
                <a:lnTo>
                  <a:pt x="42" y="406"/>
                </a:lnTo>
                <a:lnTo>
                  <a:pt x="43" y="390"/>
                </a:lnTo>
                <a:lnTo>
                  <a:pt x="37" y="384"/>
                </a:lnTo>
                <a:lnTo>
                  <a:pt x="62" y="363"/>
                </a:lnTo>
                <a:lnTo>
                  <a:pt x="81" y="353"/>
                </a:lnTo>
                <a:lnTo>
                  <a:pt x="99" y="342"/>
                </a:lnTo>
                <a:lnTo>
                  <a:pt x="99" y="333"/>
                </a:lnTo>
                <a:lnTo>
                  <a:pt x="102" y="310"/>
                </a:lnTo>
                <a:lnTo>
                  <a:pt x="105" y="288"/>
                </a:lnTo>
                <a:lnTo>
                  <a:pt x="100" y="296"/>
                </a:lnTo>
                <a:lnTo>
                  <a:pt x="97" y="275"/>
                </a:lnTo>
                <a:lnTo>
                  <a:pt x="93" y="25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03" name="Freeform 110"/>
          <p:cNvSpPr>
            <a:spLocks/>
          </p:cNvSpPr>
          <p:nvPr/>
        </p:nvSpPr>
        <p:spPr bwMode="auto">
          <a:xfrm>
            <a:off x="4879975" y="5499100"/>
            <a:ext cx="463550" cy="430213"/>
          </a:xfrm>
          <a:custGeom>
            <a:avLst/>
            <a:gdLst>
              <a:gd name="T0" fmla="*/ 2147483647 w 351"/>
              <a:gd name="T1" fmla="*/ 2147483647 h 312"/>
              <a:gd name="T2" fmla="*/ 2147483647 w 351"/>
              <a:gd name="T3" fmla="*/ 2147483647 h 312"/>
              <a:gd name="T4" fmla="*/ 2147483647 w 351"/>
              <a:gd name="T5" fmla="*/ 2147483647 h 312"/>
              <a:gd name="T6" fmla="*/ 2147483647 w 351"/>
              <a:gd name="T7" fmla="*/ 2147483647 h 312"/>
              <a:gd name="T8" fmla="*/ 2147483647 w 351"/>
              <a:gd name="T9" fmla="*/ 2147483647 h 312"/>
              <a:gd name="T10" fmla="*/ 2147483647 w 351"/>
              <a:gd name="T11" fmla="*/ 2147483647 h 312"/>
              <a:gd name="T12" fmla="*/ 2147483647 w 351"/>
              <a:gd name="T13" fmla="*/ 2147483647 h 312"/>
              <a:gd name="T14" fmla="*/ 2147483647 w 351"/>
              <a:gd name="T15" fmla="*/ 2147483647 h 312"/>
              <a:gd name="T16" fmla="*/ 2147483647 w 351"/>
              <a:gd name="T17" fmla="*/ 2147483647 h 312"/>
              <a:gd name="T18" fmla="*/ 2147483647 w 351"/>
              <a:gd name="T19" fmla="*/ 2147483647 h 312"/>
              <a:gd name="T20" fmla="*/ 2147483647 w 351"/>
              <a:gd name="T21" fmla="*/ 2147483647 h 312"/>
              <a:gd name="T22" fmla="*/ 2147483647 w 351"/>
              <a:gd name="T23" fmla="*/ 2147483647 h 312"/>
              <a:gd name="T24" fmla="*/ 2147483647 w 351"/>
              <a:gd name="T25" fmla="*/ 2147483647 h 312"/>
              <a:gd name="T26" fmla="*/ 2147483647 w 351"/>
              <a:gd name="T27" fmla="*/ 2147483647 h 312"/>
              <a:gd name="T28" fmla="*/ 2147483647 w 351"/>
              <a:gd name="T29" fmla="*/ 2147483647 h 312"/>
              <a:gd name="T30" fmla="*/ 2147483647 w 351"/>
              <a:gd name="T31" fmla="*/ 2147483647 h 312"/>
              <a:gd name="T32" fmla="*/ 2147483647 w 351"/>
              <a:gd name="T33" fmla="*/ 2147483647 h 312"/>
              <a:gd name="T34" fmla="*/ 2147483647 w 351"/>
              <a:gd name="T35" fmla="*/ 2147483647 h 312"/>
              <a:gd name="T36" fmla="*/ 2147483647 w 351"/>
              <a:gd name="T37" fmla="*/ 2147483647 h 312"/>
              <a:gd name="T38" fmla="*/ 2147483647 w 351"/>
              <a:gd name="T39" fmla="*/ 2147483647 h 312"/>
              <a:gd name="T40" fmla="*/ 2147483647 w 351"/>
              <a:gd name="T41" fmla="*/ 2147483647 h 312"/>
              <a:gd name="T42" fmla="*/ 2147483647 w 351"/>
              <a:gd name="T43" fmla="*/ 2147483647 h 312"/>
              <a:gd name="T44" fmla="*/ 2147483647 w 351"/>
              <a:gd name="T45" fmla="*/ 2147483647 h 312"/>
              <a:gd name="T46" fmla="*/ 2147483647 w 351"/>
              <a:gd name="T47" fmla="*/ 0 h 312"/>
              <a:gd name="T48" fmla="*/ 2147483647 w 351"/>
              <a:gd name="T49" fmla="*/ 2147483647 h 312"/>
              <a:gd name="T50" fmla="*/ 2147483647 w 351"/>
              <a:gd name="T51" fmla="*/ 2147483647 h 312"/>
              <a:gd name="T52" fmla="*/ 2147483647 w 351"/>
              <a:gd name="T53" fmla="*/ 2147483647 h 312"/>
              <a:gd name="T54" fmla="*/ 2147483647 w 351"/>
              <a:gd name="T55" fmla="*/ 2147483647 h 312"/>
              <a:gd name="T56" fmla="*/ 2147483647 w 351"/>
              <a:gd name="T57" fmla="*/ 2147483647 h 312"/>
              <a:gd name="T58" fmla="*/ 2147483647 w 351"/>
              <a:gd name="T59" fmla="*/ 2147483647 h 312"/>
              <a:gd name="T60" fmla="*/ 2147483647 w 351"/>
              <a:gd name="T61" fmla="*/ 2147483647 h 312"/>
              <a:gd name="T62" fmla="*/ 2147483647 w 351"/>
              <a:gd name="T63" fmla="*/ 2147483647 h 312"/>
              <a:gd name="T64" fmla="*/ 2147483647 w 351"/>
              <a:gd name="T65" fmla="*/ 2147483647 h 312"/>
              <a:gd name="T66" fmla="*/ 2147483647 w 351"/>
              <a:gd name="T67" fmla="*/ 2147483647 h 312"/>
              <a:gd name="T68" fmla="*/ 2147483647 w 351"/>
              <a:gd name="T69" fmla="*/ 2147483647 h 31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51"/>
              <a:gd name="T106" fmla="*/ 0 h 312"/>
              <a:gd name="T107" fmla="*/ 351 w 351"/>
              <a:gd name="T108" fmla="*/ 312 h 312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51" h="312">
                <a:moveTo>
                  <a:pt x="79" y="63"/>
                </a:moveTo>
                <a:lnTo>
                  <a:pt x="77" y="87"/>
                </a:lnTo>
                <a:lnTo>
                  <a:pt x="75" y="110"/>
                </a:lnTo>
                <a:lnTo>
                  <a:pt x="73" y="133"/>
                </a:lnTo>
                <a:lnTo>
                  <a:pt x="71" y="156"/>
                </a:lnTo>
                <a:lnTo>
                  <a:pt x="52" y="165"/>
                </a:lnTo>
                <a:lnTo>
                  <a:pt x="19" y="161"/>
                </a:lnTo>
                <a:lnTo>
                  <a:pt x="12" y="145"/>
                </a:lnTo>
                <a:lnTo>
                  <a:pt x="0" y="158"/>
                </a:lnTo>
                <a:lnTo>
                  <a:pt x="10" y="181"/>
                </a:lnTo>
                <a:lnTo>
                  <a:pt x="18" y="204"/>
                </a:lnTo>
                <a:lnTo>
                  <a:pt x="26" y="228"/>
                </a:lnTo>
                <a:lnTo>
                  <a:pt x="35" y="251"/>
                </a:lnTo>
                <a:lnTo>
                  <a:pt x="26" y="261"/>
                </a:lnTo>
                <a:lnTo>
                  <a:pt x="29" y="273"/>
                </a:lnTo>
                <a:lnTo>
                  <a:pt x="35" y="299"/>
                </a:lnTo>
                <a:lnTo>
                  <a:pt x="42" y="297"/>
                </a:lnTo>
                <a:lnTo>
                  <a:pt x="53" y="305"/>
                </a:lnTo>
                <a:lnTo>
                  <a:pt x="67" y="312"/>
                </a:lnTo>
                <a:lnTo>
                  <a:pt x="89" y="305"/>
                </a:lnTo>
                <a:lnTo>
                  <a:pt x="111" y="296"/>
                </a:lnTo>
                <a:lnTo>
                  <a:pt x="133" y="296"/>
                </a:lnTo>
                <a:lnTo>
                  <a:pt x="155" y="295"/>
                </a:lnTo>
                <a:lnTo>
                  <a:pt x="184" y="291"/>
                </a:lnTo>
                <a:lnTo>
                  <a:pt x="198" y="287"/>
                </a:lnTo>
                <a:lnTo>
                  <a:pt x="221" y="273"/>
                </a:lnTo>
                <a:lnTo>
                  <a:pt x="244" y="260"/>
                </a:lnTo>
                <a:lnTo>
                  <a:pt x="257" y="246"/>
                </a:lnTo>
                <a:lnTo>
                  <a:pt x="271" y="231"/>
                </a:lnTo>
                <a:lnTo>
                  <a:pt x="285" y="217"/>
                </a:lnTo>
                <a:lnTo>
                  <a:pt x="299" y="201"/>
                </a:lnTo>
                <a:lnTo>
                  <a:pt x="315" y="183"/>
                </a:lnTo>
                <a:lnTo>
                  <a:pt x="330" y="164"/>
                </a:lnTo>
                <a:lnTo>
                  <a:pt x="341" y="140"/>
                </a:lnTo>
                <a:lnTo>
                  <a:pt x="351" y="115"/>
                </a:lnTo>
                <a:lnTo>
                  <a:pt x="335" y="115"/>
                </a:lnTo>
                <a:lnTo>
                  <a:pt x="330" y="126"/>
                </a:lnTo>
                <a:lnTo>
                  <a:pt x="310" y="119"/>
                </a:lnTo>
                <a:lnTo>
                  <a:pt x="311" y="101"/>
                </a:lnTo>
                <a:lnTo>
                  <a:pt x="322" y="87"/>
                </a:lnTo>
                <a:lnTo>
                  <a:pt x="333" y="93"/>
                </a:lnTo>
                <a:lnTo>
                  <a:pt x="333" y="67"/>
                </a:lnTo>
                <a:lnTo>
                  <a:pt x="331" y="41"/>
                </a:lnTo>
                <a:lnTo>
                  <a:pt x="328" y="23"/>
                </a:lnTo>
                <a:lnTo>
                  <a:pt x="323" y="6"/>
                </a:lnTo>
                <a:lnTo>
                  <a:pt x="303" y="2"/>
                </a:lnTo>
                <a:lnTo>
                  <a:pt x="282" y="0"/>
                </a:lnTo>
                <a:lnTo>
                  <a:pt x="280" y="0"/>
                </a:lnTo>
                <a:lnTo>
                  <a:pt x="251" y="19"/>
                </a:lnTo>
                <a:lnTo>
                  <a:pt x="229" y="37"/>
                </a:lnTo>
                <a:lnTo>
                  <a:pt x="217" y="59"/>
                </a:lnTo>
                <a:lnTo>
                  <a:pt x="204" y="67"/>
                </a:lnTo>
                <a:lnTo>
                  <a:pt x="192" y="89"/>
                </a:lnTo>
                <a:lnTo>
                  <a:pt x="160" y="84"/>
                </a:lnTo>
                <a:lnTo>
                  <a:pt x="143" y="78"/>
                </a:lnTo>
                <a:lnTo>
                  <a:pt x="131" y="93"/>
                </a:lnTo>
                <a:lnTo>
                  <a:pt x="120" y="110"/>
                </a:lnTo>
                <a:lnTo>
                  <a:pt x="97" y="115"/>
                </a:lnTo>
                <a:lnTo>
                  <a:pt x="90" y="111"/>
                </a:lnTo>
                <a:lnTo>
                  <a:pt x="94" y="87"/>
                </a:lnTo>
                <a:lnTo>
                  <a:pt x="79" y="63"/>
                </a:lnTo>
                <a:lnTo>
                  <a:pt x="244" y="165"/>
                </a:lnTo>
                <a:lnTo>
                  <a:pt x="223" y="187"/>
                </a:lnTo>
                <a:lnTo>
                  <a:pt x="238" y="209"/>
                </a:lnTo>
                <a:lnTo>
                  <a:pt x="246" y="201"/>
                </a:lnTo>
                <a:lnTo>
                  <a:pt x="267" y="186"/>
                </a:lnTo>
                <a:lnTo>
                  <a:pt x="271" y="171"/>
                </a:lnTo>
                <a:lnTo>
                  <a:pt x="252" y="159"/>
                </a:lnTo>
                <a:lnTo>
                  <a:pt x="244" y="165"/>
                </a:lnTo>
                <a:lnTo>
                  <a:pt x="79" y="6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04" name="Freeform 111"/>
          <p:cNvSpPr>
            <a:spLocks/>
          </p:cNvSpPr>
          <p:nvPr/>
        </p:nvSpPr>
        <p:spPr bwMode="auto">
          <a:xfrm>
            <a:off x="4879975" y="5499100"/>
            <a:ext cx="463550" cy="430213"/>
          </a:xfrm>
          <a:custGeom>
            <a:avLst/>
            <a:gdLst>
              <a:gd name="T0" fmla="*/ 2147483647 w 351"/>
              <a:gd name="T1" fmla="*/ 2147483647 h 312"/>
              <a:gd name="T2" fmla="*/ 2147483647 w 351"/>
              <a:gd name="T3" fmla="*/ 2147483647 h 312"/>
              <a:gd name="T4" fmla="*/ 2147483647 w 351"/>
              <a:gd name="T5" fmla="*/ 2147483647 h 312"/>
              <a:gd name="T6" fmla="*/ 2147483647 w 351"/>
              <a:gd name="T7" fmla="*/ 2147483647 h 312"/>
              <a:gd name="T8" fmla="*/ 2147483647 w 351"/>
              <a:gd name="T9" fmla="*/ 2147483647 h 312"/>
              <a:gd name="T10" fmla="*/ 2147483647 w 351"/>
              <a:gd name="T11" fmla="*/ 2147483647 h 312"/>
              <a:gd name="T12" fmla="*/ 2147483647 w 351"/>
              <a:gd name="T13" fmla="*/ 2147483647 h 312"/>
              <a:gd name="T14" fmla="*/ 2147483647 w 351"/>
              <a:gd name="T15" fmla="*/ 2147483647 h 312"/>
              <a:gd name="T16" fmla="*/ 0 w 351"/>
              <a:gd name="T17" fmla="*/ 2147483647 h 312"/>
              <a:gd name="T18" fmla="*/ 2147483647 w 351"/>
              <a:gd name="T19" fmla="*/ 2147483647 h 312"/>
              <a:gd name="T20" fmla="*/ 2147483647 w 351"/>
              <a:gd name="T21" fmla="*/ 2147483647 h 312"/>
              <a:gd name="T22" fmla="*/ 2147483647 w 351"/>
              <a:gd name="T23" fmla="*/ 2147483647 h 312"/>
              <a:gd name="T24" fmla="*/ 2147483647 w 351"/>
              <a:gd name="T25" fmla="*/ 2147483647 h 312"/>
              <a:gd name="T26" fmla="*/ 2147483647 w 351"/>
              <a:gd name="T27" fmla="*/ 2147483647 h 312"/>
              <a:gd name="T28" fmla="*/ 2147483647 w 351"/>
              <a:gd name="T29" fmla="*/ 2147483647 h 312"/>
              <a:gd name="T30" fmla="*/ 2147483647 w 351"/>
              <a:gd name="T31" fmla="*/ 2147483647 h 312"/>
              <a:gd name="T32" fmla="*/ 2147483647 w 351"/>
              <a:gd name="T33" fmla="*/ 2147483647 h 312"/>
              <a:gd name="T34" fmla="*/ 2147483647 w 351"/>
              <a:gd name="T35" fmla="*/ 2147483647 h 312"/>
              <a:gd name="T36" fmla="*/ 2147483647 w 351"/>
              <a:gd name="T37" fmla="*/ 2147483647 h 312"/>
              <a:gd name="T38" fmla="*/ 2147483647 w 351"/>
              <a:gd name="T39" fmla="*/ 2147483647 h 312"/>
              <a:gd name="T40" fmla="*/ 2147483647 w 351"/>
              <a:gd name="T41" fmla="*/ 2147483647 h 312"/>
              <a:gd name="T42" fmla="*/ 2147483647 w 351"/>
              <a:gd name="T43" fmla="*/ 2147483647 h 312"/>
              <a:gd name="T44" fmla="*/ 2147483647 w 351"/>
              <a:gd name="T45" fmla="*/ 2147483647 h 312"/>
              <a:gd name="T46" fmla="*/ 2147483647 w 351"/>
              <a:gd name="T47" fmla="*/ 2147483647 h 312"/>
              <a:gd name="T48" fmla="*/ 2147483647 w 351"/>
              <a:gd name="T49" fmla="*/ 2147483647 h 312"/>
              <a:gd name="T50" fmla="*/ 2147483647 w 351"/>
              <a:gd name="T51" fmla="*/ 2147483647 h 312"/>
              <a:gd name="T52" fmla="*/ 2147483647 w 351"/>
              <a:gd name="T53" fmla="*/ 2147483647 h 312"/>
              <a:gd name="T54" fmla="*/ 2147483647 w 351"/>
              <a:gd name="T55" fmla="*/ 2147483647 h 312"/>
              <a:gd name="T56" fmla="*/ 2147483647 w 351"/>
              <a:gd name="T57" fmla="*/ 2147483647 h 312"/>
              <a:gd name="T58" fmla="*/ 2147483647 w 351"/>
              <a:gd name="T59" fmla="*/ 2147483647 h 312"/>
              <a:gd name="T60" fmla="*/ 2147483647 w 351"/>
              <a:gd name="T61" fmla="*/ 2147483647 h 312"/>
              <a:gd name="T62" fmla="*/ 2147483647 w 351"/>
              <a:gd name="T63" fmla="*/ 2147483647 h 312"/>
              <a:gd name="T64" fmla="*/ 2147483647 w 351"/>
              <a:gd name="T65" fmla="*/ 2147483647 h 312"/>
              <a:gd name="T66" fmla="*/ 2147483647 w 351"/>
              <a:gd name="T67" fmla="*/ 2147483647 h 312"/>
              <a:gd name="T68" fmla="*/ 2147483647 w 351"/>
              <a:gd name="T69" fmla="*/ 2147483647 h 312"/>
              <a:gd name="T70" fmla="*/ 2147483647 w 351"/>
              <a:gd name="T71" fmla="*/ 2147483647 h 312"/>
              <a:gd name="T72" fmla="*/ 2147483647 w 351"/>
              <a:gd name="T73" fmla="*/ 2147483647 h 312"/>
              <a:gd name="T74" fmla="*/ 2147483647 w 351"/>
              <a:gd name="T75" fmla="*/ 2147483647 h 312"/>
              <a:gd name="T76" fmla="*/ 2147483647 w 351"/>
              <a:gd name="T77" fmla="*/ 2147483647 h 312"/>
              <a:gd name="T78" fmla="*/ 2147483647 w 351"/>
              <a:gd name="T79" fmla="*/ 2147483647 h 312"/>
              <a:gd name="T80" fmla="*/ 2147483647 w 351"/>
              <a:gd name="T81" fmla="*/ 2147483647 h 312"/>
              <a:gd name="T82" fmla="*/ 2147483647 w 351"/>
              <a:gd name="T83" fmla="*/ 2147483647 h 312"/>
              <a:gd name="T84" fmla="*/ 2147483647 w 351"/>
              <a:gd name="T85" fmla="*/ 2147483647 h 312"/>
              <a:gd name="T86" fmla="*/ 2147483647 w 351"/>
              <a:gd name="T87" fmla="*/ 2147483647 h 312"/>
              <a:gd name="T88" fmla="*/ 2147483647 w 351"/>
              <a:gd name="T89" fmla="*/ 2147483647 h 312"/>
              <a:gd name="T90" fmla="*/ 2147483647 w 351"/>
              <a:gd name="T91" fmla="*/ 2147483647 h 312"/>
              <a:gd name="T92" fmla="*/ 2147483647 w 351"/>
              <a:gd name="T93" fmla="*/ 0 h 312"/>
              <a:gd name="T94" fmla="*/ 2147483647 w 351"/>
              <a:gd name="T95" fmla="*/ 0 h 312"/>
              <a:gd name="T96" fmla="*/ 2147483647 w 351"/>
              <a:gd name="T97" fmla="*/ 2147483647 h 312"/>
              <a:gd name="T98" fmla="*/ 2147483647 w 351"/>
              <a:gd name="T99" fmla="*/ 2147483647 h 312"/>
              <a:gd name="T100" fmla="*/ 2147483647 w 351"/>
              <a:gd name="T101" fmla="*/ 2147483647 h 312"/>
              <a:gd name="T102" fmla="*/ 2147483647 w 351"/>
              <a:gd name="T103" fmla="*/ 2147483647 h 312"/>
              <a:gd name="T104" fmla="*/ 2147483647 w 351"/>
              <a:gd name="T105" fmla="*/ 2147483647 h 312"/>
              <a:gd name="T106" fmla="*/ 2147483647 w 351"/>
              <a:gd name="T107" fmla="*/ 2147483647 h 312"/>
              <a:gd name="T108" fmla="*/ 2147483647 w 351"/>
              <a:gd name="T109" fmla="*/ 2147483647 h 312"/>
              <a:gd name="T110" fmla="*/ 2147483647 w 351"/>
              <a:gd name="T111" fmla="*/ 2147483647 h 312"/>
              <a:gd name="T112" fmla="*/ 2147483647 w 351"/>
              <a:gd name="T113" fmla="*/ 2147483647 h 312"/>
              <a:gd name="T114" fmla="*/ 2147483647 w 351"/>
              <a:gd name="T115" fmla="*/ 2147483647 h 312"/>
              <a:gd name="T116" fmla="*/ 2147483647 w 351"/>
              <a:gd name="T117" fmla="*/ 2147483647 h 312"/>
              <a:gd name="T118" fmla="*/ 2147483647 w 351"/>
              <a:gd name="T119" fmla="*/ 2147483647 h 312"/>
              <a:gd name="T120" fmla="*/ 2147483647 w 351"/>
              <a:gd name="T121" fmla="*/ 2147483647 h 312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351"/>
              <a:gd name="T184" fmla="*/ 0 h 312"/>
              <a:gd name="T185" fmla="*/ 351 w 351"/>
              <a:gd name="T186" fmla="*/ 312 h 312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351" h="312">
                <a:moveTo>
                  <a:pt x="79" y="63"/>
                </a:moveTo>
                <a:lnTo>
                  <a:pt x="77" y="87"/>
                </a:lnTo>
                <a:lnTo>
                  <a:pt x="75" y="110"/>
                </a:lnTo>
                <a:lnTo>
                  <a:pt x="73" y="133"/>
                </a:lnTo>
                <a:lnTo>
                  <a:pt x="71" y="156"/>
                </a:lnTo>
                <a:lnTo>
                  <a:pt x="52" y="165"/>
                </a:lnTo>
                <a:lnTo>
                  <a:pt x="19" y="161"/>
                </a:lnTo>
                <a:lnTo>
                  <a:pt x="12" y="145"/>
                </a:lnTo>
                <a:lnTo>
                  <a:pt x="0" y="158"/>
                </a:lnTo>
                <a:lnTo>
                  <a:pt x="10" y="181"/>
                </a:lnTo>
                <a:lnTo>
                  <a:pt x="18" y="204"/>
                </a:lnTo>
                <a:lnTo>
                  <a:pt x="26" y="228"/>
                </a:lnTo>
                <a:lnTo>
                  <a:pt x="35" y="251"/>
                </a:lnTo>
                <a:lnTo>
                  <a:pt x="26" y="261"/>
                </a:lnTo>
                <a:lnTo>
                  <a:pt x="29" y="273"/>
                </a:lnTo>
                <a:lnTo>
                  <a:pt x="35" y="299"/>
                </a:lnTo>
                <a:lnTo>
                  <a:pt x="42" y="297"/>
                </a:lnTo>
                <a:lnTo>
                  <a:pt x="53" y="305"/>
                </a:lnTo>
                <a:lnTo>
                  <a:pt x="67" y="312"/>
                </a:lnTo>
                <a:lnTo>
                  <a:pt x="89" y="305"/>
                </a:lnTo>
                <a:lnTo>
                  <a:pt x="111" y="296"/>
                </a:lnTo>
                <a:lnTo>
                  <a:pt x="133" y="296"/>
                </a:lnTo>
                <a:lnTo>
                  <a:pt x="155" y="295"/>
                </a:lnTo>
                <a:lnTo>
                  <a:pt x="184" y="291"/>
                </a:lnTo>
                <a:lnTo>
                  <a:pt x="198" y="287"/>
                </a:lnTo>
                <a:lnTo>
                  <a:pt x="221" y="273"/>
                </a:lnTo>
                <a:lnTo>
                  <a:pt x="244" y="260"/>
                </a:lnTo>
                <a:lnTo>
                  <a:pt x="257" y="246"/>
                </a:lnTo>
                <a:lnTo>
                  <a:pt x="271" y="231"/>
                </a:lnTo>
                <a:lnTo>
                  <a:pt x="285" y="217"/>
                </a:lnTo>
                <a:lnTo>
                  <a:pt x="299" y="201"/>
                </a:lnTo>
                <a:lnTo>
                  <a:pt x="315" y="183"/>
                </a:lnTo>
                <a:lnTo>
                  <a:pt x="330" y="164"/>
                </a:lnTo>
                <a:lnTo>
                  <a:pt x="341" y="140"/>
                </a:lnTo>
                <a:lnTo>
                  <a:pt x="351" y="115"/>
                </a:lnTo>
                <a:lnTo>
                  <a:pt x="335" y="115"/>
                </a:lnTo>
                <a:lnTo>
                  <a:pt x="330" y="126"/>
                </a:lnTo>
                <a:lnTo>
                  <a:pt x="310" y="119"/>
                </a:lnTo>
                <a:lnTo>
                  <a:pt x="311" y="101"/>
                </a:lnTo>
                <a:lnTo>
                  <a:pt x="322" y="87"/>
                </a:lnTo>
                <a:lnTo>
                  <a:pt x="333" y="93"/>
                </a:lnTo>
                <a:lnTo>
                  <a:pt x="333" y="67"/>
                </a:lnTo>
                <a:lnTo>
                  <a:pt x="331" y="41"/>
                </a:lnTo>
                <a:lnTo>
                  <a:pt x="328" y="23"/>
                </a:lnTo>
                <a:lnTo>
                  <a:pt x="323" y="6"/>
                </a:lnTo>
                <a:lnTo>
                  <a:pt x="303" y="2"/>
                </a:lnTo>
                <a:lnTo>
                  <a:pt x="282" y="0"/>
                </a:lnTo>
                <a:lnTo>
                  <a:pt x="280" y="0"/>
                </a:lnTo>
                <a:lnTo>
                  <a:pt x="251" y="19"/>
                </a:lnTo>
                <a:lnTo>
                  <a:pt x="229" y="37"/>
                </a:lnTo>
                <a:lnTo>
                  <a:pt x="217" y="59"/>
                </a:lnTo>
                <a:lnTo>
                  <a:pt x="204" y="67"/>
                </a:lnTo>
                <a:lnTo>
                  <a:pt x="192" y="89"/>
                </a:lnTo>
                <a:lnTo>
                  <a:pt x="160" y="84"/>
                </a:lnTo>
                <a:lnTo>
                  <a:pt x="143" y="78"/>
                </a:lnTo>
                <a:lnTo>
                  <a:pt x="131" y="93"/>
                </a:lnTo>
                <a:lnTo>
                  <a:pt x="120" y="110"/>
                </a:lnTo>
                <a:lnTo>
                  <a:pt x="97" y="115"/>
                </a:lnTo>
                <a:lnTo>
                  <a:pt x="90" y="111"/>
                </a:lnTo>
                <a:lnTo>
                  <a:pt x="94" y="87"/>
                </a:lnTo>
                <a:lnTo>
                  <a:pt x="79" y="63"/>
                </a:lnTo>
                <a:close/>
              </a:path>
            </a:pathLst>
          </a:custGeom>
          <a:gradFill rotWithShape="1">
            <a:gsLst>
              <a:gs pos="0">
                <a:schemeClr val="hlink"/>
              </a:gs>
              <a:gs pos="100000">
                <a:srgbClr val="004747"/>
              </a:gs>
            </a:gsLst>
            <a:lin ang="5400000" scaled="1"/>
          </a:gradFill>
          <a:ln w="6350" cap="rnd">
            <a:solidFill>
              <a:srgbClr val="CCCCCC"/>
            </a:solidFill>
            <a:round/>
            <a:headEnd/>
            <a:tailEnd/>
          </a:ln>
        </p:spPr>
        <p:txBody>
          <a:bodyPr lIns="91430" tIns="45716" rIns="91430" bIns="45716"/>
          <a:lstStyle/>
          <a:p>
            <a:endParaRPr lang="en-US"/>
          </a:p>
        </p:txBody>
      </p:sp>
      <p:sp>
        <p:nvSpPr>
          <p:cNvPr id="328820" name="Freeform 112"/>
          <p:cNvSpPr>
            <a:spLocks/>
          </p:cNvSpPr>
          <p:nvPr/>
        </p:nvSpPr>
        <p:spPr bwMode="auto">
          <a:xfrm>
            <a:off x="5173663" y="5721350"/>
            <a:ext cx="65087" cy="68263"/>
          </a:xfrm>
          <a:custGeom>
            <a:avLst/>
            <a:gdLst>
              <a:gd name="T0" fmla="*/ 1 w 48"/>
              <a:gd name="T1" fmla="*/ 1 h 50"/>
              <a:gd name="T2" fmla="*/ 0 w 48"/>
              <a:gd name="T3" fmla="*/ 2 h 50"/>
              <a:gd name="T4" fmla="*/ 1 w 48"/>
              <a:gd name="T5" fmla="*/ 3 h 50"/>
              <a:gd name="T6" fmla="*/ 1 w 48"/>
              <a:gd name="T7" fmla="*/ 3 h 50"/>
              <a:gd name="T8" fmla="*/ 3 w 48"/>
              <a:gd name="T9" fmla="*/ 1 h 50"/>
              <a:gd name="T10" fmla="*/ 3 w 48"/>
              <a:gd name="T11" fmla="*/ 1 h 50"/>
              <a:gd name="T12" fmla="*/ 2 w 48"/>
              <a:gd name="T13" fmla="*/ 0 h 50"/>
              <a:gd name="T14" fmla="*/ 1 w 48"/>
              <a:gd name="T15" fmla="*/ 1 h 5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8"/>
              <a:gd name="T25" fmla="*/ 0 h 50"/>
              <a:gd name="T26" fmla="*/ 48 w 48"/>
              <a:gd name="T27" fmla="*/ 50 h 5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8" h="50">
                <a:moveTo>
                  <a:pt x="21" y="6"/>
                </a:moveTo>
                <a:lnTo>
                  <a:pt x="0" y="28"/>
                </a:lnTo>
                <a:lnTo>
                  <a:pt x="15" y="50"/>
                </a:lnTo>
                <a:lnTo>
                  <a:pt x="23" y="42"/>
                </a:lnTo>
                <a:lnTo>
                  <a:pt x="44" y="27"/>
                </a:lnTo>
                <a:lnTo>
                  <a:pt x="48" y="12"/>
                </a:lnTo>
                <a:lnTo>
                  <a:pt x="29" y="0"/>
                </a:lnTo>
                <a:lnTo>
                  <a:pt x="21" y="6"/>
                </a:lnTo>
                <a:close/>
              </a:path>
            </a:pathLst>
          </a:custGeom>
          <a:solidFill>
            <a:schemeClr val="accent1">
              <a:lumMod val="50000"/>
              <a:alpha val="98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</a:endParaRPr>
          </a:p>
        </p:txBody>
      </p:sp>
      <p:sp>
        <p:nvSpPr>
          <p:cNvPr id="8306" name="Freeform 113"/>
          <p:cNvSpPr>
            <a:spLocks/>
          </p:cNvSpPr>
          <p:nvPr/>
        </p:nvSpPr>
        <p:spPr bwMode="auto">
          <a:xfrm>
            <a:off x="4826000" y="5518150"/>
            <a:ext cx="7938" cy="19050"/>
          </a:xfrm>
          <a:custGeom>
            <a:avLst/>
            <a:gdLst>
              <a:gd name="T0" fmla="*/ 2147483647 w 4"/>
              <a:gd name="T1" fmla="*/ 2147483647 h 13"/>
              <a:gd name="T2" fmla="*/ 0 w 4"/>
              <a:gd name="T3" fmla="*/ 2147483647 h 13"/>
              <a:gd name="T4" fmla="*/ 2147483647 w 4"/>
              <a:gd name="T5" fmla="*/ 0 h 13"/>
              <a:gd name="T6" fmla="*/ 2147483647 w 4"/>
              <a:gd name="T7" fmla="*/ 2147483647 h 13"/>
              <a:gd name="T8" fmla="*/ 0 60000 65536"/>
              <a:gd name="T9" fmla="*/ 0 60000 65536"/>
              <a:gd name="T10" fmla="*/ 0 60000 65536"/>
              <a:gd name="T11" fmla="*/ 0 60000 65536"/>
              <a:gd name="T12" fmla="*/ 0 w 4"/>
              <a:gd name="T13" fmla="*/ 0 h 13"/>
              <a:gd name="T14" fmla="*/ 4 w 4"/>
              <a:gd name="T15" fmla="*/ 13 h 1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" h="13">
                <a:moveTo>
                  <a:pt x="4" y="13"/>
                </a:moveTo>
                <a:lnTo>
                  <a:pt x="0" y="11"/>
                </a:lnTo>
                <a:lnTo>
                  <a:pt x="2" y="0"/>
                </a:lnTo>
                <a:lnTo>
                  <a:pt x="4" y="1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07" name="Freeform 114"/>
          <p:cNvSpPr>
            <a:spLocks/>
          </p:cNvSpPr>
          <p:nvPr/>
        </p:nvSpPr>
        <p:spPr bwMode="auto">
          <a:xfrm>
            <a:off x="5287963" y="5621338"/>
            <a:ext cx="34925" cy="52387"/>
          </a:xfrm>
          <a:custGeom>
            <a:avLst/>
            <a:gdLst>
              <a:gd name="T0" fmla="*/ 2147483647 w 25"/>
              <a:gd name="T1" fmla="*/ 0 h 39"/>
              <a:gd name="T2" fmla="*/ 2147483647 w 25"/>
              <a:gd name="T3" fmla="*/ 2147483647 h 39"/>
              <a:gd name="T4" fmla="*/ 0 w 25"/>
              <a:gd name="T5" fmla="*/ 2147483647 h 39"/>
              <a:gd name="T6" fmla="*/ 2147483647 w 25"/>
              <a:gd name="T7" fmla="*/ 2147483647 h 39"/>
              <a:gd name="T8" fmla="*/ 2147483647 w 25"/>
              <a:gd name="T9" fmla="*/ 2147483647 h 39"/>
              <a:gd name="T10" fmla="*/ 2147483647 w 25"/>
              <a:gd name="T11" fmla="*/ 2147483647 h 39"/>
              <a:gd name="T12" fmla="*/ 2147483647 w 25"/>
              <a:gd name="T13" fmla="*/ 0 h 3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5"/>
              <a:gd name="T22" fmla="*/ 0 h 39"/>
              <a:gd name="T23" fmla="*/ 25 w 25"/>
              <a:gd name="T24" fmla="*/ 39 h 3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5" h="39">
                <a:moveTo>
                  <a:pt x="12" y="0"/>
                </a:moveTo>
                <a:lnTo>
                  <a:pt x="1" y="14"/>
                </a:lnTo>
                <a:lnTo>
                  <a:pt x="0" y="32"/>
                </a:lnTo>
                <a:lnTo>
                  <a:pt x="20" y="39"/>
                </a:lnTo>
                <a:lnTo>
                  <a:pt x="25" y="28"/>
                </a:lnTo>
                <a:lnTo>
                  <a:pt x="23" y="6"/>
                </a:lnTo>
                <a:lnTo>
                  <a:pt x="12" y="0"/>
                </a:lnTo>
                <a:close/>
              </a:path>
            </a:pathLst>
          </a:custGeom>
          <a:gradFill rotWithShape="1">
            <a:gsLst>
              <a:gs pos="0">
                <a:schemeClr val="hlink"/>
              </a:gs>
              <a:gs pos="100000">
                <a:srgbClr val="004747"/>
              </a:gs>
            </a:gsLst>
            <a:lin ang="5400000" scaled="1"/>
          </a:gradFill>
          <a:ln w="6350" cap="rnd">
            <a:solidFill>
              <a:srgbClr val="CCCCCC"/>
            </a:solidFill>
            <a:round/>
            <a:headEnd/>
            <a:tailEnd/>
          </a:ln>
        </p:spPr>
        <p:txBody>
          <a:bodyPr lIns="91430" tIns="45716" rIns="91430" bIns="45716"/>
          <a:lstStyle/>
          <a:p>
            <a:endParaRPr lang="en-US"/>
          </a:p>
        </p:txBody>
      </p:sp>
      <p:sp>
        <p:nvSpPr>
          <p:cNvPr id="8308" name="Freeform 115"/>
          <p:cNvSpPr>
            <a:spLocks/>
          </p:cNvSpPr>
          <p:nvPr/>
        </p:nvSpPr>
        <p:spPr bwMode="auto">
          <a:xfrm>
            <a:off x="4754563" y="4945063"/>
            <a:ext cx="355600" cy="412750"/>
          </a:xfrm>
          <a:custGeom>
            <a:avLst/>
            <a:gdLst>
              <a:gd name="T0" fmla="*/ 2147483647 w 269"/>
              <a:gd name="T1" fmla="*/ 2147483647 h 300"/>
              <a:gd name="T2" fmla="*/ 2147483647 w 269"/>
              <a:gd name="T3" fmla="*/ 2147483647 h 300"/>
              <a:gd name="T4" fmla="*/ 2147483647 w 269"/>
              <a:gd name="T5" fmla="*/ 2147483647 h 300"/>
              <a:gd name="T6" fmla="*/ 2147483647 w 269"/>
              <a:gd name="T7" fmla="*/ 2147483647 h 300"/>
              <a:gd name="T8" fmla="*/ 2147483647 w 269"/>
              <a:gd name="T9" fmla="*/ 2147483647 h 300"/>
              <a:gd name="T10" fmla="*/ 2147483647 w 269"/>
              <a:gd name="T11" fmla="*/ 2147483647 h 300"/>
              <a:gd name="T12" fmla="*/ 2147483647 w 269"/>
              <a:gd name="T13" fmla="*/ 2147483647 h 300"/>
              <a:gd name="T14" fmla="*/ 2147483647 w 269"/>
              <a:gd name="T15" fmla="*/ 2147483647 h 300"/>
              <a:gd name="T16" fmla="*/ 2147483647 w 269"/>
              <a:gd name="T17" fmla="*/ 2147483647 h 300"/>
              <a:gd name="T18" fmla="*/ 2147483647 w 269"/>
              <a:gd name="T19" fmla="*/ 2147483647 h 300"/>
              <a:gd name="T20" fmla="*/ 2147483647 w 269"/>
              <a:gd name="T21" fmla="*/ 2147483647 h 300"/>
              <a:gd name="T22" fmla="*/ 2147483647 w 269"/>
              <a:gd name="T23" fmla="*/ 2147483647 h 300"/>
              <a:gd name="T24" fmla="*/ 2147483647 w 269"/>
              <a:gd name="T25" fmla="*/ 2147483647 h 300"/>
              <a:gd name="T26" fmla="*/ 2147483647 w 269"/>
              <a:gd name="T27" fmla="*/ 2147483647 h 300"/>
              <a:gd name="T28" fmla="*/ 2147483647 w 269"/>
              <a:gd name="T29" fmla="*/ 2147483647 h 300"/>
              <a:gd name="T30" fmla="*/ 2147483647 w 269"/>
              <a:gd name="T31" fmla="*/ 2147483647 h 300"/>
              <a:gd name="T32" fmla="*/ 2147483647 w 269"/>
              <a:gd name="T33" fmla="*/ 2147483647 h 300"/>
              <a:gd name="T34" fmla="*/ 2147483647 w 269"/>
              <a:gd name="T35" fmla="*/ 2147483647 h 300"/>
              <a:gd name="T36" fmla="*/ 2147483647 w 269"/>
              <a:gd name="T37" fmla="*/ 2147483647 h 300"/>
              <a:gd name="T38" fmla="*/ 0 w 269"/>
              <a:gd name="T39" fmla="*/ 2147483647 h 300"/>
              <a:gd name="T40" fmla="*/ 2147483647 w 269"/>
              <a:gd name="T41" fmla="*/ 2147483647 h 300"/>
              <a:gd name="T42" fmla="*/ 2147483647 w 269"/>
              <a:gd name="T43" fmla="*/ 2147483647 h 300"/>
              <a:gd name="T44" fmla="*/ 2147483647 w 269"/>
              <a:gd name="T45" fmla="*/ 2147483647 h 300"/>
              <a:gd name="T46" fmla="*/ 2147483647 w 269"/>
              <a:gd name="T47" fmla="*/ 2147483647 h 300"/>
              <a:gd name="T48" fmla="*/ 2147483647 w 269"/>
              <a:gd name="T49" fmla="*/ 2147483647 h 300"/>
              <a:gd name="T50" fmla="*/ 2147483647 w 269"/>
              <a:gd name="T51" fmla="*/ 2147483647 h 300"/>
              <a:gd name="T52" fmla="*/ 2147483647 w 269"/>
              <a:gd name="T53" fmla="*/ 2147483647 h 300"/>
              <a:gd name="T54" fmla="*/ 2147483647 w 269"/>
              <a:gd name="T55" fmla="*/ 2147483647 h 300"/>
              <a:gd name="T56" fmla="*/ 2147483647 w 269"/>
              <a:gd name="T57" fmla="*/ 2147483647 h 300"/>
              <a:gd name="T58" fmla="*/ 2147483647 w 269"/>
              <a:gd name="T59" fmla="*/ 2147483647 h 300"/>
              <a:gd name="T60" fmla="*/ 2147483647 w 269"/>
              <a:gd name="T61" fmla="*/ 2147483647 h 300"/>
              <a:gd name="T62" fmla="*/ 2147483647 w 269"/>
              <a:gd name="T63" fmla="*/ 2147483647 h 300"/>
              <a:gd name="T64" fmla="*/ 2147483647 w 269"/>
              <a:gd name="T65" fmla="*/ 0 h 300"/>
              <a:gd name="T66" fmla="*/ 2147483647 w 269"/>
              <a:gd name="T67" fmla="*/ 2147483647 h 300"/>
              <a:gd name="T68" fmla="*/ 2147483647 w 269"/>
              <a:gd name="T69" fmla="*/ 2147483647 h 300"/>
              <a:gd name="T70" fmla="*/ 2147483647 w 269"/>
              <a:gd name="T71" fmla="*/ 2147483647 h 300"/>
              <a:gd name="T72" fmla="*/ 2147483647 w 269"/>
              <a:gd name="T73" fmla="*/ 2147483647 h 300"/>
              <a:gd name="T74" fmla="*/ 2147483647 w 269"/>
              <a:gd name="T75" fmla="*/ 2147483647 h 300"/>
              <a:gd name="T76" fmla="*/ 2147483647 w 269"/>
              <a:gd name="T77" fmla="*/ 2147483647 h 300"/>
              <a:gd name="T78" fmla="*/ 2147483647 w 269"/>
              <a:gd name="T79" fmla="*/ 2147483647 h 300"/>
              <a:gd name="T80" fmla="*/ 2147483647 w 269"/>
              <a:gd name="T81" fmla="*/ 2147483647 h 300"/>
              <a:gd name="T82" fmla="*/ 2147483647 w 269"/>
              <a:gd name="T83" fmla="*/ 2147483647 h 300"/>
              <a:gd name="T84" fmla="*/ 2147483647 w 269"/>
              <a:gd name="T85" fmla="*/ 2147483647 h 300"/>
              <a:gd name="T86" fmla="*/ 2147483647 w 269"/>
              <a:gd name="T87" fmla="*/ 2147483647 h 300"/>
              <a:gd name="T88" fmla="*/ 2147483647 w 269"/>
              <a:gd name="T89" fmla="*/ 2147483647 h 300"/>
              <a:gd name="T90" fmla="*/ 2147483647 w 269"/>
              <a:gd name="T91" fmla="*/ 2147483647 h 300"/>
              <a:gd name="T92" fmla="*/ 2147483647 w 269"/>
              <a:gd name="T93" fmla="*/ 2147483647 h 300"/>
              <a:gd name="T94" fmla="*/ 2147483647 w 269"/>
              <a:gd name="T95" fmla="*/ 2147483647 h 300"/>
              <a:gd name="T96" fmla="*/ 2147483647 w 269"/>
              <a:gd name="T97" fmla="*/ 2147483647 h 300"/>
              <a:gd name="T98" fmla="*/ 2147483647 w 269"/>
              <a:gd name="T99" fmla="*/ 2147483647 h 300"/>
              <a:gd name="T100" fmla="*/ 2147483647 w 269"/>
              <a:gd name="T101" fmla="*/ 2147483647 h 300"/>
              <a:gd name="T102" fmla="*/ 2147483647 w 269"/>
              <a:gd name="T103" fmla="*/ 2147483647 h 300"/>
              <a:gd name="T104" fmla="*/ 2147483647 w 269"/>
              <a:gd name="T105" fmla="*/ 2147483647 h 3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69"/>
              <a:gd name="T160" fmla="*/ 0 h 300"/>
              <a:gd name="T161" fmla="*/ 269 w 269"/>
              <a:gd name="T162" fmla="*/ 300 h 30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69" h="300">
                <a:moveTo>
                  <a:pt x="268" y="177"/>
                </a:moveTo>
                <a:lnTo>
                  <a:pt x="247" y="177"/>
                </a:lnTo>
                <a:lnTo>
                  <a:pt x="225" y="178"/>
                </a:lnTo>
                <a:lnTo>
                  <a:pt x="225" y="197"/>
                </a:lnTo>
                <a:lnTo>
                  <a:pt x="224" y="217"/>
                </a:lnTo>
                <a:lnTo>
                  <a:pt x="224" y="237"/>
                </a:lnTo>
                <a:lnTo>
                  <a:pt x="223" y="256"/>
                </a:lnTo>
                <a:lnTo>
                  <a:pt x="238" y="275"/>
                </a:lnTo>
                <a:lnTo>
                  <a:pt x="254" y="293"/>
                </a:lnTo>
                <a:lnTo>
                  <a:pt x="221" y="297"/>
                </a:lnTo>
                <a:lnTo>
                  <a:pt x="189" y="300"/>
                </a:lnTo>
                <a:lnTo>
                  <a:pt x="169" y="295"/>
                </a:lnTo>
                <a:lnTo>
                  <a:pt x="148" y="292"/>
                </a:lnTo>
                <a:lnTo>
                  <a:pt x="144" y="287"/>
                </a:lnTo>
                <a:lnTo>
                  <a:pt x="119" y="286"/>
                </a:lnTo>
                <a:lnTo>
                  <a:pt x="94" y="285"/>
                </a:lnTo>
                <a:lnTo>
                  <a:pt x="69" y="285"/>
                </a:lnTo>
                <a:lnTo>
                  <a:pt x="44" y="283"/>
                </a:lnTo>
                <a:lnTo>
                  <a:pt x="27" y="276"/>
                </a:lnTo>
                <a:lnTo>
                  <a:pt x="0" y="283"/>
                </a:lnTo>
                <a:lnTo>
                  <a:pt x="3" y="263"/>
                </a:lnTo>
                <a:lnTo>
                  <a:pt x="4" y="244"/>
                </a:lnTo>
                <a:lnTo>
                  <a:pt x="15" y="213"/>
                </a:lnTo>
                <a:lnTo>
                  <a:pt x="24" y="181"/>
                </a:lnTo>
                <a:lnTo>
                  <a:pt x="35" y="165"/>
                </a:lnTo>
                <a:lnTo>
                  <a:pt x="47" y="148"/>
                </a:lnTo>
                <a:lnTo>
                  <a:pt x="42" y="115"/>
                </a:lnTo>
                <a:lnTo>
                  <a:pt x="36" y="96"/>
                </a:lnTo>
                <a:lnTo>
                  <a:pt x="30" y="77"/>
                </a:lnTo>
                <a:lnTo>
                  <a:pt x="39" y="65"/>
                </a:lnTo>
                <a:lnTo>
                  <a:pt x="27" y="35"/>
                </a:lnTo>
                <a:lnTo>
                  <a:pt x="16" y="6"/>
                </a:lnTo>
                <a:lnTo>
                  <a:pt x="34" y="0"/>
                </a:lnTo>
                <a:lnTo>
                  <a:pt x="53" y="1"/>
                </a:lnTo>
                <a:lnTo>
                  <a:pt x="72" y="3"/>
                </a:lnTo>
                <a:lnTo>
                  <a:pt x="90" y="3"/>
                </a:lnTo>
                <a:lnTo>
                  <a:pt x="110" y="4"/>
                </a:lnTo>
                <a:lnTo>
                  <a:pt x="118" y="27"/>
                </a:lnTo>
                <a:lnTo>
                  <a:pt x="126" y="51"/>
                </a:lnTo>
                <a:lnTo>
                  <a:pt x="142" y="57"/>
                </a:lnTo>
                <a:lnTo>
                  <a:pt x="169" y="51"/>
                </a:lnTo>
                <a:lnTo>
                  <a:pt x="173" y="29"/>
                </a:lnTo>
                <a:lnTo>
                  <a:pt x="196" y="30"/>
                </a:lnTo>
                <a:lnTo>
                  <a:pt x="195" y="36"/>
                </a:lnTo>
                <a:lnTo>
                  <a:pt x="224" y="40"/>
                </a:lnTo>
                <a:lnTo>
                  <a:pt x="225" y="69"/>
                </a:lnTo>
                <a:lnTo>
                  <a:pt x="225" y="97"/>
                </a:lnTo>
                <a:lnTo>
                  <a:pt x="232" y="123"/>
                </a:lnTo>
                <a:lnTo>
                  <a:pt x="233" y="132"/>
                </a:lnTo>
                <a:lnTo>
                  <a:pt x="251" y="129"/>
                </a:lnTo>
                <a:lnTo>
                  <a:pt x="269" y="125"/>
                </a:lnTo>
                <a:lnTo>
                  <a:pt x="269" y="150"/>
                </a:lnTo>
                <a:lnTo>
                  <a:pt x="268" y="17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09" name="Freeform 116"/>
          <p:cNvSpPr>
            <a:spLocks/>
          </p:cNvSpPr>
          <p:nvPr/>
        </p:nvSpPr>
        <p:spPr bwMode="auto">
          <a:xfrm>
            <a:off x="4768850" y="4897438"/>
            <a:ext cx="26988" cy="46037"/>
          </a:xfrm>
          <a:custGeom>
            <a:avLst/>
            <a:gdLst>
              <a:gd name="T0" fmla="*/ 2147483647 w 23"/>
              <a:gd name="T1" fmla="*/ 2147483647 h 32"/>
              <a:gd name="T2" fmla="*/ 0 w 23"/>
              <a:gd name="T3" fmla="*/ 2147483647 h 32"/>
              <a:gd name="T4" fmla="*/ 2147483647 w 23"/>
              <a:gd name="T5" fmla="*/ 0 h 32"/>
              <a:gd name="T6" fmla="*/ 2147483647 w 23"/>
              <a:gd name="T7" fmla="*/ 2147483647 h 32"/>
              <a:gd name="T8" fmla="*/ 2147483647 w 23"/>
              <a:gd name="T9" fmla="*/ 2147483647 h 32"/>
              <a:gd name="T10" fmla="*/ 2147483647 w 23"/>
              <a:gd name="T11" fmla="*/ 2147483647 h 32"/>
              <a:gd name="T12" fmla="*/ 2147483647 w 23"/>
              <a:gd name="T13" fmla="*/ 2147483647 h 3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3"/>
              <a:gd name="T22" fmla="*/ 0 h 32"/>
              <a:gd name="T23" fmla="*/ 23 w 23"/>
              <a:gd name="T24" fmla="*/ 32 h 3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3" h="32">
                <a:moveTo>
                  <a:pt x="4" y="32"/>
                </a:moveTo>
                <a:lnTo>
                  <a:pt x="0" y="13"/>
                </a:lnTo>
                <a:lnTo>
                  <a:pt x="14" y="0"/>
                </a:lnTo>
                <a:lnTo>
                  <a:pt x="23" y="3"/>
                </a:lnTo>
                <a:lnTo>
                  <a:pt x="12" y="10"/>
                </a:lnTo>
                <a:lnTo>
                  <a:pt x="11" y="30"/>
                </a:lnTo>
                <a:lnTo>
                  <a:pt x="4" y="3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10" name="Freeform 117"/>
          <p:cNvSpPr>
            <a:spLocks/>
          </p:cNvSpPr>
          <p:nvPr/>
        </p:nvSpPr>
        <p:spPr bwMode="auto">
          <a:xfrm>
            <a:off x="2574925" y="4565650"/>
            <a:ext cx="1135063" cy="1330325"/>
          </a:xfrm>
          <a:custGeom>
            <a:avLst/>
            <a:gdLst>
              <a:gd name="T0" fmla="*/ 2147483647 w 856"/>
              <a:gd name="T1" fmla="*/ 2147483647 h 968"/>
              <a:gd name="T2" fmla="*/ 2147483647 w 856"/>
              <a:gd name="T3" fmla="*/ 2147483647 h 968"/>
              <a:gd name="T4" fmla="*/ 2147483647 w 856"/>
              <a:gd name="T5" fmla="*/ 2147483647 h 968"/>
              <a:gd name="T6" fmla="*/ 2147483647 w 856"/>
              <a:gd name="T7" fmla="*/ 2147483647 h 968"/>
              <a:gd name="T8" fmla="*/ 2147483647 w 856"/>
              <a:gd name="T9" fmla="*/ 2147483647 h 968"/>
              <a:gd name="T10" fmla="*/ 2147483647 w 856"/>
              <a:gd name="T11" fmla="*/ 2147483647 h 968"/>
              <a:gd name="T12" fmla="*/ 2147483647 w 856"/>
              <a:gd name="T13" fmla="*/ 2147483647 h 968"/>
              <a:gd name="T14" fmla="*/ 2147483647 w 856"/>
              <a:gd name="T15" fmla="*/ 2147483647 h 968"/>
              <a:gd name="T16" fmla="*/ 2147483647 w 856"/>
              <a:gd name="T17" fmla="*/ 2147483647 h 968"/>
              <a:gd name="T18" fmla="*/ 2147483647 w 856"/>
              <a:gd name="T19" fmla="*/ 2147483647 h 968"/>
              <a:gd name="T20" fmla="*/ 2147483647 w 856"/>
              <a:gd name="T21" fmla="*/ 2147483647 h 968"/>
              <a:gd name="T22" fmla="*/ 2147483647 w 856"/>
              <a:gd name="T23" fmla="*/ 2147483647 h 968"/>
              <a:gd name="T24" fmla="*/ 2147483647 w 856"/>
              <a:gd name="T25" fmla="*/ 2147483647 h 968"/>
              <a:gd name="T26" fmla="*/ 2147483647 w 856"/>
              <a:gd name="T27" fmla="*/ 2147483647 h 968"/>
              <a:gd name="T28" fmla="*/ 2147483647 w 856"/>
              <a:gd name="T29" fmla="*/ 2147483647 h 968"/>
              <a:gd name="T30" fmla="*/ 2147483647 w 856"/>
              <a:gd name="T31" fmla="*/ 2147483647 h 968"/>
              <a:gd name="T32" fmla="*/ 2147483647 w 856"/>
              <a:gd name="T33" fmla="*/ 2147483647 h 968"/>
              <a:gd name="T34" fmla="*/ 2147483647 w 856"/>
              <a:gd name="T35" fmla="*/ 2147483647 h 968"/>
              <a:gd name="T36" fmla="*/ 2147483647 w 856"/>
              <a:gd name="T37" fmla="*/ 2147483647 h 968"/>
              <a:gd name="T38" fmla="*/ 2147483647 w 856"/>
              <a:gd name="T39" fmla="*/ 2147483647 h 968"/>
              <a:gd name="T40" fmla="*/ 2147483647 w 856"/>
              <a:gd name="T41" fmla="*/ 2147483647 h 968"/>
              <a:gd name="T42" fmla="*/ 2147483647 w 856"/>
              <a:gd name="T43" fmla="*/ 2147483647 h 968"/>
              <a:gd name="T44" fmla="*/ 2147483647 w 856"/>
              <a:gd name="T45" fmla="*/ 2147483647 h 968"/>
              <a:gd name="T46" fmla="*/ 2147483647 w 856"/>
              <a:gd name="T47" fmla="*/ 2147483647 h 968"/>
              <a:gd name="T48" fmla="*/ 2147483647 w 856"/>
              <a:gd name="T49" fmla="*/ 2147483647 h 968"/>
              <a:gd name="T50" fmla="*/ 2147483647 w 856"/>
              <a:gd name="T51" fmla="*/ 2147483647 h 968"/>
              <a:gd name="T52" fmla="*/ 2147483647 w 856"/>
              <a:gd name="T53" fmla="*/ 2147483647 h 968"/>
              <a:gd name="T54" fmla="*/ 2147483647 w 856"/>
              <a:gd name="T55" fmla="*/ 2147483647 h 968"/>
              <a:gd name="T56" fmla="*/ 2147483647 w 856"/>
              <a:gd name="T57" fmla="*/ 2147483647 h 968"/>
              <a:gd name="T58" fmla="*/ 2147483647 w 856"/>
              <a:gd name="T59" fmla="*/ 2147483647 h 968"/>
              <a:gd name="T60" fmla="*/ 2147483647 w 856"/>
              <a:gd name="T61" fmla="*/ 2147483647 h 968"/>
              <a:gd name="T62" fmla="*/ 2147483647 w 856"/>
              <a:gd name="T63" fmla="*/ 2147483647 h 968"/>
              <a:gd name="T64" fmla="*/ 2147483647 w 856"/>
              <a:gd name="T65" fmla="*/ 2147483647 h 968"/>
              <a:gd name="T66" fmla="*/ 2147483647 w 856"/>
              <a:gd name="T67" fmla="*/ 2147483647 h 968"/>
              <a:gd name="T68" fmla="*/ 2147483647 w 856"/>
              <a:gd name="T69" fmla="*/ 2147483647 h 968"/>
              <a:gd name="T70" fmla="*/ 2147483647 w 856"/>
              <a:gd name="T71" fmla="*/ 2147483647 h 968"/>
              <a:gd name="T72" fmla="*/ 2147483647 w 856"/>
              <a:gd name="T73" fmla="*/ 2147483647 h 968"/>
              <a:gd name="T74" fmla="*/ 2147483647 w 856"/>
              <a:gd name="T75" fmla="*/ 2147483647 h 968"/>
              <a:gd name="T76" fmla="*/ 2147483647 w 856"/>
              <a:gd name="T77" fmla="*/ 2147483647 h 968"/>
              <a:gd name="T78" fmla="*/ 2147483647 w 856"/>
              <a:gd name="T79" fmla="*/ 2147483647 h 968"/>
              <a:gd name="T80" fmla="*/ 2147483647 w 856"/>
              <a:gd name="T81" fmla="*/ 2147483647 h 968"/>
              <a:gd name="T82" fmla="*/ 2147483647 w 856"/>
              <a:gd name="T83" fmla="*/ 2147483647 h 968"/>
              <a:gd name="T84" fmla="*/ 2147483647 w 856"/>
              <a:gd name="T85" fmla="*/ 2147483647 h 968"/>
              <a:gd name="T86" fmla="*/ 2147483647 w 856"/>
              <a:gd name="T87" fmla="*/ 2147483647 h 968"/>
              <a:gd name="T88" fmla="*/ 2147483647 w 856"/>
              <a:gd name="T89" fmla="*/ 2147483647 h 968"/>
              <a:gd name="T90" fmla="*/ 2147483647 w 856"/>
              <a:gd name="T91" fmla="*/ 2147483647 h 968"/>
              <a:gd name="T92" fmla="*/ 2147483647 w 856"/>
              <a:gd name="T93" fmla="*/ 2147483647 h 968"/>
              <a:gd name="T94" fmla="*/ 2147483647 w 856"/>
              <a:gd name="T95" fmla="*/ 2147483647 h 968"/>
              <a:gd name="T96" fmla="*/ 2147483647 w 856"/>
              <a:gd name="T97" fmla="*/ 2147483647 h 968"/>
              <a:gd name="T98" fmla="*/ 2147483647 w 856"/>
              <a:gd name="T99" fmla="*/ 2147483647 h 968"/>
              <a:gd name="T100" fmla="*/ 2147483647 w 856"/>
              <a:gd name="T101" fmla="*/ 2147483647 h 968"/>
              <a:gd name="T102" fmla="*/ 2147483647 w 856"/>
              <a:gd name="T103" fmla="*/ 2147483647 h 968"/>
              <a:gd name="T104" fmla="*/ 2147483647 w 856"/>
              <a:gd name="T105" fmla="*/ 2147483647 h 968"/>
              <a:gd name="T106" fmla="*/ 2147483647 w 856"/>
              <a:gd name="T107" fmla="*/ 2147483647 h 968"/>
              <a:gd name="T108" fmla="*/ 2147483647 w 856"/>
              <a:gd name="T109" fmla="*/ 2147483647 h 968"/>
              <a:gd name="T110" fmla="*/ 2147483647 w 856"/>
              <a:gd name="T111" fmla="*/ 2147483647 h 968"/>
              <a:gd name="T112" fmla="*/ 2147483647 w 856"/>
              <a:gd name="T113" fmla="*/ 2147483647 h 96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856"/>
              <a:gd name="T172" fmla="*/ 0 h 968"/>
              <a:gd name="T173" fmla="*/ 856 w 856"/>
              <a:gd name="T174" fmla="*/ 968 h 968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856" h="968">
                <a:moveTo>
                  <a:pt x="650" y="190"/>
                </a:moveTo>
                <a:lnTo>
                  <a:pt x="646" y="192"/>
                </a:lnTo>
                <a:lnTo>
                  <a:pt x="638" y="209"/>
                </a:lnTo>
                <a:lnTo>
                  <a:pt x="644" y="190"/>
                </a:lnTo>
                <a:lnTo>
                  <a:pt x="640" y="185"/>
                </a:lnTo>
                <a:lnTo>
                  <a:pt x="638" y="188"/>
                </a:lnTo>
                <a:lnTo>
                  <a:pt x="639" y="176"/>
                </a:lnTo>
                <a:lnTo>
                  <a:pt x="632" y="168"/>
                </a:lnTo>
                <a:lnTo>
                  <a:pt x="623" y="168"/>
                </a:lnTo>
                <a:lnTo>
                  <a:pt x="621" y="166"/>
                </a:lnTo>
                <a:lnTo>
                  <a:pt x="612" y="161"/>
                </a:lnTo>
                <a:lnTo>
                  <a:pt x="604" y="156"/>
                </a:lnTo>
                <a:lnTo>
                  <a:pt x="594" y="153"/>
                </a:lnTo>
                <a:lnTo>
                  <a:pt x="587" y="152"/>
                </a:lnTo>
                <a:lnTo>
                  <a:pt x="576" y="146"/>
                </a:lnTo>
                <a:lnTo>
                  <a:pt x="575" y="148"/>
                </a:lnTo>
                <a:lnTo>
                  <a:pt x="562" y="152"/>
                </a:lnTo>
                <a:lnTo>
                  <a:pt x="554" y="166"/>
                </a:lnTo>
                <a:lnTo>
                  <a:pt x="552" y="170"/>
                </a:lnTo>
                <a:lnTo>
                  <a:pt x="544" y="173"/>
                </a:lnTo>
                <a:lnTo>
                  <a:pt x="530" y="195"/>
                </a:lnTo>
                <a:lnTo>
                  <a:pt x="531" y="177"/>
                </a:lnTo>
                <a:lnTo>
                  <a:pt x="525" y="182"/>
                </a:lnTo>
                <a:lnTo>
                  <a:pt x="518" y="178"/>
                </a:lnTo>
                <a:lnTo>
                  <a:pt x="509" y="178"/>
                </a:lnTo>
                <a:lnTo>
                  <a:pt x="502" y="154"/>
                </a:lnTo>
                <a:lnTo>
                  <a:pt x="488" y="162"/>
                </a:lnTo>
                <a:lnTo>
                  <a:pt x="472" y="170"/>
                </a:lnTo>
                <a:lnTo>
                  <a:pt x="465" y="168"/>
                </a:lnTo>
                <a:lnTo>
                  <a:pt x="480" y="158"/>
                </a:lnTo>
                <a:lnTo>
                  <a:pt x="494" y="131"/>
                </a:lnTo>
                <a:lnTo>
                  <a:pt x="508" y="116"/>
                </a:lnTo>
                <a:lnTo>
                  <a:pt x="522" y="99"/>
                </a:lnTo>
                <a:lnTo>
                  <a:pt x="516" y="86"/>
                </a:lnTo>
                <a:lnTo>
                  <a:pt x="506" y="77"/>
                </a:lnTo>
                <a:lnTo>
                  <a:pt x="501" y="56"/>
                </a:lnTo>
                <a:lnTo>
                  <a:pt x="497" y="34"/>
                </a:lnTo>
                <a:lnTo>
                  <a:pt x="496" y="36"/>
                </a:lnTo>
                <a:lnTo>
                  <a:pt x="488" y="23"/>
                </a:lnTo>
                <a:lnTo>
                  <a:pt x="489" y="29"/>
                </a:lnTo>
                <a:lnTo>
                  <a:pt x="486" y="29"/>
                </a:lnTo>
                <a:lnTo>
                  <a:pt x="485" y="30"/>
                </a:lnTo>
                <a:lnTo>
                  <a:pt x="471" y="53"/>
                </a:lnTo>
                <a:lnTo>
                  <a:pt x="456" y="76"/>
                </a:lnTo>
                <a:lnTo>
                  <a:pt x="435" y="75"/>
                </a:lnTo>
                <a:lnTo>
                  <a:pt x="420" y="72"/>
                </a:lnTo>
                <a:lnTo>
                  <a:pt x="407" y="68"/>
                </a:lnTo>
                <a:lnTo>
                  <a:pt x="388" y="71"/>
                </a:lnTo>
                <a:lnTo>
                  <a:pt x="389" y="84"/>
                </a:lnTo>
                <a:lnTo>
                  <a:pt x="380" y="82"/>
                </a:lnTo>
                <a:lnTo>
                  <a:pt x="357" y="86"/>
                </a:lnTo>
                <a:lnTo>
                  <a:pt x="335" y="96"/>
                </a:lnTo>
                <a:lnTo>
                  <a:pt x="322" y="96"/>
                </a:lnTo>
                <a:lnTo>
                  <a:pt x="307" y="78"/>
                </a:lnTo>
                <a:lnTo>
                  <a:pt x="305" y="50"/>
                </a:lnTo>
                <a:lnTo>
                  <a:pt x="310" y="27"/>
                </a:lnTo>
                <a:lnTo>
                  <a:pt x="301" y="14"/>
                </a:lnTo>
                <a:lnTo>
                  <a:pt x="299" y="0"/>
                </a:lnTo>
                <a:lnTo>
                  <a:pt x="287" y="0"/>
                </a:lnTo>
                <a:lnTo>
                  <a:pt x="288" y="2"/>
                </a:lnTo>
                <a:lnTo>
                  <a:pt x="282" y="15"/>
                </a:lnTo>
                <a:lnTo>
                  <a:pt x="264" y="22"/>
                </a:lnTo>
                <a:lnTo>
                  <a:pt x="246" y="30"/>
                </a:lnTo>
                <a:lnTo>
                  <a:pt x="243" y="39"/>
                </a:lnTo>
                <a:lnTo>
                  <a:pt x="222" y="32"/>
                </a:lnTo>
                <a:lnTo>
                  <a:pt x="201" y="24"/>
                </a:lnTo>
                <a:lnTo>
                  <a:pt x="208" y="38"/>
                </a:lnTo>
                <a:lnTo>
                  <a:pt x="214" y="65"/>
                </a:lnTo>
                <a:lnTo>
                  <a:pt x="228" y="70"/>
                </a:lnTo>
                <a:lnTo>
                  <a:pt x="225" y="77"/>
                </a:lnTo>
                <a:lnTo>
                  <a:pt x="205" y="94"/>
                </a:lnTo>
                <a:lnTo>
                  <a:pt x="183" y="111"/>
                </a:lnTo>
                <a:lnTo>
                  <a:pt x="180" y="110"/>
                </a:lnTo>
                <a:lnTo>
                  <a:pt x="168" y="111"/>
                </a:lnTo>
                <a:lnTo>
                  <a:pt x="150" y="100"/>
                </a:lnTo>
                <a:lnTo>
                  <a:pt x="147" y="98"/>
                </a:lnTo>
                <a:lnTo>
                  <a:pt x="138" y="77"/>
                </a:lnTo>
                <a:lnTo>
                  <a:pt x="126" y="86"/>
                </a:lnTo>
                <a:lnTo>
                  <a:pt x="120" y="83"/>
                </a:lnTo>
                <a:lnTo>
                  <a:pt x="123" y="87"/>
                </a:lnTo>
                <a:lnTo>
                  <a:pt x="105" y="87"/>
                </a:lnTo>
                <a:lnTo>
                  <a:pt x="85" y="87"/>
                </a:lnTo>
                <a:lnTo>
                  <a:pt x="88" y="104"/>
                </a:lnTo>
                <a:lnTo>
                  <a:pt x="100" y="108"/>
                </a:lnTo>
                <a:lnTo>
                  <a:pt x="96" y="114"/>
                </a:lnTo>
                <a:lnTo>
                  <a:pt x="81" y="116"/>
                </a:lnTo>
                <a:lnTo>
                  <a:pt x="85" y="140"/>
                </a:lnTo>
                <a:lnTo>
                  <a:pt x="95" y="165"/>
                </a:lnTo>
                <a:lnTo>
                  <a:pt x="89" y="200"/>
                </a:lnTo>
                <a:lnTo>
                  <a:pt x="84" y="234"/>
                </a:lnTo>
                <a:lnTo>
                  <a:pt x="77" y="234"/>
                </a:lnTo>
                <a:lnTo>
                  <a:pt x="58" y="239"/>
                </a:lnTo>
                <a:lnTo>
                  <a:pt x="41" y="248"/>
                </a:lnTo>
                <a:lnTo>
                  <a:pt x="23" y="255"/>
                </a:lnTo>
                <a:lnTo>
                  <a:pt x="18" y="274"/>
                </a:lnTo>
                <a:lnTo>
                  <a:pt x="12" y="293"/>
                </a:lnTo>
                <a:lnTo>
                  <a:pt x="0" y="314"/>
                </a:lnTo>
                <a:lnTo>
                  <a:pt x="11" y="332"/>
                </a:lnTo>
                <a:lnTo>
                  <a:pt x="21" y="351"/>
                </a:lnTo>
                <a:lnTo>
                  <a:pt x="19" y="362"/>
                </a:lnTo>
                <a:lnTo>
                  <a:pt x="28" y="364"/>
                </a:lnTo>
                <a:lnTo>
                  <a:pt x="41" y="374"/>
                </a:lnTo>
                <a:lnTo>
                  <a:pt x="59" y="378"/>
                </a:lnTo>
                <a:lnTo>
                  <a:pt x="73" y="366"/>
                </a:lnTo>
                <a:lnTo>
                  <a:pt x="75" y="384"/>
                </a:lnTo>
                <a:lnTo>
                  <a:pt x="77" y="404"/>
                </a:lnTo>
                <a:lnTo>
                  <a:pt x="100" y="401"/>
                </a:lnTo>
                <a:lnTo>
                  <a:pt x="127" y="402"/>
                </a:lnTo>
                <a:lnTo>
                  <a:pt x="138" y="395"/>
                </a:lnTo>
                <a:lnTo>
                  <a:pt x="156" y="384"/>
                </a:lnTo>
                <a:lnTo>
                  <a:pt x="174" y="372"/>
                </a:lnTo>
                <a:lnTo>
                  <a:pt x="191" y="375"/>
                </a:lnTo>
                <a:lnTo>
                  <a:pt x="193" y="395"/>
                </a:lnTo>
                <a:lnTo>
                  <a:pt x="195" y="416"/>
                </a:lnTo>
                <a:lnTo>
                  <a:pt x="211" y="434"/>
                </a:lnTo>
                <a:lnTo>
                  <a:pt x="228" y="440"/>
                </a:lnTo>
                <a:lnTo>
                  <a:pt x="247" y="449"/>
                </a:lnTo>
                <a:lnTo>
                  <a:pt x="271" y="466"/>
                </a:lnTo>
                <a:lnTo>
                  <a:pt x="297" y="470"/>
                </a:lnTo>
                <a:lnTo>
                  <a:pt x="303" y="480"/>
                </a:lnTo>
                <a:lnTo>
                  <a:pt x="306" y="504"/>
                </a:lnTo>
                <a:lnTo>
                  <a:pt x="301" y="504"/>
                </a:lnTo>
                <a:lnTo>
                  <a:pt x="310" y="514"/>
                </a:lnTo>
                <a:lnTo>
                  <a:pt x="313" y="533"/>
                </a:lnTo>
                <a:lnTo>
                  <a:pt x="333" y="536"/>
                </a:lnTo>
                <a:lnTo>
                  <a:pt x="353" y="538"/>
                </a:lnTo>
                <a:lnTo>
                  <a:pt x="355" y="560"/>
                </a:lnTo>
                <a:lnTo>
                  <a:pt x="369" y="573"/>
                </a:lnTo>
                <a:lnTo>
                  <a:pt x="374" y="582"/>
                </a:lnTo>
                <a:lnTo>
                  <a:pt x="369" y="602"/>
                </a:lnTo>
                <a:lnTo>
                  <a:pt x="364" y="620"/>
                </a:lnTo>
                <a:lnTo>
                  <a:pt x="368" y="628"/>
                </a:lnTo>
                <a:lnTo>
                  <a:pt x="364" y="630"/>
                </a:lnTo>
                <a:lnTo>
                  <a:pt x="369" y="641"/>
                </a:lnTo>
                <a:lnTo>
                  <a:pt x="372" y="676"/>
                </a:lnTo>
                <a:lnTo>
                  <a:pt x="404" y="681"/>
                </a:lnTo>
                <a:lnTo>
                  <a:pt x="419" y="683"/>
                </a:lnTo>
                <a:lnTo>
                  <a:pt x="425" y="704"/>
                </a:lnTo>
                <a:lnTo>
                  <a:pt x="432" y="724"/>
                </a:lnTo>
                <a:lnTo>
                  <a:pt x="443" y="724"/>
                </a:lnTo>
                <a:lnTo>
                  <a:pt x="455" y="725"/>
                </a:lnTo>
                <a:lnTo>
                  <a:pt x="454" y="744"/>
                </a:lnTo>
                <a:lnTo>
                  <a:pt x="454" y="765"/>
                </a:lnTo>
                <a:lnTo>
                  <a:pt x="467" y="765"/>
                </a:lnTo>
                <a:lnTo>
                  <a:pt x="477" y="797"/>
                </a:lnTo>
                <a:lnTo>
                  <a:pt x="464" y="809"/>
                </a:lnTo>
                <a:lnTo>
                  <a:pt x="450" y="821"/>
                </a:lnTo>
                <a:lnTo>
                  <a:pt x="438" y="836"/>
                </a:lnTo>
                <a:lnTo>
                  <a:pt x="426" y="850"/>
                </a:lnTo>
                <a:lnTo>
                  <a:pt x="416" y="864"/>
                </a:lnTo>
                <a:lnTo>
                  <a:pt x="405" y="879"/>
                </a:lnTo>
                <a:lnTo>
                  <a:pt x="405" y="880"/>
                </a:lnTo>
                <a:lnTo>
                  <a:pt x="416" y="878"/>
                </a:lnTo>
                <a:lnTo>
                  <a:pt x="442" y="898"/>
                </a:lnTo>
                <a:lnTo>
                  <a:pt x="448" y="898"/>
                </a:lnTo>
                <a:lnTo>
                  <a:pt x="461" y="906"/>
                </a:lnTo>
                <a:lnTo>
                  <a:pt x="484" y="922"/>
                </a:lnTo>
                <a:lnTo>
                  <a:pt x="506" y="939"/>
                </a:lnTo>
                <a:lnTo>
                  <a:pt x="503" y="951"/>
                </a:lnTo>
                <a:lnTo>
                  <a:pt x="508" y="968"/>
                </a:lnTo>
                <a:lnTo>
                  <a:pt x="516" y="952"/>
                </a:lnTo>
                <a:lnTo>
                  <a:pt x="525" y="936"/>
                </a:lnTo>
                <a:lnTo>
                  <a:pt x="525" y="921"/>
                </a:lnTo>
                <a:lnTo>
                  <a:pt x="531" y="906"/>
                </a:lnTo>
                <a:lnTo>
                  <a:pt x="540" y="894"/>
                </a:lnTo>
                <a:lnTo>
                  <a:pt x="538" y="880"/>
                </a:lnTo>
                <a:lnTo>
                  <a:pt x="539" y="879"/>
                </a:lnTo>
                <a:lnTo>
                  <a:pt x="549" y="882"/>
                </a:lnTo>
                <a:lnTo>
                  <a:pt x="554" y="884"/>
                </a:lnTo>
                <a:lnTo>
                  <a:pt x="545" y="902"/>
                </a:lnTo>
                <a:lnTo>
                  <a:pt x="536" y="920"/>
                </a:lnTo>
                <a:lnTo>
                  <a:pt x="528" y="924"/>
                </a:lnTo>
                <a:lnTo>
                  <a:pt x="531" y="927"/>
                </a:lnTo>
                <a:lnTo>
                  <a:pt x="545" y="906"/>
                </a:lnTo>
                <a:lnTo>
                  <a:pt x="560" y="886"/>
                </a:lnTo>
                <a:lnTo>
                  <a:pt x="568" y="866"/>
                </a:lnTo>
                <a:lnTo>
                  <a:pt x="578" y="845"/>
                </a:lnTo>
                <a:lnTo>
                  <a:pt x="584" y="834"/>
                </a:lnTo>
                <a:lnTo>
                  <a:pt x="585" y="834"/>
                </a:lnTo>
                <a:lnTo>
                  <a:pt x="585" y="814"/>
                </a:lnTo>
                <a:lnTo>
                  <a:pt x="585" y="795"/>
                </a:lnTo>
                <a:lnTo>
                  <a:pt x="580" y="780"/>
                </a:lnTo>
                <a:lnTo>
                  <a:pt x="580" y="772"/>
                </a:lnTo>
                <a:lnTo>
                  <a:pt x="584" y="764"/>
                </a:lnTo>
                <a:lnTo>
                  <a:pt x="580" y="761"/>
                </a:lnTo>
                <a:lnTo>
                  <a:pt x="588" y="760"/>
                </a:lnTo>
                <a:lnTo>
                  <a:pt x="608" y="742"/>
                </a:lnTo>
                <a:lnTo>
                  <a:pt x="627" y="724"/>
                </a:lnTo>
                <a:lnTo>
                  <a:pt x="645" y="718"/>
                </a:lnTo>
                <a:lnTo>
                  <a:pt x="662" y="707"/>
                </a:lnTo>
                <a:lnTo>
                  <a:pt x="669" y="701"/>
                </a:lnTo>
                <a:lnTo>
                  <a:pt x="683" y="701"/>
                </a:lnTo>
                <a:lnTo>
                  <a:pt x="676" y="702"/>
                </a:lnTo>
                <a:lnTo>
                  <a:pt x="690" y="698"/>
                </a:lnTo>
                <a:lnTo>
                  <a:pt x="694" y="696"/>
                </a:lnTo>
                <a:lnTo>
                  <a:pt x="718" y="696"/>
                </a:lnTo>
                <a:lnTo>
                  <a:pt x="724" y="682"/>
                </a:lnTo>
                <a:lnTo>
                  <a:pt x="737" y="675"/>
                </a:lnTo>
                <a:lnTo>
                  <a:pt x="740" y="647"/>
                </a:lnTo>
                <a:lnTo>
                  <a:pt x="750" y="628"/>
                </a:lnTo>
                <a:lnTo>
                  <a:pt x="761" y="609"/>
                </a:lnTo>
                <a:lnTo>
                  <a:pt x="765" y="575"/>
                </a:lnTo>
                <a:lnTo>
                  <a:pt x="770" y="563"/>
                </a:lnTo>
                <a:lnTo>
                  <a:pt x="771" y="539"/>
                </a:lnTo>
                <a:lnTo>
                  <a:pt x="772" y="515"/>
                </a:lnTo>
                <a:lnTo>
                  <a:pt x="771" y="497"/>
                </a:lnTo>
                <a:lnTo>
                  <a:pt x="771" y="479"/>
                </a:lnTo>
                <a:lnTo>
                  <a:pt x="767" y="471"/>
                </a:lnTo>
                <a:lnTo>
                  <a:pt x="771" y="448"/>
                </a:lnTo>
                <a:lnTo>
                  <a:pt x="778" y="446"/>
                </a:lnTo>
                <a:lnTo>
                  <a:pt x="779" y="453"/>
                </a:lnTo>
                <a:lnTo>
                  <a:pt x="791" y="434"/>
                </a:lnTo>
                <a:lnTo>
                  <a:pt x="802" y="414"/>
                </a:lnTo>
                <a:lnTo>
                  <a:pt x="802" y="412"/>
                </a:lnTo>
                <a:lnTo>
                  <a:pt x="807" y="406"/>
                </a:lnTo>
                <a:lnTo>
                  <a:pt x="820" y="388"/>
                </a:lnTo>
                <a:lnTo>
                  <a:pt x="833" y="370"/>
                </a:lnTo>
                <a:lnTo>
                  <a:pt x="852" y="342"/>
                </a:lnTo>
                <a:lnTo>
                  <a:pt x="856" y="308"/>
                </a:lnTo>
                <a:lnTo>
                  <a:pt x="846" y="282"/>
                </a:lnTo>
                <a:lnTo>
                  <a:pt x="837" y="257"/>
                </a:lnTo>
                <a:lnTo>
                  <a:pt x="820" y="254"/>
                </a:lnTo>
                <a:lnTo>
                  <a:pt x="802" y="251"/>
                </a:lnTo>
                <a:lnTo>
                  <a:pt x="778" y="230"/>
                </a:lnTo>
                <a:lnTo>
                  <a:pt x="755" y="209"/>
                </a:lnTo>
                <a:lnTo>
                  <a:pt x="724" y="201"/>
                </a:lnTo>
                <a:lnTo>
                  <a:pt x="704" y="201"/>
                </a:lnTo>
                <a:lnTo>
                  <a:pt x="684" y="197"/>
                </a:lnTo>
                <a:lnTo>
                  <a:pt x="665" y="192"/>
                </a:lnTo>
                <a:lnTo>
                  <a:pt x="648" y="197"/>
                </a:lnTo>
                <a:lnTo>
                  <a:pt x="650" y="19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11" name="Freeform 118"/>
          <p:cNvSpPr>
            <a:spLocks/>
          </p:cNvSpPr>
          <p:nvPr/>
        </p:nvSpPr>
        <p:spPr bwMode="auto">
          <a:xfrm>
            <a:off x="3244850" y="4746625"/>
            <a:ext cx="66675" cy="61913"/>
          </a:xfrm>
          <a:custGeom>
            <a:avLst/>
            <a:gdLst>
              <a:gd name="T0" fmla="*/ 2147483647 w 52"/>
              <a:gd name="T1" fmla="*/ 2147483647 h 44"/>
              <a:gd name="T2" fmla="*/ 2147483647 w 52"/>
              <a:gd name="T3" fmla="*/ 2147483647 h 44"/>
              <a:gd name="T4" fmla="*/ 2147483647 w 52"/>
              <a:gd name="T5" fmla="*/ 2147483647 h 44"/>
              <a:gd name="T6" fmla="*/ 2147483647 w 52"/>
              <a:gd name="T7" fmla="*/ 2147483647 h 44"/>
              <a:gd name="T8" fmla="*/ 0 w 52"/>
              <a:gd name="T9" fmla="*/ 2147483647 h 44"/>
              <a:gd name="T10" fmla="*/ 2147483647 w 52"/>
              <a:gd name="T11" fmla="*/ 2147483647 h 44"/>
              <a:gd name="T12" fmla="*/ 2147483647 w 52"/>
              <a:gd name="T13" fmla="*/ 2147483647 h 44"/>
              <a:gd name="T14" fmla="*/ 2147483647 w 52"/>
              <a:gd name="T15" fmla="*/ 0 h 44"/>
              <a:gd name="T16" fmla="*/ 2147483647 w 52"/>
              <a:gd name="T17" fmla="*/ 2147483647 h 44"/>
              <a:gd name="T18" fmla="*/ 2147483647 w 52"/>
              <a:gd name="T19" fmla="*/ 2147483647 h 44"/>
              <a:gd name="T20" fmla="*/ 2147483647 w 52"/>
              <a:gd name="T21" fmla="*/ 2147483647 h 44"/>
              <a:gd name="T22" fmla="*/ 2147483647 w 52"/>
              <a:gd name="T23" fmla="*/ 2147483647 h 44"/>
              <a:gd name="T24" fmla="*/ 2147483647 w 52"/>
              <a:gd name="T25" fmla="*/ 2147483647 h 44"/>
              <a:gd name="T26" fmla="*/ 2147483647 w 52"/>
              <a:gd name="T27" fmla="*/ 2147483647 h 44"/>
              <a:gd name="T28" fmla="*/ 2147483647 w 52"/>
              <a:gd name="T29" fmla="*/ 2147483647 h 4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52"/>
              <a:gd name="T46" fmla="*/ 0 h 44"/>
              <a:gd name="T47" fmla="*/ 52 w 52"/>
              <a:gd name="T48" fmla="*/ 44 h 44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52" h="44">
                <a:moveTo>
                  <a:pt x="27" y="40"/>
                </a:moveTo>
                <a:lnTo>
                  <a:pt x="23" y="42"/>
                </a:lnTo>
                <a:lnTo>
                  <a:pt x="11" y="36"/>
                </a:lnTo>
                <a:lnTo>
                  <a:pt x="8" y="44"/>
                </a:lnTo>
                <a:lnTo>
                  <a:pt x="0" y="26"/>
                </a:lnTo>
                <a:lnTo>
                  <a:pt x="3" y="24"/>
                </a:lnTo>
                <a:lnTo>
                  <a:pt x="2" y="14"/>
                </a:lnTo>
                <a:lnTo>
                  <a:pt x="9" y="0"/>
                </a:lnTo>
                <a:lnTo>
                  <a:pt x="30" y="4"/>
                </a:lnTo>
                <a:lnTo>
                  <a:pt x="52" y="8"/>
                </a:lnTo>
                <a:lnTo>
                  <a:pt x="42" y="28"/>
                </a:lnTo>
                <a:lnTo>
                  <a:pt x="40" y="30"/>
                </a:lnTo>
                <a:lnTo>
                  <a:pt x="38" y="36"/>
                </a:lnTo>
                <a:lnTo>
                  <a:pt x="34" y="36"/>
                </a:lnTo>
                <a:lnTo>
                  <a:pt x="27" y="4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12" name="Freeform 119"/>
          <p:cNvSpPr>
            <a:spLocks/>
          </p:cNvSpPr>
          <p:nvPr/>
        </p:nvSpPr>
        <p:spPr bwMode="auto">
          <a:xfrm>
            <a:off x="4691063" y="4665663"/>
            <a:ext cx="55562" cy="42862"/>
          </a:xfrm>
          <a:custGeom>
            <a:avLst/>
            <a:gdLst>
              <a:gd name="T0" fmla="*/ 2147483647 w 40"/>
              <a:gd name="T1" fmla="*/ 2147483647 h 34"/>
              <a:gd name="T2" fmla="*/ 0 w 40"/>
              <a:gd name="T3" fmla="*/ 2147483647 h 34"/>
              <a:gd name="T4" fmla="*/ 2147483647 w 40"/>
              <a:gd name="T5" fmla="*/ 2147483647 h 34"/>
              <a:gd name="T6" fmla="*/ 2147483647 w 40"/>
              <a:gd name="T7" fmla="*/ 0 h 34"/>
              <a:gd name="T8" fmla="*/ 2147483647 w 40"/>
              <a:gd name="T9" fmla="*/ 2147483647 h 34"/>
              <a:gd name="T10" fmla="*/ 2147483647 w 40"/>
              <a:gd name="T11" fmla="*/ 2147483647 h 34"/>
              <a:gd name="T12" fmla="*/ 2147483647 w 40"/>
              <a:gd name="T13" fmla="*/ 2147483647 h 34"/>
              <a:gd name="T14" fmla="*/ 2147483647 w 40"/>
              <a:gd name="T15" fmla="*/ 2147483647 h 34"/>
              <a:gd name="T16" fmla="*/ 2147483647 w 40"/>
              <a:gd name="T17" fmla="*/ 2147483647 h 3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0"/>
              <a:gd name="T28" fmla="*/ 0 h 34"/>
              <a:gd name="T29" fmla="*/ 40 w 40"/>
              <a:gd name="T30" fmla="*/ 34 h 3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0" h="34">
                <a:moveTo>
                  <a:pt x="7" y="34"/>
                </a:moveTo>
                <a:lnTo>
                  <a:pt x="0" y="31"/>
                </a:lnTo>
                <a:lnTo>
                  <a:pt x="2" y="22"/>
                </a:lnTo>
                <a:lnTo>
                  <a:pt x="7" y="0"/>
                </a:lnTo>
                <a:lnTo>
                  <a:pt x="24" y="3"/>
                </a:lnTo>
                <a:lnTo>
                  <a:pt x="40" y="5"/>
                </a:lnTo>
                <a:lnTo>
                  <a:pt x="40" y="34"/>
                </a:lnTo>
                <a:lnTo>
                  <a:pt x="24" y="34"/>
                </a:lnTo>
                <a:lnTo>
                  <a:pt x="7" y="3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13" name="Freeform 120"/>
          <p:cNvSpPr>
            <a:spLocks/>
          </p:cNvSpPr>
          <p:nvPr/>
        </p:nvSpPr>
        <p:spPr bwMode="auto">
          <a:xfrm>
            <a:off x="4664075" y="4616450"/>
            <a:ext cx="12700" cy="17463"/>
          </a:xfrm>
          <a:custGeom>
            <a:avLst/>
            <a:gdLst>
              <a:gd name="T0" fmla="*/ 2147483647 w 11"/>
              <a:gd name="T1" fmla="*/ 2147483647 h 14"/>
              <a:gd name="T2" fmla="*/ 2147483647 w 11"/>
              <a:gd name="T3" fmla="*/ 0 h 14"/>
              <a:gd name="T4" fmla="*/ 0 w 11"/>
              <a:gd name="T5" fmla="*/ 2147483647 h 14"/>
              <a:gd name="T6" fmla="*/ 2147483647 w 11"/>
              <a:gd name="T7" fmla="*/ 2147483647 h 14"/>
              <a:gd name="T8" fmla="*/ 0 60000 65536"/>
              <a:gd name="T9" fmla="*/ 0 60000 65536"/>
              <a:gd name="T10" fmla="*/ 0 60000 65536"/>
              <a:gd name="T11" fmla="*/ 0 60000 65536"/>
              <a:gd name="T12" fmla="*/ 0 w 11"/>
              <a:gd name="T13" fmla="*/ 0 h 14"/>
              <a:gd name="T14" fmla="*/ 11 w 11"/>
              <a:gd name="T15" fmla="*/ 14 h 1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1" h="14">
                <a:moveTo>
                  <a:pt x="11" y="2"/>
                </a:moveTo>
                <a:lnTo>
                  <a:pt x="7" y="0"/>
                </a:lnTo>
                <a:lnTo>
                  <a:pt x="0" y="14"/>
                </a:lnTo>
                <a:lnTo>
                  <a:pt x="11" y="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14" name="Freeform 121"/>
          <p:cNvSpPr>
            <a:spLocks/>
          </p:cNvSpPr>
          <p:nvPr/>
        </p:nvSpPr>
        <p:spPr bwMode="auto">
          <a:xfrm>
            <a:off x="4672013" y="4670425"/>
            <a:ext cx="168275" cy="209550"/>
          </a:xfrm>
          <a:custGeom>
            <a:avLst/>
            <a:gdLst>
              <a:gd name="T0" fmla="*/ 2147483647 w 125"/>
              <a:gd name="T1" fmla="*/ 2147483647 h 152"/>
              <a:gd name="T2" fmla="*/ 2147483647 w 125"/>
              <a:gd name="T3" fmla="*/ 2147483647 h 152"/>
              <a:gd name="T4" fmla="*/ 2147483647 w 125"/>
              <a:gd name="T5" fmla="*/ 2147483647 h 152"/>
              <a:gd name="T6" fmla="*/ 2147483647 w 125"/>
              <a:gd name="T7" fmla="*/ 2147483647 h 152"/>
              <a:gd name="T8" fmla="*/ 2147483647 w 125"/>
              <a:gd name="T9" fmla="*/ 2147483647 h 152"/>
              <a:gd name="T10" fmla="*/ 2147483647 w 125"/>
              <a:gd name="T11" fmla="*/ 2147483647 h 152"/>
              <a:gd name="T12" fmla="*/ 0 w 125"/>
              <a:gd name="T13" fmla="*/ 2147483647 h 152"/>
              <a:gd name="T14" fmla="*/ 2147483647 w 125"/>
              <a:gd name="T15" fmla="*/ 2147483647 h 152"/>
              <a:gd name="T16" fmla="*/ 2147483647 w 125"/>
              <a:gd name="T17" fmla="*/ 2147483647 h 152"/>
              <a:gd name="T18" fmla="*/ 2147483647 w 125"/>
              <a:gd name="T19" fmla="*/ 2147483647 h 152"/>
              <a:gd name="T20" fmla="*/ 2147483647 w 125"/>
              <a:gd name="T21" fmla="*/ 2147483647 h 152"/>
              <a:gd name="T22" fmla="*/ 2147483647 w 125"/>
              <a:gd name="T23" fmla="*/ 2147483647 h 152"/>
              <a:gd name="T24" fmla="*/ 2147483647 w 125"/>
              <a:gd name="T25" fmla="*/ 2147483647 h 152"/>
              <a:gd name="T26" fmla="*/ 2147483647 w 125"/>
              <a:gd name="T27" fmla="*/ 2147483647 h 152"/>
              <a:gd name="T28" fmla="*/ 2147483647 w 125"/>
              <a:gd name="T29" fmla="*/ 2147483647 h 152"/>
              <a:gd name="T30" fmla="*/ 2147483647 w 125"/>
              <a:gd name="T31" fmla="*/ 2147483647 h 152"/>
              <a:gd name="T32" fmla="*/ 2147483647 w 125"/>
              <a:gd name="T33" fmla="*/ 2147483647 h 152"/>
              <a:gd name="T34" fmla="*/ 2147483647 w 125"/>
              <a:gd name="T35" fmla="*/ 2147483647 h 152"/>
              <a:gd name="T36" fmla="*/ 2147483647 w 125"/>
              <a:gd name="T37" fmla="*/ 2147483647 h 152"/>
              <a:gd name="T38" fmla="*/ 2147483647 w 125"/>
              <a:gd name="T39" fmla="*/ 2147483647 h 152"/>
              <a:gd name="T40" fmla="*/ 2147483647 w 125"/>
              <a:gd name="T41" fmla="*/ 2147483647 h 152"/>
              <a:gd name="T42" fmla="*/ 2147483647 w 125"/>
              <a:gd name="T43" fmla="*/ 2147483647 h 152"/>
              <a:gd name="T44" fmla="*/ 2147483647 w 125"/>
              <a:gd name="T45" fmla="*/ 2147483647 h 152"/>
              <a:gd name="T46" fmla="*/ 2147483647 w 125"/>
              <a:gd name="T47" fmla="*/ 2147483647 h 152"/>
              <a:gd name="T48" fmla="*/ 2147483647 w 125"/>
              <a:gd name="T49" fmla="*/ 2147483647 h 152"/>
              <a:gd name="T50" fmla="*/ 2147483647 w 125"/>
              <a:gd name="T51" fmla="*/ 2147483647 h 152"/>
              <a:gd name="T52" fmla="*/ 2147483647 w 125"/>
              <a:gd name="T53" fmla="*/ 2147483647 h 152"/>
              <a:gd name="T54" fmla="*/ 2147483647 w 125"/>
              <a:gd name="T55" fmla="*/ 2147483647 h 152"/>
              <a:gd name="T56" fmla="*/ 2147483647 w 125"/>
              <a:gd name="T57" fmla="*/ 2147483647 h 152"/>
              <a:gd name="T58" fmla="*/ 2147483647 w 125"/>
              <a:gd name="T59" fmla="*/ 2147483647 h 152"/>
              <a:gd name="T60" fmla="*/ 2147483647 w 125"/>
              <a:gd name="T61" fmla="*/ 2147483647 h 152"/>
              <a:gd name="T62" fmla="*/ 2147483647 w 125"/>
              <a:gd name="T63" fmla="*/ 2147483647 h 152"/>
              <a:gd name="T64" fmla="*/ 2147483647 w 125"/>
              <a:gd name="T65" fmla="*/ 2147483647 h 152"/>
              <a:gd name="T66" fmla="*/ 2147483647 w 125"/>
              <a:gd name="T67" fmla="*/ 0 h 152"/>
              <a:gd name="T68" fmla="*/ 2147483647 w 125"/>
              <a:gd name="T69" fmla="*/ 0 h 152"/>
              <a:gd name="T70" fmla="*/ 2147483647 w 125"/>
              <a:gd name="T71" fmla="*/ 0 h 152"/>
              <a:gd name="T72" fmla="*/ 2147483647 w 125"/>
              <a:gd name="T73" fmla="*/ 2147483647 h 152"/>
              <a:gd name="T74" fmla="*/ 2147483647 w 125"/>
              <a:gd name="T75" fmla="*/ 2147483647 h 152"/>
              <a:gd name="T76" fmla="*/ 2147483647 w 125"/>
              <a:gd name="T77" fmla="*/ 2147483647 h 152"/>
              <a:gd name="T78" fmla="*/ 2147483647 w 125"/>
              <a:gd name="T79" fmla="*/ 2147483647 h 152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25"/>
              <a:gd name="T121" fmla="*/ 0 h 152"/>
              <a:gd name="T122" fmla="*/ 125 w 125"/>
              <a:gd name="T123" fmla="*/ 152 h 152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25" h="152">
                <a:moveTo>
                  <a:pt x="21" y="29"/>
                </a:moveTo>
                <a:lnTo>
                  <a:pt x="18" y="38"/>
                </a:lnTo>
                <a:lnTo>
                  <a:pt x="11" y="38"/>
                </a:lnTo>
                <a:lnTo>
                  <a:pt x="25" y="50"/>
                </a:lnTo>
                <a:lnTo>
                  <a:pt x="12" y="49"/>
                </a:lnTo>
                <a:lnTo>
                  <a:pt x="5" y="72"/>
                </a:lnTo>
                <a:lnTo>
                  <a:pt x="0" y="72"/>
                </a:lnTo>
                <a:lnTo>
                  <a:pt x="9" y="89"/>
                </a:lnTo>
                <a:lnTo>
                  <a:pt x="13" y="94"/>
                </a:lnTo>
                <a:lnTo>
                  <a:pt x="6" y="88"/>
                </a:lnTo>
                <a:lnTo>
                  <a:pt x="16" y="102"/>
                </a:lnTo>
                <a:lnTo>
                  <a:pt x="12" y="102"/>
                </a:lnTo>
                <a:lnTo>
                  <a:pt x="27" y="118"/>
                </a:lnTo>
                <a:lnTo>
                  <a:pt x="23" y="116"/>
                </a:lnTo>
                <a:lnTo>
                  <a:pt x="37" y="134"/>
                </a:lnTo>
                <a:lnTo>
                  <a:pt x="52" y="152"/>
                </a:lnTo>
                <a:lnTo>
                  <a:pt x="59" y="142"/>
                </a:lnTo>
                <a:lnTo>
                  <a:pt x="64" y="145"/>
                </a:lnTo>
                <a:lnTo>
                  <a:pt x="69" y="140"/>
                </a:lnTo>
                <a:lnTo>
                  <a:pt x="65" y="130"/>
                </a:lnTo>
                <a:lnTo>
                  <a:pt x="61" y="124"/>
                </a:lnTo>
                <a:lnTo>
                  <a:pt x="61" y="116"/>
                </a:lnTo>
                <a:lnTo>
                  <a:pt x="81" y="114"/>
                </a:lnTo>
                <a:lnTo>
                  <a:pt x="83" y="100"/>
                </a:lnTo>
                <a:lnTo>
                  <a:pt x="95" y="113"/>
                </a:lnTo>
                <a:lnTo>
                  <a:pt x="108" y="108"/>
                </a:lnTo>
                <a:lnTo>
                  <a:pt x="112" y="115"/>
                </a:lnTo>
                <a:lnTo>
                  <a:pt x="119" y="109"/>
                </a:lnTo>
                <a:lnTo>
                  <a:pt x="125" y="74"/>
                </a:lnTo>
                <a:lnTo>
                  <a:pt x="112" y="53"/>
                </a:lnTo>
                <a:lnTo>
                  <a:pt x="123" y="38"/>
                </a:lnTo>
                <a:lnTo>
                  <a:pt x="120" y="22"/>
                </a:lnTo>
                <a:lnTo>
                  <a:pt x="96" y="24"/>
                </a:lnTo>
                <a:lnTo>
                  <a:pt x="99" y="0"/>
                </a:lnTo>
                <a:lnTo>
                  <a:pt x="77" y="0"/>
                </a:lnTo>
                <a:lnTo>
                  <a:pt x="55" y="0"/>
                </a:lnTo>
                <a:lnTo>
                  <a:pt x="55" y="29"/>
                </a:lnTo>
                <a:lnTo>
                  <a:pt x="39" y="29"/>
                </a:lnTo>
                <a:lnTo>
                  <a:pt x="22" y="29"/>
                </a:lnTo>
                <a:lnTo>
                  <a:pt x="21" y="29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15" name="Freeform 122"/>
          <p:cNvSpPr>
            <a:spLocks/>
          </p:cNvSpPr>
          <p:nvPr/>
        </p:nvSpPr>
        <p:spPr bwMode="auto">
          <a:xfrm>
            <a:off x="2936875" y="5403850"/>
            <a:ext cx="242888" cy="277813"/>
          </a:xfrm>
          <a:custGeom>
            <a:avLst/>
            <a:gdLst>
              <a:gd name="T0" fmla="*/ 2147483647 w 182"/>
              <a:gd name="T1" fmla="*/ 2147483647 h 202"/>
              <a:gd name="T2" fmla="*/ 2147483647 w 182"/>
              <a:gd name="T3" fmla="*/ 2147483647 h 202"/>
              <a:gd name="T4" fmla="*/ 0 w 182"/>
              <a:gd name="T5" fmla="*/ 2147483647 h 202"/>
              <a:gd name="T6" fmla="*/ 2147483647 w 182"/>
              <a:gd name="T7" fmla="*/ 2147483647 h 202"/>
              <a:gd name="T8" fmla="*/ 2147483647 w 182"/>
              <a:gd name="T9" fmla="*/ 2147483647 h 202"/>
              <a:gd name="T10" fmla="*/ 2147483647 w 182"/>
              <a:gd name="T11" fmla="*/ 2147483647 h 202"/>
              <a:gd name="T12" fmla="*/ 2147483647 w 182"/>
              <a:gd name="T13" fmla="*/ 2147483647 h 202"/>
              <a:gd name="T14" fmla="*/ 2147483647 w 182"/>
              <a:gd name="T15" fmla="*/ 2147483647 h 202"/>
              <a:gd name="T16" fmla="*/ 2147483647 w 182"/>
              <a:gd name="T17" fmla="*/ 2147483647 h 202"/>
              <a:gd name="T18" fmla="*/ 2147483647 w 182"/>
              <a:gd name="T19" fmla="*/ 2147483647 h 202"/>
              <a:gd name="T20" fmla="*/ 2147483647 w 182"/>
              <a:gd name="T21" fmla="*/ 2147483647 h 202"/>
              <a:gd name="T22" fmla="*/ 2147483647 w 182"/>
              <a:gd name="T23" fmla="*/ 2147483647 h 202"/>
              <a:gd name="T24" fmla="*/ 2147483647 w 182"/>
              <a:gd name="T25" fmla="*/ 2147483647 h 202"/>
              <a:gd name="T26" fmla="*/ 2147483647 w 182"/>
              <a:gd name="T27" fmla="*/ 2147483647 h 202"/>
              <a:gd name="T28" fmla="*/ 2147483647 w 182"/>
              <a:gd name="T29" fmla="*/ 2147483647 h 202"/>
              <a:gd name="T30" fmla="*/ 2147483647 w 182"/>
              <a:gd name="T31" fmla="*/ 2147483647 h 202"/>
              <a:gd name="T32" fmla="*/ 2147483647 w 182"/>
              <a:gd name="T33" fmla="*/ 2147483647 h 202"/>
              <a:gd name="T34" fmla="*/ 2147483647 w 182"/>
              <a:gd name="T35" fmla="*/ 2147483647 h 202"/>
              <a:gd name="T36" fmla="*/ 2147483647 w 182"/>
              <a:gd name="T37" fmla="*/ 2147483647 h 202"/>
              <a:gd name="T38" fmla="*/ 2147483647 w 182"/>
              <a:gd name="T39" fmla="*/ 2147483647 h 202"/>
              <a:gd name="T40" fmla="*/ 2147483647 w 182"/>
              <a:gd name="T41" fmla="*/ 2147483647 h 202"/>
              <a:gd name="T42" fmla="*/ 2147483647 w 182"/>
              <a:gd name="T43" fmla="*/ 2147483647 h 202"/>
              <a:gd name="T44" fmla="*/ 2147483647 w 182"/>
              <a:gd name="T45" fmla="*/ 2147483647 h 202"/>
              <a:gd name="T46" fmla="*/ 2147483647 w 182"/>
              <a:gd name="T47" fmla="*/ 2147483647 h 202"/>
              <a:gd name="T48" fmla="*/ 2147483647 w 182"/>
              <a:gd name="T49" fmla="*/ 2147483647 h 202"/>
              <a:gd name="T50" fmla="*/ 2147483647 w 182"/>
              <a:gd name="T51" fmla="*/ 2147483647 h 202"/>
              <a:gd name="T52" fmla="*/ 2147483647 w 182"/>
              <a:gd name="T53" fmla="*/ 2147483647 h 202"/>
              <a:gd name="T54" fmla="*/ 2147483647 w 182"/>
              <a:gd name="T55" fmla="*/ 0 h 202"/>
              <a:gd name="T56" fmla="*/ 2147483647 w 182"/>
              <a:gd name="T57" fmla="*/ 2147483647 h 202"/>
              <a:gd name="T58" fmla="*/ 2147483647 w 182"/>
              <a:gd name="T59" fmla="*/ 2147483647 h 202"/>
              <a:gd name="T60" fmla="*/ 2147483647 w 182"/>
              <a:gd name="T61" fmla="*/ 2147483647 h 20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82"/>
              <a:gd name="T94" fmla="*/ 0 h 202"/>
              <a:gd name="T95" fmla="*/ 182 w 182"/>
              <a:gd name="T96" fmla="*/ 202 h 202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82" h="202">
                <a:moveTo>
                  <a:pt x="10" y="18"/>
                </a:moveTo>
                <a:lnTo>
                  <a:pt x="6" y="46"/>
                </a:lnTo>
                <a:lnTo>
                  <a:pt x="0" y="72"/>
                </a:lnTo>
                <a:lnTo>
                  <a:pt x="21" y="92"/>
                </a:lnTo>
                <a:lnTo>
                  <a:pt x="43" y="113"/>
                </a:lnTo>
                <a:lnTo>
                  <a:pt x="61" y="120"/>
                </a:lnTo>
                <a:lnTo>
                  <a:pt x="79" y="128"/>
                </a:lnTo>
                <a:lnTo>
                  <a:pt x="98" y="140"/>
                </a:lnTo>
                <a:lnTo>
                  <a:pt x="117" y="151"/>
                </a:lnTo>
                <a:lnTo>
                  <a:pt x="109" y="175"/>
                </a:lnTo>
                <a:lnTo>
                  <a:pt x="101" y="198"/>
                </a:lnTo>
                <a:lnTo>
                  <a:pt x="126" y="200"/>
                </a:lnTo>
                <a:lnTo>
                  <a:pt x="151" y="202"/>
                </a:lnTo>
                <a:lnTo>
                  <a:pt x="165" y="197"/>
                </a:lnTo>
                <a:lnTo>
                  <a:pt x="182" y="170"/>
                </a:lnTo>
                <a:lnTo>
                  <a:pt x="181" y="155"/>
                </a:lnTo>
                <a:lnTo>
                  <a:pt x="181" y="134"/>
                </a:lnTo>
                <a:lnTo>
                  <a:pt x="182" y="115"/>
                </a:lnTo>
                <a:lnTo>
                  <a:pt x="170" y="114"/>
                </a:lnTo>
                <a:lnTo>
                  <a:pt x="159" y="114"/>
                </a:lnTo>
                <a:lnTo>
                  <a:pt x="152" y="94"/>
                </a:lnTo>
                <a:lnTo>
                  <a:pt x="146" y="73"/>
                </a:lnTo>
                <a:lnTo>
                  <a:pt x="131" y="71"/>
                </a:lnTo>
                <a:lnTo>
                  <a:pt x="99" y="66"/>
                </a:lnTo>
                <a:lnTo>
                  <a:pt x="96" y="31"/>
                </a:lnTo>
                <a:lnTo>
                  <a:pt x="91" y="20"/>
                </a:lnTo>
                <a:lnTo>
                  <a:pt x="92" y="17"/>
                </a:lnTo>
                <a:lnTo>
                  <a:pt x="69" y="0"/>
                </a:lnTo>
                <a:lnTo>
                  <a:pt x="42" y="4"/>
                </a:lnTo>
                <a:lnTo>
                  <a:pt x="13" y="7"/>
                </a:lnTo>
                <a:lnTo>
                  <a:pt x="10" y="1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16" name="Freeform 123"/>
          <p:cNvSpPr>
            <a:spLocks/>
          </p:cNvSpPr>
          <p:nvPr/>
        </p:nvSpPr>
        <p:spPr bwMode="auto">
          <a:xfrm>
            <a:off x="4603750" y="4732338"/>
            <a:ext cx="9525" cy="9525"/>
          </a:xfrm>
          <a:custGeom>
            <a:avLst/>
            <a:gdLst>
              <a:gd name="T0" fmla="*/ 2147483647 w 7"/>
              <a:gd name="T1" fmla="*/ 2147483647 h 9"/>
              <a:gd name="T2" fmla="*/ 2147483647 w 7"/>
              <a:gd name="T3" fmla="*/ 2147483647 h 9"/>
              <a:gd name="T4" fmla="*/ 0 w 7"/>
              <a:gd name="T5" fmla="*/ 2147483647 h 9"/>
              <a:gd name="T6" fmla="*/ 2147483647 w 7"/>
              <a:gd name="T7" fmla="*/ 0 h 9"/>
              <a:gd name="T8" fmla="*/ 2147483647 w 7"/>
              <a:gd name="T9" fmla="*/ 2147483647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"/>
              <a:gd name="T16" fmla="*/ 0 h 9"/>
              <a:gd name="T17" fmla="*/ 7 w 7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" h="9">
                <a:moveTo>
                  <a:pt x="7" y="3"/>
                </a:moveTo>
                <a:lnTo>
                  <a:pt x="2" y="9"/>
                </a:lnTo>
                <a:lnTo>
                  <a:pt x="0" y="5"/>
                </a:lnTo>
                <a:lnTo>
                  <a:pt x="3" y="0"/>
                </a:lnTo>
                <a:lnTo>
                  <a:pt x="7" y="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17" name="Freeform 124"/>
          <p:cNvSpPr>
            <a:spLocks/>
          </p:cNvSpPr>
          <p:nvPr/>
        </p:nvSpPr>
        <p:spPr bwMode="auto">
          <a:xfrm>
            <a:off x="4632325" y="4686300"/>
            <a:ext cx="3175" cy="6350"/>
          </a:xfrm>
          <a:custGeom>
            <a:avLst/>
            <a:gdLst>
              <a:gd name="T0" fmla="*/ 0 w 1"/>
              <a:gd name="T1" fmla="*/ 2147483647 h 4"/>
              <a:gd name="T2" fmla="*/ 0 w 1"/>
              <a:gd name="T3" fmla="*/ 2147483647 h 4"/>
              <a:gd name="T4" fmla="*/ 2147483647 w 1"/>
              <a:gd name="T5" fmla="*/ 0 h 4"/>
              <a:gd name="T6" fmla="*/ 0 w 1"/>
              <a:gd name="T7" fmla="*/ 2147483647 h 4"/>
              <a:gd name="T8" fmla="*/ 0 60000 65536"/>
              <a:gd name="T9" fmla="*/ 0 60000 65536"/>
              <a:gd name="T10" fmla="*/ 0 60000 65536"/>
              <a:gd name="T11" fmla="*/ 0 60000 65536"/>
              <a:gd name="T12" fmla="*/ 0 w 1"/>
              <a:gd name="T13" fmla="*/ 0 h 4"/>
              <a:gd name="T14" fmla="*/ 1 w 1"/>
              <a:gd name="T15" fmla="*/ 4 h 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" h="4">
                <a:moveTo>
                  <a:pt x="0" y="4"/>
                </a:moveTo>
                <a:lnTo>
                  <a:pt x="0" y="1"/>
                </a:lnTo>
                <a:lnTo>
                  <a:pt x="1" y="0"/>
                </a:lnTo>
                <a:lnTo>
                  <a:pt x="0" y="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18" name="Freeform 125"/>
          <p:cNvSpPr>
            <a:spLocks/>
          </p:cNvSpPr>
          <p:nvPr/>
        </p:nvSpPr>
        <p:spPr bwMode="auto">
          <a:xfrm>
            <a:off x="5272088" y="4779963"/>
            <a:ext cx="315912" cy="363537"/>
          </a:xfrm>
          <a:custGeom>
            <a:avLst/>
            <a:gdLst>
              <a:gd name="T0" fmla="*/ 2147483647 w 237"/>
              <a:gd name="T1" fmla="*/ 2147483647 h 264"/>
              <a:gd name="T2" fmla="*/ 2147483647 w 237"/>
              <a:gd name="T3" fmla="*/ 2147483647 h 264"/>
              <a:gd name="T4" fmla="*/ 2147483647 w 237"/>
              <a:gd name="T5" fmla="*/ 2147483647 h 264"/>
              <a:gd name="T6" fmla="*/ 2147483647 w 237"/>
              <a:gd name="T7" fmla="*/ 2147483647 h 264"/>
              <a:gd name="T8" fmla="*/ 2147483647 w 237"/>
              <a:gd name="T9" fmla="*/ 2147483647 h 264"/>
              <a:gd name="T10" fmla="*/ 2147483647 w 237"/>
              <a:gd name="T11" fmla="*/ 0 h 264"/>
              <a:gd name="T12" fmla="*/ 2147483647 w 237"/>
              <a:gd name="T13" fmla="*/ 0 h 264"/>
              <a:gd name="T14" fmla="*/ 2147483647 w 237"/>
              <a:gd name="T15" fmla="*/ 0 h 264"/>
              <a:gd name="T16" fmla="*/ 2147483647 w 237"/>
              <a:gd name="T17" fmla="*/ 2147483647 h 264"/>
              <a:gd name="T18" fmla="*/ 2147483647 w 237"/>
              <a:gd name="T19" fmla="*/ 2147483647 h 264"/>
              <a:gd name="T20" fmla="*/ 2147483647 w 237"/>
              <a:gd name="T21" fmla="*/ 2147483647 h 264"/>
              <a:gd name="T22" fmla="*/ 2147483647 w 237"/>
              <a:gd name="T23" fmla="*/ 2147483647 h 264"/>
              <a:gd name="T24" fmla="*/ 2147483647 w 237"/>
              <a:gd name="T25" fmla="*/ 2147483647 h 264"/>
              <a:gd name="T26" fmla="*/ 2147483647 w 237"/>
              <a:gd name="T27" fmla="*/ 2147483647 h 264"/>
              <a:gd name="T28" fmla="*/ 2147483647 w 237"/>
              <a:gd name="T29" fmla="*/ 2147483647 h 264"/>
              <a:gd name="T30" fmla="*/ 2147483647 w 237"/>
              <a:gd name="T31" fmla="*/ 2147483647 h 264"/>
              <a:gd name="T32" fmla="*/ 0 w 237"/>
              <a:gd name="T33" fmla="*/ 2147483647 h 264"/>
              <a:gd name="T34" fmla="*/ 2147483647 w 237"/>
              <a:gd name="T35" fmla="*/ 2147483647 h 264"/>
              <a:gd name="T36" fmla="*/ 2147483647 w 237"/>
              <a:gd name="T37" fmla="*/ 2147483647 h 264"/>
              <a:gd name="T38" fmla="*/ 2147483647 w 237"/>
              <a:gd name="T39" fmla="*/ 2147483647 h 264"/>
              <a:gd name="T40" fmla="*/ 2147483647 w 237"/>
              <a:gd name="T41" fmla="*/ 2147483647 h 264"/>
              <a:gd name="T42" fmla="*/ 2147483647 w 237"/>
              <a:gd name="T43" fmla="*/ 2147483647 h 264"/>
              <a:gd name="T44" fmla="*/ 2147483647 w 237"/>
              <a:gd name="T45" fmla="*/ 2147483647 h 264"/>
              <a:gd name="T46" fmla="*/ 2147483647 w 237"/>
              <a:gd name="T47" fmla="*/ 2147483647 h 264"/>
              <a:gd name="T48" fmla="*/ 2147483647 w 237"/>
              <a:gd name="T49" fmla="*/ 2147483647 h 264"/>
              <a:gd name="T50" fmla="*/ 2147483647 w 237"/>
              <a:gd name="T51" fmla="*/ 2147483647 h 264"/>
              <a:gd name="T52" fmla="*/ 2147483647 w 237"/>
              <a:gd name="T53" fmla="*/ 2147483647 h 264"/>
              <a:gd name="T54" fmla="*/ 2147483647 w 237"/>
              <a:gd name="T55" fmla="*/ 2147483647 h 264"/>
              <a:gd name="T56" fmla="*/ 2147483647 w 237"/>
              <a:gd name="T57" fmla="*/ 2147483647 h 264"/>
              <a:gd name="T58" fmla="*/ 2147483647 w 237"/>
              <a:gd name="T59" fmla="*/ 2147483647 h 264"/>
              <a:gd name="T60" fmla="*/ 2147483647 w 237"/>
              <a:gd name="T61" fmla="*/ 2147483647 h 264"/>
              <a:gd name="T62" fmla="*/ 2147483647 w 237"/>
              <a:gd name="T63" fmla="*/ 2147483647 h 264"/>
              <a:gd name="T64" fmla="*/ 2147483647 w 237"/>
              <a:gd name="T65" fmla="*/ 2147483647 h 264"/>
              <a:gd name="T66" fmla="*/ 2147483647 w 237"/>
              <a:gd name="T67" fmla="*/ 2147483647 h 264"/>
              <a:gd name="T68" fmla="*/ 2147483647 w 237"/>
              <a:gd name="T69" fmla="*/ 2147483647 h 264"/>
              <a:gd name="T70" fmla="*/ 2147483647 w 237"/>
              <a:gd name="T71" fmla="*/ 2147483647 h 264"/>
              <a:gd name="T72" fmla="*/ 2147483647 w 237"/>
              <a:gd name="T73" fmla="*/ 2147483647 h 264"/>
              <a:gd name="T74" fmla="*/ 2147483647 w 237"/>
              <a:gd name="T75" fmla="*/ 2147483647 h 264"/>
              <a:gd name="T76" fmla="*/ 2147483647 w 237"/>
              <a:gd name="T77" fmla="*/ 2147483647 h 264"/>
              <a:gd name="T78" fmla="*/ 2147483647 w 237"/>
              <a:gd name="T79" fmla="*/ 2147483647 h 264"/>
              <a:gd name="T80" fmla="*/ 2147483647 w 237"/>
              <a:gd name="T81" fmla="*/ 2147483647 h 264"/>
              <a:gd name="T82" fmla="*/ 2147483647 w 237"/>
              <a:gd name="T83" fmla="*/ 2147483647 h 264"/>
              <a:gd name="T84" fmla="*/ 2147483647 w 237"/>
              <a:gd name="T85" fmla="*/ 2147483647 h 264"/>
              <a:gd name="T86" fmla="*/ 2147483647 w 237"/>
              <a:gd name="T87" fmla="*/ 2147483647 h 264"/>
              <a:gd name="T88" fmla="*/ 2147483647 w 237"/>
              <a:gd name="T89" fmla="*/ 2147483647 h 264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237"/>
              <a:gd name="T136" fmla="*/ 0 h 264"/>
              <a:gd name="T137" fmla="*/ 237 w 237"/>
              <a:gd name="T138" fmla="*/ 264 h 264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237" h="264">
                <a:moveTo>
                  <a:pt x="181" y="58"/>
                </a:moveTo>
                <a:lnTo>
                  <a:pt x="180" y="49"/>
                </a:lnTo>
                <a:lnTo>
                  <a:pt x="159" y="37"/>
                </a:lnTo>
                <a:lnTo>
                  <a:pt x="139" y="24"/>
                </a:lnTo>
                <a:lnTo>
                  <a:pt x="118" y="12"/>
                </a:lnTo>
                <a:lnTo>
                  <a:pt x="99" y="0"/>
                </a:lnTo>
                <a:lnTo>
                  <a:pt x="80" y="0"/>
                </a:lnTo>
                <a:lnTo>
                  <a:pt x="61" y="0"/>
                </a:lnTo>
                <a:lnTo>
                  <a:pt x="43" y="1"/>
                </a:lnTo>
                <a:lnTo>
                  <a:pt x="24" y="1"/>
                </a:lnTo>
                <a:lnTo>
                  <a:pt x="31" y="33"/>
                </a:lnTo>
                <a:lnTo>
                  <a:pt x="25" y="35"/>
                </a:lnTo>
                <a:lnTo>
                  <a:pt x="25" y="47"/>
                </a:lnTo>
                <a:lnTo>
                  <a:pt x="31" y="55"/>
                </a:lnTo>
                <a:lnTo>
                  <a:pt x="18" y="70"/>
                </a:lnTo>
                <a:lnTo>
                  <a:pt x="4" y="85"/>
                </a:lnTo>
                <a:lnTo>
                  <a:pt x="0" y="85"/>
                </a:lnTo>
                <a:lnTo>
                  <a:pt x="1" y="103"/>
                </a:lnTo>
                <a:lnTo>
                  <a:pt x="1" y="121"/>
                </a:lnTo>
                <a:lnTo>
                  <a:pt x="9" y="143"/>
                </a:lnTo>
                <a:lnTo>
                  <a:pt x="19" y="160"/>
                </a:lnTo>
                <a:lnTo>
                  <a:pt x="27" y="178"/>
                </a:lnTo>
                <a:lnTo>
                  <a:pt x="28" y="183"/>
                </a:lnTo>
                <a:lnTo>
                  <a:pt x="51" y="196"/>
                </a:lnTo>
                <a:lnTo>
                  <a:pt x="74" y="208"/>
                </a:lnTo>
                <a:lnTo>
                  <a:pt x="97" y="211"/>
                </a:lnTo>
                <a:lnTo>
                  <a:pt x="105" y="216"/>
                </a:lnTo>
                <a:lnTo>
                  <a:pt x="111" y="243"/>
                </a:lnTo>
                <a:lnTo>
                  <a:pt x="117" y="262"/>
                </a:lnTo>
                <a:lnTo>
                  <a:pt x="127" y="262"/>
                </a:lnTo>
                <a:lnTo>
                  <a:pt x="139" y="261"/>
                </a:lnTo>
                <a:lnTo>
                  <a:pt x="164" y="264"/>
                </a:lnTo>
                <a:lnTo>
                  <a:pt x="180" y="258"/>
                </a:lnTo>
                <a:lnTo>
                  <a:pt x="192" y="257"/>
                </a:lnTo>
                <a:lnTo>
                  <a:pt x="214" y="246"/>
                </a:lnTo>
                <a:lnTo>
                  <a:pt x="237" y="235"/>
                </a:lnTo>
                <a:lnTo>
                  <a:pt x="223" y="220"/>
                </a:lnTo>
                <a:lnTo>
                  <a:pt x="218" y="196"/>
                </a:lnTo>
                <a:lnTo>
                  <a:pt x="216" y="177"/>
                </a:lnTo>
                <a:lnTo>
                  <a:pt x="214" y="169"/>
                </a:lnTo>
                <a:lnTo>
                  <a:pt x="218" y="145"/>
                </a:lnTo>
                <a:lnTo>
                  <a:pt x="204" y="124"/>
                </a:lnTo>
                <a:lnTo>
                  <a:pt x="213" y="91"/>
                </a:lnTo>
                <a:lnTo>
                  <a:pt x="198" y="75"/>
                </a:lnTo>
                <a:lnTo>
                  <a:pt x="181" y="58"/>
                </a:lnTo>
                <a:close/>
              </a:path>
            </a:pathLst>
          </a:custGeom>
          <a:gradFill rotWithShape="1">
            <a:gsLst>
              <a:gs pos="0">
                <a:schemeClr val="hlink"/>
              </a:gs>
              <a:gs pos="100000">
                <a:srgbClr val="004747"/>
              </a:gs>
            </a:gsLst>
            <a:lin ang="5400000" scaled="1"/>
          </a:gradFill>
          <a:ln w="6350" cap="rnd">
            <a:solidFill>
              <a:srgbClr val="CCCCCC"/>
            </a:solidFill>
            <a:round/>
            <a:headEnd/>
            <a:tailEnd/>
          </a:ln>
        </p:spPr>
        <p:txBody>
          <a:bodyPr lIns="91430" tIns="45716" rIns="91430" bIns="45716"/>
          <a:lstStyle/>
          <a:p>
            <a:endParaRPr lang="en-US"/>
          </a:p>
        </p:txBody>
      </p:sp>
      <p:sp>
        <p:nvSpPr>
          <p:cNvPr id="8319" name="Freeform 126"/>
          <p:cNvSpPr>
            <a:spLocks/>
          </p:cNvSpPr>
          <p:nvPr/>
        </p:nvSpPr>
        <p:spPr bwMode="auto">
          <a:xfrm>
            <a:off x="5278438" y="4602163"/>
            <a:ext cx="157162" cy="190500"/>
          </a:xfrm>
          <a:custGeom>
            <a:avLst/>
            <a:gdLst>
              <a:gd name="T0" fmla="*/ 2147483647 w 118"/>
              <a:gd name="T1" fmla="*/ 2147483647 h 139"/>
              <a:gd name="T2" fmla="*/ 2147483647 w 118"/>
              <a:gd name="T3" fmla="*/ 0 h 139"/>
              <a:gd name="T4" fmla="*/ 2147483647 w 118"/>
              <a:gd name="T5" fmla="*/ 2147483647 h 139"/>
              <a:gd name="T6" fmla="*/ 2147483647 w 118"/>
              <a:gd name="T7" fmla="*/ 2147483647 h 139"/>
              <a:gd name="T8" fmla="*/ 2147483647 w 118"/>
              <a:gd name="T9" fmla="*/ 2147483647 h 139"/>
              <a:gd name="T10" fmla="*/ 2147483647 w 118"/>
              <a:gd name="T11" fmla="*/ 2147483647 h 139"/>
              <a:gd name="T12" fmla="*/ 2147483647 w 118"/>
              <a:gd name="T13" fmla="*/ 2147483647 h 139"/>
              <a:gd name="T14" fmla="*/ 2147483647 w 118"/>
              <a:gd name="T15" fmla="*/ 2147483647 h 139"/>
              <a:gd name="T16" fmla="*/ 2147483647 w 118"/>
              <a:gd name="T17" fmla="*/ 2147483647 h 139"/>
              <a:gd name="T18" fmla="*/ 2147483647 w 118"/>
              <a:gd name="T19" fmla="*/ 2147483647 h 139"/>
              <a:gd name="T20" fmla="*/ 2147483647 w 118"/>
              <a:gd name="T21" fmla="*/ 2147483647 h 139"/>
              <a:gd name="T22" fmla="*/ 2147483647 w 118"/>
              <a:gd name="T23" fmla="*/ 2147483647 h 139"/>
              <a:gd name="T24" fmla="*/ 2147483647 w 118"/>
              <a:gd name="T25" fmla="*/ 2147483647 h 139"/>
              <a:gd name="T26" fmla="*/ 0 w 118"/>
              <a:gd name="T27" fmla="*/ 2147483647 h 139"/>
              <a:gd name="T28" fmla="*/ 2147483647 w 118"/>
              <a:gd name="T29" fmla="*/ 2147483647 h 139"/>
              <a:gd name="T30" fmla="*/ 2147483647 w 118"/>
              <a:gd name="T31" fmla="*/ 2147483647 h 139"/>
              <a:gd name="T32" fmla="*/ 2147483647 w 118"/>
              <a:gd name="T33" fmla="*/ 2147483647 h 139"/>
              <a:gd name="T34" fmla="*/ 2147483647 w 118"/>
              <a:gd name="T35" fmla="*/ 2147483647 h 139"/>
              <a:gd name="T36" fmla="*/ 2147483647 w 118"/>
              <a:gd name="T37" fmla="*/ 2147483647 h 139"/>
              <a:gd name="T38" fmla="*/ 2147483647 w 118"/>
              <a:gd name="T39" fmla="*/ 2147483647 h 139"/>
              <a:gd name="T40" fmla="*/ 2147483647 w 118"/>
              <a:gd name="T41" fmla="*/ 2147483647 h 139"/>
              <a:gd name="T42" fmla="*/ 2147483647 w 118"/>
              <a:gd name="T43" fmla="*/ 2147483647 h 139"/>
              <a:gd name="T44" fmla="*/ 2147483647 w 118"/>
              <a:gd name="T45" fmla="*/ 2147483647 h 139"/>
              <a:gd name="T46" fmla="*/ 2147483647 w 118"/>
              <a:gd name="T47" fmla="*/ 2147483647 h 139"/>
              <a:gd name="T48" fmla="*/ 2147483647 w 118"/>
              <a:gd name="T49" fmla="*/ 2147483647 h 139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18"/>
              <a:gd name="T76" fmla="*/ 0 h 139"/>
              <a:gd name="T77" fmla="*/ 118 w 118"/>
              <a:gd name="T78" fmla="*/ 139 h 139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18" h="139">
                <a:moveTo>
                  <a:pt x="105" y="19"/>
                </a:moveTo>
                <a:lnTo>
                  <a:pt x="96" y="0"/>
                </a:lnTo>
                <a:lnTo>
                  <a:pt x="86" y="10"/>
                </a:lnTo>
                <a:lnTo>
                  <a:pt x="60" y="10"/>
                </a:lnTo>
                <a:lnTo>
                  <a:pt x="51" y="15"/>
                </a:lnTo>
                <a:lnTo>
                  <a:pt x="46" y="12"/>
                </a:lnTo>
                <a:lnTo>
                  <a:pt x="29" y="13"/>
                </a:lnTo>
                <a:lnTo>
                  <a:pt x="28" y="18"/>
                </a:lnTo>
                <a:lnTo>
                  <a:pt x="26" y="39"/>
                </a:lnTo>
                <a:lnTo>
                  <a:pt x="38" y="50"/>
                </a:lnTo>
                <a:lnTo>
                  <a:pt x="23" y="67"/>
                </a:lnTo>
                <a:lnTo>
                  <a:pt x="9" y="82"/>
                </a:lnTo>
                <a:lnTo>
                  <a:pt x="5" y="110"/>
                </a:lnTo>
                <a:lnTo>
                  <a:pt x="0" y="139"/>
                </a:lnTo>
                <a:lnTo>
                  <a:pt x="6" y="139"/>
                </a:lnTo>
                <a:lnTo>
                  <a:pt x="20" y="130"/>
                </a:lnTo>
                <a:lnTo>
                  <a:pt x="39" y="130"/>
                </a:lnTo>
                <a:lnTo>
                  <a:pt x="57" y="129"/>
                </a:lnTo>
                <a:lnTo>
                  <a:pt x="76" y="129"/>
                </a:lnTo>
                <a:lnTo>
                  <a:pt x="95" y="129"/>
                </a:lnTo>
                <a:lnTo>
                  <a:pt x="94" y="102"/>
                </a:lnTo>
                <a:lnTo>
                  <a:pt x="110" y="76"/>
                </a:lnTo>
                <a:lnTo>
                  <a:pt x="118" y="57"/>
                </a:lnTo>
                <a:lnTo>
                  <a:pt x="112" y="38"/>
                </a:lnTo>
                <a:lnTo>
                  <a:pt x="105" y="19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20" name="Freeform 127"/>
          <p:cNvSpPr>
            <a:spLocks/>
          </p:cNvSpPr>
          <p:nvPr/>
        </p:nvSpPr>
        <p:spPr bwMode="auto">
          <a:xfrm>
            <a:off x="4770438" y="4565650"/>
            <a:ext cx="558800" cy="639763"/>
          </a:xfrm>
          <a:custGeom>
            <a:avLst/>
            <a:gdLst>
              <a:gd name="T0" fmla="*/ 2147483647 w 419"/>
              <a:gd name="T1" fmla="*/ 2147483647 h 465"/>
              <a:gd name="T2" fmla="*/ 2147483647 w 419"/>
              <a:gd name="T3" fmla="*/ 2147483647 h 465"/>
              <a:gd name="T4" fmla="*/ 2147483647 w 419"/>
              <a:gd name="T5" fmla="*/ 2147483647 h 465"/>
              <a:gd name="T6" fmla="*/ 2147483647 w 419"/>
              <a:gd name="T7" fmla="*/ 2147483647 h 465"/>
              <a:gd name="T8" fmla="*/ 2147483647 w 419"/>
              <a:gd name="T9" fmla="*/ 2147483647 h 465"/>
              <a:gd name="T10" fmla="*/ 2147483647 w 419"/>
              <a:gd name="T11" fmla="*/ 2147483647 h 465"/>
              <a:gd name="T12" fmla="*/ 2147483647 w 419"/>
              <a:gd name="T13" fmla="*/ 2147483647 h 465"/>
              <a:gd name="T14" fmla="*/ 2147483647 w 419"/>
              <a:gd name="T15" fmla="*/ 2147483647 h 465"/>
              <a:gd name="T16" fmla="*/ 2147483647 w 419"/>
              <a:gd name="T17" fmla="*/ 2147483647 h 465"/>
              <a:gd name="T18" fmla="*/ 2147483647 w 419"/>
              <a:gd name="T19" fmla="*/ 2147483647 h 465"/>
              <a:gd name="T20" fmla="*/ 2147483647 w 419"/>
              <a:gd name="T21" fmla="*/ 2147483647 h 465"/>
              <a:gd name="T22" fmla="*/ 2147483647 w 419"/>
              <a:gd name="T23" fmla="*/ 2147483647 h 465"/>
              <a:gd name="T24" fmla="*/ 2147483647 w 419"/>
              <a:gd name="T25" fmla="*/ 2147483647 h 465"/>
              <a:gd name="T26" fmla="*/ 2147483647 w 419"/>
              <a:gd name="T27" fmla="*/ 2147483647 h 465"/>
              <a:gd name="T28" fmla="*/ 2147483647 w 419"/>
              <a:gd name="T29" fmla="*/ 2147483647 h 465"/>
              <a:gd name="T30" fmla="*/ 2147483647 w 419"/>
              <a:gd name="T31" fmla="*/ 2147483647 h 465"/>
              <a:gd name="T32" fmla="*/ 2147483647 w 419"/>
              <a:gd name="T33" fmla="*/ 2147483647 h 465"/>
              <a:gd name="T34" fmla="*/ 2147483647 w 419"/>
              <a:gd name="T35" fmla="*/ 2147483647 h 465"/>
              <a:gd name="T36" fmla="*/ 2147483647 w 419"/>
              <a:gd name="T37" fmla="*/ 2147483647 h 465"/>
              <a:gd name="T38" fmla="*/ 2147483647 w 419"/>
              <a:gd name="T39" fmla="*/ 2147483647 h 465"/>
              <a:gd name="T40" fmla="*/ 2147483647 w 419"/>
              <a:gd name="T41" fmla="*/ 2147483647 h 465"/>
              <a:gd name="T42" fmla="*/ 2147483647 w 419"/>
              <a:gd name="T43" fmla="*/ 2147483647 h 465"/>
              <a:gd name="T44" fmla="*/ 2147483647 w 419"/>
              <a:gd name="T45" fmla="*/ 2147483647 h 465"/>
              <a:gd name="T46" fmla="*/ 2147483647 w 419"/>
              <a:gd name="T47" fmla="*/ 2147483647 h 465"/>
              <a:gd name="T48" fmla="*/ 2147483647 w 419"/>
              <a:gd name="T49" fmla="*/ 2147483647 h 465"/>
              <a:gd name="T50" fmla="*/ 0 w 419"/>
              <a:gd name="T51" fmla="*/ 2147483647 h 465"/>
              <a:gd name="T52" fmla="*/ 2147483647 w 419"/>
              <a:gd name="T53" fmla="*/ 2147483647 h 465"/>
              <a:gd name="T54" fmla="*/ 2147483647 w 419"/>
              <a:gd name="T55" fmla="*/ 2147483647 h 465"/>
              <a:gd name="T56" fmla="*/ 2147483647 w 419"/>
              <a:gd name="T57" fmla="*/ 2147483647 h 465"/>
              <a:gd name="T58" fmla="*/ 2147483647 w 419"/>
              <a:gd name="T59" fmla="*/ 2147483647 h 465"/>
              <a:gd name="T60" fmla="*/ 2147483647 w 419"/>
              <a:gd name="T61" fmla="*/ 2147483647 h 465"/>
              <a:gd name="T62" fmla="*/ 2147483647 w 419"/>
              <a:gd name="T63" fmla="*/ 2147483647 h 465"/>
              <a:gd name="T64" fmla="*/ 2147483647 w 419"/>
              <a:gd name="T65" fmla="*/ 2147483647 h 465"/>
              <a:gd name="T66" fmla="*/ 2147483647 w 419"/>
              <a:gd name="T67" fmla="*/ 2147483647 h 465"/>
              <a:gd name="T68" fmla="*/ 2147483647 w 419"/>
              <a:gd name="T69" fmla="*/ 2147483647 h 465"/>
              <a:gd name="T70" fmla="*/ 2147483647 w 419"/>
              <a:gd name="T71" fmla="*/ 2147483647 h 465"/>
              <a:gd name="T72" fmla="*/ 2147483647 w 419"/>
              <a:gd name="T73" fmla="*/ 2147483647 h 465"/>
              <a:gd name="T74" fmla="*/ 2147483647 w 419"/>
              <a:gd name="T75" fmla="*/ 2147483647 h 465"/>
              <a:gd name="T76" fmla="*/ 2147483647 w 419"/>
              <a:gd name="T77" fmla="*/ 2147483647 h 465"/>
              <a:gd name="T78" fmla="*/ 2147483647 w 419"/>
              <a:gd name="T79" fmla="*/ 0 h 465"/>
              <a:gd name="T80" fmla="*/ 2147483647 w 419"/>
              <a:gd name="T81" fmla="*/ 2147483647 h 465"/>
              <a:gd name="T82" fmla="*/ 2147483647 w 419"/>
              <a:gd name="T83" fmla="*/ 2147483647 h 465"/>
              <a:gd name="T84" fmla="*/ 2147483647 w 419"/>
              <a:gd name="T85" fmla="*/ 2147483647 h 465"/>
              <a:gd name="T86" fmla="*/ 2147483647 w 419"/>
              <a:gd name="T87" fmla="*/ 2147483647 h 465"/>
              <a:gd name="T88" fmla="*/ 2147483647 w 419"/>
              <a:gd name="T89" fmla="*/ 2147483647 h 465"/>
              <a:gd name="T90" fmla="*/ 2147483647 w 419"/>
              <a:gd name="T91" fmla="*/ 2147483647 h 465"/>
              <a:gd name="T92" fmla="*/ 2147483647 w 419"/>
              <a:gd name="T93" fmla="*/ 2147483647 h 465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419"/>
              <a:gd name="T142" fmla="*/ 0 h 465"/>
              <a:gd name="T143" fmla="*/ 419 w 419"/>
              <a:gd name="T144" fmla="*/ 465 h 465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419" h="465">
                <a:moveTo>
                  <a:pt x="381" y="166"/>
                </a:moveTo>
                <a:lnTo>
                  <a:pt x="372" y="183"/>
                </a:lnTo>
                <a:lnTo>
                  <a:pt x="366" y="198"/>
                </a:lnTo>
                <a:lnTo>
                  <a:pt x="367" y="198"/>
                </a:lnTo>
                <a:lnTo>
                  <a:pt x="368" y="199"/>
                </a:lnTo>
                <a:lnTo>
                  <a:pt x="368" y="201"/>
                </a:lnTo>
                <a:lnTo>
                  <a:pt x="373" y="221"/>
                </a:lnTo>
                <a:lnTo>
                  <a:pt x="377" y="241"/>
                </a:lnTo>
                <a:lnTo>
                  <a:pt x="378" y="259"/>
                </a:lnTo>
                <a:lnTo>
                  <a:pt x="378" y="277"/>
                </a:lnTo>
                <a:lnTo>
                  <a:pt x="386" y="299"/>
                </a:lnTo>
                <a:lnTo>
                  <a:pt x="396" y="316"/>
                </a:lnTo>
                <a:lnTo>
                  <a:pt x="404" y="334"/>
                </a:lnTo>
                <a:lnTo>
                  <a:pt x="385" y="339"/>
                </a:lnTo>
                <a:lnTo>
                  <a:pt x="365" y="343"/>
                </a:lnTo>
                <a:lnTo>
                  <a:pt x="353" y="361"/>
                </a:lnTo>
                <a:lnTo>
                  <a:pt x="356" y="383"/>
                </a:lnTo>
                <a:lnTo>
                  <a:pt x="355" y="405"/>
                </a:lnTo>
                <a:lnTo>
                  <a:pt x="353" y="425"/>
                </a:lnTo>
                <a:lnTo>
                  <a:pt x="374" y="441"/>
                </a:lnTo>
                <a:lnTo>
                  <a:pt x="381" y="432"/>
                </a:lnTo>
                <a:lnTo>
                  <a:pt x="377" y="465"/>
                </a:lnTo>
                <a:lnTo>
                  <a:pt x="372" y="462"/>
                </a:lnTo>
                <a:lnTo>
                  <a:pt x="362" y="462"/>
                </a:lnTo>
                <a:lnTo>
                  <a:pt x="344" y="438"/>
                </a:lnTo>
                <a:lnTo>
                  <a:pt x="331" y="429"/>
                </a:lnTo>
                <a:lnTo>
                  <a:pt x="321" y="419"/>
                </a:lnTo>
                <a:lnTo>
                  <a:pt x="313" y="429"/>
                </a:lnTo>
                <a:lnTo>
                  <a:pt x="284" y="418"/>
                </a:lnTo>
                <a:lnTo>
                  <a:pt x="281" y="411"/>
                </a:lnTo>
                <a:lnTo>
                  <a:pt x="264" y="413"/>
                </a:lnTo>
                <a:lnTo>
                  <a:pt x="255" y="401"/>
                </a:lnTo>
                <a:lnTo>
                  <a:pt x="237" y="405"/>
                </a:lnTo>
                <a:lnTo>
                  <a:pt x="219" y="408"/>
                </a:lnTo>
                <a:lnTo>
                  <a:pt x="218" y="399"/>
                </a:lnTo>
                <a:lnTo>
                  <a:pt x="211" y="373"/>
                </a:lnTo>
                <a:lnTo>
                  <a:pt x="211" y="345"/>
                </a:lnTo>
                <a:lnTo>
                  <a:pt x="210" y="316"/>
                </a:lnTo>
                <a:lnTo>
                  <a:pt x="181" y="312"/>
                </a:lnTo>
                <a:lnTo>
                  <a:pt x="182" y="306"/>
                </a:lnTo>
                <a:lnTo>
                  <a:pt x="159" y="305"/>
                </a:lnTo>
                <a:lnTo>
                  <a:pt x="155" y="327"/>
                </a:lnTo>
                <a:lnTo>
                  <a:pt x="128" y="333"/>
                </a:lnTo>
                <a:lnTo>
                  <a:pt x="112" y="327"/>
                </a:lnTo>
                <a:lnTo>
                  <a:pt x="104" y="303"/>
                </a:lnTo>
                <a:lnTo>
                  <a:pt x="96" y="280"/>
                </a:lnTo>
                <a:lnTo>
                  <a:pt x="76" y="279"/>
                </a:lnTo>
                <a:lnTo>
                  <a:pt x="58" y="279"/>
                </a:lnTo>
                <a:lnTo>
                  <a:pt x="39" y="277"/>
                </a:lnTo>
                <a:lnTo>
                  <a:pt x="20" y="276"/>
                </a:lnTo>
                <a:lnTo>
                  <a:pt x="3" y="279"/>
                </a:lnTo>
                <a:lnTo>
                  <a:pt x="0" y="275"/>
                </a:lnTo>
                <a:lnTo>
                  <a:pt x="7" y="273"/>
                </a:lnTo>
                <a:lnTo>
                  <a:pt x="8" y="253"/>
                </a:lnTo>
                <a:lnTo>
                  <a:pt x="19" y="246"/>
                </a:lnTo>
                <a:lnTo>
                  <a:pt x="30" y="250"/>
                </a:lnTo>
                <a:lnTo>
                  <a:pt x="36" y="243"/>
                </a:lnTo>
                <a:lnTo>
                  <a:pt x="49" y="241"/>
                </a:lnTo>
                <a:lnTo>
                  <a:pt x="51" y="252"/>
                </a:lnTo>
                <a:lnTo>
                  <a:pt x="68" y="235"/>
                </a:lnTo>
                <a:lnTo>
                  <a:pt x="85" y="220"/>
                </a:lnTo>
                <a:lnTo>
                  <a:pt x="87" y="201"/>
                </a:lnTo>
                <a:lnTo>
                  <a:pt x="91" y="181"/>
                </a:lnTo>
                <a:lnTo>
                  <a:pt x="106" y="161"/>
                </a:lnTo>
                <a:lnTo>
                  <a:pt x="121" y="141"/>
                </a:lnTo>
                <a:lnTo>
                  <a:pt x="124" y="121"/>
                </a:lnTo>
                <a:lnTo>
                  <a:pt x="128" y="103"/>
                </a:lnTo>
                <a:lnTo>
                  <a:pt x="130" y="84"/>
                </a:lnTo>
                <a:lnTo>
                  <a:pt x="134" y="66"/>
                </a:lnTo>
                <a:lnTo>
                  <a:pt x="140" y="45"/>
                </a:lnTo>
                <a:lnTo>
                  <a:pt x="139" y="25"/>
                </a:lnTo>
                <a:lnTo>
                  <a:pt x="157" y="4"/>
                </a:lnTo>
                <a:lnTo>
                  <a:pt x="180" y="17"/>
                </a:lnTo>
                <a:lnTo>
                  <a:pt x="200" y="23"/>
                </a:lnTo>
                <a:lnTo>
                  <a:pt x="222" y="29"/>
                </a:lnTo>
                <a:lnTo>
                  <a:pt x="231" y="13"/>
                </a:lnTo>
                <a:lnTo>
                  <a:pt x="241" y="15"/>
                </a:lnTo>
                <a:lnTo>
                  <a:pt x="264" y="7"/>
                </a:lnTo>
                <a:lnTo>
                  <a:pt x="279" y="7"/>
                </a:lnTo>
                <a:lnTo>
                  <a:pt x="288" y="0"/>
                </a:lnTo>
                <a:lnTo>
                  <a:pt x="305" y="1"/>
                </a:lnTo>
                <a:lnTo>
                  <a:pt x="321" y="4"/>
                </a:lnTo>
                <a:lnTo>
                  <a:pt x="333" y="6"/>
                </a:lnTo>
                <a:lnTo>
                  <a:pt x="339" y="12"/>
                </a:lnTo>
                <a:lnTo>
                  <a:pt x="356" y="23"/>
                </a:lnTo>
                <a:lnTo>
                  <a:pt x="369" y="21"/>
                </a:lnTo>
                <a:lnTo>
                  <a:pt x="378" y="15"/>
                </a:lnTo>
                <a:lnTo>
                  <a:pt x="393" y="30"/>
                </a:lnTo>
                <a:lnTo>
                  <a:pt x="409" y="45"/>
                </a:lnTo>
                <a:lnTo>
                  <a:pt x="407" y="66"/>
                </a:lnTo>
                <a:lnTo>
                  <a:pt x="419" y="77"/>
                </a:lnTo>
                <a:lnTo>
                  <a:pt x="404" y="94"/>
                </a:lnTo>
                <a:lnTo>
                  <a:pt x="390" y="109"/>
                </a:lnTo>
                <a:lnTo>
                  <a:pt x="386" y="137"/>
                </a:lnTo>
                <a:lnTo>
                  <a:pt x="381" y="166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321" name="Freeform 128"/>
          <p:cNvSpPr>
            <a:spLocks/>
          </p:cNvSpPr>
          <p:nvPr/>
        </p:nvSpPr>
        <p:spPr bwMode="auto">
          <a:xfrm>
            <a:off x="5049838" y="5022850"/>
            <a:ext cx="341312" cy="338138"/>
          </a:xfrm>
          <a:custGeom>
            <a:avLst/>
            <a:gdLst>
              <a:gd name="T0" fmla="*/ 2147483647 w 258"/>
              <a:gd name="T1" fmla="*/ 2147483647 h 246"/>
              <a:gd name="T2" fmla="*/ 2147483647 w 258"/>
              <a:gd name="T3" fmla="*/ 2147483647 h 246"/>
              <a:gd name="T4" fmla="*/ 2147483647 w 258"/>
              <a:gd name="T5" fmla="*/ 2147483647 h 246"/>
              <a:gd name="T6" fmla="*/ 2147483647 w 258"/>
              <a:gd name="T7" fmla="*/ 2147483647 h 246"/>
              <a:gd name="T8" fmla="*/ 2147483647 w 258"/>
              <a:gd name="T9" fmla="*/ 2147483647 h 246"/>
              <a:gd name="T10" fmla="*/ 2147483647 w 258"/>
              <a:gd name="T11" fmla="*/ 2147483647 h 246"/>
              <a:gd name="T12" fmla="*/ 0 w 258"/>
              <a:gd name="T13" fmla="*/ 2147483647 h 246"/>
              <a:gd name="T14" fmla="*/ 2147483647 w 258"/>
              <a:gd name="T15" fmla="*/ 2147483647 h 246"/>
              <a:gd name="T16" fmla="*/ 2147483647 w 258"/>
              <a:gd name="T17" fmla="*/ 2147483647 h 246"/>
              <a:gd name="T18" fmla="*/ 2147483647 w 258"/>
              <a:gd name="T19" fmla="*/ 2147483647 h 246"/>
              <a:gd name="T20" fmla="*/ 2147483647 w 258"/>
              <a:gd name="T21" fmla="*/ 2147483647 h 246"/>
              <a:gd name="T22" fmla="*/ 2147483647 w 258"/>
              <a:gd name="T23" fmla="*/ 2147483647 h 246"/>
              <a:gd name="T24" fmla="*/ 2147483647 w 258"/>
              <a:gd name="T25" fmla="*/ 2147483647 h 246"/>
              <a:gd name="T26" fmla="*/ 2147483647 w 258"/>
              <a:gd name="T27" fmla="*/ 2147483647 h 246"/>
              <a:gd name="T28" fmla="*/ 2147483647 w 258"/>
              <a:gd name="T29" fmla="*/ 2147483647 h 246"/>
              <a:gd name="T30" fmla="*/ 2147483647 w 258"/>
              <a:gd name="T31" fmla="*/ 2147483647 h 246"/>
              <a:gd name="T32" fmla="*/ 2147483647 w 258"/>
              <a:gd name="T33" fmla="*/ 2147483647 h 246"/>
              <a:gd name="T34" fmla="*/ 2147483647 w 258"/>
              <a:gd name="T35" fmla="*/ 2147483647 h 246"/>
              <a:gd name="T36" fmla="*/ 2147483647 w 258"/>
              <a:gd name="T37" fmla="*/ 2147483647 h 246"/>
              <a:gd name="T38" fmla="*/ 2147483647 w 258"/>
              <a:gd name="T39" fmla="*/ 2147483647 h 246"/>
              <a:gd name="T40" fmla="*/ 2147483647 w 258"/>
              <a:gd name="T41" fmla="*/ 2147483647 h 246"/>
              <a:gd name="T42" fmla="*/ 2147483647 w 258"/>
              <a:gd name="T43" fmla="*/ 2147483647 h 246"/>
              <a:gd name="T44" fmla="*/ 2147483647 w 258"/>
              <a:gd name="T45" fmla="*/ 2147483647 h 246"/>
              <a:gd name="T46" fmla="*/ 2147483647 w 258"/>
              <a:gd name="T47" fmla="*/ 2147483647 h 246"/>
              <a:gd name="T48" fmla="*/ 2147483647 w 258"/>
              <a:gd name="T49" fmla="*/ 2147483647 h 246"/>
              <a:gd name="T50" fmla="*/ 2147483647 w 258"/>
              <a:gd name="T51" fmla="*/ 2147483647 h 246"/>
              <a:gd name="T52" fmla="*/ 2147483647 w 258"/>
              <a:gd name="T53" fmla="*/ 2147483647 h 246"/>
              <a:gd name="T54" fmla="*/ 2147483647 w 258"/>
              <a:gd name="T55" fmla="*/ 2147483647 h 246"/>
              <a:gd name="T56" fmla="*/ 2147483647 w 258"/>
              <a:gd name="T57" fmla="*/ 2147483647 h 246"/>
              <a:gd name="T58" fmla="*/ 2147483647 w 258"/>
              <a:gd name="T59" fmla="*/ 2147483647 h 246"/>
              <a:gd name="T60" fmla="*/ 2147483647 w 258"/>
              <a:gd name="T61" fmla="*/ 2147483647 h 246"/>
              <a:gd name="T62" fmla="*/ 2147483647 w 258"/>
              <a:gd name="T63" fmla="*/ 2147483647 h 246"/>
              <a:gd name="T64" fmla="*/ 2147483647 w 258"/>
              <a:gd name="T65" fmla="*/ 0 h 246"/>
              <a:gd name="T66" fmla="*/ 2147483647 w 258"/>
              <a:gd name="T67" fmla="*/ 2147483647 h 246"/>
              <a:gd name="T68" fmla="*/ 2147483647 w 258"/>
              <a:gd name="T69" fmla="*/ 2147483647 h 246"/>
              <a:gd name="T70" fmla="*/ 2147483647 w 258"/>
              <a:gd name="T71" fmla="*/ 2147483647 h 246"/>
              <a:gd name="T72" fmla="*/ 2147483647 w 258"/>
              <a:gd name="T73" fmla="*/ 2147483647 h 246"/>
              <a:gd name="T74" fmla="*/ 2147483647 w 258"/>
              <a:gd name="T75" fmla="*/ 2147483647 h 246"/>
              <a:gd name="T76" fmla="*/ 2147483647 w 258"/>
              <a:gd name="T77" fmla="*/ 2147483647 h 246"/>
              <a:gd name="T78" fmla="*/ 2147483647 w 258"/>
              <a:gd name="T79" fmla="*/ 2147483647 h 246"/>
              <a:gd name="T80" fmla="*/ 2147483647 w 258"/>
              <a:gd name="T81" fmla="*/ 2147483647 h 246"/>
              <a:gd name="T82" fmla="*/ 2147483647 w 258"/>
              <a:gd name="T83" fmla="*/ 2147483647 h 246"/>
              <a:gd name="T84" fmla="*/ 2147483647 w 258"/>
              <a:gd name="T85" fmla="*/ 2147483647 h 246"/>
              <a:gd name="T86" fmla="*/ 2147483647 w 258"/>
              <a:gd name="T87" fmla="*/ 2147483647 h 246"/>
              <a:gd name="T88" fmla="*/ 2147483647 w 258"/>
              <a:gd name="T89" fmla="*/ 2147483647 h 246"/>
              <a:gd name="T90" fmla="*/ 2147483647 w 258"/>
              <a:gd name="T91" fmla="*/ 2147483647 h 246"/>
              <a:gd name="T92" fmla="*/ 2147483647 w 258"/>
              <a:gd name="T93" fmla="*/ 2147483647 h 246"/>
              <a:gd name="T94" fmla="*/ 2147483647 w 258"/>
              <a:gd name="T95" fmla="*/ 2147483647 h 246"/>
              <a:gd name="T96" fmla="*/ 2147483647 w 258"/>
              <a:gd name="T97" fmla="*/ 2147483647 h 246"/>
              <a:gd name="T98" fmla="*/ 2147483647 w 258"/>
              <a:gd name="T99" fmla="*/ 2147483647 h 246"/>
              <a:gd name="T100" fmla="*/ 2147483647 w 258"/>
              <a:gd name="T101" fmla="*/ 2147483647 h 246"/>
              <a:gd name="T102" fmla="*/ 2147483647 w 258"/>
              <a:gd name="T103" fmla="*/ 2147483647 h 246"/>
              <a:gd name="T104" fmla="*/ 2147483647 w 258"/>
              <a:gd name="T105" fmla="*/ 2147483647 h 246"/>
              <a:gd name="T106" fmla="*/ 2147483647 w 258"/>
              <a:gd name="T107" fmla="*/ 2147483647 h 24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58"/>
              <a:gd name="T163" fmla="*/ 0 h 246"/>
              <a:gd name="T164" fmla="*/ 258 w 258"/>
              <a:gd name="T165" fmla="*/ 246 h 24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58" h="246">
                <a:moveTo>
                  <a:pt x="45" y="119"/>
                </a:moveTo>
                <a:lnTo>
                  <a:pt x="24" y="119"/>
                </a:lnTo>
                <a:lnTo>
                  <a:pt x="2" y="120"/>
                </a:lnTo>
                <a:lnTo>
                  <a:pt x="2" y="139"/>
                </a:lnTo>
                <a:lnTo>
                  <a:pt x="1" y="159"/>
                </a:lnTo>
                <a:lnTo>
                  <a:pt x="1" y="179"/>
                </a:lnTo>
                <a:lnTo>
                  <a:pt x="0" y="198"/>
                </a:lnTo>
                <a:lnTo>
                  <a:pt x="15" y="217"/>
                </a:lnTo>
                <a:lnTo>
                  <a:pt x="31" y="235"/>
                </a:lnTo>
                <a:lnTo>
                  <a:pt x="45" y="231"/>
                </a:lnTo>
                <a:lnTo>
                  <a:pt x="69" y="239"/>
                </a:lnTo>
                <a:lnTo>
                  <a:pt x="100" y="246"/>
                </a:lnTo>
                <a:lnTo>
                  <a:pt x="121" y="228"/>
                </a:lnTo>
                <a:lnTo>
                  <a:pt x="144" y="209"/>
                </a:lnTo>
                <a:lnTo>
                  <a:pt x="151" y="193"/>
                </a:lnTo>
                <a:lnTo>
                  <a:pt x="166" y="189"/>
                </a:lnTo>
                <a:lnTo>
                  <a:pt x="183" y="185"/>
                </a:lnTo>
                <a:lnTo>
                  <a:pt x="180" y="171"/>
                </a:lnTo>
                <a:lnTo>
                  <a:pt x="195" y="165"/>
                </a:lnTo>
                <a:lnTo>
                  <a:pt x="212" y="158"/>
                </a:lnTo>
                <a:lnTo>
                  <a:pt x="229" y="152"/>
                </a:lnTo>
                <a:lnTo>
                  <a:pt x="246" y="145"/>
                </a:lnTo>
                <a:lnTo>
                  <a:pt x="235" y="134"/>
                </a:lnTo>
                <a:lnTo>
                  <a:pt x="247" y="110"/>
                </a:lnTo>
                <a:lnTo>
                  <a:pt x="250" y="103"/>
                </a:lnTo>
                <a:lnTo>
                  <a:pt x="252" y="84"/>
                </a:lnTo>
                <a:lnTo>
                  <a:pt x="252" y="65"/>
                </a:lnTo>
                <a:lnTo>
                  <a:pt x="258" y="56"/>
                </a:lnTo>
                <a:lnTo>
                  <a:pt x="244" y="36"/>
                </a:lnTo>
                <a:lnTo>
                  <a:pt x="242" y="30"/>
                </a:lnTo>
                <a:lnTo>
                  <a:pt x="219" y="18"/>
                </a:lnTo>
                <a:lnTo>
                  <a:pt x="196" y="5"/>
                </a:lnTo>
                <a:lnTo>
                  <a:pt x="195" y="0"/>
                </a:lnTo>
                <a:lnTo>
                  <a:pt x="176" y="5"/>
                </a:lnTo>
                <a:lnTo>
                  <a:pt x="156" y="9"/>
                </a:lnTo>
                <a:lnTo>
                  <a:pt x="144" y="27"/>
                </a:lnTo>
                <a:lnTo>
                  <a:pt x="147" y="49"/>
                </a:lnTo>
                <a:lnTo>
                  <a:pt x="146" y="71"/>
                </a:lnTo>
                <a:lnTo>
                  <a:pt x="144" y="91"/>
                </a:lnTo>
                <a:lnTo>
                  <a:pt x="165" y="107"/>
                </a:lnTo>
                <a:lnTo>
                  <a:pt x="172" y="98"/>
                </a:lnTo>
                <a:lnTo>
                  <a:pt x="168" y="131"/>
                </a:lnTo>
                <a:lnTo>
                  <a:pt x="163" y="128"/>
                </a:lnTo>
                <a:lnTo>
                  <a:pt x="153" y="128"/>
                </a:lnTo>
                <a:lnTo>
                  <a:pt x="135" y="104"/>
                </a:lnTo>
                <a:lnTo>
                  <a:pt x="122" y="95"/>
                </a:lnTo>
                <a:lnTo>
                  <a:pt x="112" y="85"/>
                </a:lnTo>
                <a:lnTo>
                  <a:pt x="104" y="95"/>
                </a:lnTo>
                <a:lnTo>
                  <a:pt x="75" y="84"/>
                </a:lnTo>
                <a:lnTo>
                  <a:pt x="72" y="77"/>
                </a:lnTo>
                <a:lnTo>
                  <a:pt x="55" y="79"/>
                </a:lnTo>
                <a:lnTo>
                  <a:pt x="46" y="67"/>
                </a:lnTo>
                <a:lnTo>
                  <a:pt x="46" y="92"/>
                </a:lnTo>
                <a:lnTo>
                  <a:pt x="45" y="119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22" name="Freeform 129"/>
          <p:cNvSpPr>
            <a:spLocks/>
          </p:cNvSpPr>
          <p:nvPr/>
        </p:nvSpPr>
        <p:spPr bwMode="auto">
          <a:xfrm>
            <a:off x="5141913" y="5278438"/>
            <a:ext cx="220662" cy="231775"/>
          </a:xfrm>
          <a:custGeom>
            <a:avLst/>
            <a:gdLst>
              <a:gd name="T0" fmla="*/ 2147483647 w 167"/>
              <a:gd name="T1" fmla="*/ 2147483647 h 169"/>
              <a:gd name="T2" fmla="*/ 2147483647 w 167"/>
              <a:gd name="T3" fmla="*/ 2147483647 h 169"/>
              <a:gd name="T4" fmla="*/ 2147483647 w 167"/>
              <a:gd name="T5" fmla="*/ 2147483647 h 169"/>
              <a:gd name="T6" fmla="*/ 2147483647 w 167"/>
              <a:gd name="T7" fmla="*/ 2147483647 h 169"/>
              <a:gd name="T8" fmla="*/ 2147483647 w 167"/>
              <a:gd name="T9" fmla="*/ 2147483647 h 169"/>
              <a:gd name="T10" fmla="*/ 2147483647 w 167"/>
              <a:gd name="T11" fmla="*/ 2147483647 h 169"/>
              <a:gd name="T12" fmla="*/ 2147483647 w 167"/>
              <a:gd name="T13" fmla="*/ 2147483647 h 169"/>
              <a:gd name="T14" fmla="*/ 2147483647 w 167"/>
              <a:gd name="T15" fmla="*/ 2147483647 h 169"/>
              <a:gd name="T16" fmla="*/ 0 w 167"/>
              <a:gd name="T17" fmla="*/ 2147483647 h 169"/>
              <a:gd name="T18" fmla="*/ 2147483647 w 167"/>
              <a:gd name="T19" fmla="*/ 2147483647 h 169"/>
              <a:gd name="T20" fmla="*/ 2147483647 w 167"/>
              <a:gd name="T21" fmla="*/ 2147483647 h 169"/>
              <a:gd name="T22" fmla="*/ 2147483647 w 167"/>
              <a:gd name="T23" fmla="*/ 2147483647 h 169"/>
              <a:gd name="T24" fmla="*/ 2147483647 w 167"/>
              <a:gd name="T25" fmla="*/ 2147483647 h 169"/>
              <a:gd name="T26" fmla="*/ 2147483647 w 167"/>
              <a:gd name="T27" fmla="*/ 2147483647 h 169"/>
              <a:gd name="T28" fmla="*/ 2147483647 w 167"/>
              <a:gd name="T29" fmla="*/ 0 h 169"/>
              <a:gd name="T30" fmla="*/ 2147483647 w 167"/>
              <a:gd name="T31" fmla="*/ 2147483647 h 169"/>
              <a:gd name="T32" fmla="*/ 2147483647 w 167"/>
              <a:gd name="T33" fmla="*/ 2147483647 h 169"/>
              <a:gd name="T34" fmla="*/ 2147483647 w 167"/>
              <a:gd name="T35" fmla="*/ 2147483647 h 169"/>
              <a:gd name="T36" fmla="*/ 2147483647 w 167"/>
              <a:gd name="T37" fmla="*/ 2147483647 h 169"/>
              <a:gd name="T38" fmla="*/ 2147483647 w 167"/>
              <a:gd name="T39" fmla="*/ 2147483647 h 169"/>
              <a:gd name="T40" fmla="*/ 2147483647 w 167"/>
              <a:gd name="T41" fmla="*/ 2147483647 h 169"/>
              <a:gd name="T42" fmla="*/ 2147483647 w 167"/>
              <a:gd name="T43" fmla="*/ 2147483647 h 169"/>
              <a:gd name="T44" fmla="*/ 2147483647 w 167"/>
              <a:gd name="T45" fmla="*/ 2147483647 h 169"/>
              <a:gd name="T46" fmla="*/ 2147483647 w 167"/>
              <a:gd name="T47" fmla="*/ 2147483647 h 169"/>
              <a:gd name="T48" fmla="*/ 2147483647 w 167"/>
              <a:gd name="T49" fmla="*/ 2147483647 h 169"/>
              <a:gd name="T50" fmla="*/ 2147483647 w 167"/>
              <a:gd name="T51" fmla="*/ 2147483647 h 169"/>
              <a:gd name="T52" fmla="*/ 2147483647 w 167"/>
              <a:gd name="T53" fmla="*/ 2147483647 h 169"/>
              <a:gd name="T54" fmla="*/ 2147483647 w 167"/>
              <a:gd name="T55" fmla="*/ 2147483647 h 169"/>
              <a:gd name="T56" fmla="*/ 2147483647 w 167"/>
              <a:gd name="T57" fmla="*/ 2147483647 h 16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67"/>
              <a:gd name="T88" fmla="*/ 0 h 169"/>
              <a:gd name="T89" fmla="*/ 167 w 167"/>
              <a:gd name="T90" fmla="*/ 169 h 169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67" h="169">
                <a:moveTo>
                  <a:pt x="83" y="160"/>
                </a:moveTo>
                <a:lnTo>
                  <a:pt x="77" y="157"/>
                </a:lnTo>
                <a:lnTo>
                  <a:pt x="58" y="147"/>
                </a:lnTo>
                <a:lnTo>
                  <a:pt x="51" y="127"/>
                </a:lnTo>
                <a:lnTo>
                  <a:pt x="46" y="120"/>
                </a:lnTo>
                <a:lnTo>
                  <a:pt x="41" y="115"/>
                </a:lnTo>
                <a:lnTo>
                  <a:pt x="25" y="102"/>
                </a:lnTo>
                <a:lnTo>
                  <a:pt x="13" y="78"/>
                </a:lnTo>
                <a:lnTo>
                  <a:pt x="0" y="54"/>
                </a:lnTo>
                <a:lnTo>
                  <a:pt x="31" y="61"/>
                </a:lnTo>
                <a:lnTo>
                  <a:pt x="52" y="43"/>
                </a:lnTo>
                <a:lnTo>
                  <a:pt x="75" y="24"/>
                </a:lnTo>
                <a:lnTo>
                  <a:pt x="82" y="8"/>
                </a:lnTo>
                <a:lnTo>
                  <a:pt x="97" y="4"/>
                </a:lnTo>
                <a:lnTo>
                  <a:pt x="114" y="0"/>
                </a:lnTo>
                <a:lnTo>
                  <a:pt x="113" y="9"/>
                </a:lnTo>
                <a:lnTo>
                  <a:pt x="125" y="9"/>
                </a:lnTo>
                <a:lnTo>
                  <a:pt x="145" y="18"/>
                </a:lnTo>
                <a:lnTo>
                  <a:pt x="167" y="27"/>
                </a:lnTo>
                <a:lnTo>
                  <a:pt x="167" y="57"/>
                </a:lnTo>
                <a:lnTo>
                  <a:pt x="162" y="78"/>
                </a:lnTo>
                <a:lnTo>
                  <a:pt x="165" y="100"/>
                </a:lnTo>
                <a:lnTo>
                  <a:pt x="157" y="122"/>
                </a:lnTo>
                <a:lnTo>
                  <a:pt x="153" y="142"/>
                </a:lnTo>
                <a:lnTo>
                  <a:pt x="139" y="156"/>
                </a:lnTo>
                <a:lnTo>
                  <a:pt x="125" y="169"/>
                </a:lnTo>
                <a:lnTo>
                  <a:pt x="105" y="165"/>
                </a:lnTo>
                <a:lnTo>
                  <a:pt x="84" y="163"/>
                </a:lnTo>
                <a:lnTo>
                  <a:pt x="83" y="16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323" name="Freeform 130"/>
          <p:cNvSpPr>
            <a:spLocks/>
          </p:cNvSpPr>
          <p:nvPr/>
        </p:nvSpPr>
        <p:spPr bwMode="auto">
          <a:xfrm>
            <a:off x="3108325" y="5773738"/>
            <a:ext cx="141288" cy="161925"/>
          </a:xfrm>
          <a:custGeom>
            <a:avLst/>
            <a:gdLst>
              <a:gd name="T0" fmla="*/ 2147483647 w 106"/>
              <a:gd name="T1" fmla="*/ 2147483647 h 118"/>
              <a:gd name="T2" fmla="*/ 2147483647 w 106"/>
              <a:gd name="T3" fmla="*/ 2147483647 h 118"/>
              <a:gd name="T4" fmla="*/ 2147483647 w 106"/>
              <a:gd name="T5" fmla="*/ 2147483647 h 118"/>
              <a:gd name="T6" fmla="*/ 2147483647 w 106"/>
              <a:gd name="T7" fmla="*/ 2147483647 h 118"/>
              <a:gd name="T8" fmla="*/ 2147483647 w 106"/>
              <a:gd name="T9" fmla="*/ 2147483647 h 118"/>
              <a:gd name="T10" fmla="*/ 2147483647 w 106"/>
              <a:gd name="T11" fmla="*/ 0 h 118"/>
              <a:gd name="T12" fmla="*/ 2147483647 w 106"/>
              <a:gd name="T13" fmla="*/ 2147483647 h 118"/>
              <a:gd name="T14" fmla="*/ 2147483647 w 106"/>
              <a:gd name="T15" fmla="*/ 2147483647 h 118"/>
              <a:gd name="T16" fmla="*/ 2147483647 w 106"/>
              <a:gd name="T17" fmla="*/ 2147483647 h 118"/>
              <a:gd name="T18" fmla="*/ 0 w 106"/>
              <a:gd name="T19" fmla="*/ 2147483647 h 118"/>
              <a:gd name="T20" fmla="*/ 2147483647 w 106"/>
              <a:gd name="T21" fmla="*/ 2147483647 h 118"/>
              <a:gd name="T22" fmla="*/ 0 w 106"/>
              <a:gd name="T23" fmla="*/ 2147483647 h 118"/>
              <a:gd name="T24" fmla="*/ 2147483647 w 106"/>
              <a:gd name="T25" fmla="*/ 2147483647 h 118"/>
              <a:gd name="T26" fmla="*/ 2147483647 w 106"/>
              <a:gd name="T27" fmla="*/ 2147483647 h 118"/>
              <a:gd name="T28" fmla="*/ 2147483647 w 106"/>
              <a:gd name="T29" fmla="*/ 2147483647 h 118"/>
              <a:gd name="T30" fmla="*/ 2147483647 w 106"/>
              <a:gd name="T31" fmla="*/ 2147483647 h 118"/>
              <a:gd name="T32" fmla="*/ 2147483647 w 106"/>
              <a:gd name="T33" fmla="*/ 2147483647 h 118"/>
              <a:gd name="T34" fmla="*/ 2147483647 w 106"/>
              <a:gd name="T35" fmla="*/ 2147483647 h 118"/>
              <a:gd name="T36" fmla="*/ 2147483647 w 106"/>
              <a:gd name="T37" fmla="*/ 2147483647 h 118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06"/>
              <a:gd name="T58" fmla="*/ 0 h 118"/>
              <a:gd name="T59" fmla="*/ 106 w 106"/>
              <a:gd name="T60" fmla="*/ 118 h 118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06" h="118">
                <a:moveTo>
                  <a:pt x="104" y="61"/>
                </a:moveTo>
                <a:lnTo>
                  <a:pt x="82" y="44"/>
                </a:lnTo>
                <a:lnTo>
                  <a:pt x="59" y="28"/>
                </a:lnTo>
                <a:lnTo>
                  <a:pt x="46" y="20"/>
                </a:lnTo>
                <a:lnTo>
                  <a:pt x="40" y="20"/>
                </a:lnTo>
                <a:lnTo>
                  <a:pt x="14" y="0"/>
                </a:lnTo>
                <a:lnTo>
                  <a:pt x="3" y="2"/>
                </a:lnTo>
                <a:lnTo>
                  <a:pt x="3" y="3"/>
                </a:lnTo>
                <a:lnTo>
                  <a:pt x="2" y="31"/>
                </a:lnTo>
                <a:lnTo>
                  <a:pt x="0" y="57"/>
                </a:lnTo>
                <a:lnTo>
                  <a:pt x="2" y="61"/>
                </a:lnTo>
                <a:lnTo>
                  <a:pt x="0" y="81"/>
                </a:lnTo>
                <a:lnTo>
                  <a:pt x="11" y="102"/>
                </a:lnTo>
                <a:lnTo>
                  <a:pt x="38" y="112"/>
                </a:lnTo>
                <a:lnTo>
                  <a:pt x="72" y="118"/>
                </a:lnTo>
                <a:lnTo>
                  <a:pt x="92" y="110"/>
                </a:lnTo>
                <a:lnTo>
                  <a:pt x="106" y="90"/>
                </a:lnTo>
                <a:lnTo>
                  <a:pt x="101" y="73"/>
                </a:lnTo>
                <a:lnTo>
                  <a:pt x="104" y="6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24" name="Freeform 131"/>
          <p:cNvSpPr>
            <a:spLocks/>
          </p:cNvSpPr>
          <p:nvPr/>
        </p:nvSpPr>
        <p:spPr bwMode="auto">
          <a:xfrm>
            <a:off x="2760663" y="5489575"/>
            <a:ext cx="446087" cy="1030288"/>
          </a:xfrm>
          <a:custGeom>
            <a:avLst/>
            <a:gdLst>
              <a:gd name="T0" fmla="*/ 2147483647 w 336"/>
              <a:gd name="T1" fmla="*/ 2147483647 h 751"/>
              <a:gd name="T2" fmla="*/ 2147483647 w 336"/>
              <a:gd name="T3" fmla="*/ 2147483647 h 751"/>
              <a:gd name="T4" fmla="*/ 2147483647 w 336"/>
              <a:gd name="T5" fmla="*/ 2147483647 h 751"/>
              <a:gd name="T6" fmla="*/ 2147483647 w 336"/>
              <a:gd name="T7" fmla="*/ 2147483647 h 751"/>
              <a:gd name="T8" fmla="*/ 2147483647 w 336"/>
              <a:gd name="T9" fmla="*/ 2147483647 h 751"/>
              <a:gd name="T10" fmla="*/ 2147483647 w 336"/>
              <a:gd name="T11" fmla="*/ 2147483647 h 751"/>
              <a:gd name="T12" fmla="*/ 2147483647 w 336"/>
              <a:gd name="T13" fmla="*/ 2147483647 h 751"/>
              <a:gd name="T14" fmla="*/ 2147483647 w 336"/>
              <a:gd name="T15" fmla="*/ 2147483647 h 751"/>
              <a:gd name="T16" fmla="*/ 2147483647 w 336"/>
              <a:gd name="T17" fmla="*/ 2147483647 h 751"/>
              <a:gd name="T18" fmla="*/ 2147483647 w 336"/>
              <a:gd name="T19" fmla="*/ 2147483647 h 751"/>
              <a:gd name="T20" fmla="*/ 2147483647 w 336"/>
              <a:gd name="T21" fmla="*/ 2147483647 h 751"/>
              <a:gd name="T22" fmla="*/ 2147483647 w 336"/>
              <a:gd name="T23" fmla="*/ 2147483647 h 751"/>
              <a:gd name="T24" fmla="*/ 2147483647 w 336"/>
              <a:gd name="T25" fmla="*/ 2147483647 h 751"/>
              <a:gd name="T26" fmla="*/ 2147483647 w 336"/>
              <a:gd name="T27" fmla="*/ 2147483647 h 751"/>
              <a:gd name="T28" fmla="*/ 2147483647 w 336"/>
              <a:gd name="T29" fmla="*/ 2147483647 h 751"/>
              <a:gd name="T30" fmla="*/ 2147483647 w 336"/>
              <a:gd name="T31" fmla="*/ 2147483647 h 751"/>
              <a:gd name="T32" fmla="*/ 2147483647 w 336"/>
              <a:gd name="T33" fmla="*/ 2147483647 h 751"/>
              <a:gd name="T34" fmla="*/ 2147483647 w 336"/>
              <a:gd name="T35" fmla="*/ 2147483647 h 751"/>
              <a:gd name="T36" fmla="*/ 2147483647 w 336"/>
              <a:gd name="T37" fmla="*/ 2147483647 h 751"/>
              <a:gd name="T38" fmla="*/ 2147483647 w 336"/>
              <a:gd name="T39" fmla="*/ 2147483647 h 751"/>
              <a:gd name="T40" fmla="*/ 2147483647 w 336"/>
              <a:gd name="T41" fmla="*/ 2147483647 h 751"/>
              <a:gd name="T42" fmla="*/ 2147483647 w 336"/>
              <a:gd name="T43" fmla="*/ 2147483647 h 751"/>
              <a:gd name="T44" fmla="*/ 2147483647 w 336"/>
              <a:gd name="T45" fmla="*/ 2147483647 h 751"/>
              <a:gd name="T46" fmla="*/ 2147483647 w 336"/>
              <a:gd name="T47" fmla="*/ 2147483647 h 751"/>
              <a:gd name="T48" fmla="*/ 2147483647 w 336"/>
              <a:gd name="T49" fmla="*/ 2147483647 h 751"/>
              <a:gd name="T50" fmla="*/ 2147483647 w 336"/>
              <a:gd name="T51" fmla="*/ 2147483647 h 751"/>
              <a:gd name="T52" fmla="*/ 2147483647 w 336"/>
              <a:gd name="T53" fmla="*/ 2147483647 h 751"/>
              <a:gd name="T54" fmla="*/ 2147483647 w 336"/>
              <a:gd name="T55" fmla="*/ 2147483647 h 751"/>
              <a:gd name="T56" fmla="*/ 2147483647 w 336"/>
              <a:gd name="T57" fmla="*/ 2147483647 h 751"/>
              <a:gd name="T58" fmla="*/ 2147483647 w 336"/>
              <a:gd name="T59" fmla="*/ 2147483647 h 751"/>
              <a:gd name="T60" fmla="*/ 2147483647 w 336"/>
              <a:gd name="T61" fmla="*/ 2147483647 h 751"/>
              <a:gd name="T62" fmla="*/ 2147483647 w 336"/>
              <a:gd name="T63" fmla="*/ 2147483647 h 751"/>
              <a:gd name="T64" fmla="*/ 2147483647 w 336"/>
              <a:gd name="T65" fmla="*/ 2147483647 h 751"/>
              <a:gd name="T66" fmla="*/ 2147483647 w 336"/>
              <a:gd name="T67" fmla="*/ 2147483647 h 751"/>
              <a:gd name="T68" fmla="*/ 2147483647 w 336"/>
              <a:gd name="T69" fmla="*/ 2147483647 h 751"/>
              <a:gd name="T70" fmla="*/ 2147483647 w 336"/>
              <a:gd name="T71" fmla="*/ 2147483647 h 751"/>
              <a:gd name="T72" fmla="*/ 2147483647 w 336"/>
              <a:gd name="T73" fmla="*/ 2147483647 h 751"/>
              <a:gd name="T74" fmla="*/ 2147483647 w 336"/>
              <a:gd name="T75" fmla="*/ 2147483647 h 751"/>
              <a:gd name="T76" fmla="*/ 2147483647 w 336"/>
              <a:gd name="T77" fmla="*/ 2147483647 h 751"/>
              <a:gd name="T78" fmla="*/ 2147483647 w 336"/>
              <a:gd name="T79" fmla="*/ 2147483647 h 751"/>
              <a:gd name="T80" fmla="*/ 2147483647 w 336"/>
              <a:gd name="T81" fmla="*/ 2147483647 h 751"/>
              <a:gd name="T82" fmla="*/ 2147483647 w 336"/>
              <a:gd name="T83" fmla="*/ 2147483647 h 751"/>
              <a:gd name="T84" fmla="*/ 2147483647 w 336"/>
              <a:gd name="T85" fmla="*/ 2147483647 h 751"/>
              <a:gd name="T86" fmla="*/ 2147483647 w 336"/>
              <a:gd name="T87" fmla="*/ 2147483647 h 751"/>
              <a:gd name="T88" fmla="*/ 2147483647 w 336"/>
              <a:gd name="T89" fmla="*/ 2147483647 h 751"/>
              <a:gd name="T90" fmla="*/ 2147483647 w 336"/>
              <a:gd name="T91" fmla="*/ 2147483647 h 751"/>
              <a:gd name="T92" fmla="*/ 2147483647 w 336"/>
              <a:gd name="T93" fmla="*/ 2147483647 h 751"/>
              <a:gd name="T94" fmla="*/ 2147483647 w 336"/>
              <a:gd name="T95" fmla="*/ 2147483647 h 751"/>
              <a:gd name="T96" fmla="*/ 2147483647 w 336"/>
              <a:gd name="T97" fmla="*/ 2147483647 h 751"/>
              <a:gd name="T98" fmla="*/ 2147483647 w 336"/>
              <a:gd name="T99" fmla="*/ 2147483647 h 751"/>
              <a:gd name="T100" fmla="*/ 2147483647 w 336"/>
              <a:gd name="T101" fmla="*/ 2147483647 h 751"/>
              <a:gd name="T102" fmla="*/ 2147483647 w 336"/>
              <a:gd name="T103" fmla="*/ 2147483647 h 751"/>
              <a:gd name="T104" fmla="*/ 2147483647 w 336"/>
              <a:gd name="T105" fmla="*/ 2147483647 h 751"/>
              <a:gd name="T106" fmla="*/ 2147483647 w 336"/>
              <a:gd name="T107" fmla="*/ 2147483647 h 751"/>
              <a:gd name="T108" fmla="*/ 2147483647 w 336"/>
              <a:gd name="T109" fmla="*/ 2147483647 h 751"/>
              <a:gd name="T110" fmla="*/ 2147483647 w 336"/>
              <a:gd name="T111" fmla="*/ 2147483647 h 751"/>
              <a:gd name="T112" fmla="*/ 2147483647 w 336"/>
              <a:gd name="T113" fmla="*/ 2147483647 h 751"/>
              <a:gd name="T114" fmla="*/ 2147483647 w 336"/>
              <a:gd name="T115" fmla="*/ 2147483647 h 751"/>
              <a:gd name="T116" fmla="*/ 2147483647 w 336"/>
              <a:gd name="T117" fmla="*/ 2147483647 h 751"/>
              <a:gd name="T118" fmla="*/ 2147483647 w 336"/>
              <a:gd name="T119" fmla="*/ 2147483647 h 751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336"/>
              <a:gd name="T181" fmla="*/ 0 h 751"/>
              <a:gd name="T182" fmla="*/ 336 w 336"/>
              <a:gd name="T183" fmla="*/ 751 h 751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336" h="751">
                <a:moveTo>
                  <a:pt x="216" y="477"/>
                </a:moveTo>
                <a:lnTo>
                  <a:pt x="187" y="477"/>
                </a:lnTo>
                <a:lnTo>
                  <a:pt x="165" y="472"/>
                </a:lnTo>
                <a:lnTo>
                  <a:pt x="182" y="505"/>
                </a:lnTo>
                <a:lnTo>
                  <a:pt x="188" y="508"/>
                </a:lnTo>
                <a:lnTo>
                  <a:pt x="196" y="507"/>
                </a:lnTo>
                <a:lnTo>
                  <a:pt x="202" y="503"/>
                </a:lnTo>
                <a:lnTo>
                  <a:pt x="208" y="521"/>
                </a:lnTo>
                <a:lnTo>
                  <a:pt x="196" y="517"/>
                </a:lnTo>
                <a:lnTo>
                  <a:pt x="182" y="517"/>
                </a:lnTo>
                <a:lnTo>
                  <a:pt x="198" y="525"/>
                </a:lnTo>
                <a:lnTo>
                  <a:pt x="183" y="544"/>
                </a:lnTo>
                <a:lnTo>
                  <a:pt x="184" y="564"/>
                </a:lnTo>
                <a:lnTo>
                  <a:pt x="182" y="575"/>
                </a:lnTo>
                <a:lnTo>
                  <a:pt x="159" y="586"/>
                </a:lnTo>
                <a:lnTo>
                  <a:pt x="160" y="609"/>
                </a:lnTo>
                <a:lnTo>
                  <a:pt x="192" y="625"/>
                </a:lnTo>
                <a:lnTo>
                  <a:pt x="204" y="631"/>
                </a:lnTo>
                <a:lnTo>
                  <a:pt x="196" y="643"/>
                </a:lnTo>
                <a:lnTo>
                  <a:pt x="204" y="646"/>
                </a:lnTo>
                <a:lnTo>
                  <a:pt x="193" y="661"/>
                </a:lnTo>
                <a:lnTo>
                  <a:pt x="182" y="677"/>
                </a:lnTo>
                <a:lnTo>
                  <a:pt x="181" y="696"/>
                </a:lnTo>
                <a:lnTo>
                  <a:pt x="170" y="693"/>
                </a:lnTo>
                <a:lnTo>
                  <a:pt x="165" y="695"/>
                </a:lnTo>
                <a:lnTo>
                  <a:pt x="176" y="700"/>
                </a:lnTo>
                <a:lnTo>
                  <a:pt x="166" y="713"/>
                </a:lnTo>
                <a:lnTo>
                  <a:pt x="166" y="719"/>
                </a:lnTo>
                <a:lnTo>
                  <a:pt x="176" y="733"/>
                </a:lnTo>
                <a:lnTo>
                  <a:pt x="171" y="733"/>
                </a:lnTo>
                <a:lnTo>
                  <a:pt x="184" y="739"/>
                </a:lnTo>
                <a:lnTo>
                  <a:pt x="196" y="751"/>
                </a:lnTo>
                <a:lnTo>
                  <a:pt x="164" y="743"/>
                </a:lnTo>
                <a:lnTo>
                  <a:pt x="126" y="739"/>
                </a:lnTo>
                <a:lnTo>
                  <a:pt x="114" y="729"/>
                </a:lnTo>
                <a:lnTo>
                  <a:pt x="102" y="709"/>
                </a:lnTo>
                <a:lnTo>
                  <a:pt x="90" y="711"/>
                </a:lnTo>
                <a:lnTo>
                  <a:pt x="72" y="678"/>
                </a:lnTo>
                <a:lnTo>
                  <a:pt x="84" y="664"/>
                </a:lnTo>
                <a:lnTo>
                  <a:pt x="80" y="631"/>
                </a:lnTo>
                <a:lnTo>
                  <a:pt x="76" y="604"/>
                </a:lnTo>
                <a:lnTo>
                  <a:pt x="74" y="585"/>
                </a:lnTo>
                <a:lnTo>
                  <a:pt x="69" y="574"/>
                </a:lnTo>
                <a:lnTo>
                  <a:pt x="61" y="569"/>
                </a:lnTo>
                <a:lnTo>
                  <a:pt x="74" y="564"/>
                </a:lnTo>
                <a:lnTo>
                  <a:pt x="58" y="555"/>
                </a:lnTo>
                <a:lnTo>
                  <a:pt x="49" y="528"/>
                </a:lnTo>
                <a:lnTo>
                  <a:pt x="38" y="515"/>
                </a:lnTo>
                <a:lnTo>
                  <a:pt x="38" y="495"/>
                </a:lnTo>
                <a:lnTo>
                  <a:pt x="30" y="462"/>
                </a:lnTo>
                <a:lnTo>
                  <a:pt x="27" y="436"/>
                </a:lnTo>
                <a:lnTo>
                  <a:pt x="32" y="420"/>
                </a:lnTo>
                <a:lnTo>
                  <a:pt x="28" y="406"/>
                </a:lnTo>
                <a:lnTo>
                  <a:pt x="22" y="385"/>
                </a:lnTo>
                <a:lnTo>
                  <a:pt x="16" y="364"/>
                </a:lnTo>
                <a:lnTo>
                  <a:pt x="27" y="348"/>
                </a:lnTo>
                <a:lnTo>
                  <a:pt x="22" y="331"/>
                </a:lnTo>
                <a:lnTo>
                  <a:pt x="25" y="300"/>
                </a:lnTo>
                <a:lnTo>
                  <a:pt x="20" y="286"/>
                </a:lnTo>
                <a:lnTo>
                  <a:pt x="9" y="265"/>
                </a:lnTo>
                <a:lnTo>
                  <a:pt x="0" y="245"/>
                </a:lnTo>
                <a:lnTo>
                  <a:pt x="1" y="229"/>
                </a:lnTo>
                <a:lnTo>
                  <a:pt x="3" y="214"/>
                </a:lnTo>
                <a:lnTo>
                  <a:pt x="2" y="196"/>
                </a:lnTo>
                <a:lnTo>
                  <a:pt x="2" y="178"/>
                </a:lnTo>
                <a:lnTo>
                  <a:pt x="10" y="155"/>
                </a:lnTo>
                <a:lnTo>
                  <a:pt x="20" y="133"/>
                </a:lnTo>
                <a:lnTo>
                  <a:pt x="26" y="126"/>
                </a:lnTo>
                <a:lnTo>
                  <a:pt x="18" y="112"/>
                </a:lnTo>
                <a:lnTo>
                  <a:pt x="14" y="77"/>
                </a:lnTo>
                <a:lnTo>
                  <a:pt x="18" y="65"/>
                </a:lnTo>
                <a:lnTo>
                  <a:pt x="37" y="55"/>
                </a:lnTo>
                <a:lnTo>
                  <a:pt x="40" y="30"/>
                </a:lnTo>
                <a:lnTo>
                  <a:pt x="36" y="25"/>
                </a:lnTo>
                <a:lnTo>
                  <a:pt x="54" y="0"/>
                </a:lnTo>
                <a:lnTo>
                  <a:pt x="58" y="3"/>
                </a:lnTo>
                <a:lnTo>
                  <a:pt x="85" y="9"/>
                </a:lnTo>
                <a:lnTo>
                  <a:pt x="96" y="23"/>
                </a:lnTo>
                <a:lnTo>
                  <a:pt x="103" y="9"/>
                </a:lnTo>
                <a:lnTo>
                  <a:pt x="128" y="5"/>
                </a:lnTo>
                <a:lnTo>
                  <a:pt x="132" y="11"/>
                </a:lnTo>
                <a:lnTo>
                  <a:pt x="153" y="31"/>
                </a:lnTo>
                <a:lnTo>
                  <a:pt x="175" y="52"/>
                </a:lnTo>
                <a:lnTo>
                  <a:pt x="193" y="59"/>
                </a:lnTo>
                <a:lnTo>
                  <a:pt x="211" y="67"/>
                </a:lnTo>
                <a:lnTo>
                  <a:pt x="230" y="79"/>
                </a:lnTo>
                <a:lnTo>
                  <a:pt x="249" y="90"/>
                </a:lnTo>
                <a:lnTo>
                  <a:pt x="241" y="114"/>
                </a:lnTo>
                <a:lnTo>
                  <a:pt x="233" y="137"/>
                </a:lnTo>
                <a:lnTo>
                  <a:pt x="258" y="139"/>
                </a:lnTo>
                <a:lnTo>
                  <a:pt x="283" y="141"/>
                </a:lnTo>
                <a:lnTo>
                  <a:pt x="297" y="136"/>
                </a:lnTo>
                <a:lnTo>
                  <a:pt x="314" y="109"/>
                </a:lnTo>
                <a:lnTo>
                  <a:pt x="313" y="94"/>
                </a:lnTo>
                <a:lnTo>
                  <a:pt x="326" y="94"/>
                </a:lnTo>
                <a:lnTo>
                  <a:pt x="336" y="126"/>
                </a:lnTo>
                <a:lnTo>
                  <a:pt x="323" y="138"/>
                </a:lnTo>
                <a:lnTo>
                  <a:pt x="309" y="150"/>
                </a:lnTo>
                <a:lnTo>
                  <a:pt x="297" y="165"/>
                </a:lnTo>
                <a:lnTo>
                  <a:pt x="285" y="179"/>
                </a:lnTo>
                <a:lnTo>
                  <a:pt x="275" y="193"/>
                </a:lnTo>
                <a:lnTo>
                  <a:pt x="264" y="208"/>
                </a:lnTo>
                <a:lnTo>
                  <a:pt x="264" y="210"/>
                </a:lnTo>
                <a:lnTo>
                  <a:pt x="263" y="238"/>
                </a:lnTo>
                <a:lnTo>
                  <a:pt x="261" y="264"/>
                </a:lnTo>
                <a:lnTo>
                  <a:pt x="264" y="281"/>
                </a:lnTo>
                <a:lnTo>
                  <a:pt x="259" y="291"/>
                </a:lnTo>
                <a:lnTo>
                  <a:pt x="269" y="319"/>
                </a:lnTo>
                <a:lnTo>
                  <a:pt x="297" y="340"/>
                </a:lnTo>
                <a:lnTo>
                  <a:pt x="299" y="357"/>
                </a:lnTo>
                <a:lnTo>
                  <a:pt x="313" y="367"/>
                </a:lnTo>
                <a:lnTo>
                  <a:pt x="305" y="388"/>
                </a:lnTo>
                <a:lnTo>
                  <a:pt x="296" y="409"/>
                </a:lnTo>
                <a:lnTo>
                  <a:pt x="278" y="414"/>
                </a:lnTo>
                <a:lnTo>
                  <a:pt x="261" y="419"/>
                </a:lnTo>
                <a:lnTo>
                  <a:pt x="243" y="423"/>
                </a:lnTo>
                <a:lnTo>
                  <a:pt x="227" y="427"/>
                </a:lnTo>
                <a:lnTo>
                  <a:pt x="210" y="425"/>
                </a:lnTo>
                <a:lnTo>
                  <a:pt x="214" y="435"/>
                </a:lnTo>
                <a:lnTo>
                  <a:pt x="221" y="465"/>
                </a:lnTo>
                <a:lnTo>
                  <a:pt x="216" y="47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25" name="Freeform 132"/>
          <p:cNvSpPr>
            <a:spLocks/>
          </p:cNvSpPr>
          <p:nvPr/>
        </p:nvSpPr>
        <p:spPr bwMode="auto">
          <a:xfrm>
            <a:off x="3022600" y="6532563"/>
            <a:ext cx="109538" cy="69850"/>
          </a:xfrm>
          <a:custGeom>
            <a:avLst/>
            <a:gdLst>
              <a:gd name="T0" fmla="*/ 2147483647 w 83"/>
              <a:gd name="T1" fmla="*/ 2147483647 h 52"/>
              <a:gd name="T2" fmla="*/ 0 w 83"/>
              <a:gd name="T3" fmla="*/ 0 h 52"/>
              <a:gd name="T4" fmla="*/ 2147483647 w 83"/>
              <a:gd name="T5" fmla="*/ 2147483647 h 52"/>
              <a:gd name="T6" fmla="*/ 2147483647 w 83"/>
              <a:gd name="T7" fmla="*/ 2147483647 h 52"/>
              <a:gd name="T8" fmla="*/ 2147483647 w 83"/>
              <a:gd name="T9" fmla="*/ 2147483647 h 52"/>
              <a:gd name="T10" fmla="*/ 2147483647 w 83"/>
              <a:gd name="T11" fmla="*/ 2147483647 h 52"/>
              <a:gd name="T12" fmla="*/ 2147483647 w 83"/>
              <a:gd name="T13" fmla="*/ 2147483647 h 52"/>
              <a:gd name="T14" fmla="*/ 2147483647 w 83"/>
              <a:gd name="T15" fmla="*/ 2147483647 h 52"/>
              <a:gd name="T16" fmla="*/ 2147483647 w 83"/>
              <a:gd name="T17" fmla="*/ 2147483647 h 5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83"/>
              <a:gd name="T28" fmla="*/ 0 h 52"/>
              <a:gd name="T29" fmla="*/ 83 w 83"/>
              <a:gd name="T30" fmla="*/ 52 h 5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83" h="52">
                <a:moveTo>
                  <a:pt x="6" y="9"/>
                </a:moveTo>
                <a:lnTo>
                  <a:pt x="0" y="0"/>
                </a:lnTo>
                <a:lnTo>
                  <a:pt x="11" y="26"/>
                </a:lnTo>
                <a:lnTo>
                  <a:pt x="22" y="52"/>
                </a:lnTo>
                <a:lnTo>
                  <a:pt x="52" y="52"/>
                </a:lnTo>
                <a:lnTo>
                  <a:pt x="83" y="52"/>
                </a:lnTo>
                <a:lnTo>
                  <a:pt x="80" y="46"/>
                </a:lnTo>
                <a:lnTo>
                  <a:pt x="37" y="32"/>
                </a:lnTo>
                <a:lnTo>
                  <a:pt x="6" y="9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26" name="Freeform 133"/>
          <p:cNvSpPr>
            <a:spLocks/>
          </p:cNvSpPr>
          <p:nvPr/>
        </p:nvSpPr>
        <p:spPr bwMode="auto">
          <a:xfrm>
            <a:off x="2701925" y="5341938"/>
            <a:ext cx="320675" cy="1228725"/>
          </a:xfrm>
          <a:custGeom>
            <a:avLst/>
            <a:gdLst>
              <a:gd name="T0" fmla="*/ 2147483647 w 241"/>
              <a:gd name="T1" fmla="*/ 2147483647 h 894"/>
              <a:gd name="T2" fmla="*/ 2147483647 w 241"/>
              <a:gd name="T3" fmla="*/ 2147483647 h 894"/>
              <a:gd name="T4" fmla="*/ 2147483647 w 241"/>
              <a:gd name="T5" fmla="*/ 2147483647 h 894"/>
              <a:gd name="T6" fmla="*/ 2147483647 w 241"/>
              <a:gd name="T7" fmla="*/ 2147483647 h 894"/>
              <a:gd name="T8" fmla="*/ 2147483647 w 241"/>
              <a:gd name="T9" fmla="*/ 2147483647 h 894"/>
              <a:gd name="T10" fmla="*/ 2147483647 w 241"/>
              <a:gd name="T11" fmla="*/ 2147483647 h 894"/>
              <a:gd name="T12" fmla="*/ 2147483647 w 241"/>
              <a:gd name="T13" fmla="*/ 2147483647 h 894"/>
              <a:gd name="T14" fmla="*/ 2147483647 w 241"/>
              <a:gd name="T15" fmla="*/ 2147483647 h 894"/>
              <a:gd name="T16" fmla="*/ 2147483647 w 241"/>
              <a:gd name="T17" fmla="*/ 2147483647 h 894"/>
              <a:gd name="T18" fmla="*/ 2147483647 w 241"/>
              <a:gd name="T19" fmla="*/ 2147483647 h 894"/>
              <a:gd name="T20" fmla="*/ 2147483647 w 241"/>
              <a:gd name="T21" fmla="*/ 2147483647 h 894"/>
              <a:gd name="T22" fmla="*/ 2147483647 w 241"/>
              <a:gd name="T23" fmla="*/ 2147483647 h 894"/>
              <a:gd name="T24" fmla="*/ 2147483647 w 241"/>
              <a:gd name="T25" fmla="*/ 2147483647 h 894"/>
              <a:gd name="T26" fmla="*/ 2147483647 w 241"/>
              <a:gd name="T27" fmla="*/ 2147483647 h 894"/>
              <a:gd name="T28" fmla="*/ 2147483647 w 241"/>
              <a:gd name="T29" fmla="*/ 2147483647 h 894"/>
              <a:gd name="T30" fmla="*/ 2147483647 w 241"/>
              <a:gd name="T31" fmla="*/ 2147483647 h 894"/>
              <a:gd name="T32" fmla="*/ 2147483647 w 241"/>
              <a:gd name="T33" fmla="*/ 2147483647 h 894"/>
              <a:gd name="T34" fmla="*/ 2147483647 w 241"/>
              <a:gd name="T35" fmla="*/ 2147483647 h 894"/>
              <a:gd name="T36" fmla="*/ 2147483647 w 241"/>
              <a:gd name="T37" fmla="*/ 2147483647 h 894"/>
              <a:gd name="T38" fmla="*/ 2147483647 w 241"/>
              <a:gd name="T39" fmla="*/ 2147483647 h 894"/>
              <a:gd name="T40" fmla="*/ 2147483647 w 241"/>
              <a:gd name="T41" fmla="*/ 2147483647 h 894"/>
              <a:gd name="T42" fmla="*/ 2147483647 w 241"/>
              <a:gd name="T43" fmla="*/ 2147483647 h 894"/>
              <a:gd name="T44" fmla="*/ 2147483647 w 241"/>
              <a:gd name="T45" fmla="*/ 2147483647 h 894"/>
              <a:gd name="T46" fmla="*/ 2147483647 w 241"/>
              <a:gd name="T47" fmla="*/ 2147483647 h 894"/>
              <a:gd name="T48" fmla="*/ 2147483647 w 241"/>
              <a:gd name="T49" fmla="*/ 2147483647 h 894"/>
              <a:gd name="T50" fmla="*/ 2147483647 w 241"/>
              <a:gd name="T51" fmla="*/ 2147483647 h 894"/>
              <a:gd name="T52" fmla="*/ 2147483647 w 241"/>
              <a:gd name="T53" fmla="*/ 2147483647 h 894"/>
              <a:gd name="T54" fmla="*/ 2147483647 w 241"/>
              <a:gd name="T55" fmla="*/ 2147483647 h 894"/>
              <a:gd name="T56" fmla="*/ 2147483647 w 241"/>
              <a:gd name="T57" fmla="*/ 2147483647 h 894"/>
              <a:gd name="T58" fmla="*/ 2147483647 w 241"/>
              <a:gd name="T59" fmla="*/ 2147483647 h 894"/>
              <a:gd name="T60" fmla="*/ 2147483647 w 241"/>
              <a:gd name="T61" fmla="*/ 2147483647 h 894"/>
              <a:gd name="T62" fmla="*/ 2147483647 w 241"/>
              <a:gd name="T63" fmla="*/ 2147483647 h 894"/>
              <a:gd name="T64" fmla="*/ 2147483647 w 241"/>
              <a:gd name="T65" fmla="*/ 2147483647 h 894"/>
              <a:gd name="T66" fmla="*/ 2147483647 w 241"/>
              <a:gd name="T67" fmla="*/ 2147483647 h 894"/>
              <a:gd name="T68" fmla="*/ 2147483647 w 241"/>
              <a:gd name="T69" fmla="*/ 2147483647 h 894"/>
              <a:gd name="T70" fmla="*/ 2147483647 w 241"/>
              <a:gd name="T71" fmla="*/ 2147483647 h 894"/>
              <a:gd name="T72" fmla="*/ 2147483647 w 241"/>
              <a:gd name="T73" fmla="*/ 2147483647 h 894"/>
              <a:gd name="T74" fmla="*/ 2147483647 w 241"/>
              <a:gd name="T75" fmla="*/ 2147483647 h 894"/>
              <a:gd name="T76" fmla="*/ 2147483647 w 241"/>
              <a:gd name="T77" fmla="*/ 2147483647 h 894"/>
              <a:gd name="T78" fmla="*/ 2147483647 w 241"/>
              <a:gd name="T79" fmla="*/ 2147483647 h 894"/>
              <a:gd name="T80" fmla="*/ 2147483647 w 241"/>
              <a:gd name="T81" fmla="*/ 2147483647 h 894"/>
              <a:gd name="T82" fmla="*/ 2147483647 w 241"/>
              <a:gd name="T83" fmla="*/ 2147483647 h 894"/>
              <a:gd name="T84" fmla="*/ 2147483647 w 241"/>
              <a:gd name="T85" fmla="*/ 2147483647 h 894"/>
              <a:gd name="T86" fmla="*/ 2147483647 w 241"/>
              <a:gd name="T87" fmla="*/ 2147483647 h 894"/>
              <a:gd name="T88" fmla="*/ 2147483647 w 241"/>
              <a:gd name="T89" fmla="*/ 2147483647 h 894"/>
              <a:gd name="T90" fmla="*/ 2147483647 w 241"/>
              <a:gd name="T91" fmla="*/ 2147483647 h 894"/>
              <a:gd name="T92" fmla="*/ 2147483647 w 241"/>
              <a:gd name="T93" fmla="*/ 2147483647 h 89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241"/>
              <a:gd name="T142" fmla="*/ 0 h 894"/>
              <a:gd name="T143" fmla="*/ 241 w 241"/>
              <a:gd name="T144" fmla="*/ 894 h 894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241" h="894">
                <a:moveTo>
                  <a:pt x="16" y="318"/>
                </a:moveTo>
                <a:lnTo>
                  <a:pt x="21" y="336"/>
                </a:lnTo>
                <a:lnTo>
                  <a:pt x="24" y="354"/>
                </a:lnTo>
                <a:lnTo>
                  <a:pt x="28" y="374"/>
                </a:lnTo>
                <a:lnTo>
                  <a:pt x="30" y="393"/>
                </a:lnTo>
                <a:lnTo>
                  <a:pt x="27" y="414"/>
                </a:lnTo>
                <a:lnTo>
                  <a:pt x="24" y="437"/>
                </a:lnTo>
                <a:lnTo>
                  <a:pt x="23" y="459"/>
                </a:lnTo>
                <a:lnTo>
                  <a:pt x="21" y="480"/>
                </a:lnTo>
                <a:lnTo>
                  <a:pt x="16" y="489"/>
                </a:lnTo>
                <a:lnTo>
                  <a:pt x="23" y="510"/>
                </a:lnTo>
                <a:lnTo>
                  <a:pt x="30" y="531"/>
                </a:lnTo>
                <a:lnTo>
                  <a:pt x="36" y="555"/>
                </a:lnTo>
                <a:lnTo>
                  <a:pt x="34" y="576"/>
                </a:lnTo>
                <a:lnTo>
                  <a:pt x="46" y="598"/>
                </a:lnTo>
                <a:lnTo>
                  <a:pt x="48" y="602"/>
                </a:lnTo>
                <a:lnTo>
                  <a:pt x="57" y="597"/>
                </a:lnTo>
                <a:lnTo>
                  <a:pt x="64" y="598"/>
                </a:lnTo>
                <a:lnTo>
                  <a:pt x="70" y="594"/>
                </a:lnTo>
                <a:lnTo>
                  <a:pt x="67" y="608"/>
                </a:lnTo>
                <a:lnTo>
                  <a:pt x="75" y="615"/>
                </a:lnTo>
                <a:lnTo>
                  <a:pt x="71" y="612"/>
                </a:lnTo>
                <a:lnTo>
                  <a:pt x="72" y="620"/>
                </a:lnTo>
                <a:lnTo>
                  <a:pt x="75" y="634"/>
                </a:lnTo>
                <a:lnTo>
                  <a:pt x="76" y="650"/>
                </a:lnTo>
                <a:lnTo>
                  <a:pt x="76" y="659"/>
                </a:lnTo>
                <a:lnTo>
                  <a:pt x="88" y="669"/>
                </a:lnTo>
                <a:lnTo>
                  <a:pt x="82" y="684"/>
                </a:lnTo>
                <a:lnTo>
                  <a:pt x="88" y="690"/>
                </a:lnTo>
                <a:lnTo>
                  <a:pt x="83" y="690"/>
                </a:lnTo>
                <a:lnTo>
                  <a:pt x="83" y="698"/>
                </a:lnTo>
                <a:lnTo>
                  <a:pt x="84" y="698"/>
                </a:lnTo>
                <a:lnTo>
                  <a:pt x="85" y="711"/>
                </a:lnTo>
                <a:lnTo>
                  <a:pt x="87" y="708"/>
                </a:lnTo>
                <a:lnTo>
                  <a:pt x="81" y="719"/>
                </a:lnTo>
                <a:lnTo>
                  <a:pt x="79" y="712"/>
                </a:lnTo>
                <a:lnTo>
                  <a:pt x="71" y="711"/>
                </a:lnTo>
                <a:lnTo>
                  <a:pt x="72" y="702"/>
                </a:lnTo>
                <a:lnTo>
                  <a:pt x="67" y="704"/>
                </a:lnTo>
                <a:lnTo>
                  <a:pt x="61" y="705"/>
                </a:lnTo>
                <a:lnTo>
                  <a:pt x="51" y="725"/>
                </a:lnTo>
                <a:lnTo>
                  <a:pt x="54" y="724"/>
                </a:lnTo>
                <a:lnTo>
                  <a:pt x="61" y="719"/>
                </a:lnTo>
                <a:lnTo>
                  <a:pt x="73" y="724"/>
                </a:lnTo>
                <a:lnTo>
                  <a:pt x="88" y="736"/>
                </a:lnTo>
                <a:lnTo>
                  <a:pt x="82" y="741"/>
                </a:lnTo>
                <a:lnTo>
                  <a:pt x="87" y="744"/>
                </a:lnTo>
                <a:lnTo>
                  <a:pt x="78" y="748"/>
                </a:lnTo>
                <a:lnTo>
                  <a:pt x="95" y="747"/>
                </a:lnTo>
                <a:lnTo>
                  <a:pt x="97" y="744"/>
                </a:lnTo>
                <a:lnTo>
                  <a:pt x="105" y="754"/>
                </a:lnTo>
                <a:lnTo>
                  <a:pt x="105" y="760"/>
                </a:lnTo>
                <a:lnTo>
                  <a:pt x="90" y="756"/>
                </a:lnTo>
                <a:lnTo>
                  <a:pt x="84" y="755"/>
                </a:lnTo>
                <a:lnTo>
                  <a:pt x="94" y="771"/>
                </a:lnTo>
                <a:lnTo>
                  <a:pt x="103" y="788"/>
                </a:lnTo>
                <a:lnTo>
                  <a:pt x="105" y="796"/>
                </a:lnTo>
                <a:lnTo>
                  <a:pt x="108" y="804"/>
                </a:lnTo>
                <a:lnTo>
                  <a:pt x="105" y="807"/>
                </a:lnTo>
                <a:lnTo>
                  <a:pt x="115" y="814"/>
                </a:lnTo>
                <a:lnTo>
                  <a:pt x="123" y="824"/>
                </a:lnTo>
                <a:lnTo>
                  <a:pt x="121" y="828"/>
                </a:lnTo>
                <a:lnTo>
                  <a:pt x="131" y="834"/>
                </a:lnTo>
                <a:lnTo>
                  <a:pt x="136" y="840"/>
                </a:lnTo>
                <a:lnTo>
                  <a:pt x="131" y="838"/>
                </a:lnTo>
                <a:lnTo>
                  <a:pt x="142" y="848"/>
                </a:lnTo>
                <a:lnTo>
                  <a:pt x="142" y="854"/>
                </a:lnTo>
                <a:lnTo>
                  <a:pt x="150" y="864"/>
                </a:lnTo>
                <a:lnTo>
                  <a:pt x="154" y="869"/>
                </a:lnTo>
                <a:lnTo>
                  <a:pt x="163" y="875"/>
                </a:lnTo>
                <a:lnTo>
                  <a:pt x="167" y="878"/>
                </a:lnTo>
                <a:lnTo>
                  <a:pt x="163" y="880"/>
                </a:lnTo>
                <a:lnTo>
                  <a:pt x="175" y="884"/>
                </a:lnTo>
                <a:lnTo>
                  <a:pt x="204" y="894"/>
                </a:lnTo>
                <a:lnTo>
                  <a:pt x="205" y="866"/>
                </a:lnTo>
                <a:lnTo>
                  <a:pt x="221" y="856"/>
                </a:lnTo>
                <a:lnTo>
                  <a:pt x="241" y="858"/>
                </a:lnTo>
                <a:lnTo>
                  <a:pt x="209" y="850"/>
                </a:lnTo>
                <a:lnTo>
                  <a:pt x="171" y="846"/>
                </a:lnTo>
                <a:lnTo>
                  <a:pt x="159" y="836"/>
                </a:lnTo>
                <a:lnTo>
                  <a:pt x="147" y="816"/>
                </a:lnTo>
                <a:lnTo>
                  <a:pt x="135" y="818"/>
                </a:lnTo>
                <a:lnTo>
                  <a:pt x="117" y="785"/>
                </a:lnTo>
                <a:lnTo>
                  <a:pt x="129" y="771"/>
                </a:lnTo>
                <a:lnTo>
                  <a:pt x="125" y="738"/>
                </a:lnTo>
                <a:lnTo>
                  <a:pt x="121" y="711"/>
                </a:lnTo>
                <a:lnTo>
                  <a:pt x="119" y="692"/>
                </a:lnTo>
                <a:lnTo>
                  <a:pt x="114" y="681"/>
                </a:lnTo>
                <a:lnTo>
                  <a:pt x="106" y="676"/>
                </a:lnTo>
                <a:lnTo>
                  <a:pt x="119" y="671"/>
                </a:lnTo>
                <a:lnTo>
                  <a:pt x="103" y="662"/>
                </a:lnTo>
                <a:lnTo>
                  <a:pt x="94" y="635"/>
                </a:lnTo>
                <a:lnTo>
                  <a:pt x="83" y="622"/>
                </a:lnTo>
                <a:lnTo>
                  <a:pt x="83" y="602"/>
                </a:lnTo>
                <a:lnTo>
                  <a:pt x="75" y="569"/>
                </a:lnTo>
                <a:lnTo>
                  <a:pt x="72" y="543"/>
                </a:lnTo>
                <a:lnTo>
                  <a:pt x="77" y="527"/>
                </a:lnTo>
                <a:lnTo>
                  <a:pt x="73" y="513"/>
                </a:lnTo>
                <a:lnTo>
                  <a:pt x="67" y="492"/>
                </a:lnTo>
                <a:lnTo>
                  <a:pt x="61" y="471"/>
                </a:lnTo>
                <a:lnTo>
                  <a:pt x="72" y="455"/>
                </a:lnTo>
                <a:lnTo>
                  <a:pt x="67" y="438"/>
                </a:lnTo>
                <a:lnTo>
                  <a:pt x="70" y="407"/>
                </a:lnTo>
                <a:lnTo>
                  <a:pt x="65" y="393"/>
                </a:lnTo>
                <a:lnTo>
                  <a:pt x="54" y="372"/>
                </a:lnTo>
                <a:lnTo>
                  <a:pt x="45" y="352"/>
                </a:lnTo>
                <a:lnTo>
                  <a:pt x="46" y="336"/>
                </a:lnTo>
                <a:lnTo>
                  <a:pt x="48" y="321"/>
                </a:lnTo>
                <a:lnTo>
                  <a:pt x="47" y="303"/>
                </a:lnTo>
                <a:lnTo>
                  <a:pt x="47" y="285"/>
                </a:lnTo>
                <a:lnTo>
                  <a:pt x="55" y="262"/>
                </a:lnTo>
                <a:lnTo>
                  <a:pt x="65" y="240"/>
                </a:lnTo>
                <a:lnTo>
                  <a:pt x="71" y="233"/>
                </a:lnTo>
                <a:lnTo>
                  <a:pt x="63" y="219"/>
                </a:lnTo>
                <a:lnTo>
                  <a:pt x="59" y="184"/>
                </a:lnTo>
                <a:lnTo>
                  <a:pt x="63" y="172"/>
                </a:lnTo>
                <a:lnTo>
                  <a:pt x="82" y="162"/>
                </a:lnTo>
                <a:lnTo>
                  <a:pt x="85" y="137"/>
                </a:lnTo>
                <a:lnTo>
                  <a:pt x="81" y="132"/>
                </a:lnTo>
                <a:lnTo>
                  <a:pt x="66" y="130"/>
                </a:lnTo>
                <a:lnTo>
                  <a:pt x="57" y="107"/>
                </a:lnTo>
                <a:lnTo>
                  <a:pt x="48" y="86"/>
                </a:lnTo>
                <a:lnTo>
                  <a:pt x="42" y="64"/>
                </a:lnTo>
                <a:lnTo>
                  <a:pt x="42" y="46"/>
                </a:lnTo>
                <a:lnTo>
                  <a:pt x="30" y="29"/>
                </a:lnTo>
                <a:lnTo>
                  <a:pt x="24" y="12"/>
                </a:lnTo>
                <a:lnTo>
                  <a:pt x="18" y="0"/>
                </a:lnTo>
                <a:lnTo>
                  <a:pt x="12" y="10"/>
                </a:lnTo>
                <a:lnTo>
                  <a:pt x="5" y="21"/>
                </a:lnTo>
                <a:lnTo>
                  <a:pt x="0" y="22"/>
                </a:lnTo>
                <a:lnTo>
                  <a:pt x="6" y="53"/>
                </a:lnTo>
                <a:lnTo>
                  <a:pt x="12" y="84"/>
                </a:lnTo>
                <a:lnTo>
                  <a:pt x="12" y="112"/>
                </a:lnTo>
                <a:lnTo>
                  <a:pt x="11" y="138"/>
                </a:lnTo>
                <a:lnTo>
                  <a:pt x="11" y="149"/>
                </a:lnTo>
                <a:lnTo>
                  <a:pt x="15" y="180"/>
                </a:lnTo>
                <a:lnTo>
                  <a:pt x="16" y="208"/>
                </a:lnTo>
                <a:lnTo>
                  <a:pt x="15" y="243"/>
                </a:lnTo>
                <a:lnTo>
                  <a:pt x="15" y="278"/>
                </a:lnTo>
                <a:lnTo>
                  <a:pt x="16" y="293"/>
                </a:lnTo>
                <a:lnTo>
                  <a:pt x="16" y="31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27" name="Freeform 134"/>
          <p:cNvSpPr>
            <a:spLocks/>
          </p:cNvSpPr>
          <p:nvPr/>
        </p:nvSpPr>
        <p:spPr bwMode="auto">
          <a:xfrm>
            <a:off x="2968625" y="6526213"/>
            <a:ext cx="84138" cy="76200"/>
          </a:xfrm>
          <a:custGeom>
            <a:avLst/>
            <a:gdLst>
              <a:gd name="T0" fmla="*/ 2147483647 w 64"/>
              <a:gd name="T1" fmla="*/ 2147483647 h 56"/>
              <a:gd name="T2" fmla="*/ 2147483647 w 64"/>
              <a:gd name="T3" fmla="*/ 2147483647 h 56"/>
              <a:gd name="T4" fmla="*/ 2147483647 w 64"/>
              <a:gd name="T5" fmla="*/ 2147483647 h 56"/>
              <a:gd name="T6" fmla="*/ 2147483647 w 64"/>
              <a:gd name="T7" fmla="*/ 2147483647 h 56"/>
              <a:gd name="T8" fmla="*/ 2147483647 w 64"/>
              <a:gd name="T9" fmla="*/ 2147483647 h 56"/>
              <a:gd name="T10" fmla="*/ 2147483647 w 64"/>
              <a:gd name="T11" fmla="*/ 2147483647 h 56"/>
              <a:gd name="T12" fmla="*/ 2147483647 w 64"/>
              <a:gd name="T13" fmla="*/ 2147483647 h 56"/>
              <a:gd name="T14" fmla="*/ 0 w 64"/>
              <a:gd name="T15" fmla="*/ 2147483647 h 56"/>
              <a:gd name="T16" fmla="*/ 2147483647 w 64"/>
              <a:gd name="T17" fmla="*/ 2147483647 h 56"/>
              <a:gd name="T18" fmla="*/ 2147483647 w 64"/>
              <a:gd name="T19" fmla="*/ 2147483647 h 56"/>
              <a:gd name="T20" fmla="*/ 2147483647 w 64"/>
              <a:gd name="T21" fmla="*/ 2147483647 h 56"/>
              <a:gd name="T22" fmla="*/ 2147483647 w 64"/>
              <a:gd name="T23" fmla="*/ 2147483647 h 56"/>
              <a:gd name="T24" fmla="*/ 2147483647 w 64"/>
              <a:gd name="T25" fmla="*/ 2147483647 h 56"/>
              <a:gd name="T26" fmla="*/ 2147483647 w 64"/>
              <a:gd name="T27" fmla="*/ 2147483647 h 56"/>
              <a:gd name="T28" fmla="*/ 2147483647 w 64"/>
              <a:gd name="T29" fmla="*/ 2147483647 h 56"/>
              <a:gd name="T30" fmla="*/ 2147483647 w 64"/>
              <a:gd name="T31" fmla="*/ 2147483647 h 56"/>
              <a:gd name="T32" fmla="*/ 2147483647 w 64"/>
              <a:gd name="T33" fmla="*/ 2147483647 h 56"/>
              <a:gd name="T34" fmla="*/ 2147483647 w 64"/>
              <a:gd name="T35" fmla="*/ 2147483647 h 56"/>
              <a:gd name="T36" fmla="*/ 2147483647 w 64"/>
              <a:gd name="T37" fmla="*/ 2147483647 h 56"/>
              <a:gd name="T38" fmla="*/ 2147483647 w 64"/>
              <a:gd name="T39" fmla="*/ 2147483647 h 56"/>
              <a:gd name="T40" fmla="*/ 2147483647 w 64"/>
              <a:gd name="T41" fmla="*/ 2147483647 h 56"/>
              <a:gd name="T42" fmla="*/ 2147483647 w 64"/>
              <a:gd name="T43" fmla="*/ 0 h 56"/>
              <a:gd name="T44" fmla="*/ 2147483647 w 64"/>
              <a:gd name="T45" fmla="*/ 2147483647 h 5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64"/>
              <a:gd name="T70" fmla="*/ 0 h 56"/>
              <a:gd name="T71" fmla="*/ 64 w 64"/>
              <a:gd name="T72" fmla="*/ 56 h 5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64" h="56">
                <a:moveTo>
                  <a:pt x="42" y="4"/>
                </a:moveTo>
                <a:lnTo>
                  <a:pt x="53" y="30"/>
                </a:lnTo>
                <a:lnTo>
                  <a:pt x="64" y="56"/>
                </a:lnTo>
                <a:lnTo>
                  <a:pt x="57" y="54"/>
                </a:lnTo>
                <a:lnTo>
                  <a:pt x="48" y="55"/>
                </a:lnTo>
                <a:lnTo>
                  <a:pt x="26" y="53"/>
                </a:lnTo>
                <a:lnTo>
                  <a:pt x="18" y="52"/>
                </a:lnTo>
                <a:lnTo>
                  <a:pt x="0" y="49"/>
                </a:lnTo>
                <a:lnTo>
                  <a:pt x="5" y="48"/>
                </a:lnTo>
                <a:lnTo>
                  <a:pt x="16" y="43"/>
                </a:lnTo>
                <a:lnTo>
                  <a:pt x="22" y="48"/>
                </a:lnTo>
                <a:lnTo>
                  <a:pt x="28" y="48"/>
                </a:lnTo>
                <a:lnTo>
                  <a:pt x="17" y="42"/>
                </a:lnTo>
                <a:lnTo>
                  <a:pt x="30" y="44"/>
                </a:lnTo>
                <a:lnTo>
                  <a:pt x="38" y="46"/>
                </a:lnTo>
                <a:lnTo>
                  <a:pt x="48" y="48"/>
                </a:lnTo>
                <a:lnTo>
                  <a:pt x="51" y="48"/>
                </a:lnTo>
                <a:lnTo>
                  <a:pt x="27" y="34"/>
                </a:lnTo>
                <a:lnTo>
                  <a:pt x="36" y="23"/>
                </a:lnTo>
                <a:lnTo>
                  <a:pt x="21" y="23"/>
                </a:lnTo>
                <a:lnTo>
                  <a:pt x="14" y="5"/>
                </a:lnTo>
                <a:lnTo>
                  <a:pt x="22" y="0"/>
                </a:lnTo>
                <a:lnTo>
                  <a:pt x="42" y="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28" name="Freeform 135"/>
          <p:cNvSpPr>
            <a:spLocks/>
          </p:cNvSpPr>
          <p:nvPr/>
        </p:nvSpPr>
        <p:spPr bwMode="auto">
          <a:xfrm>
            <a:off x="2754313" y="6169025"/>
            <a:ext cx="20637" cy="52388"/>
          </a:xfrm>
          <a:custGeom>
            <a:avLst/>
            <a:gdLst>
              <a:gd name="T0" fmla="*/ 2147483647 w 17"/>
              <a:gd name="T1" fmla="*/ 0 h 37"/>
              <a:gd name="T2" fmla="*/ 0 w 17"/>
              <a:gd name="T3" fmla="*/ 2147483647 h 37"/>
              <a:gd name="T4" fmla="*/ 2147483647 w 17"/>
              <a:gd name="T5" fmla="*/ 2147483647 h 37"/>
              <a:gd name="T6" fmla="*/ 2147483647 w 17"/>
              <a:gd name="T7" fmla="*/ 2147483647 h 37"/>
              <a:gd name="T8" fmla="*/ 2147483647 w 17"/>
              <a:gd name="T9" fmla="*/ 2147483647 h 37"/>
              <a:gd name="T10" fmla="*/ 2147483647 w 17"/>
              <a:gd name="T11" fmla="*/ 2147483647 h 37"/>
              <a:gd name="T12" fmla="*/ 2147483647 w 17"/>
              <a:gd name="T13" fmla="*/ 2147483647 h 37"/>
              <a:gd name="T14" fmla="*/ 2147483647 w 17"/>
              <a:gd name="T15" fmla="*/ 0 h 3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7"/>
              <a:gd name="T25" fmla="*/ 0 h 37"/>
              <a:gd name="T26" fmla="*/ 17 w 17"/>
              <a:gd name="T27" fmla="*/ 37 h 37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7" h="37">
                <a:moveTo>
                  <a:pt x="6" y="0"/>
                </a:moveTo>
                <a:lnTo>
                  <a:pt x="0" y="3"/>
                </a:lnTo>
                <a:lnTo>
                  <a:pt x="8" y="37"/>
                </a:lnTo>
                <a:lnTo>
                  <a:pt x="17" y="33"/>
                </a:lnTo>
                <a:lnTo>
                  <a:pt x="17" y="29"/>
                </a:lnTo>
                <a:lnTo>
                  <a:pt x="13" y="12"/>
                </a:lnTo>
                <a:lnTo>
                  <a:pt x="17" y="11"/>
                </a:lnTo>
                <a:lnTo>
                  <a:pt x="6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29" name="Freeform 136"/>
          <p:cNvSpPr>
            <a:spLocks/>
          </p:cNvSpPr>
          <p:nvPr/>
        </p:nvSpPr>
        <p:spPr bwMode="auto">
          <a:xfrm>
            <a:off x="2808288" y="6405563"/>
            <a:ext cx="23812" cy="39687"/>
          </a:xfrm>
          <a:custGeom>
            <a:avLst/>
            <a:gdLst>
              <a:gd name="T0" fmla="*/ 2147483647 w 20"/>
              <a:gd name="T1" fmla="*/ 0 h 30"/>
              <a:gd name="T2" fmla="*/ 0 w 20"/>
              <a:gd name="T3" fmla="*/ 2147483647 h 30"/>
              <a:gd name="T4" fmla="*/ 2147483647 w 20"/>
              <a:gd name="T5" fmla="*/ 2147483647 h 30"/>
              <a:gd name="T6" fmla="*/ 2147483647 w 20"/>
              <a:gd name="T7" fmla="*/ 2147483647 h 30"/>
              <a:gd name="T8" fmla="*/ 2147483647 w 20"/>
              <a:gd name="T9" fmla="*/ 2147483647 h 30"/>
              <a:gd name="T10" fmla="*/ 2147483647 w 20"/>
              <a:gd name="T11" fmla="*/ 0 h 3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0"/>
              <a:gd name="T19" fmla="*/ 0 h 30"/>
              <a:gd name="T20" fmla="*/ 20 w 20"/>
              <a:gd name="T21" fmla="*/ 30 h 3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0" h="30">
                <a:moveTo>
                  <a:pt x="10" y="0"/>
                </a:moveTo>
                <a:lnTo>
                  <a:pt x="0" y="12"/>
                </a:lnTo>
                <a:lnTo>
                  <a:pt x="11" y="25"/>
                </a:lnTo>
                <a:lnTo>
                  <a:pt x="18" y="30"/>
                </a:lnTo>
                <a:lnTo>
                  <a:pt x="20" y="21"/>
                </a:lnTo>
                <a:lnTo>
                  <a:pt x="10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30" name="Freeform 137"/>
          <p:cNvSpPr>
            <a:spLocks/>
          </p:cNvSpPr>
          <p:nvPr/>
        </p:nvSpPr>
        <p:spPr bwMode="auto">
          <a:xfrm>
            <a:off x="2363788" y="4694238"/>
            <a:ext cx="168275" cy="220662"/>
          </a:xfrm>
          <a:custGeom>
            <a:avLst/>
            <a:gdLst>
              <a:gd name="T0" fmla="*/ 0 w 125"/>
              <a:gd name="T1" fmla="*/ 2147483647 h 160"/>
              <a:gd name="T2" fmla="*/ 2147483647 w 125"/>
              <a:gd name="T3" fmla="*/ 2147483647 h 160"/>
              <a:gd name="T4" fmla="*/ 0 w 125"/>
              <a:gd name="T5" fmla="*/ 2147483647 h 160"/>
              <a:gd name="T6" fmla="*/ 2147483647 w 125"/>
              <a:gd name="T7" fmla="*/ 2147483647 h 160"/>
              <a:gd name="T8" fmla="*/ 2147483647 w 125"/>
              <a:gd name="T9" fmla="*/ 2147483647 h 160"/>
              <a:gd name="T10" fmla="*/ 2147483647 w 125"/>
              <a:gd name="T11" fmla="*/ 2147483647 h 160"/>
              <a:gd name="T12" fmla="*/ 2147483647 w 125"/>
              <a:gd name="T13" fmla="*/ 2147483647 h 160"/>
              <a:gd name="T14" fmla="*/ 2147483647 w 125"/>
              <a:gd name="T15" fmla="*/ 2147483647 h 160"/>
              <a:gd name="T16" fmla="*/ 2147483647 w 125"/>
              <a:gd name="T17" fmla="*/ 2147483647 h 160"/>
              <a:gd name="T18" fmla="*/ 2147483647 w 125"/>
              <a:gd name="T19" fmla="*/ 2147483647 h 160"/>
              <a:gd name="T20" fmla="*/ 2147483647 w 125"/>
              <a:gd name="T21" fmla="*/ 2147483647 h 160"/>
              <a:gd name="T22" fmla="*/ 2147483647 w 125"/>
              <a:gd name="T23" fmla="*/ 2147483647 h 160"/>
              <a:gd name="T24" fmla="*/ 2147483647 w 125"/>
              <a:gd name="T25" fmla="*/ 2147483647 h 160"/>
              <a:gd name="T26" fmla="*/ 2147483647 w 125"/>
              <a:gd name="T27" fmla="*/ 2147483647 h 160"/>
              <a:gd name="T28" fmla="*/ 2147483647 w 125"/>
              <a:gd name="T29" fmla="*/ 2147483647 h 160"/>
              <a:gd name="T30" fmla="*/ 2147483647 w 125"/>
              <a:gd name="T31" fmla="*/ 2147483647 h 160"/>
              <a:gd name="T32" fmla="*/ 2147483647 w 125"/>
              <a:gd name="T33" fmla="*/ 2147483647 h 160"/>
              <a:gd name="T34" fmla="*/ 2147483647 w 125"/>
              <a:gd name="T35" fmla="*/ 2147483647 h 160"/>
              <a:gd name="T36" fmla="*/ 2147483647 w 125"/>
              <a:gd name="T37" fmla="*/ 2147483647 h 160"/>
              <a:gd name="T38" fmla="*/ 2147483647 w 125"/>
              <a:gd name="T39" fmla="*/ 2147483647 h 160"/>
              <a:gd name="T40" fmla="*/ 2147483647 w 125"/>
              <a:gd name="T41" fmla="*/ 2147483647 h 160"/>
              <a:gd name="T42" fmla="*/ 2147483647 w 125"/>
              <a:gd name="T43" fmla="*/ 2147483647 h 160"/>
              <a:gd name="T44" fmla="*/ 2147483647 w 125"/>
              <a:gd name="T45" fmla="*/ 2147483647 h 160"/>
              <a:gd name="T46" fmla="*/ 2147483647 w 125"/>
              <a:gd name="T47" fmla="*/ 2147483647 h 160"/>
              <a:gd name="T48" fmla="*/ 2147483647 w 125"/>
              <a:gd name="T49" fmla="*/ 2147483647 h 160"/>
              <a:gd name="T50" fmla="*/ 2147483647 w 125"/>
              <a:gd name="T51" fmla="*/ 2147483647 h 160"/>
              <a:gd name="T52" fmla="*/ 2147483647 w 125"/>
              <a:gd name="T53" fmla="*/ 2147483647 h 160"/>
              <a:gd name="T54" fmla="*/ 2147483647 w 125"/>
              <a:gd name="T55" fmla="*/ 2147483647 h 160"/>
              <a:gd name="T56" fmla="*/ 2147483647 w 125"/>
              <a:gd name="T57" fmla="*/ 2147483647 h 160"/>
              <a:gd name="T58" fmla="*/ 2147483647 w 125"/>
              <a:gd name="T59" fmla="*/ 2147483647 h 160"/>
              <a:gd name="T60" fmla="*/ 2147483647 w 125"/>
              <a:gd name="T61" fmla="*/ 0 h 160"/>
              <a:gd name="T62" fmla="*/ 2147483647 w 125"/>
              <a:gd name="T63" fmla="*/ 2147483647 h 160"/>
              <a:gd name="T64" fmla="*/ 2147483647 w 125"/>
              <a:gd name="T65" fmla="*/ 2147483647 h 160"/>
              <a:gd name="T66" fmla="*/ 2147483647 w 125"/>
              <a:gd name="T67" fmla="*/ 2147483647 h 160"/>
              <a:gd name="T68" fmla="*/ 2147483647 w 125"/>
              <a:gd name="T69" fmla="*/ 2147483647 h 160"/>
              <a:gd name="T70" fmla="*/ 0 w 125"/>
              <a:gd name="T71" fmla="*/ 2147483647 h 160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125"/>
              <a:gd name="T109" fmla="*/ 0 h 160"/>
              <a:gd name="T110" fmla="*/ 125 w 125"/>
              <a:gd name="T111" fmla="*/ 160 h 160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125" h="160">
                <a:moveTo>
                  <a:pt x="0" y="64"/>
                </a:moveTo>
                <a:lnTo>
                  <a:pt x="4" y="89"/>
                </a:lnTo>
                <a:lnTo>
                  <a:pt x="0" y="94"/>
                </a:lnTo>
                <a:lnTo>
                  <a:pt x="16" y="101"/>
                </a:lnTo>
                <a:lnTo>
                  <a:pt x="20" y="95"/>
                </a:lnTo>
                <a:lnTo>
                  <a:pt x="23" y="100"/>
                </a:lnTo>
                <a:lnTo>
                  <a:pt x="22" y="115"/>
                </a:lnTo>
                <a:lnTo>
                  <a:pt x="13" y="120"/>
                </a:lnTo>
                <a:lnTo>
                  <a:pt x="16" y="134"/>
                </a:lnTo>
                <a:lnTo>
                  <a:pt x="11" y="145"/>
                </a:lnTo>
                <a:lnTo>
                  <a:pt x="18" y="143"/>
                </a:lnTo>
                <a:lnTo>
                  <a:pt x="42" y="160"/>
                </a:lnTo>
                <a:lnTo>
                  <a:pt x="49" y="151"/>
                </a:lnTo>
                <a:lnTo>
                  <a:pt x="52" y="140"/>
                </a:lnTo>
                <a:lnTo>
                  <a:pt x="56" y="131"/>
                </a:lnTo>
                <a:lnTo>
                  <a:pt x="60" y="116"/>
                </a:lnTo>
                <a:lnTo>
                  <a:pt x="62" y="116"/>
                </a:lnTo>
                <a:lnTo>
                  <a:pt x="62" y="121"/>
                </a:lnTo>
                <a:lnTo>
                  <a:pt x="66" y="120"/>
                </a:lnTo>
                <a:lnTo>
                  <a:pt x="65" y="116"/>
                </a:lnTo>
                <a:lnTo>
                  <a:pt x="70" y="110"/>
                </a:lnTo>
                <a:lnTo>
                  <a:pt x="83" y="104"/>
                </a:lnTo>
                <a:lnTo>
                  <a:pt x="107" y="89"/>
                </a:lnTo>
                <a:lnTo>
                  <a:pt x="120" y="60"/>
                </a:lnTo>
                <a:lnTo>
                  <a:pt x="125" y="60"/>
                </a:lnTo>
                <a:lnTo>
                  <a:pt x="116" y="41"/>
                </a:lnTo>
                <a:lnTo>
                  <a:pt x="122" y="38"/>
                </a:lnTo>
                <a:lnTo>
                  <a:pt x="98" y="26"/>
                </a:lnTo>
                <a:lnTo>
                  <a:pt x="77" y="26"/>
                </a:lnTo>
                <a:lnTo>
                  <a:pt x="64" y="13"/>
                </a:lnTo>
                <a:lnTo>
                  <a:pt x="46" y="0"/>
                </a:lnTo>
                <a:lnTo>
                  <a:pt x="37" y="10"/>
                </a:lnTo>
                <a:lnTo>
                  <a:pt x="18" y="20"/>
                </a:lnTo>
                <a:lnTo>
                  <a:pt x="13" y="40"/>
                </a:lnTo>
                <a:lnTo>
                  <a:pt x="11" y="52"/>
                </a:lnTo>
                <a:lnTo>
                  <a:pt x="0" y="6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31" name="Freeform 138"/>
          <p:cNvSpPr>
            <a:spLocks/>
          </p:cNvSpPr>
          <p:nvPr/>
        </p:nvSpPr>
        <p:spPr bwMode="auto">
          <a:xfrm>
            <a:off x="2389188" y="4838700"/>
            <a:ext cx="6350" cy="4763"/>
          </a:xfrm>
          <a:custGeom>
            <a:avLst/>
            <a:gdLst>
              <a:gd name="T0" fmla="*/ 2147483647 w 6"/>
              <a:gd name="T1" fmla="*/ 0 h 5"/>
              <a:gd name="T2" fmla="*/ 2147483647 w 6"/>
              <a:gd name="T3" fmla="*/ 0 h 5"/>
              <a:gd name="T4" fmla="*/ 0 w 6"/>
              <a:gd name="T5" fmla="*/ 0 h 5"/>
              <a:gd name="T6" fmla="*/ 2147483647 w 6"/>
              <a:gd name="T7" fmla="*/ 0 h 5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5"/>
              <a:gd name="T14" fmla="*/ 6 w 6"/>
              <a:gd name="T15" fmla="*/ 5 h 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5">
                <a:moveTo>
                  <a:pt x="6" y="1"/>
                </a:moveTo>
                <a:lnTo>
                  <a:pt x="1" y="5"/>
                </a:lnTo>
                <a:lnTo>
                  <a:pt x="0" y="0"/>
                </a:lnTo>
                <a:lnTo>
                  <a:pt x="6" y="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32" name="Freeform 139"/>
          <p:cNvSpPr>
            <a:spLocks/>
          </p:cNvSpPr>
          <p:nvPr/>
        </p:nvSpPr>
        <p:spPr bwMode="auto">
          <a:xfrm>
            <a:off x="2355850" y="4746625"/>
            <a:ext cx="384175" cy="623888"/>
          </a:xfrm>
          <a:custGeom>
            <a:avLst/>
            <a:gdLst>
              <a:gd name="T0" fmla="*/ 2147483647 w 288"/>
              <a:gd name="T1" fmla="*/ 2147483647 h 455"/>
              <a:gd name="T2" fmla="*/ 2147483647 w 288"/>
              <a:gd name="T3" fmla="*/ 2147483647 h 455"/>
              <a:gd name="T4" fmla="*/ 2147483647 w 288"/>
              <a:gd name="T5" fmla="*/ 2147483647 h 455"/>
              <a:gd name="T6" fmla="*/ 2147483647 w 288"/>
              <a:gd name="T7" fmla="*/ 2147483647 h 455"/>
              <a:gd name="T8" fmla="*/ 2147483647 w 288"/>
              <a:gd name="T9" fmla="*/ 2147483647 h 455"/>
              <a:gd name="T10" fmla="*/ 2147483647 w 288"/>
              <a:gd name="T11" fmla="*/ 2147483647 h 455"/>
              <a:gd name="T12" fmla="*/ 2147483647 w 288"/>
              <a:gd name="T13" fmla="*/ 2147483647 h 455"/>
              <a:gd name="T14" fmla="*/ 2147483647 w 288"/>
              <a:gd name="T15" fmla="*/ 2147483647 h 455"/>
              <a:gd name="T16" fmla="*/ 2147483647 w 288"/>
              <a:gd name="T17" fmla="*/ 2147483647 h 455"/>
              <a:gd name="T18" fmla="*/ 2147483647 w 288"/>
              <a:gd name="T19" fmla="*/ 2147483647 h 455"/>
              <a:gd name="T20" fmla="*/ 2147483647 w 288"/>
              <a:gd name="T21" fmla="*/ 2147483647 h 455"/>
              <a:gd name="T22" fmla="*/ 2147483647 w 288"/>
              <a:gd name="T23" fmla="*/ 2147483647 h 455"/>
              <a:gd name="T24" fmla="*/ 2147483647 w 288"/>
              <a:gd name="T25" fmla="*/ 2147483647 h 455"/>
              <a:gd name="T26" fmla="*/ 2147483647 w 288"/>
              <a:gd name="T27" fmla="*/ 2147483647 h 455"/>
              <a:gd name="T28" fmla="*/ 2147483647 w 288"/>
              <a:gd name="T29" fmla="*/ 2147483647 h 455"/>
              <a:gd name="T30" fmla="*/ 2147483647 w 288"/>
              <a:gd name="T31" fmla="*/ 2147483647 h 455"/>
              <a:gd name="T32" fmla="*/ 2147483647 w 288"/>
              <a:gd name="T33" fmla="*/ 2147483647 h 455"/>
              <a:gd name="T34" fmla="*/ 2147483647 w 288"/>
              <a:gd name="T35" fmla="*/ 2147483647 h 455"/>
              <a:gd name="T36" fmla="*/ 2147483647 w 288"/>
              <a:gd name="T37" fmla="*/ 2147483647 h 455"/>
              <a:gd name="T38" fmla="*/ 2147483647 w 288"/>
              <a:gd name="T39" fmla="*/ 2147483647 h 455"/>
              <a:gd name="T40" fmla="*/ 2147483647 w 288"/>
              <a:gd name="T41" fmla="*/ 2147483647 h 455"/>
              <a:gd name="T42" fmla="*/ 2147483647 w 288"/>
              <a:gd name="T43" fmla="*/ 2147483647 h 455"/>
              <a:gd name="T44" fmla="*/ 2147483647 w 288"/>
              <a:gd name="T45" fmla="*/ 2147483647 h 455"/>
              <a:gd name="T46" fmla="*/ 2147483647 w 288"/>
              <a:gd name="T47" fmla="*/ 2147483647 h 455"/>
              <a:gd name="T48" fmla="*/ 2147483647 w 288"/>
              <a:gd name="T49" fmla="*/ 2147483647 h 455"/>
              <a:gd name="T50" fmla="*/ 2147483647 w 288"/>
              <a:gd name="T51" fmla="*/ 2147483647 h 455"/>
              <a:gd name="T52" fmla="*/ 2147483647 w 288"/>
              <a:gd name="T53" fmla="*/ 2147483647 h 455"/>
              <a:gd name="T54" fmla="*/ 2147483647 w 288"/>
              <a:gd name="T55" fmla="*/ 2147483647 h 455"/>
              <a:gd name="T56" fmla="*/ 2147483647 w 288"/>
              <a:gd name="T57" fmla="*/ 2147483647 h 455"/>
              <a:gd name="T58" fmla="*/ 2147483647 w 288"/>
              <a:gd name="T59" fmla="*/ 2147483647 h 455"/>
              <a:gd name="T60" fmla="*/ 2147483647 w 288"/>
              <a:gd name="T61" fmla="*/ 2147483647 h 455"/>
              <a:gd name="T62" fmla="*/ 2147483647 w 288"/>
              <a:gd name="T63" fmla="*/ 2147483647 h 455"/>
              <a:gd name="T64" fmla="*/ 2147483647 w 288"/>
              <a:gd name="T65" fmla="*/ 2147483647 h 455"/>
              <a:gd name="T66" fmla="*/ 2147483647 w 288"/>
              <a:gd name="T67" fmla="*/ 2147483647 h 455"/>
              <a:gd name="T68" fmla="*/ 2147483647 w 288"/>
              <a:gd name="T69" fmla="*/ 2147483647 h 455"/>
              <a:gd name="T70" fmla="*/ 2147483647 w 288"/>
              <a:gd name="T71" fmla="*/ 2147483647 h 455"/>
              <a:gd name="T72" fmla="*/ 2147483647 w 288"/>
              <a:gd name="T73" fmla="*/ 2147483647 h 455"/>
              <a:gd name="T74" fmla="*/ 2147483647 w 288"/>
              <a:gd name="T75" fmla="*/ 2147483647 h 455"/>
              <a:gd name="T76" fmla="*/ 2147483647 w 288"/>
              <a:gd name="T77" fmla="*/ 2147483647 h 455"/>
              <a:gd name="T78" fmla="*/ 2147483647 w 288"/>
              <a:gd name="T79" fmla="*/ 2147483647 h 455"/>
              <a:gd name="T80" fmla="*/ 2147483647 w 288"/>
              <a:gd name="T81" fmla="*/ 2147483647 h 455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288"/>
              <a:gd name="T124" fmla="*/ 0 h 455"/>
              <a:gd name="T125" fmla="*/ 288 w 288"/>
              <a:gd name="T126" fmla="*/ 455 h 455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288" h="455">
                <a:moveTo>
                  <a:pt x="282" y="346"/>
                </a:moveTo>
                <a:lnTo>
                  <a:pt x="278" y="359"/>
                </a:lnTo>
                <a:lnTo>
                  <a:pt x="278" y="379"/>
                </a:lnTo>
                <a:lnTo>
                  <a:pt x="281" y="400"/>
                </a:lnTo>
                <a:lnTo>
                  <a:pt x="288" y="402"/>
                </a:lnTo>
                <a:lnTo>
                  <a:pt x="278" y="424"/>
                </a:lnTo>
                <a:lnTo>
                  <a:pt x="278" y="433"/>
                </a:lnTo>
                <a:lnTo>
                  <a:pt x="272" y="443"/>
                </a:lnTo>
                <a:lnTo>
                  <a:pt x="265" y="454"/>
                </a:lnTo>
                <a:lnTo>
                  <a:pt x="260" y="455"/>
                </a:lnTo>
                <a:lnTo>
                  <a:pt x="246" y="443"/>
                </a:lnTo>
                <a:lnTo>
                  <a:pt x="236" y="431"/>
                </a:lnTo>
                <a:lnTo>
                  <a:pt x="218" y="420"/>
                </a:lnTo>
                <a:lnTo>
                  <a:pt x="199" y="409"/>
                </a:lnTo>
                <a:lnTo>
                  <a:pt x="180" y="399"/>
                </a:lnTo>
                <a:lnTo>
                  <a:pt x="162" y="388"/>
                </a:lnTo>
                <a:lnTo>
                  <a:pt x="143" y="369"/>
                </a:lnTo>
                <a:lnTo>
                  <a:pt x="123" y="351"/>
                </a:lnTo>
                <a:lnTo>
                  <a:pt x="123" y="337"/>
                </a:lnTo>
                <a:lnTo>
                  <a:pt x="109" y="310"/>
                </a:lnTo>
                <a:lnTo>
                  <a:pt x="95" y="283"/>
                </a:lnTo>
                <a:lnTo>
                  <a:pt x="84" y="267"/>
                </a:lnTo>
                <a:lnTo>
                  <a:pt x="74" y="249"/>
                </a:lnTo>
                <a:lnTo>
                  <a:pt x="65" y="231"/>
                </a:lnTo>
                <a:lnTo>
                  <a:pt x="56" y="213"/>
                </a:lnTo>
                <a:lnTo>
                  <a:pt x="47" y="193"/>
                </a:lnTo>
                <a:lnTo>
                  <a:pt x="37" y="175"/>
                </a:lnTo>
                <a:lnTo>
                  <a:pt x="21" y="163"/>
                </a:lnTo>
                <a:lnTo>
                  <a:pt x="6" y="151"/>
                </a:lnTo>
                <a:lnTo>
                  <a:pt x="8" y="144"/>
                </a:lnTo>
                <a:lnTo>
                  <a:pt x="0" y="112"/>
                </a:lnTo>
                <a:lnTo>
                  <a:pt x="11" y="97"/>
                </a:lnTo>
                <a:lnTo>
                  <a:pt x="20" y="83"/>
                </a:lnTo>
                <a:lnTo>
                  <a:pt x="23" y="97"/>
                </a:lnTo>
                <a:lnTo>
                  <a:pt x="18" y="108"/>
                </a:lnTo>
                <a:lnTo>
                  <a:pt x="25" y="106"/>
                </a:lnTo>
                <a:lnTo>
                  <a:pt x="49" y="123"/>
                </a:lnTo>
                <a:lnTo>
                  <a:pt x="56" y="114"/>
                </a:lnTo>
                <a:lnTo>
                  <a:pt x="59" y="103"/>
                </a:lnTo>
                <a:lnTo>
                  <a:pt x="63" y="95"/>
                </a:lnTo>
                <a:lnTo>
                  <a:pt x="67" y="79"/>
                </a:lnTo>
                <a:lnTo>
                  <a:pt x="69" y="79"/>
                </a:lnTo>
                <a:lnTo>
                  <a:pt x="69" y="84"/>
                </a:lnTo>
                <a:lnTo>
                  <a:pt x="73" y="83"/>
                </a:lnTo>
                <a:lnTo>
                  <a:pt x="72" y="79"/>
                </a:lnTo>
                <a:lnTo>
                  <a:pt x="77" y="73"/>
                </a:lnTo>
                <a:lnTo>
                  <a:pt x="90" y="67"/>
                </a:lnTo>
                <a:lnTo>
                  <a:pt x="114" y="52"/>
                </a:lnTo>
                <a:lnTo>
                  <a:pt x="127" y="23"/>
                </a:lnTo>
                <a:lnTo>
                  <a:pt x="132" y="23"/>
                </a:lnTo>
                <a:lnTo>
                  <a:pt x="123" y="4"/>
                </a:lnTo>
                <a:lnTo>
                  <a:pt x="129" y="1"/>
                </a:lnTo>
                <a:lnTo>
                  <a:pt x="131" y="0"/>
                </a:lnTo>
                <a:lnTo>
                  <a:pt x="144" y="12"/>
                </a:lnTo>
                <a:lnTo>
                  <a:pt x="156" y="24"/>
                </a:lnTo>
                <a:lnTo>
                  <a:pt x="173" y="43"/>
                </a:lnTo>
                <a:lnTo>
                  <a:pt x="177" y="55"/>
                </a:lnTo>
                <a:lnTo>
                  <a:pt x="204" y="55"/>
                </a:lnTo>
                <a:lnTo>
                  <a:pt x="221" y="57"/>
                </a:lnTo>
                <a:lnTo>
                  <a:pt x="243" y="64"/>
                </a:lnTo>
                <a:lnTo>
                  <a:pt x="235" y="94"/>
                </a:lnTo>
                <a:lnTo>
                  <a:pt x="248" y="103"/>
                </a:lnTo>
                <a:lnTo>
                  <a:pt x="241" y="103"/>
                </a:lnTo>
                <a:lnTo>
                  <a:pt x="222" y="108"/>
                </a:lnTo>
                <a:lnTo>
                  <a:pt x="205" y="117"/>
                </a:lnTo>
                <a:lnTo>
                  <a:pt x="187" y="124"/>
                </a:lnTo>
                <a:lnTo>
                  <a:pt x="182" y="143"/>
                </a:lnTo>
                <a:lnTo>
                  <a:pt x="176" y="162"/>
                </a:lnTo>
                <a:lnTo>
                  <a:pt x="164" y="183"/>
                </a:lnTo>
                <a:lnTo>
                  <a:pt x="175" y="201"/>
                </a:lnTo>
                <a:lnTo>
                  <a:pt x="185" y="220"/>
                </a:lnTo>
                <a:lnTo>
                  <a:pt x="183" y="231"/>
                </a:lnTo>
                <a:lnTo>
                  <a:pt x="192" y="233"/>
                </a:lnTo>
                <a:lnTo>
                  <a:pt x="205" y="243"/>
                </a:lnTo>
                <a:lnTo>
                  <a:pt x="223" y="247"/>
                </a:lnTo>
                <a:lnTo>
                  <a:pt x="237" y="235"/>
                </a:lnTo>
                <a:lnTo>
                  <a:pt x="239" y="253"/>
                </a:lnTo>
                <a:lnTo>
                  <a:pt x="241" y="273"/>
                </a:lnTo>
                <a:lnTo>
                  <a:pt x="264" y="270"/>
                </a:lnTo>
                <a:lnTo>
                  <a:pt x="275" y="291"/>
                </a:lnTo>
                <a:lnTo>
                  <a:pt x="285" y="310"/>
                </a:lnTo>
                <a:lnTo>
                  <a:pt x="282" y="315"/>
                </a:lnTo>
                <a:lnTo>
                  <a:pt x="282" y="346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33" name="Freeform 140"/>
          <p:cNvSpPr>
            <a:spLocks/>
          </p:cNvSpPr>
          <p:nvPr/>
        </p:nvSpPr>
        <p:spPr bwMode="auto">
          <a:xfrm>
            <a:off x="6397625" y="2935288"/>
            <a:ext cx="1484313" cy="1116012"/>
          </a:xfrm>
          <a:custGeom>
            <a:avLst/>
            <a:gdLst>
              <a:gd name="T0" fmla="*/ 2147483647 w 1118"/>
              <a:gd name="T1" fmla="*/ 2147483647 h 812"/>
              <a:gd name="T2" fmla="*/ 2147483647 w 1118"/>
              <a:gd name="T3" fmla="*/ 2147483647 h 812"/>
              <a:gd name="T4" fmla="*/ 2147483647 w 1118"/>
              <a:gd name="T5" fmla="*/ 2147483647 h 812"/>
              <a:gd name="T6" fmla="*/ 2147483647 w 1118"/>
              <a:gd name="T7" fmla="*/ 2147483647 h 812"/>
              <a:gd name="T8" fmla="*/ 2147483647 w 1118"/>
              <a:gd name="T9" fmla="*/ 2147483647 h 812"/>
              <a:gd name="T10" fmla="*/ 2147483647 w 1118"/>
              <a:gd name="T11" fmla="*/ 2147483647 h 812"/>
              <a:gd name="T12" fmla="*/ 2147483647 w 1118"/>
              <a:gd name="T13" fmla="*/ 2147483647 h 812"/>
              <a:gd name="T14" fmla="*/ 2147483647 w 1118"/>
              <a:gd name="T15" fmla="*/ 2147483647 h 812"/>
              <a:gd name="T16" fmla="*/ 2147483647 w 1118"/>
              <a:gd name="T17" fmla="*/ 2147483647 h 812"/>
              <a:gd name="T18" fmla="*/ 2147483647 w 1118"/>
              <a:gd name="T19" fmla="*/ 2147483647 h 812"/>
              <a:gd name="T20" fmla="*/ 2147483647 w 1118"/>
              <a:gd name="T21" fmla="*/ 2147483647 h 812"/>
              <a:gd name="T22" fmla="*/ 2147483647 w 1118"/>
              <a:gd name="T23" fmla="*/ 2147483647 h 812"/>
              <a:gd name="T24" fmla="*/ 2147483647 w 1118"/>
              <a:gd name="T25" fmla="*/ 2147483647 h 812"/>
              <a:gd name="T26" fmla="*/ 2147483647 w 1118"/>
              <a:gd name="T27" fmla="*/ 2147483647 h 812"/>
              <a:gd name="T28" fmla="*/ 2147483647 w 1118"/>
              <a:gd name="T29" fmla="*/ 2147483647 h 812"/>
              <a:gd name="T30" fmla="*/ 2147483647 w 1118"/>
              <a:gd name="T31" fmla="*/ 2147483647 h 812"/>
              <a:gd name="T32" fmla="*/ 2147483647 w 1118"/>
              <a:gd name="T33" fmla="*/ 2147483647 h 812"/>
              <a:gd name="T34" fmla="*/ 2147483647 w 1118"/>
              <a:gd name="T35" fmla="*/ 2147483647 h 812"/>
              <a:gd name="T36" fmla="*/ 2147483647 w 1118"/>
              <a:gd name="T37" fmla="*/ 2147483647 h 812"/>
              <a:gd name="T38" fmla="*/ 2147483647 w 1118"/>
              <a:gd name="T39" fmla="*/ 2147483647 h 812"/>
              <a:gd name="T40" fmla="*/ 2147483647 w 1118"/>
              <a:gd name="T41" fmla="*/ 2147483647 h 812"/>
              <a:gd name="T42" fmla="*/ 2147483647 w 1118"/>
              <a:gd name="T43" fmla="*/ 2147483647 h 812"/>
              <a:gd name="T44" fmla="*/ 2147483647 w 1118"/>
              <a:gd name="T45" fmla="*/ 2147483647 h 812"/>
              <a:gd name="T46" fmla="*/ 2147483647 w 1118"/>
              <a:gd name="T47" fmla="*/ 2147483647 h 812"/>
              <a:gd name="T48" fmla="*/ 2147483647 w 1118"/>
              <a:gd name="T49" fmla="*/ 0 h 812"/>
              <a:gd name="T50" fmla="*/ 2147483647 w 1118"/>
              <a:gd name="T51" fmla="*/ 2147483647 h 812"/>
              <a:gd name="T52" fmla="*/ 2147483647 w 1118"/>
              <a:gd name="T53" fmla="*/ 2147483647 h 812"/>
              <a:gd name="T54" fmla="*/ 2147483647 w 1118"/>
              <a:gd name="T55" fmla="*/ 2147483647 h 812"/>
              <a:gd name="T56" fmla="*/ 2147483647 w 1118"/>
              <a:gd name="T57" fmla="*/ 2147483647 h 812"/>
              <a:gd name="T58" fmla="*/ 2147483647 w 1118"/>
              <a:gd name="T59" fmla="*/ 2147483647 h 812"/>
              <a:gd name="T60" fmla="*/ 2147483647 w 1118"/>
              <a:gd name="T61" fmla="*/ 2147483647 h 812"/>
              <a:gd name="T62" fmla="*/ 2147483647 w 1118"/>
              <a:gd name="T63" fmla="*/ 2147483647 h 812"/>
              <a:gd name="T64" fmla="*/ 2147483647 w 1118"/>
              <a:gd name="T65" fmla="*/ 2147483647 h 812"/>
              <a:gd name="T66" fmla="*/ 2147483647 w 1118"/>
              <a:gd name="T67" fmla="*/ 2147483647 h 812"/>
              <a:gd name="T68" fmla="*/ 2147483647 w 1118"/>
              <a:gd name="T69" fmla="*/ 2147483647 h 812"/>
              <a:gd name="T70" fmla="*/ 2147483647 w 1118"/>
              <a:gd name="T71" fmla="*/ 2147483647 h 812"/>
              <a:gd name="T72" fmla="*/ 2147483647 w 1118"/>
              <a:gd name="T73" fmla="*/ 2147483647 h 812"/>
              <a:gd name="T74" fmla="*/ 2147483647 w 1118"/>
              <a:gd name="T75" fmla="*/ 2147483647 h 812"/>
              <a:gd name="T76" fmla="*/ 2147483647 w 1118"/>
              <a:gd name="T77" fmla="*/ 2147483647 h 812"/>
              <a:gd name="T78" fmla="*/ 2147483647 w 1118"/>
              <a:gd name="T79" fmla="*/ 2147483647 h 812"/>
              <a:gd name="T80" fmla="*/ 2147483647 w 1118"/>
              <a:gd name="T81" fmla="*/ 2147483647 h 812"/>
              <a:gd name="T82" fmla="*/ 2147483647 w 1118"/>
              <a:gd name="T83" fmla="*/ 2147483647 h 812"/>
              <a:gd name="T84" fmla="*/ 2147483647 w 1118"/>
              <a:gd name="T85" fmla="*/ 2147483647 h 812"/>
              <a:gd name="T86" fmla="*/ 2147483647 w 1118"/>
              <a:gd name="T87" fmla="*/ 2147483647 h 812"/>
              <a:gd name="T88" fmla="*/ 2147483647 w 1118"/>
              <a:gd name="T89" fmla="*/ 2147483647 h 812"/>
              <a:gd name="T90" fmla="*/ 2147483647 w 1118"/>
              <a:gd name="T91" fmla="*/ 2147483647 h 812"/>
              <a:gd name="T92" fmla="*/ 2147483647 w 1118"/>
              <a:gd name="T93" fmla="*/ 2147483647 h 812"/>
              <a:gd name="T94" fmla="*/ 2147483647 w 1118"/>
              <a:gd name="T95" fmla="*/ 2147483647 h 812"/>
              <a:gd name="T96" fmla="*/ 2147483647 w 1118"/>
              <a:gd name="T97" fmla="*/ 2147483647 h 812"/>
              <a:gd name="T98" fmla="*/ 2147483647 w 1118"/>
              <a:gd name="T99" fmla="*/ 2147483647 h 812"/>
              <a:gd name="T100" fmla="*/ 2147483647 w 1118"/>
              <a:gd name="T101" fmla="*/ 2147483647 h 812"/>
              <a:gd name="T102" fmla="*/ 2147483647 w 1118"/>
              <a:gd name="T103" fmla="*/ 2147483647 h 812"/>
              <a:gd name="T104" fmla="*/ 2147483647 w 1118"/>
              <a:gd name="T105" fmla="*/ 2147483647 h 812"/>
              <a:gd name="T106" fmla="*/ 2147483647 w 1118"/>
              <a:gd name="T107" fmla="*/ 2147483647 h 812"/>
              <a:gd name="T108" fmla="*/ 2147483647 w 1118"/>
              <a:gd name="T109" fmla="*/ 2147483647 h 812"/>
              <a:gd name="T110" fmla="*/ 2147483647 w 1118"/>
              <a:gd name="T111" fmla="*/ 2147483647 h 812"/>
              <a:gd name="T112" fmla="*/ 2147483647 w 1118"/>
              <a:gd name="T113" fmla="*/ 2147483647 h 812"/>
              <a:gd name="T114" fmla="*/ 2147483647 w 1118"/>
              <a:gd name="T115" fmla="*/ 2147483647 h 812"/>
              <a:gd name="T116" fmla="*/ 2147483647 w 1118"/>
              <a:gd name="T117" fmla="*/ 2147483647 h 812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118"/>
              <a:gd name="T178" fmla="*/ 0 h 812"/>
              <a:gd name="T179" fmla="*/ 1118 w 1118"/>
              <a:gd name="T180" fmla="*/ 812 h 812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118" h="812">
                <a:moveTo>
                  <a:pt x="499" y="591"/>
                </a:moveTo>
                <a:lnTo>
                  <a:pt x="484" y="606"/>
                </a:lnTo>
                <a:lnTo>
                  <a:pt x="468" y="619"/>
                </a:lnTo>
                <a:lnTo>
                  <a:pt x="449" y="627"/>
                </a:lnTo>
                <a:lnTo>
                  <a:pt x="438" y="619"/>
                </a:lnTo>
                <a:lnTo>
                  <a:pt x="407" y="616"/>
                </a:lnTo>
                <a:lnTo>
                  <a:pt x="393" y="638"/>
                </a:lnTo>
                <a:lnTo>
                  <a:pt x="383" y="618"/>
                </a:lnTo>
                <a:lnTo>
                  <a:pt x="373" y="625"/>
                </a:lnTo>
                <a:lnTo>
                  <a:pt x="347" y="622"/>
                </a:lnTo>
                <a:lnTo>
                  <a:pt x="329" y="619"/>
                </a:lnTo>
                <a:lnTo>
                  <a:pt x="306" y="610"/>
                </a:lnTo>
                <a:lnTo>
                  <a:pt x="304" y="606"/>
                </a:lnTo>
                <a:lnTo>
                  <a:pt x="283" y="597"/>
                </a:lnTo>
                <a:lnTo>
                  <a:pt x="276" y="589"/>
                </a:lnTo>
                <a:lnTo>
                  <a:pt x="268" y="592"/>
                </a:lnTo>
                <a:lnTo>
                  <a:pt x="240" y="571"/>
                </a:lnTo>
                <a:lnTo>
                  <a:pt x="223" y="560"/>
                </a:lnTo>
                <a:lnTo>
                  <a:pt x="214" y="568"/>
                </a:lnTo>
                <a:lnTo>
                  <a:pt x="213" y="566"/>
                </a:lnTo>
                <a:lnTo>
                  <a:pt x="191" y="553"/>
                </a:lnTo>
                <a:lnTo>
                  <a:pt x="166" y="538"/>
                </a:lnTo>
                <a:lnTo>
                  <a:pt x="156" y="535"/>
                </a:lnTo>
                <a:lnTo>
                  <a:pt x="147" y="507"/>
                </a:lnTo>
                <a:lnTo>
                  <a:pt x="159" y="510"/>
                </a:lnTo>
                <a:lnTo>
                  <a:pt x="162" y="500"/>
                </a:lnTo>
                <a:lnTo>
                  <a:pt x="149" y="482"/>
                </a:lnTo>
                <a:lnTo>
                  <a:pt x="149" y="472"/>
                </a:lnTo>
                <a:lnTo>
                  <a:pt x="147" y="466"/>
                </a:lnTo>
                <a:lnTo>
                  <a:pt x="143" y="462"/>
                </a:lnTo>
                <a:lnTo>
                  <a:pt x="139" y="456"/>
                </a:lnTo>
                <a:lnTo>
                  <a:pt x="138" y="451"/>
                </a:lnTo>
                <a:lnTo>
                  <a:pt x="136" y="444"/>
                </a:lnTo>
                <a:lnTo>
                  <a:pt x="129" y="441"/>
                </a:lnTo>
                <a:lnTo>
                  <a:pt x="119" y="438"/>
                </a:lnTo>
                <a:lnTo>
                  <a:pt x="113" y="435"/>
                </a:lnTo>
                <a:lnTo>
                  <a:pt x="84" y="427"/>
                </a:lnTo>
                <a:lnTo>
                  <a:pt x="69" y="420"/>
                </a:lnTo>
                <a:lnTo>
                  <a:pt x="59" y="404"/>
                </a:lnTo>
                <a:lnTo>
                  <a:pt x="35" y="397"/>
                </a:lnTo>
                <a:lnTo>
                  <a:pt x="34" y="392"/>
                </a:lnTo>
                <a:lnTo>
                  <a:pt x="40" y="392"/>
                </a:lnTo>
                <a:lnTo>
                  <a:pt x="41" y="392"/>
                </a:lnTo>
                <a:lnTo>
                  <a:pt x="43" y="390"/>
                </a:lnTo>
                <a:lnTo>
                  <a:pt x="30" y="362"/>
                </a:lnTo>
                <a:lnTo>
                  <a:pt x="12" y="360"/>
                </a:lnTo>
                <a:lnTo>
                  <a:pt x="0" y="339"/>
                </a:lnTo>
                <a:lnTo>
                  <a:pt x="9" y="321"/>
                </a:lnTo>
                <a:lnTo>
                  <a:pt x="23" y="312"/>
                </a:lnTo>
                <a:lnTo>
                  <a:pt x="33" y="312"/>
                </a:lnTo>
                <a:lnTo>
                  <a:pt x="45" y="314"/>
                </a:lnTo>
                <a:lnTo>
                  <a:pt x="58" y="298"/>
                </a:lnTo>
                <a:lnTo>
                  <a:pt x="78" y="294"/>
                </a:lnTo>
                <a:lnTo>
                  <a:pt x="95" y="280"/>
                </a:lnTo>
                <a:lnTo>
                  <a:pt x="111" y="268"/>
                </a:lnTo>
                <a:lnTo>
                  <a:pt x="105" y="256"/>
                </a:lnTo>
                <a:lnTo>
                  <a:pt x="109" y="252"/>
                </a:lnTo>
                <a:lnTo>
                  <a:pt x="109" y="247"/>
                </a:lnTo>
                <a:lnTo>
                  <a:pt x="100" y="229"/>
                </a:lnTo>
                <a:lnTo>
                  <a:pt x="91" y="211"/>
                </a:lnTo>
                <a:lnTo>
                  <a:pt x="78" y="204"/>
                </a:lnTo>
                <a:lnTo>
                  <a:pt x="101" y="195"/>
                </a:lnTo>
                <a:lnTo>
                  <a:pt x="129" y="198"/>
                </a:lnTo>
                <a:lnTo>
                  <a:pt x="121" y="189"/>
                </a:lnTo>
                <a:lnTo>
                  <a:pt x="119" y="168"/>
                </a:lnTo>
                <a:lnTo>
                  <a:pt x="117" y="147"/>
                </a:lnTo>
                <a:lnTo>
                  <a:pt x="148" y="153"/>
                </a:lnTo>
                <a:lnTo>
                  <a:pt x="166" y="151"/>
                </a:lnTo>
                <a:lnTo>
                  <a:pt x="156" y="124"/>
                </a:lnTo>
                <a:lnTo>
                  <a:pt x="166" y="118"/>
                </a:lnTo>
                <a:lnTo>
                  <a:pt x="173" y="102"/>
                </a:lnTo>
                <a:lnTo>
                  <a:pt x="189" y="100"/>
                </a:lnTo>
                <a:lnTo>
                  <a:pt x="191" y="104"/>
                </a:lnTo>
                <a:lnTo>
                  <a:pt x="198" y="112"/>
                </a:lnTo>
                <a:lnTo>
                  <a:pt x="227" y="130"/>
                </a:lnTo>
                <a:lnTo>
                  <a:pt x="243" y="133"/>
                </a:lnTo>
                <a:lnTo>
                  <a:pt x="271" y="153"/>
                </a:lnTo>
                <a:lnTo>
                  <a:pt x="279" y="174"/>
                </a:lnTo>
                <a:lnTo>
                  <a:pt x="286" y="193"/>
                </a:lnTo>
                <a:lnTo>
                  <a:pt x="310" y="198"/>
                </a:lnTo>
                <a:lnTo>
                  <a:pt x="333" y="201"/>
                </a:lnTo>
                <a:lnTo>
                  <a:pt x="361" y="210"/>
                </a:lnTo>
                <a:lnTo>
                  <a:pt x="390" y="219"/>
                </a:lnTo>
                <a:lnTo>
                  <a:pt x="408" y="237"/>
                </a:lnTo>
                <a:lnTo>
                  <a:pt x="426" y="256"/>
                </a:lnTo>
                <a:lnTo>
                  <a:pt x="454" y="258"/>
                </a:lnTo>
                <a:lnTo>
                  <a:pt x="481" y="260"/>
                </a:lnTo>
                <a:lnTo>
                  <a:pt x="509" y="261"/>
                </a:lnTo>
                <a:lnTo>
                  <a:pt x="538" y="264"/>
                </a:lnTo>
                <a:lnTo>
                  <a:pt x="545" y="270"/>
                </a:lnTo>
                <a:lnTo>
                  <a:pt x="570" y="274"/>
                </a:lnTo>
                <a:lnTo>
                  <a:pt x="594" y="279"/>
                </a:lnTo>
                <a:lnTo>
                  <a:pt x="610" y="286"/>
                </a:lnTo>
                <a:lnTo>
                  <a:pt x="624" y="277"/>
                </a:lnTo>
                <a:lnTo>
                  <a:pt x="640" y="267"/>
                </a:lnTo>
                <a:lnTo>
                  <a:pt x="663" y="266"/>
                </a:lnTo>
                <a:lnTo>
                  <a:pt x="687" y="264"/>
                </a:lnTo>
                <a:lnTo>
                  <a:pt x="706" y="249"/>
                </a:lnTo>
                <a:lnTo>
                  <a:pt x="724" y="234"/>
                </a:lnTo>
                <a:lnTo>
                  <a:pt x="710" y="220"/>
                </a:lnTo>
                <a:lnTo>
                  <a:pt x="707" y="199"/>
                </a:lnTo>
                <a:lnTo>
                  <a:pt x="736" y="206"/>
                </a:lnTo>
                <a:lnTo>
                  <a:pt x="754" y="195"/>
                </a:lnTo>
                <a:lnTo>
                  <a:pt x="776" y="190"/>
                </a:lnTo>
                <a:lnTo>
                  <a:pt x="779" y="174"/>
                </a:lnTo>
                <a:lnTo>
                  <a:pt x="801" y="162"/>
                </a:lnTo>
                <a:lnTo>
                  <a:pt x="836" y="163"/>
                </a:lnTo>
                <a:lnTo>
                  <a:pt x="830" y="150"/>
                </a:lnTo>
                <a:lnTo>
                  <a:pt x="786" y="128"/>
                </a:lnTo>
                <a:lnTo>
                  <a:pt x="776" y="138"/>
                </a:lnTo>
                <a:lnTo>
                  <a:pt x="768" y="133"/>
                </a:lnTo>
                <a:lnTo>
                  <a:pt x="748" y="134"/>
                </a:lnTo>
                <a:lnTo>
                  <a:pt x="731" y="124"/>
                </a:lnTo>
                <a:lnTo>
                  <a:pt x="737" y="122"/>
                </a:lnTo>
                <a:lnTo>
                  <a:pt x="735" y="103"/>
                </a:lnTo>
                <a:lnTo>
                  <a:pt x="731" y="84"/>
                </a:lnTo>
                <a:lnTo>
                  <a:pt x="760" y="90"/>
                </a:lnTo>
                <a:lnTo>
                  <a:pt x="774" y="74"/>
                </a:lnTo>
                <a:lnTo>
                  <a:pt x="768" y="56"/>
                </a:lnTo>
                <a:lnTo>
                  <a:pt x="767" y="27"/>
                </a:lnTo>
                <a:lnTo>
                  <a:pt x="753" y="18"/>
                </a:lnTo>
                <a:lnTo>
                  <a:pt x="744" y="14"/>
                </a:lnTo>
                <a:lnTo>
                  <a:pt x="759" y="1"/>
                </a:lnTo>
                <a:lnTo>
                  <a:pt x="783" y="0"/>
                </a:lnTo>
                <a:lnTo>
                  <a:pt x="807" y="0"/>
                </a:lnTo>
                <a:lnTo>
                  <a:pt x="857" y="15"/>
                </a:lnTo>
                <a:lnTo>
                  <a:pt x="876" y="32"/>
                </a:lnTo>
                <a:lnTo>
                  <a:pt x="897" y="49"/>
                </a:lnTo>
                <a:lnTo>
                  <a:pt x="916" y="66"/>
                </a:lnTo>
                <a:lnTo>
                  <a:pt x="936" y="82"/>
                </a:lnTo>
                <a:lnTo>
                  <a:pt x="958" y="91"/>
                </a:lnTo>
                <a:lnTo>
                  <a:pt x="993" y="100"/>
                </a:lnTo>
                <a:lnTo>
                  <a:pt x="1013" y="109"/>
                </a:lnTo>
                <a:lnTo>
                  <a:pt x="1038" y="135"/>
                </a:lnTo>
                <a:lnTo>
                  <a:pt x="1067" y="132"/>
                </a:lnTo>
                <a:lnTo>
                  <a:pt x="1098" y="121"/>
                </a:lnTo>
                <a:lnTo>
                  <a:pt x="1110" y="142"/>
                </a:lnTo>
                <a:lnTo>
                  <a:pt x="1114" y="171"/>
                </a:lnTo>
                <a:lnTo>
                  <a:pt x="1118" y="200"/>
                </a:lnTo>
                <a:lnTo>
                  <a:pt x="1091" y="195"/>
                </a:lnTo>
                <a:lnTo>
                  <a:pt x="1088" y="208"/>
                </a:lnTo>
                <a:lnTo>
                  <a:pt x="1101" y="230"/>
                </a:lnTo>
                <a:lnTo>
                  <a:pt x="1115" y="252"/>
                </a:lnTo>
                <a:lnTo>
                  <a:pt x="1107" y="258"/>
                </a:lnTo>
                <a:lnTo>
                  <a:pt x="1112" y="265"/>
                </a:lnTo>
                <a:lnTo>
                  <a:pt x="1089" y="250"/>
                </a:lnTo>
                <a:lnTo>
                  <a:pt x="1089" y="264"/>
                </a:lnTo>
                <a:lnTo>
                  <a:pt x="1076" y="274"/>
                </a:lnTo>
                <a:lnTo>
                  <a:pt x="1068" y="277"/>
                </a:lnTo>
                <a:lnTo>
                  <a:pt x="1077" y="290"/>
                </a:lnTo>
                <a:lnTo>
                  <a:pt x="1052" y="283"/>
                </a:lnTo>
                <a:lnTo>
                  <a:pt x="1044" y="286"/>
                </a:lnTo>
                <a:lnTo>
                  <a:pt x="1031" y="308"/>
                </a:lnTo>
                <a:lnTo>
                  <a:pt x="1019" y="321"/>
                </a:lnTo>
                <a:lnTo>
                  <a:pt x="1010" y="327"/>
                </a:lnTo>
                <a:lnTo>
                  <a:pt x="996" y="337"/>
                </a:lnTo>
                <a:lnTo>
                  <a:pt x="984" y="346"/>
                </a:lnTo>
                <a:lnTo>
                  <a:pt x="969" y="352"/>
                </a:lnTo>
                <a:lnTo>
                  <a:pt x="977" y="339"/>
                </a:lnTo>
                <a:lnTo>
                  <a:pt x="964" y="333"/>
                </a:lnTo>
                <a:lnTo>
                  <a:pt x="968" y="309"/>
                </a:lnTo>
                <a:lnTo>
                  <a:pt x="957" y="303"/>
                </a:lnTo>
                <a:lnTo>
                  <a:pt x="944" y="306"/>
                </a:lnTo>
                <a:lnTo>
                  <a:pt x="934" y="321"/>
                </a:lnTo>
                <a:lnTo>
                  <a:pt x="923" y="337"/>
                </a:lnTo>
                <a:lnTo>
                  <a:pt x="909" y="346"/>
                </a:lnTo>
                <a:lnTo>
                  <a:pt x="898" y="348"/>
                </a:lnTo>
                <a:lnTo>
                  <a:pt x="905" y="364"/>
                </a:lnTo>
                <a:lnTo>
                  <a:pt x="933" y="373"/>
                </a:lnTo>
                <a:lnTo>
                  <a:pt x="945" y="392"/>
                </a:lnTo>
                <a:lnTo>
                  <a:pt x="959" y="390"/>
                </a:lnTo>
                <a:lnTo>
                  <a:pt x="976" y="378"/>
                </a:lnTo>
                <a:lnTo>
                  <a:pt x="1002" y="387"/>
                </a:lnTo>
                <a:lnTo>
                  <a:pt x="1014" y="390"/>
                </a:lnTo>
                <a:lnTo>
                  <a:pt x="1016" y="403"/>
                </a:lnTo>
                <a:lnTo>
                  <a:pt x="1004" y="400"/>
                </a:lnTo>
                <a:lnTo>
                  <a:pt x="990" y="409"/>
                </a:lnTo>
                <a:lnTo>
                  <a:pt x="983" y="421"/>
                </a:lnTo>
                <a:lnTo>
                  <a:pt x="978" y="429"/>
                </a:lnTo>
                <a:lnTo>
                  <a:pt x="975" y="453"/>
                </a:lnTo>
                <a:lnTo>
                  <a:pt x="1005" y="471"/>
                </a:lnTo>
                <a:lnTo>
                  <a:pt x="1019" y="490"/>
                </a:lnTo>
                <a:lnTo>
                  <a:pt x="1034" y="510"/>
                </a:lnTo>
                <a:lnTo>
                  <a:pt x="1056" y="530"/>
                </a:lnTo>
                <a:lnTo>
                  <a:pt x="1024" y="519"/>
                </a:lnTo>
                <a:lnTo>
                  <a:pt x="1025" y="522"/>
                </a:lnTo>
                <a:lnTo>
                  <a:pt x="1044" y="535"/>
                </a:lnTo>
                <a:lnTo>
                  <a:pt x="1065" y="548"/>
                </a:lnTo>
                <a:lnTo>
                  <a:pt x="1044" y="562"/>
                </a:lnTo>
                <a:lnTo>
                  <a:pt x="1038" y="566"/>
                </a:lnTo>
                <a:lnTo>
                  <a:pt x="1050" y="568"/>
                </a:lnTo>
                <a:lnTo>
                  <a:pt x="1064" y="567"/>
                </a:lnTo>
                <a:lnTo>
                  <a:pt x="1078" y="576"/>
                </a:lnTo>
                <a:lnTo>
                  <a:pt x="1071" y="584"/>
                </a:lnTo>
                <a:lnTo>
                  <a:pt x="1078" y="584"/>
                </a:lnTo>
                <a:lnTo>
                  <a:pt x="1077" y="589"/>
                </a:lnTo>
                <a:lnTo>
                  <a:pt x="1071" y="594"/>
                </a:lnTo>
                <a:lnTo>
                  <a:pt x="1073" y="597"/>
                </a:lnTo>
                <a:lnTo>
                  <a:pt x="1074" y="603"/>
                </a:lnTo>
                <a:lnTo>
                  <a:pt x="1071" y="603"/>
                </a:lnTo>
                <a:lnTo>
                  <a:pt x="1077" y="613"/>
                </a:lnTo>
                <a:lnTo>
                  <a:pt x="1072" y="614"/>
                </a:lnTo>
                <a:lnTo>
                  <a:pt x="1060" y="620"/>
                </a:lnTo>
                <a:lnTo>
                  <a:pt x="1065" y="627"/>
                </a:lnTo>
                <a:lnTo>
                  <a:pt x="1061" y="640"/>
                </a:lnTo>
                <a:lnTo>
                  <a:pt x="1054" y="657"/>
                </a:lnTo>
                <a:lnTo>
                  <a:pt x="1050" y="660"/>
                </a:lnTo>
                <a:lnTo>
                  <a:pt x="1055" y="663"/>
                </a:lnTo>
                <a:lnTo>
                  <a:pt x="1046" y="669"/>
                </a:lnTo>
                <a:lnTo>
                  <a:pt x="1043" y="669"/>
                </a:lnTo>
                <a:lnTo>
                  <a:pt x="1054" y="673"/>
                </a:lnTo>
                <a:lnTo>
                  <a:pt x="1054" y="685"/>
                </a:lnTo>
                <a:lnTo>
                  <a:pt x="1048" y="684"/>
                </a:lnTo>
                <a:lnTo>
                  <a:pt x="1048" y="690"/>
                </a:lnTo>
                <a:lnTo>
                  <a:pt x="1044" y="694"/>
                </a:lnTo>
                <a:lnTo>
                  <a:pt x="1042" y="698"/>
                </a:lnTo>
                <a:lnTo>
                  <a:pt x="1040" y="706"/>
                </a:lnTo>
                <a:lnTo>
                  <a:pt x="1029" y="708"/>
                </a:lnTo>
                <a:lnTo>
                  <a:pt x="1026" y="711"/>
                </a:lnTo>
                <a:lnTo>
                  <a:pt x="1028" y="715"/>
                </a:lnTo>
                <a:lnTo>
                  <a:pt x="1022" y="723"/>
                </a:lnTo>
                <a:lnTo>
                  <a:pt x="1005" y="736"/>
                </a:lnTo>
                <a:lnTo>
                  <a:pt x="1005" y="739"/>
                </a:lnTo>
                <a:lnTo>
                  <a:pt x="998" y="746"/>
                </a:lnTo>
                <a:lnTo>
                  <a:pt x="986" y="748"/>
                </a:lnTo>
                <a:lnTo>
                  <a:pt x="983" y="750"/>
                </a:lnTo>
                <a:lnTo>
                  <a:pt x="981" y="751"/>
                </a:lnTo>
                <a:lnTo>
                  <a:pt x="971" y="753"/>
                </a:lnTo>
                <a:lnTo>
                  <a:pt x="966" y="751"/>
                </a:lnTo>
                <a:lnTo>
                  <a:pt x="962" y="757"/>
                </a:lnTo>
                <a:lnTo>
                  <a:pt x="959" y="759"/>
                </a:lnTo>
                <a:lnTo>
                  <a:pt x="952" y="758"/>
                </a:lnTo>
                <a:lnTo>
                  <a:pt x="941" y="742"/>
                </a:lnTo>
                <a:lnTo>
                  <a:pt x="936" y="748"/>
                </a:lnTo>
                <a:lnTo>
                  <a:pt x="941" y="765"/>
                </a:lnTo>
                <a:lnTo>
                  <a:pt x="935" y="759"/>
                </a:lnTo>
                <a:lnTo>
                  <a:pt x="936" y="769"/>
                </a:lnTo>
                <a:lnTo>
                  <a:pt x="932" y="768"/>
                </a:lnTo>
                <a:lnTo>
                  <a:pt x="924" y="776"/>
                </a:lnTo>
                <a:lnTo>
                  <a:pt x="918" y="770"/>
                </a:lnTo>
                <a:lnTo>
                  <a:pt x="916" y="775"/>
                </a:lnTo>
                <a:lnTo>
                  <a:pt x="910" y="775"/>
                </a:lnTo>
                <a:lnTo>
                  <a:pt x="897" y="782"/>
                </a:lnTo>
                <a:lnTo>
                  <a:pt x="885" y="786"/>
                </a:lnTo>
                <a:lnTo>
                  <a:pt x="880" y="787"/>
                </a:lnTo>
                <a:lnTo>
                  <a:pt x="879" y="799"/>
                </a:lnTo>
                <a:lnTo>
                  <a:pt x="884" y="812"/>
                </a:lnTo>
                <a:lnTo>
                  <a:pt x="873" y="810"/>
                </a:lnTo>
                <a:lnTo>
                  <a:pt x="867" y="786"/>
                </a:lnTo>
                <a:lnTo>
                  <a:pt x="861" y="781"/>
                </a:lnTo>
                <a:lnTo>
                  <a:pt x="852" y="782"/>
                </a:lnTo>
                <a:lnTo>
                  <a:pt x="844" y="778"/>
                </a:lnTo>
                <a:lnTo>
                  <a:pt x="837" y="775"/>
                </a:lnTo>
                <a:lnTo>
                  <a:pt x="834" y="778"/>
                </a:lnTo>
                <a:lnTo>
                  <a:pt x="827" y="781"/>
                </a:lnTo>
                <a:lnTo>
                  <a:pt x="806" y="772"/>
                </a:lnTo>
                <a:lnTo>
                  <a:pt x="796" y="765"/>
                </a:lnTo>
                <a:lnTo>
                  <a:pt x="792" y="748"/>
                </a:lnTo>
                <a:lnTo>
                  <a:pt x="766" y="740"/>
                </a:lnTo>
                <a:lnTo>
                  <a:pt x="758" y="739"/>
                </a:lnTo>
                <a:lnTo>
                  <a:pt x="744" y="753"/>
                </a:lnTo>
                <a:lnTo>
                  <a:pt x="737" y="753"/>
                </a:lnTo>
                <a:lnTo>
                  <a:pt x="734" y="756"/>
                </a:lnTo>
                <a:lnTo>
                  <a:pt x="728" y="754"/>
                </a:lnTo>
                <a:lnTo>
                  <a:pt x="719" y="754"/>
                </a:lnTo>
                <a:lnTo>
                  <a:pt x="714" y="758"/>
                </a:lnTo>
                <a:lnTo>
                  <a:pt x="702" y="754"/>
                </a:lnTo>
                <a:lnTo>
                  <a:pt x="698" y="760"/>
                </a:lnTo>
                <a:lnTo>
                  <a:pt x="687" y="760"/>
                </a:lnTo>
                <a:lnTo>
                  <a:pt x="693" y="790"/>
                </a:lnTo>
                <a:lnTo>
                  <a:pt x="683" y="786"/>
                </a:lnTo>
                <a:lnTo>
                  <a:pt x="680" y="781"/>
                </a:lnTo>
                <a:lnTo>
                  <a:pt x="674" y="778"/>
                </a:lnTo>
                <a:lnTo>
                  <a:pt x="658" y="782"/>
                </a:lnTo>
                <a:lnTo>
                  <a:pt x="648" y="769"/>
                </a:lnTo>
                <a:lnTo>
                  <a:pt x="636" y="763"/>
                </a:lnTo>
                <a:lnTo>
                  <a:pt x="639" y="744"/>
                </a:lnTo>
                <a:lnTo>
                  <a:pt x="624" y="736"/>
                </a:lnTo>
                <a:lnTo>
                  <a:pt x="618" y="721"/>
                </a:lnTo>
                <a:lnTo>
                  <a:pt x="617" y="717"/>
                </a:lnTo>
                <a:lnTo>
                  <a:pt x="594" y="721"/>
                </a:lnTo>
                <a:lnTo>
                  <a:pt x="593" y="710"/>
                </a:lnTo>
                <a:lnTo>
                  <a:pt x="592" y="699"/>
                </a:lnTo>
                <a:lnTo>
                  <a:pt x="603" y="682"/>
                </a:lnTo>
                <a:lnTo>
                  <a:pt x="606" y="670"/>
                </a:lnTo>
                <a:lnTo>
                  <a:pt x="602" y="651"/>
                </a:lnTo>
                <a:lnTo>
                  <a:pt x="597" y="631"/>
                </a:lnTo>
                <a:lnTo>
                  <a:pt x="587" y="626"/>
                </a:lnTo>
                <a:lnTo>
                  <a:pt x="569" y="607"/>
                </a:lnTo>
                <a:lnTo>
                  <a:pt x="567" y="615"/>
                </a:lnTo>
                <a:lnTo>
                  <a:pt x="544" y="607"/>
                </a:lnTo>
                <a:lnTo>
                  <a:pt x="544" y="597"/>
                </a:lnTo>
                <a:lnTo>
                  <a:pt x="535" y="594"/>
                </a:lnTo>
                <a:lnTo>
                  <a:pt x="538" y="590"/>
                </a:lnTo>
                <a:lnTo>
                  <a:pt x="528" y="588"/>
                </a:lnTo>
                <a:lnTo>
                  <a:pt x="516" y="594"/>
                </a:lnTo>
                <a:lnTo>
                  <a:pt x="499" y="59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34" name="Freeform 141"/>
          <p:cNvSpPr>
            <a:spLocks/>
          </p:cNvSpPr>
          <p:nvPr/>
        </p:nvSpPr>
        <p:spPr bwMode="auto">
          <a:xfrm>
            <a:off x="6646863" y="2979738"/>
            <a:ext cx="862012" cy="347662"/>
          </a:xfrm>
          <a:custGeom>
            <a:avLst/>
            <a:gdLst>
              <a:gd name="T0" fmla="*/ 2147483647 w 647"/>
              <a:gd name="T1" fmla="*/ 2147483647 h 254"/>
              <a:gd name="T2" fmla="*/ 2147483647 w 647"/>
              <a:gd name="T3" fmla="*/ 2147483647 h 254"/>
              <a:gd name="T4" fmla="*/ 2147483647 w 647"/>
              <a:gd name="T5" fmla="*/ 2147483647 h 254"/>
              <a:gd name="T6" fmla="*/ 2147483647 w 647"/>
              <a:gd name="T7" fmla="*/ 2147483647 h 254"/>
              <a:gd name="T8" fmla="*/ 2147483647 w 647"/>
              <a:gd name="T9" fmla="*/ 2147483647 h 254"/>
              <a:gd name="T10" fmla="*/ 2147483647 w 647"/>
              <a:gd name="T11" fmla="*/ 2147483647 h 254"/>
              <a:gd name="T12" fmla="*/ 2147483647 w 647"/>
              <a:gd name="T13" fmla="*/ 2147483647 h 254"/>
              <a:gd name="T14" fmla="*/ 2147483647 w 647"/>
              <a:gd name="T15" fmla="*/ 2147483647 h 254"/>
              <a:gd name="T16" fmla="*/ 2147483647 w 647"/>
              <a:gd name="T17" fmla="*/ 2147483647 h 254"/>
              <a:gd name="T18" fmla="*/ 2147483647 w 647"/>
              <a:gd name="T19" fmla="*/ 2147483647 h 254"/>
              <a:gd name="T20" fmla="*/ 2147483647 w 647"/>
              <a:gd name="T21" fmla="*/ 2147483647 h 254"/>
              <a:gd name="T22" fmla="*/ 2147483647 w 647"/>
              <a:gd name="T23" fmla="*/ 2147483647 h 254"/>
              <a:gd name="T24" fmla="*/ 2147483647 w 647"/>
              <a:gd name="T25" fmla="*/ 2147483647 h 254"/>
              <a:gd name="T26" fmla="*/ 2147483647 w 647"/>
              <a:gd name="T27" fmla="*/ 2147483647 h 254"/>
              <a:gd name="T28" fmla="*/ 2147483647 w 647"/>
              <a:gd name="T29" fmla="*/ 2147483647 h 254"/>
              <a:gd name="T30" fmla="*/ 2147483647 w 647"/>
              <a:gd name="T31" fmla="*/ 0 h 254"/>
              <a:gd name="T32" fmla="*/ 2147483647 w 647"/>
              <a:gd name="T33" fmla="*/ 2147483647 h 254"/>
              <a:gd name="T34" fmla="*/ 2147483647 w 647"/>
              <a:gd name="T35" fmla="*/ 2147483647 h 254"/>
              <a:gd name="T36" fmla="*/ 2147483647 w 647"/>
              <a:gd name="T37" fmla="*/ 2147483647 h 254"/>
              <a:gd name="T38" fmla="*/ 2147483647 w 647"/>
              <a:gd name="T39" fmla="*/ 2147483647 h 254"/>
              <a:gd name="T40" fmla="*/ 2147483647 w 647"/>
              <a:gd name="T41" fmla="*/ 2147483647 h 254"/>
              <a:gd name="T42" fmla="*/ 2147483647 w 647"/>
              <a:gd name="T43" fmla="*/ 2147483647 h 254"/>
              <a:gd name="T44" fmla="*/ 2147483647 w 647"/>
              <a:gd name="T45" fmla="*/ 2147483647 h 254"/>
              <a:gd name="T46" fmla="*/ 2147483647 w 647"/>
              <a:gd name="T47" fmla="*/ 2147483647 h 254"/>
              <a:gd name="T48" fmla="*/ 2147483647 w 647"/>
              <a:gd name="T49" fmla="*/ 2147483647 h 254"/>
              <a:gd name="T50" fmla="*/ 2147483647 w 647"/>
              <a:gd name="T51" fmla="*/ 2147483647 h 254"/>
              <a:gd name="T52" fmla="*/ 2147483647 w 647"/>
              <a:gd name="T53" fmla="*/ 2147483647 h 254"/>
              <a:gd name="T54" fmla="*/ 2147483647 w 647"/>
              <a:gd name="T55" fmla="*/ 2147483647 h 254"/>
              <a:gd name="T56" fmla="*/ 2147483647 w 647"/>
              <a:gd name="T57" fmla="*/ 2147483647 h 254"/>
              <a:gd name="T58" fmla="*/ 2147483647 w 647"/>
              <a:gd name="T59" fmla="*/ 2147483647 h 254"/>
              <a:gd name="T60" fmla="*/ 2147483647 w 647"/>
              <a:gd name="T61" fmla="*/ 2147483647 h 254"/>
              <a:gd name="T62" fmla="*/ 2147483647 w 647"/>
              <a:gd name="T63" fmla="*/ 2147483647 h 254"/>
              <a:gd name="T64" fmla="*/ 2147483647 w 647"/>
              <a:gd name="T65" fmla="*/ 2147483647 h 254"/>
              <a:gd name="T66" fmla="*/ 2147483647 w 647"/>
              <a:gd name="T67" fmla="*/ 2147483647 h 254"/>
              <a:gd name="T68" fmla="*/ 2147483647 w 647"/>
              <a:gd name="T69" fmla="*/ 2147483647 h 25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647"/>
              <a:gd name="T106" fmla="*/ 0 h 254"/>
              <a:gd name="T107" fmla="*/ 647 w 647"/>
              <a:gd name="T108" fmla="*/ 254 h 254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647" h="254">
                <a:moveTo>
                  <a:pt x="405" y="247"/>
                </a:moveTo>
                <a:lnTo>
                  <a:pt x="381" y="242"/>
                </a:lnTo>
                <a:lnTo>
                  <a:pt x="356" y="238"/>
                </a:lnTo>
                <a:lnTo>
                  <a:pt x="349" y="232"/>
                </a:lnTo>
                <a:lnTo>
                  <a:pt x="320" y="229"/>
                </a:lnTo>
                <a:lnTo>
                  <a:pt x="292" y="228"/>
                </a:lnTo>
                <a:lnTo>
                  <a:pt x="265" y="226"/>
                </a:lnTo>
                <a:lnTo>
                  <a:pt x="237" y="224"/>
                </a:lnTo>
                <a:lnTo>
                  <a:pt x="219" y="205"/>
                </a:lnTo>
                <a:lnTo>
                  <a:pt x="201" y="187"/>
                </a:lnTo>
                <a:lnTo>
                  <a:pt x="172" y="178"/>
                </a:lnTo>
                <a:lnTo>
                  <a:pt x="144" y="169"/>
                </a:lnTo>
                <a:lnTo>
                  <a:pt x="121" y="166"/>
                </a:lnTo>
                <a:lnTo>
                  <a:pt x="97" y="161"/>
                </a:lnTo>
                <a:lnTo>
                  <a:pt x="90" y="142"/>
                </a:lnTo>
                <a:lnTo>
                  <a:pt x="82" y="121"/>
                </a:lnTo>
                <a:lnTo>
                  <a:pt x="54" y="101"/>
                </a:lnTo>
                <a:lnTo>
                  <a:pt x="38" y="98"/>
                </a:lnTo>
                <a:lnTo>
                  <a:pt x="9" y="80"/>
                </a:lnTo>
                <a:lnTo>
                  <a:pt x="2" y="72"/>
                </a:lnTo>
                <a:lnTo>
                  <a:pt x="0" y="68"/>
                </a:lnTo>
                <a:lnTo>
                  <a:pt x="9" y="60"/>
                </a:lnTo>
                <a:lnTo>
                  <a:pt x="27" y="53"/>
                </a:lnTo>
                <a:lnTo>
                  <a:pt x="46" y="41"/>
                </a:lnTo>
                <a:lnTo>
                  <a:pt x="66" y="30"/>
                </a:lnTo>
                <a:lnTo>
                  <a:pt x="105" y="35"/>
                </a:lnTo>
                <a:lnTo>
                  <a:pt x="111" y="43"/>
                </a:lnTo>
                <a:lnTo>
                  <a:pt x="141" y="48"/>
                </a:lnTo>
                <a:lnTo>
                  <a:pt x="170" y="53"/>
                </a:lnTo>
                <a:lnTo>
                  <a:pt x="184" y="41"/>
                </a:lnTo>
                <a:lnTo>
                  <a:pt x="166" y="24"/>
                </a:lnTo>
                <a:lnTo>
                  <a:pt x="171" y="0"/>
                </a:lnTo>
                <a:lnTo>
                  <a:pt x="205" y="7"/>
                </a:lnTo>
                <a:lnTo>
                  <a:pt x="237" y="14"/>
                </a:lnTo>
                <a:lnTo>
                  <a:pt x="252" y="28"/>
                </a:lnTo>
                <a:lnTo>
                  <a:pt x="282" y="43"/>
                </a:lnTo>
                <a:lnTo>
                  <a:pt x="315" y="37"/>
                </a:lnTo>
                <a:lnTo>
                  <a:pt x="342" y="42"/>
                </a:lnTo>
                <a:lnTo>
                  <a:pt x="369" y="48"/>
                </a:lnTo>
                <a:lnTo>
                  <a:pt x="380" y="58"/>
                </a:lnTo>
                <a:lnTo>
                  <a:pt x="421" y="67"/>
                </a:lnTo>
                <a:lnTo>
                  <a:pt x="444" y="64"/>
                </a:lnTo>
                <a:lnTo>
                  <a:pt x="465" y="59"/>
                </a:lnTo>
                <a:lnTo>
                  <a:pt x="488" y="42"/>
                </a:lnTo>
                <a:lnTo>
                  <a:pt x="524" y="50"/>
                </a:lnTo>
                <a:lnTo>
                  <a:pt x="542" y="52"/>
                </a:lnTo>
                <a:lnTo>
                  <a:pt x="546" y="71"/>
                </a:lnTo>
                <a:lnTo>
                  <a:pt x="548" y="90"/>
                </a:lnTo>
                <a:lnTo>
                  <a:pt x="542" y="92"/>
                </a:lnTo>
                <a:lnTo>
                  <a:pt x="559" y="102"/>
                </a:lnTo>
                <a:lnTo>
                  <a:pt x="579" y="101"/>
                </a:lnTo>
                <a:lnTo>
                  <a:pt x="587" y="106"/>
                </a:lnTo>
                <a:lnTo>
                  <a:pt x="597" y="96"/>
                </a:lnTo>
                <a:lnTo>
                  <a:pt x="641" y="118"/>
                </a:lnTo>
                <a:lnTo>
                  <a:pt x="647" y="131"/>
                </a:lnTo>
                <a:lnTo>
                  <a:pt x="612" y="130"/>
                </a:lnTo>
                <a:lnTo>
                  <a:pt x="590" y="142"/>
                </a:lnTo>
                <a:lnTo>
                  <a:pt x="587" y="158"/>
                </a:lnTo>
                <a:lnTo>
                  <a:pt x="565" y="163"/>
                </a:lnTo>
                <a:lnTo>
                  <a:pt x="547" y="174"/>
                </a:lnTo>
                <a:lnTo>
                  <a:pt x="518" y="167"/>
                </a:lnTo>
                <a:lnTo>
                  <a:pt x="521" y="188"/>
                </a:lnTo>
                <a:lnTo>
                  <a:pt x="535" y="202"/>
                </a:lnTo>
                <a:lnTo>
                  <a:pt x="517" y="217"/>
                </a:lnTo>
                <a:lnTo>
                  <a:pt x="498" y="232"/>
                </a:lnTo>
                <a:lnTo>
                  <a:pt x="474" y="234"/>
                </a:lnTo>
                <a:lnTo>
                  <a:pt x="451" y="235"/>
                </a:lnTo>
                <a:lnTo>
                  <a:pt x="435" y="245"/>
                </a:lnTo>
                <a:lnTo>
                  <a:pt x="421" y="254"/>
                </a:lnTo>
                <a:lnTo>
                  <a:pt x="405" y="24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35" name="Freeform 142"/>
          <p:cNvSpPr>
            <a:spLocks/>
          </p:cNvSpPr>
          <p:nvPr/>
        </p:nvSpPr>
        <p:spPr bwMode="auto">
          <a:xfrm>
            <a:off x="5607050" y="2868613"/>
            <a:ext cx="1019175" cy="469900"/>
          </a:xfrm>
          <a:custGeom>
            <a:avLst/>
            <a:gdLst>
              <a:gd name="T0" fmla="*/ 2147483647 w 768"/>
              <a:gd name="T1" fmla="*/ 2147483647 h 339"/>
              <a:gd name="T2" fmla="*/ 2147483647 w 768"/>
              <a:gd name="T3" fmla="*/ 2147483647 h 339"/>
              <a:gd name="T4" fmla="*/ 2147483647 w 768"/>
              <a:gd name="T5" fmla="*/ 2147483647 h 339"/>
              <a:gd name="T6" fmla="*/ 2147483647 w 768"/>
              <a:gd name="T7" fmla="*/ 2147483647 h 339"/>
              <a:gd name="T8" fmla="*/ 2147483647 w 768"/>
              <a:gd name="T9" fmla="*/ 2147483647 h 339"/>
              <a:gd name="T10" fmla="*/ 2147483647 w 768"/>
              <a:gd name="T11" fmla="*/ 2147483647 h 339"/>
              <a:gd name="T12" fmla="*/ 2147483647 w 768"/>
              <a:gd name="T13" fmla="*/ 2147483647 h 339"/>
              <a:gd name="T14" fmla="*/ 2147483647 w 768"/>
              <a:gd name="T15" fmla="*/ 2147483647 h 339"/>
              <a:gd name="T16" fmla="*/ 2147483647 w 768"/>
              <a:gd name="T17" fmla="*/ 2147483647 h 339"/>
              <a:gd name="T18" fmla="*/ 2147483647 w 768"/>
              <a:gd name="T19" fmla="*/ 2147483647 h 339"/>
              <a:gd name="T20" fmla="*/ 2147483647 w 768"/>
              <a:gd name="T21" fmla="*/ 2147483647 h 339"/>
              <a:gd name="T22" fmla="*/ 2147483647 w 768"/>
              <a:gd name="T23" fmla="*/ 2147483647 h 339"/>
              <a:gd name="T24" fmla="*/ 2147483647 w 768"/>
              <a:gd name="T25" fmla="*/ 2147483647 h 339"/>
              <a:gd name="T26" fmla="*/ 2147483647 w 768"/>
              <a:gd name="T27" fmla="*/ 2147483647 h 339"/>
              <a:gd name="T28" fmla="*/ 2147483647 w 768"/>
              <a:gd name="T29" fmla="*/ 2147483647 h 339"/>
              <a:gd name="T30" fmla="*/ 2147483647 w 768"/>
              <a:gd name="T31" fmla="*/ 2147483647 h 339"/>
              <a:gd name="T32" fmla="*/ 2147483647 w 768"/>
              <a:gd name="T33" fmla="*/ 2147483647 h 339"/>
              <a:gd name="T34" fmla="*/ 2147483647 w 768"/>
              <a:gd name="T35" fmla="*/ 2147483647 h 339"/>
              <a:gd name="T36" fmla="*/ 2147483647 w 768"/>
              <a:gd name="T37" fmla="*/ 2147483647 h 339"/>
              <a:gd name="T38" fmla="*/ 2147483647 w 768"/>
              <a:gd name="T39" fmla="*/ 2147483647 h 339"/>
              <a:gd name="T40" fmla="*/ 2147483647 w 768"/>
              <a:gd name="T41" fmla="*/ 2147483647 h 339"/>
              <a:gd name="T42" fmla="*/ 2147483647 w 768"/>
              <a:gd name="T43" fmla="*/ 2147483647 h 339"/>
              <a:gd name="T44" fmla="*/ 2147483647 w 768"/>
              <a:gd name="T45" fmla="*/ 2147483647 h 339"/>
              <a:gd name="T46" fmla="*/ 2147483647 w 768"/>
              <a:gd name="T47" fmla="*/ 2147483647 h 339"/>
              <a:gd name="T48" fmla="*/ 2147483647 w 768"/>
              <a:gd name="T49" fmla="*/ 2147483647 h 339"/>
              <a:gd name="T50" fmla="*/ 2147483647 w 768"/>
              <a:gd name="T51" fmla="*/ 2147483647 h 339"/>
              <a:gd name="T52" fmla="*/ 2147483647 w 768"/>
              <a:gd name="T53" fmla="*/ 2147483647 h 339"/>
              <a:gd name="T54" fmla="*/ 2147483647 w 768"/>
              <a:gd name="T55" fmla="*/ 2147483647 h 339"/>
              <a:gd name="T56" fmla="*/ 2147483647 w 768"/>
              <a:gd name="T57" fmla="*/ 2147483647 h 339"/>
              <a:gd name="T58" fmla="*/ 2147483647 w 768"/>
              <a:gd name="T59" fmla="*/ 2147483647 h 339"/>
              <a:gd name="T60" fmla="*/ 2147483647 w 768"/>
              <a:gd name="T61" fmla="*/ 2147483647 h 339"/>
              <a:gd name="T62" fmla="*/ 2147483647 w 768"/>
              <a:gd name="T63" fmla="*/ 2147483647 h 339"/>
              <a:gd name="T64" fmla="*/ 2147483647 w 768"/>
              <a:gd name="T65" fmla="*/ 2147483647 h 339"/>
              <a:gd name="T66" fmla="*/ 2147483647 w 768"/>
              <a:gd name="T67" fmla="*/ 2147483647 h 339"/>
              <a:gd name="T68" fmla="*/ 2147483647 w 768"/>
              <a:gd name="T69" fmla="*/ 2147483647 h 339"/>
              <a:gd name="T70" fmla="*/ 2147483647 w 768"/>
              <a:gd name="T71" fmla="*/ 2147483647 h 339"/>
              <a:gd name="T72" fmla="*/ 2147483647 w 768"/>
              <a:gd name="T73" fmla="*/ 2147483647 h 339"/>
              <a:gd name="T74" fmla="*/ 2147483647 w 768"/>
              <a:gd name="T75" fmla="*/ 2147483647 h 339"/>
              <a:gd name="T76" fmla="*/ 2147483647 w 768"/>
              <a:gd name="T77" fmla="*/ 2147483647 h 339"/>
              <a:gd name="T78" fmla="*/ 2147483647 w 768"/>
              <a:gd name="T79" fmla="*/ 2147483647 h 339"/>
              <a:gd name="T80" fmla="*/ 2147483647 w 768"/>
              <a:gd name="T81" fmla="*/ 2147483647 h 339"/>
              <a:gd name="T82" fmla="*/ 2147483647 w 768"/>
              <a:gd name="T83" fmla="*/ 2147483647 h 339"/>
              <a:gd name="T84" fmla="*/ 2147483647 w 768"/>
              <a:gd name="T85" fmla="*/ 2147483647 h 339"/>
              <a:gd name="T86" fmla="*/ 2147483647 w 768"/>
              <a:gd name="T87" fmla="*/ 2147483647 h 339"/>
              <a:gd name="T88" fmla="*/ 2147483647 w 768"/>
              <a:gd name="T89" fmla="*/ 2147483647 h 339"/>
              <a:gd name="T90" fmla="*/ 2147483647 w 768"/>
              <a:gd name="T91" fmla="*/ 2147483647 h 339"/>
              <a:gd name="T92" fmla="*/ 2147483647 w 768"/>
              <a:gd name="T93" fmla="*/ 2147483647 h 339"/>
              <a:gd name="T94" fmla="*/ 2147483647 w 768"/>
              <a:gd name="T95" fmla="*/ 2147483647 h 339"/>
              <a:gd name="T96" fmla="*/ 2147483647 w 768"/>
              <a:gd name="T97" fmla="*/ 2147483647 h 339"/>
              <a:gd name="T98" fmla="*/ 2147483647 w 768"/>
              <a:gd name="T99" fmla="*/ 2147483647 h 339"/>
              <a:gd name="T100" fmla="*/ 2147483647 w 768"/>
              <a:gd name="T101" fmla="*/ 2147483647 h 339"/>
              <a:gd name="T102" fmla="*/ 2147483647 w 768"/>
              <a:gd name="T103" fmla="*/ 2147483647 h 339"/>
              <a:gd name="T104" fmla="*/ 2147483647 w 768"/>
              <a:gd name="T105" fmla="*/ 2147483647 h 339"/>
              <a:gd name="T106" fmla="*/ 2147483647 w 768"/>
              <a:gd name="T107" fmla="*/ 2147483647 h 339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768"/>
              <a:gd name="T163" fmla="*/ 0 h 339"/>
              <a:gd name="T164" fmla="*/ 768 w 768"/>
              <a:gd name="T165" fmla="*/ 339 h 339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768" h="339">
                <a:moveTo>
                  <a:pt x="105" y="201"/>
                </a:moveTo>
                <a:lnTo>
                  <a:pt x="89" y="200"/>
                </a:lnTo>
                <a:lnTo>
                  <a:pt x="63" y="212"/>
                </a:lnTo>
                <a:lnTo>
                  <a:pt x="61" y="213"/>
                </a:lnTo>
                <a:lnTo>
                  <a:pt x="47" y="189"/>
                </a:lnTo>
                <a:lnTo>
                  <a:pt x="23" y="171"/>
                </a:lnTo>
                <a:lnTo>
                  <a:pt x="0" y="153"/>
                </a:lnTo>
                <a:lnTo>
                  <a:pt x="3" y="126"/>
                </a:lnTo>
                <a:lnTo>
                  <a:pt x="6" y="99"/>
                </a:lnTo>
                <a:lnTo>
                  <a:pt x="29" y="110"/>
                </a:lnTo>
                <a:lnTo>
                  <a:pt x="32" y="99"/>
                </a:lnTo>
                <a:lnTo>
                  <a:pt x="47" y="88"/>
                </a:lnTo>
                <a:lnTo>
                  <a:pt x="62" y="78"/>
                </a:lnTo>
                <a:lnTo>
                  <a:pt x="90" y="78"/>
                </a:lnTo>
                <a:lnTo>
                  <a:pt x="115" y="90"/>
                </a:lnTo>
                <a:lnTo>
                  <a:pt x="141" y="100"/>
                </a:lnTo>
                <a:lnTo>
                  <a:pt x="170" y="99"/>
                </a:lnTo>
                <a:lnTo>
                  <a:pt x="207" y="98"/>
                </a:lnTo>
                <a:lnTo>
                  <a:pt x="246" y="104"/>
                </a:lnTo>
                <a:lnTo>
                  <a:pt x="248" y="98"/>
                </a:lnTo>
                <a:lnTo>
                  <a:pt x="228" y="73"/>
                </a:lnTo>
                <a:lnTo>
                  <a:pt x="237" y="46"/>
                </a:lnTo>
                <a:lnTo>
                  <a:pt x="254" y="46"/>
                </a:lnTo>
                <a:lnTo>
                  <a:pt x="231" y="36"/>
                </a:lnTo>
                <a:lnTo>
                  <a:pt x="255" y="31"/>
                </a:lnTo>
                <a:lnTo>
                  <a:pt x="281" y="27"/>
                </a:lnTo>
                <a:lnTo>
                  <a:pt x="303" y="21"/>
                </a:lnTo>
                <a:lnTo>
                  <a:pt x="327" y="14"/>
                </a:lnTo>
                <a:lnTo>
                  <a:pt x="350" y="8"/>
                </a:lnTo>
                <a:lnTo>
                  <a:pt x="373" y="1"/>
                </a:lnTo>
                <a:lnTo>
                  <a:pt x="390" y="0"/>
                </a:lnTo>
                <a:lnTo>
                  <a:pt x="404" y="14"/>
                </a:lnTo>
                <a:lnTo>
                  <a:pt x="442" y="27"/>
                </a:lnTo>
                <a:lnTo>
                  <a:pt x="455" y="34"/>
                </a:lnTo>
                <a:lnTo>
                  <a:pt x="470" y="37"/>
                </a:lnTo>
                <a:lnTo>
                  <a:pt x="494" y="28"/>
                </a:lnTo>
                <a:lnTo>
                  <a:pt x="520" y="19"/>
                </a:lnTo>
                <a:lnTo>
                  <a:pt x="523" y="22"/>
                </a:lnTo>
                <a:lnTo>
                  <a:pt x="520" y="34"/>
                </a:lnTo>
                <a:lnTo>
                  <a:pt x="546" y="51"/>
                </a:lnTo>
                <a:lnTo>
                  <a:pt x="572" y="69"/>
                </a:lnTo>
                <a:lnTo>
                  <a:pt x="599" y="87"/>
                </a:lnTo>
                <a:lnTo>
                  <a:pt x="625" y="105"/>
                </a:lnTo>
                <a:lnTo>
                  <a:pt x="629" y="99"/>
                </a:lnTo>
                <a:lnTo>
                  <a:pt x="643" y="104"/>
                </a:lnTo>
                <a:lnTo>
                  <a:pt x="668" y="100"/>
                </a:lnTo>
                <a:lnTo>
                  <a:pt x="695" y="116"/>
                </a:lnTo>
                <a:lnTo>
                  <a:pt x="721" y="133"/>
                </a:lnTo>
                <a:lnTo>
                  <a:pt x="746" y="127"/>
                </a:lnTo>
                <a:lnTo>
                  <a:pt x="768" y="150"/>
                </a:lnTo>
                <a:lnTo>
                  <a:pt x="761" y="166"/>
                </a:lnTo>
                <a:lnTo>
                  <a:pt x="751" y="172"/>
                </a:lnTo>
                <a:lnTo>
                  <a:pt x="761" y="199"/>
                </a:lnTo>
                <a:lnTo>
                  <a:pt x="743" y="201"/>
                </a:lnTo>
                <a:lnTo>
                  <a:pt x="712" y="195"/>
                </a:lnTo>
                <a:lnTo>
                  <a:pt x="714" y="216"/>
                </a:lnTo>
                <a:lnTo>
                  <a:pt x="716" y="237"/>
                </a:lnTo>
                <a:lnTo>
                  <a:pt x="724" y="246"/>
                </a:lnTo>
                <a:lnTo>
                  <a:pt x="696" y="243"/>
                </a:lnTo>
                <a:lnTo>
                  <a:pt x="673" y="252"/>
                </a:lnTo>
                <a:lnTo>
                  <a:pt x="686" y="259"/>
                </a:lnTo>
                <a:lnTo>
                  <a:pt x="695" y="277"/>
                </a:lnTo>
                <a:lnTo>
                  <a:pt x="704" y="295"/>
                </a:lnTo>
                <a:lnTo>
                  <a:pt x="704" y="300"/>
                </a:lnTo>
                <a:lnTo>
                  <a:pt x="700" y="304"/>
                </a:lnTo>
                <a:lnTo>
                  <a:pt x="673" y="289"/>
                </a:lnTo>
                <a:lnTo>
                  <a:pt x="648" y="291"/>
                </a:lnTo>
                <a:lnTo>
                  <a:pt x="622" y="295"/>
                </a:lnTo>
                <a:lnTo>
                  <a:pt x="593" y="295"/>
                </a:lnTo>
                <a:lnTo>
                  <a:pt x="575" y="292"/>
                </a:lnTo>
                <a:lnTo>
                  <a:pt x="564" y="307"/>
                </a:lnTo>
                <a:lnTo>
                  <a:pt x="542" y="303"/>
                </a:lnTo>
                <a:lnTo>
                  <a:pt x="522" y="301"/>
                </a:lnTo>
                <a:lnTo>
                  <a:pt x="509" y="312"/>
                </a:lnTo>
                <a:lnTo>
                  <a:pt x="490" y="325"/>
                </a:lnTo>
                <a:lnTo>
                  <a:pt x="470" y="339"/>
                </a:lnTo>
                <a:lnTo>
                  <a:pt x="451" y="330"/>
                </a:lnTo>
                <a:lnTo>
                  <a:pt x="432" y="320"/>
                </a:lnTo>
                <a:lnTo>
                  <a:pt x="431" y="300"/>
                </a:lnTo>
                <a:lnTo>
                  <a:pt x="408" y="284"/>
                </a:lnTo>
                <a:lnTo>
                  <a:pt x="388" y="283"/>
                </a:lnTo>
                <a:lnTo>
                  <a:pt x="367" y="282"/>
                </a:lnTo>
                <a:lnTo>
                  <a:pt x="345" y="280"/>
                </a:lnTo>
                <a:lnTo>
                  <a:pt x="325" y="278"/>
                </a:lnTo>
                <a:lnTo>
                  <a:pt x="305" y="254"/>
                </a:lnTo>
                <a:lnTo>
                  <a:pt x="278" y="241"/>
                </a:lnTo>
                <a:lnTo>
                  <a:pt x="252" y="228"/>
                </a:lnTo>
                <a:lnTo>
                  <a:pt x="228" y="236"/>
                </a:lnTo>
                <a:lnTo>
                  <a:pt x="203" y="246"/>
                </a:lnTo>
                <a:lnTo>
                  <a:pt x="209" y="267"/>
                </a:lnTo>
                <a:lnTo>
                  <a:pt x="213" y="289"/>
                </a:lnTo>
                <a:lnTo>
                  <a:pt x="219" y="312"/>
                </a:lnTo>
                <a:lnTo>
                  <a:pt x="225" y="333"/>
                </a:lnTo>
                <a:lnTo>
                  <a:pt x="201" y="326"/>
                </a:lnTo>
                <a:lnTo>
                  <a:pt x="177" y="319"/>
                </a:lnTo>
                <a:lnTo>
                  <a:pt x="181" y="302"/>
                </a:lnTo>
                <a:lnTo>
                  <a:pt x="145" y="302"/>
                </a:lnTo>
                <a:lnTo>
                  <a:pt x="128" y="296"/>
                </a:lnTo>
                <a:lnTo>
                  <a:pt x="121" y="291"/>
                </a:lnTo>
                <a:lnTo>
                  <a:pt x="103" y="267"/>
                </a:lnTo>
                <a:lnTo>
                  <a:pt x="92" y="260"/>
                </a:lnTo>
                <a:lnTo>
                  <a:pt x="115" y="259"/>
                </a:lnTo>
                <a:lnTo>
                  <a:pt x="105" y="249"/>
                </a:lnTo>
                <a:lnTo>
                  <a:pt x="117" y="240"/>
                </a:lnTo>
                <a:lnTo>
                  <a:pt x="143" y="240"/>
                </a:lnTo>
                <a:lnTo>
                  <a:pt x="137" y="230"/>
                </a:lnTo>
                <a:lnTo>
                  <a:pt x="132" y="202"/>
                </a:lnTo>
                <a:lnTo>
                  <a:pt x="105" y="20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36" name="Freeform 143"/>
          <p:cNvSpPr>
            <a:spLocks/>
          </p:cNvSpPr>
          <p:nvPr/>
        </p:nvSpPr>
        <p:spPr bwMode="auto">
          <a:xfrm>
            <a:off x="5448300" y="3246438"/>
            <a:ext cx="220663" cy="85725"/>
          </a:xfrm>
          <a:custGeom>
            <a:avLst/>
            <a:gdLst>
              <a:gd name="T0" fmla="*/ 2147483647 w 165"/>
              <a:gd name="T1" fmla="*/ 2147483647 h 64"/>
              <a:gd name="T2" fmla="*/ 0 w 165"/>
              <a:gd name="T3" fmla="*/ 2147483647 h 64"/>
              <a:gd name="T4" fmla="*/ 2147483647 w 165"/>
              <a:gd name="T5" fmla="*/ 0 h 64"/>
              <a:gd name="T6" fmla="*/ 2147483647 w 165"/>
              <a:gd name="T7" fmla="*/ 2147483647 h 64"/>
              <a:gd name="T8" fmla="*/ 2147483647 w 165"/>
              <a:gd name="T9" fmla="*/ 2147483647 h 64"/>
              <a:gd name="T10" fmla="*/ 2147483647 w 165"/>
              <a:gd name="T11" fmla="*/ 2147483647 h 64"/>
              <a:gd name="T12" fmla="*/ 2147483647 w 165"/>
              <a:gd name="T13" fmla="*/ 2147483647 h 64"/>
              <a:gd name="T14" fmla="*/ 2147483647 w 165"/>
              <a:gd name="T15" fmla="*/ 2147483647 h 64"/>
              <a:gd name="T16" fmla="*/ 2147483647 w 165"/>
              <a:gd name="T17" fmla="*/ 2147483647 h 64"/>
              <a:gd name="T18" fmla="*/ 2147483647 w 165"/>
              <a:gd name="T19" fmla="*/ 2147483647 h 64"/>
              <a:gd name="T20" fmla="*/ 2147483647 w 165"/>
              <a:gd name="T21" fmla="*/ 2147483647 h 64"/>
              <a:gd name="T22" fmla="*/ 2147483647 w 165"/>
              <a:gd name="T23" fmla="*/ 2147483647 h 64"/>
              <a:gd name="T24" fmla="*/ 2147483647 w 165"/>
              <a:gd name="T25" fmla="*/ 2147483647 h 64"/>
              <a:gd name="T26" fmla="*/ 2147483647 w 165"/>
              <a:gd name="T27" fmla="*/ 2147483647 h 64"/>
              <a:gd name="T28" fmla="*/ 2147483647 w 165"/>
              <a:gd name="T29" fmla="*/ 2147483647 h 64"/>
              <a:gd name="T30" fmla="*/ 2147483647 w 165"/>
              <a:gd name="T31" fmla="*/ 2147483647 h 64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65"/>
              <a:gd name="T49" fmla="*/ 0 h 64"/>
              <a:gd name="T50" fmla="*/ 165 w 165"/>
              <a:gd name="T51" fmla="*/ 64 h 64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65" h="64">
                <a:moveTo>
                  <a:pt x="32" y="23"/>
                </a:moveTo>
                <a:lnTo>
                  <a:pt x="0" y="3"/>
                </a:lnTo>
                <a:lnTo>
                  <a:pt x="1" y="0"/>
                </a:lnTo>
                <a:lnTo>
                  <a:pt x="24" y="3"/>
                </a:lnTo>
                <a:lnTo>
                  <a:pt x="45" y="4"/>
                </a:lnTo>
                <a:lnTo>
                  <a:pt x="75" y="16"/>
                </a:lnTo>
                <a:lnTo>
                  <a:pt x="105" y="28"/>
                </a:lnTo>
                <a:lnTo>
                  <a:pt x="135" y="40"/>
                </a:lnTo>
                <a:lnTo>
                  <a:pt x="165" y="52"/>
                </a:lnTo>
                <a:lnTo>
                  <a:pt x="158" y="64"/>
                </a:lnTo>
                <a:lnTo>
                  <a:pt x="139" y="60"/>
                </a:lnTo>
                <a:lnTo>
                  <a:pt x="110" y="60"/>
                </a:lnTo>
                <a:lnTo>
                  <a:pt x="80" y="60"/>
                </a:lnTo>
                <a:lnTo>
                  <a:pt x="54" y="61"/>
                </a:lnTo>
                <a:lnTo>
                  <a:pt x="53" y="43"/>
                </a:lnTo>
                <a:lnTo>
                  <a:pt x="32" y="2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37" name="Freeform 144"/>
          <p:cNvSpPr>
            <a:spLocks/>
          </p:cNvSpPr>
          <p:nvPr/>
        </p:nvSpPr>
        <p:spPr bwMode="auto">
          <a:xfrm>
            <a:off x="6284913" y="3265488"/>
            <a:ext cx="260350" cy="136525"/>
          </a:xfrm>
          <a:custGeom>
            <a:avLst/>
            <a:gdLst>
              <a:gd name="T0" fmla="*/ 2147483647 w 197"/>
              <a:gd name="T1" fmla="*/ 2147483647 h 98"/>
              <a:gd name="T2" fmla="*/ 2147483647 w 197"/>
              <a:gd name="T3" fmla="*/ 2147483647 h 98"/>
              <a:gd name="T4" fmla="*/ 2147483647 w 197"/>
              <a:gd name="T5" fmla="*/ 2147483647 h 98"/>
              <a:gd name="T6" fmla="*/ 0 w 197"/>
              <a:gd name="T7" fmla="*/ 2147483647 h 98"/>
              <a:gd name="T8" fmla="*/ 2147483647 w 197"/>
              <a:gd name="T9" fmla="*/ 2147483647 h 98"/>
              <a:gd name="T10" fmla="*/ 2147483647 w 197"/>
              <a:gd name="T11" fmla="*/ 2147483647 h 98"/>
              <a:gd name="T12" fmla="*/ 2147483647 w 197"/>
              <a:gd name="T13" fmla="*/ 2147483647 h 98"/>
              <a:gd name="T14" fmla="*/ 2147483647 w 197"/>
              <a:gd name="T15" fmla="*/ 2147483647 h 98"/>
              <a:gd name="T16" fmla="*/ 2147483647 w 197"/>
              <a:gd name="T17" fmla="*/ 2147483647 h 98"/>
              <a:gd name="T18" fmla="*/ 2147483647 w 197"/>
              <a:gd name="T19" fmla="*/ 2147483647 h 98"/>
              <a:gd name="T20" fmla="*/ 2147483647 w 197"/>
              <a:gd name="T21" fmla="*/ 2147483647 h 98"/>
              <a:gd name="T22" fmla="*/ 2147483647 w 197"/>
              <a:gd name="T23" fmla="*/ 0 h 98"/>
              <a:gd name="T24" fmla="*/ 2147483647 w 197"/>
              <a:gd name="T25" fmla="*/ 2147483647 h 98"/>
              <a:gd name="T26" fmla="*/ 2147483647 w 197"/>
              <a:gd name="T27" fmla="*/ 2147483647 h 98"/>
              <a:gd name="T28" fmla="*/ 2147483647 w 197"/>
              <a:gd name="T29" fmla="*/ 2147483647 h 98"/>
              <a:gd name="T30" fmla="*/ 2147483647 w 197"/>
              <a:gd name="T31" fmla="*/ 2147483647 h 98"/>
              <a:gd name="T32" fmla="*/ 2147483647 w 197"/>
              <a:gd name="T33" fmla="*/ 2147483647 h 98"/>
              <a:gd name="T34" fmla="*/ 2147483647 w 197"/>
              <a:gd name="T35" fmla="*/ 2147483647 h 98"/>
              <a:gd name="T36" fmla="*/ 2147483647 w 197"/>
              <a:gd name="T37" fmla="*/ 2147483647 h 98"/>
              <a:gd name="T38" fmla="*/ 2147483647 w 197"/>
              <a:gd name="T39" fmla="*/ 2147483647 h 98"/>
              <a:gd name="T40" fmla="*/ 2147483647 w 197"/>
              <a:gd name="T41" fmla="*/ 2147483647 h 98"/>
              <a:gd name="T42" fmla="*/ 2147483647 w 197"/>
              <a:gd name="T43" fmla="*/ 2147483647 h 98"/>
              <a:gd name="T44" fmla="*/ 2147483647 w 197"/>
              <a:gd name="T45" fmla="*/ 2147483647 h 98"/>
              <a:gd name="T46" fmla="*/ 2147483647 w 197"/>
              <a:gd name="T47" fmla="*/ 2147483647 h 98"/>
              <a:gd name="T48" fmla="*/ 2147483647 w 197"/>
              <a:gd name="T49" fmla="*/ 2147483647 h 98"/>
              <a:gd name="T50" fmla="*/ 2147483647 w 197"/>
              <a:gd name="T51" fmla="*/ 2147483647 h 98"/>
              <a:gd name="T52" fmla="*/ 2147483647 w 197"/>
              <a:gd name="T53" fmla="*/ 2147483647 h 98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97"/>
              <a:gd name="T82" fmla="*/ 0 h 98"/>
              <a:gd name="T83" fmla="*/ 197 w 197"/>
              <a:gd name="T84" fmla="*/ 98 h 98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97" h="98">
                <a:moveTo>
                  <a:pt x="65" y="57"/>
                </a:moveTo>
                <a:lnTo>
                  <a:pt x="43" y="43"/>
                </a:lnTo>
                <a:lnTo>
                  <a:pt x="14" y="41"/>
                </a:lnTo>
                <a:lnTo>
                  <a:pt x="0" y="23"/>
                </a:lnTo>
                <a:lnTo>
                  <a:pt x="13" y="12"/>
                </a:lnTo>
                <a:lnTo>
                  <a:pt x="33" y="14"/>
                </a:lnTo>
                <a:lnTo>
                  <a:pt x="55" y="18"/>
                </a:lnTo>
                <a:lnTo>
                  <a:pt x="66" y="3"/>
                </a:lnTo>
                <a:lnTo>
                  <a:pt x="84" y="6"/>
                </a:lnTo>
                <a:lnTo>
                  <a:pt x="113" y="6"/>
                </a:lnTo>
                <a:lnTo>
                  <a:pt x="139" y="2"/>
                </a:lnTo>
                <a:lnTo>
                  <a:pt x="164" y="0"/>
                </a:lnTo>
                <a:lnTo>
                  <a:pt x="191" y="15"/>
                </a:lnTo>
                <a:lnTo>
                  <a:pt x="197" y="27"/>
                </a:lnTo>
                <a:lnTo>
                  <a:pt x="181" y="39"/>
                </a:lnTo>
                <a:lnTo>
                  <a:pt x="164" y="53"/>
                </a:lnTo>
                <a:lnTo>
                  <a:pt x="144" y="57"/>
                </a:lnTo>
                <a:lnTo>
                  <a:pt x="131" y="73"/>
                </a:lnTo>
                <a:lnTo>
                  <a:pt x="119" y="71"/>
                </a:lnTo>
                <a:lnTo>
                  <a:pt x="109" y="71"/>
                </a:lnTo>
                <a:lnTo>
                  <a:pt x="95" y="80"/>
                </a:lnTo>
                <a:lnTo>
                  <a:pt x="86" y="98"/>
                </a:lnTo>
                <a:lnTo>
                  <a:pt x="51" y="95"/>
                </a:lnTo>
                <a:lnTo>
                  <a:pt x="15" y="90"/>
                </a:lnTo>
                <a:lnTo>
                  <a:pt x="14" y="74"/>
                </a:lnTo>
                <a:lnTo>
                  <a:pt x="39" y="66"/>
                </a:lnTo>
                <a:lnTo>
                  <a:pt x="65" y="5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38" name="Freeform 145"/>
          <p:cNvSpPr>
            <a:spLocks/>
          </p:cNvSpPr>
          <p:nvPr/>
        </p:nvSpPr>
        <p:spPr bwMode="auto">
          <a:xfrm>
            <a:off x="5800725" y="3284538"/>
            <a:ext cx="398463" cy="258762"/>
          </a:xfrm>
          <a:custGeom>
            <a:avLst/>
            <a:gdLst>
              <a:gd name="T0" fmla="*/ 2147483647 w 300"/>
              <a:gd name="T1" fmla="*/ 2147483647 h 187"/>
              <a:gd name="T2" fmla="*/ 2147483647 w 300"/>
              <a:gd name="T3" fmla="*/ 2147483647 h 187"/>
              <a:gd name="T4" fmla="*/ 2147483647 w 300"/>
              <a:gd name="T5" fmla="*/ 2147483647 h 187"/>
              <a:gd name="T6" fmla="*/ 2147483647 w 300"/>
              <a:gd name="T7" fmla="*/ 2147483647 h 187"/>
              <a:gd name="T8" fmla="*/ 2147483647 w 300"/>
              <a:gd name="T9" fmla="*/ 2147483647 h 187"/>
              <a:gd name="T10" fmla="*/ 2147483647 w 300"/>
              <a:gd name="T11" fmla="*/ 2147483647 h 187"/>
              <a:gd name="T12" fmla="*/ 2147483647 w 300"/>
              <a:gd name="T13" fmla="*/ 2147483647 h 187"/>
              <a:gd name="T14" fmla="*/ 2147483647 w 300"/>
              <a:gd name="T15" fmla="*/ 2147483647 h 187"/>
              <a:gd name="T16" fmla="*/ 2147483647 w 300"/>
              <a:gd name="T17" fmla="*/ 2147483647 h 187"/>
              <a:gd name="T18" fmla="*/ 2147483647 w 300"/>
              <a:gd name="T19" fmla="*/ 2147483647 h 187"/>
              <a:gd name="T20" fmla="*/ 2147483647 w 300"/>
              <a:gd name="T21" fmla="*/ 2147483647 h 187"/>
              <a:gd name="T22" fmla="*/ 2147483647 w 300"/>
              <a:gd name="T23" fmla="*/ 2147483647 h 187"/>
              <a:gd name="T24" fmla="*/ 2147483647 w 300"/>
              <a:gd name="T25" fmla="*/ 2147483647 h 187"/>
              <a:gd name="T26" fmla="*/ 2147483647 w 300"/>
              <a:gd name="T27" fmla="*/ 2147483647 h 187"/>
              <a:gd name="T28" fmla="*/ 2147483647 w 300"/>
              <a:gd name="T29" fmla="*/ 2147483647 h 187"/>
              <a:gd name="T30" fmla="*/ 2147483647 w 300"/>
              <a:gd name="T31" fmla="*/ 2147483647 h 187"/>
              <a:gd name="T32" fmla="*/ 2147483647 w 300"/>
              <a:gd name="T33" fmla="*/ 2147483647 h 187"/>
              <a:gd name="T34" fmla="*/ 2147483647 w 300"/>
              <a:gd name="T35" fmla="*/ 2147483647 h 187"/>
              <a:gd name="T36" fmla="*/ 2147483647 w 300"/>
              <a:gd name="T37" fmla="*/ 2147483647 h 187"/>
              <a:gd name="T38" fmla="*/ 2147483647 w 300"/>
              <a:gd name="T39" fmla="*/ 2147483647 h 187"/>
              <a:gd name="T40" fmla="*/ 2147483647 w 300"/>
              <a:gd name="T41" fmla="*/ 2147483647 h 187"/>
              <a:gd name="T42" fmla="*/ 2147483647 w 300"/>
              <a:gd name="T43" fmla="*/ 2147483647 h 187"/>
              <a:gd name="T44" fmla="*/ 2147483647 w 300"/>
              <a:gd name="T45" fmla="*/ 2147483647 h 187"/>
              <a:gd name="T46" fmla="*/ 2147483647 w 300"/>
              <a:gd name="T47" fmla="*/ 2147483647 h 187"/>
              <a:gd name="T48" fmla="*/ 2147483647 w 300"/>
              <a:gd name="T49" fmla="*/ 2147483647 h 187"/>
              <a:gd name="T50" fmla="*/ 2147483647 w 300"/>
              <a:gd name="T51" fmla="*/ 2147483647 h 187"/>
              <a:gd name="T52" fmla="*/ 2147483647 w 300"/>
              <a:gd name="T53" fmla="*/ 2147483647 h 187"/>
              <a:gd name="T54" fmla="*/ 2147483647 w 300"/>
              <a:gd name="T55" fmla="*/ 2147483647 h 187"/>
              <a:gd name="T56" fmla="*/ 2147483647 w 300"/>
              <a:gd name="T57" fmla="*/ 2147483647 h 187"/>
              <a:gd name="T58" fmla="*/ 2147483647 w 300"/>
              <a:gd name="T59" fmla="*/ 2147483647 h 187"/>
              <a:gd name="T60" fmla="*/ 2147483647 w 300"/>
              <a:gd name="T61" fmla="*/ 2147483647 h 187"/>
              <a:gd name="T62" fmla="*/ 2147483647 w 300"/>
              <a:gd name="T63" fmla="*/ 2147483647 h 187"/>
              <a:gd name="T64" fmla="*/ 2147483647 w 300"/>
              <a:gd name="T65" fmla="*/ 2147483647 h 187"/>
              <a:gd name="T66" fmla="*/ 2147483647 w 300"/>
              <a:gd name="T67" fmla="*/ 2147483647 h 187"/>
              <a:gd name="T68" fmla="*/ 2147483647 w 300"/>
              <a:gd name="T69" fmla="*/ 2147483647 h 187"/>
              <a:gd name="T70" fmla="*/ 2147483647 w 300"/>
              <a:gd name="T71" fmla="*/ 2147483647 h 187"/>
              <a:gd name="T72" fmla="*/ 2147483647 w 300"/>
              <a:gd name="T73" fmla="*/ 2147483647 h 187"/>
              <a:gd name="T74" fmla="*/ 0 w 300"/>
              <a:gd name="T75" fmla="*/ 0 h 187"/>
              <a:gd name="T76" fmla="*/ 2147483647 w 300"/>
              <a:gd name="T77" fmla="*/ 0 h 187"/>
              <a:gd name="T78" fmla="*/ 2147483647 w 300"/>
              <a:gd name="T79" fmla="*/ 2147483647 h 187"/>
              <a:gd name="T80" fmla="*/ 2147483647 w 300"/>
              <a:gd name="T81" fmla="*/ 2147483647 h 187"/>
              <a:gd name="T82" fmla="*/ 2147483647 w 300"/>
              <a:gd name="T83" fmla="*/ 2147483647 h 187"/>
              <a:gd name="T84" fmla="*/ 2147483647 w 300"/>
              <a:gd name="T85" fmla="*/ 2147483647 h 187"/>
              <a:gd name="T86" fmla="*/ 2147483647 w 300"/>
              <a:gd name="T87" fmla="*/ 2147483647 h 187"/>
              <a:gd name="T88" fmla="*/ 2147483647 w 300"/>
              <a:gd name="T89" fmla="*/ 2147483647 h 187"/>
              <a:gd name="T90" fmla="*/ 2147483647 w 300"/>
              <a:gd name="T91" fmla="*/ 0 h 187"/>
              <a:gd name="T92" fmla="*/ 2147483647 w 300"/>
              <a:gd name="T93" fmla="*/ 2147483647 h 187"/>
              <a:gd name="T94" fmla="*/ 2147483647 w 300"/>
              <a:gd name="T95" fmla="*/ 2147483647 h 187"/>
              <a:gd name="T96" fmla="*/ 2147483647 w 300"/>
              <a:gd name="T97" fmla="*/ 2147483647 h 187"/>
              <a:gd name="T98" fmla="*/ 2147483647 w 300"/>
              <a:gd name="T99" fmla="*/ 2147483647 h 187"/>
              <a:gd name="T100" fmla="*/ 2147483647 w 300"/>
              <a:gd name="T101" fmla="*/ 2147483647 h 187"/>
              <a:gd name="T102" fmla="*/ 2147483647 w 300"/>
              <a:gd name="T103" fmla="*/ 2147483647 h 187"/>
              <a:gd name="T104" fmla="*/ 2147483647 w 300"/>
              <a:gd name="T105" fmla="*/ 2147483647 h 187"/>
              <a:gd name="T106" fmla="*/ 2147483647 w 300"/>
              <a:gd name="T107" fmla="*/ 2147483647 h 187"/>
              <a:gd name="T108" fmla="*/ 2147483647 w 300"/>
              <a:gd name="T109" fmla="*/ 2147483647 h 187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300"/>
              <a:gd name="T166" fmla="*/ 0 h 187"/>
              <a:gd name="T167" fmla="*/ 300 w 300"/>
              <a:gd name="T168" fmla="*/ 187 h 187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300" h="187">
                <a:moveTo>
                  <a:pt x="286" y="145"/>
                </a:moveTo>
                <a:lnTo>
                  <a:pt x="277" y="164"/>
                </a:lnTo>
                <a:lnTo>
                  <a:pt x="258" y="174"/>
                </a:lnTo>
                <a:lnTo>
                  <a:pt x="252" y="187"/>
                </a:lnTo>
                <a:lnTo>
                  <a:pt x="240" y="185"/>
                </a:lnTo>
                <a:lnTo>
                  <a:pt x="221" y="179"/>
                </a:lnTo>
                <a:lnTo>
                  <a:pt x="212" y="152"/>
                </a:lnTo>
                <a:lnTo>
                  <a:pt x="193" y="150"/>
                </a:lnTo>
                <a:lnTo>
                  <a:pt x="176" y="139"/>
                </a:lnTo>
                <a:lnTo>
                  <a:pt x="158" y="127"/>
                </a:lnTo>
                <a:lnTo>
                  <a:pt x="125" y="115"/>
                </a:lnTo>
                <a:lnTo>
                  <a:pt x="106" y="118"/>
                </a:lnTo>
                <a:lnTo>
                  <a:pt x="82" y="120"/>
                </a:lnTo>
                <a:lnTo>
                  <a:pt x="67" y="136"/>
                </a:lnTo>
                <a:lnTo>
                  <a:pt x="60" y="136"/>
                </a:lnTo>
                <a:lnTo>
                  <a:pt x="54" y="114"/>
                </a:lnTo>
                <a:lnTo>
                  <a:pt x="49" y="94"/>
                </a:lnTo>
                <a:lnTo>
                  <a:pt x="36" y="85"/>
                </a:lnTo>
                <a:lnTo>
                  <a:pt x="35" y="86"/>
                </a:lnTo>
                <a:lnTo>
                  <a:pt x="40" y="82"/>
                </a:lnTo>
                <a:lnTo>
                  <a:pt x="42" y="79"/>
                </a:lnTo>
                <a:lnTo>
                  <a:pt x="36" y="70"/>
                </a:lnTo>
                <a:lnTo>
                  <a:pt x="28" y="72"/>
                </a:lnTo>
                <a:lnTo>
                  <a:pt x="26" y="73"/>
                </a:lnTo>
                <a:lnTo>
                  <a:pt x="20" y="48"/>
                </a:lnTo>
                <a:lnTo>
                  <a:pt x="23" y="47"/>
                </a:lnTo>
                <a:lnTo>
                  <a:pt x="35" y="48"/>
                </a:lnTo>
                <a:lnTo>
                  <a:pt x="46" y="54"/>
                </a:lnTo>
                <a:lnTo>
                  <a:pt x="50" y="52"/>
                </a:lnTo>
                <a:lnTo>
                  <a:pt x="53" y="49"/>
                </a:lnTo>
                <a:lnTo>
                  <a:pt x="54" y="41"/>
                </a:lnTo>
                <a:lnTo>
                  <a:pt x="35" y="22"/>
                </a:lnTo>
                <a:lnTo>
                  <a:pt x="18" y="19"/>
                </a:lnTo>
                <a:lnTo>
                  <a:pt x="18" y="40"/>
                </a:lnTo>
                <a:lnTo>
                  <a:pt x="18" y="41"/>
                </a:lnTo>
                <a:lnTo>
                  <a:pt x="5" y="16"/>
                </a:lnTo>
                <a:lnTo>
                  <a:pt x="6" y="5"/>
                </a:lnTo>
                <a:lnTo>
                  <a:pt x="0" y="0"/>
                </a:lnTo>
                <a:lnTo>
                  <a:pt x="36" y="0"/>
                </a:lnTo>
                <a:lnTo>
                  <a:pt x="32" y="17"/>
                </a:lnTo>
                <a:lnTo>
                  <a:pt x="56" y="24"/>
                </a:lnTo>
                <a:lnTo>
                  <a:pt x="80" y="31"/>
                </a:lnTo>
                <a:lnTo>
                  <a:pt x="108" y="37"/>
                </a:lnTo>
                <a:lnTo>
                  <a:pt x="103" y="24"/>
                </a:lnTo>
                <a:lnTo>
                  <a:pt x="114" y="18"/>
                </a:lnTo>
                <a:lnTo>
                  <a:pt x="131" y="0"/>
                </a:lnTo>
                <a:lnTo>
                  <a:pt x="156" y="18"/>
                </a:lnTo>
                <a:lnTo>
                  <a:pt x="173" y="43"/>
                </a:lnTo>
                <a:lnTo>
                  <a:pt x="200" y="54"/>
                </a:lnTo>
                <a:lnTo>
                  <a:pt x="217" y="64"/>
                </a:lnTo>
                <a:lnTo>
                  <a:pt x="252" y="85"/>
                </a:lnTo>
                <a:lnTo>
                  <a:pt x="287" y="107"/>
                </a:lnTo>
                <a:lnTo>
                  <a:pt x="300" y="131"/>
                </a:lnTo>
                <a:lnTo>
                  <a:pt x="293" y="138"/>
                </a:lnTo>
                <a:lnTo>
                  <a:pt x="286" y="145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39" name="Freeform 146"/>
          <p:cNvSpPr>
            <a:spLocks/>
          </p:cNvSpPr>
          <p:nvPr/>
        </p:nvSpPr>
        <p:spPr bwMode="auto">
          <a:xfrm>
            <a:off x="6084888" y="3435350"/>
            <a:ext cx="366712" cy="304800"/>
          </a:xfrm>
          <a:custGeom>
            <a:avLst/>
            <a:gdLst>
              <a:gd name="T0" fmla="*/ 2147483647 w 276"/>
              <a:gd name="T1" fmla="*/ 2147483647 h 223"/>
              <a:gd name="T2" fmla="*/ 0 w 276"/>
              <a:gd name="T3" fmla="*/ 2147483647 h 223"/>
              <a:gd name="T4" fmla="*/ 0 w 276"/>
              <a:gd name="T5" fmla="*/ 2147483647 h 223"/>
              <a:gd name="T6" fmla="*/ 2147483647 w 276"/>
              <a:gd name="T7" fmla="*/ 2147483647 h 223"/>
              <a:gd name="T8" fmla="*/ 2147483647 w 276"/>
              <a:gd name="T9" fmla="*/ 2147483647 h 223"/>
              <a:gd name="T10" fmla="*/ 2147483647 w 276"/>
              <a:gd name="T11" fmla="*/ 2147483647 h 223"/>
              <a:gd name="T12" fmla="*/ 2147483647 w 276"/>
              <a:gd name="T13" fmla="*/ 2147483647 h 223"/>
              <a:gd name="T14" fmla="*/ 2147483647 w 276"/>
              <a:gd name="T15" fmla="*/ 2147483647 h 223"/>
              <a:gd name="T16" fmla="*/ 2147483647 w 276"/>
              <a:gd name="T17" fmla="*/ 2147483647 h 223"/>
              <a:gd name="T18" fmla="*/ 2147483647 w 276"/>
              <a:gd name="T19" fmla="*/ 2147483647 h 223"/>
              <a:gd name="T20" fmla="*/ 2147483647 w 276"/>
              <a:gd name="T21" fmla="*/ 2147483647 h 223"/>
              <a:gd name="T22" fmla="*/ 2147483647 w 276"/>
              <a:gd name="T23" fmla="*/ 2147483647 h 223"/>
              <a:gd name="T24" fmla="*/ 2147483647 w 276"/>
              <a:gd name="T25" fmla="*/ 2147483647 h 223"/>
              <a:gd name="T26" fmla="*/ 2147483647 w 276"/>
              <a:gd name="T27" fmla="*/ 2147483647 h 223"/>
              <a:gd name="T28" fmla="*/ 2147483647 w 276"/>
              <a:gd name="T29" fmla="*/ 2147483647 h 223"/>
              <a:gd name="T30" fmla="*/ 2147483647 w 276"/>
              <a:gd name="T31" fmla="*/ 2147483647 h 223"/>
              <a:gd name="T32" fmla="*/ 2147483647 w 276"/>
              <a:gd name="T33" fmla="*/ 2147483647 h 223"/>
              <a:gd name="T34" fmla="*/ 2147483647 w 276"/>
              <a:gd name="T35" fmla="*/ 2147483647 h 223"/>
              <a:gd name="T36" fmla="*/ 2147483647 w 276"/>
              <a:gd name="T37" fmla="*/ 2147483647 h 223"/>
              <a:gd name="T38" fmla="*/ 2147483647 w 276"/>
              <a:gd name="T39" fmla="*/ 2147483647 h 223"/>
              <a:gd name="T40" fmla="*/ 2147483647 w 276"/>
              <a:gd name="T41" fmla="*/ 2147483647 h 223"/>
              <a:gd name="T42" fmla="*/ 2147483647 w 276"/>
              <a:gd name="T43" fmla="*/ 2147483647 h 223"/>
              <a:gd name="T44" fmla="*/ 2147483647 w 276"/>
              <a:gd name="T45" fmla="*/ 2147483647 h 223"/>
              <a:gd name="T46" fmla="*/ 2147483647 w 276"/>
              <a:gd name="T47" fmla="*/ 2147483647 h 223"/>
              <a:gd name="T48" fmla="*/ 2147483647 w 276"/>
              <a:gd name="T49" fmla="*/ 2147483647 h 223"/>
              <a:gd name="T50" fmla="*/ 2147483647 w 276"/>
              <a:gd name="T51" fmla="*/ 2147483647 h 223"/>
              <a:gd name="T52" fmla="*/ 2147483647 w 276"/>
              <a:gd name="T53" fmla="*/ 2147483647 h 223"/>
              <a:gd name="T54" fmla="*/ 2147483647 w 276"/>
              <a:gd name="T55" fmla="*/ 2147483647 h 223"/>
              <a:gd name="T56" fmla="*/ 2147483647 w 276"/>
              <a:gd name="T57" fmla="*/ 2147483647 h 223"/>
              <a:gd name="T58" fmla="*/ 2147483647 w 276"/>
              <a:gd name="T59" fmla="*/ 2147483647 h 223"/>
              <a:gd name="T60" fmla="*/ 2147483647 w 276"/>
              <a:gd name="T61" fmla="*/ 2147483647 h 223"/>
              <a:gd name="T62" fmla="*/ 2147483647 w 276"/>
              <a:gd name="T63" fmla="*/ 2147483647 h 223"/>
              <a:gd name="T64" fmla="*/ 2147483647 w 276"/>
              <a:gd name="T65" fmla="*/ 2147483647 h 223"/>
              <a:gd name="T66" fmla="*/ 2147483647 w 276"/>
              <a:gd name="T67" fmla="*/ 2147483647 h 223"/>
              <a:gd name="T68" fmla="*/ 2147483647 w 276"/>
              <a:gd name="T69" fmla="*/ 2147483647 h 223"/>
              <a:gd name="T70" fmla="*/ 2147483647 w 276"/>
              <a:gd name="T71" fmla="*/ 2147483647 h 223"/>
              <a:gd name="T72" fmla="*/ 2147483647 w 276"/>
              <a:gd name="T73" fmla="*/ 2147483647 h 223"/>
              <a:gd name="T74" fmla="*/ 2147483647 w 276"/>
              <a:gd name="T75" fmla="*/ 2147483647 h 223"/>
              <a:gd name="T76" fmla="*/ 2147483647 w 276"/>
              <a:gd name="T77" fmla="*/ 2147483647 h 223"/>
              <a:gd name="T78" fmla="*/ 2147483647 w 276"/>
              <a:gd name="T79" fmla="*/ 0 h 223"/>
              <a:gd name="T80" fmla="*/ 2147483647 w 276"/>
              <a:gd name="T81" fmla="*/ 2147483647 h 223"/>
              <a:gd name="T82" fmla="*/ 2147483647 w 276"/>
              <a:gd name="T83" fmla="*/ 2147483647 h 223"/>
              <a:gd name="T84" fmla="*/ 2147483647 w 276"/>
              <a:gd name="T85" fmla="*/ 2147483647 h 223"/>
              <a:gd name="T86" fmla="*/ 2147483647 w 276"/>
              <a:gd name="T87" fmla="*/ 2147483647 h 223"/>
              <a:gd name="T88" fmla="*/ 2147483647 w 276"/>
              <a:gd name="T89" fmla="*/ 2147483647 h 223"/>
              <a:gd name="T90" fmla="*/ 2147483647 w 276"/>
              <a:gd name="T91" fmla="*/ 2147483647 h 223"/>
              <a:gd name="T92" fmla="*/ 2147483647 w 276"/>
              <a:gd name="T93" fmla="*/ 2147483647 h 223"/>
              <a:gd name="T94" fmla="*/ 2147483647 w 276"/>
              <a:gd name="T95" fmla="*/ 2147483647 h 223"/>
              <a:gd name="T96" fmla="*/ 2147483647 w 276"/>
              <a:gd name="T97" fmla="*/ 2147483647 h 223"/>
              <a:gd name="T98" fmla="*/ 2147483647 w 276"/>
              <a:gd name="T99" fmla="*/ 2147483647 h 223"/>
              <a:gd name="T100" fmla="*/ 2147483647 w 276"/>
              <a:gd name="T101" fmla="*/ 2147483647 h 223"/>
              <a:gd name="T102" fmla="*/ 2147483647 w 276"/>
              <a:gd name="T103" fmla="*/ 2147483647 h 223"/>
              <a:gd name="T104" fmla="*/ 2147483647 w 276"/>
              <a:gd name="T105" fmla="*/ 2147483647 h 223"/>
              <a:gd name="T106" fmla="*/ 2147483647 w 276"/>
              <a:gd name="T107" fmla="*/ 2147483647 h 223"/>
              <a:gd name="T108" fmla="*/ 2147483647 w 276"/>
              <a:gd name="T109" fmla="*/ 2147483647 h 223"/>
              <a:gd name="T110" fmla="*/ 2147483647 w 276"/>
              <a:gd name="T111" fmla="*/ 2147483647 h 223"/>
              <a:gd name="T112" fmla="*/ 2147483647 w 276"/>
              <a:gd name="T113" fmla="*/ 2147483647 h 22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76"/>
              <a:gd name="T172" fmla="*/ 0 h 223"/>
              <a:gd name="T173" fmla="*/ 276 w 276"/>
              <a:gd name="T174" fmla="*/ 223 h 22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76" h="223">
                <a:moveTo>
                  <a:pt x="1" y="97"/>
                </a:moveTo>
                <a:lnTo>
                  <a:pt x="0" y="101"/>
                </a:lnTo>
                <a:lnTo>
                  <a:pt x="0" y="114"/>
                </a:lnTo>
                <a:lnTo>
                  <a:pt x="8" y="120"/>
                </a:lnTo>
                <a:lnTo>
                  <a:pt x="6" y="125"/>
                </a:lnTo>
                <a:lnTo>
                  <a:pt x="11" y="145"/>
                </a:lnTo>
                <a:lnTo>
                  <a:pt x="16" y="167"/>
                </a:lnTo>
                <a:lnTo>
                  <a:pt x="35" y="174"/>
                </a:lnTo>
                <a:lnTo>
                  <a:pt x="40" y="183"/>
                </a:lnTo>
                <a:lnTo>
                  <a:pt x="24" y="211"/>
                </a:lnTo>
                <a:lnTo>
                  <a:pt x="42" y="217"/>
                </a:lnTo>
                <a:lnTo>
                  <a:pt x="60" y="223"/>
                </a:lnTo>
                <a:lnTo>
                  <a:pt x="92" y="222"/>
                </a:lnTo>
                <a:lnTo>
                  <a:pt x="115" y="217"/>
                </a:lnTo>
                <a:lnTo>
                  <a:pt x="138" y="213"/>
                </a:lnTo>
                <a:lnTo>
                  <a:pt x="137" y="201"/>
                </a:lnTo>
                <a:lnTo>
                  <a:pt x="140" y="181"/>
                </a:lnTo>
                <a:lnTo>
                  <a:pt x="161" y="173"/>
                </a:lnTo>
                <a:lnTo>
                  <a:pt x="167" y="166"/>
                </a:lnTo>
                <a:lnTo>
                  <a:pt x="187" y="167"/>
                </a:lnTo>
                <a:lnTo>
                  <a:pt x="188" y="139"/>
                </a:lnTo>
                <a:lnTo>
                  <a:pt x="205" y="126"/>
                </a:lnTo>
                <a:lnTo>
                  <a:pt x="193" y="112"/>
                </a:lnTo>
                <a:lnTo>
                  <a:pt x="211" y="111"/>
                </a:lnTo>
                <a:lnTo>
                  <a:pt x="215" y="100"/>
                </a:lnTo>
                <a:lnTo>
                  <a:pt x="221" y="82"/>
                </a:lnTo>
                <a:lnTo>
                  <a:pt x="210" y="60"/>
                </a:lnTo>
                <a:lnTo>
                  <a:pt x="221" y="45"/>
                </a:lnTo>
                <a:lnTo>
                  <a:pt x="245" y="40"/>
                </a:lnTo>
                <a:lnTo>
                  <a:pt x="270" y="34"/>
                </a:lnTo>
                <a:lnTo>
                  <a:pt x="269" y="29"/>
                </a:lnTo>
                <a:lnTo>
                  <a:pt x="275" y="29"/>
                </a:lnTo>
                <a:lnTo>
                  <a:pt x="276" y="29"/>
                </a:lnTo>
                <a:lnTo>
                  <a:pt x="258" y="27"/>
                </a:lnTo>
                <a:lnTo>
                  <a:pt x="252" y="27"/>
                </a:lnTo>
                <a:lnTo>
                  <a:pt x="235" y="28"/>
                </a:lnTo>
                <a:lnTo>
                  <a:pt x="210" y="41"/>
                </a:lnTo>
                <a:lnTo>
                  <a:pt x="202" y="11"/>
                </a:lnTo>
                <a:lnTo>
                  <a:pt x="196" y="11"/>
                </a:lnTo>
                <a:lnTo>
                  <a:pt x="190" y="0"/>
                </a:lnTo>
                <a:lnTo>
                  <a:pt x="180" y="4"/>
                </a:lnTo>
                <a:lnTo>
                  <a:pt x="178" y="18"/>
                </a:lnTo>
                <a:lnTo>
                  <a:pt x="162" y="27"/>
                </a:lnTo>
                <a:lnTo>
                  <a:pt x="157" y="30"/>
                </a:lnTo>
                <a:lnTo>
                  <a:pt x="143" y="31"/>
                </a:lnTo>
                <a:lnTo>
                  <a:pt x="133" y="33"/>
                </a:lnTo>
                <a:lnTo>
                  <a:pt x="126" y="29"/>
                </a:lnTo>
                <a:lnTo>
                  <a:pt x="106" y="25"/>
                </a:lnTo>
                <a:lnTo>
                  <a:pt x="85" y="22"/>
                </a:lnTo>
                <a:lnTo>
                  <a:pt x="78" y="29"/>
                </a:lnTo>
                <a:lnTo>
                  <a:pt x="71" y="36"/>
                </a:lnTo>
                <a:lnTo>
                  <a:pt x="62" y="55"/>
                </a:lnTo>
                <a:lnTo>
                  <a:pt x="43" y="65"/>
                </a:lnTo>
                <a:lnTo>
                  <a:pt x="37" y="78"/>
                </a:lnTo>
                <a:lnTo>
                  <a:pt x="25" y="76"/>
                </a:lnTo>
                <a:lnTo>
                  <a:pt x="6" y="70"/>
                </a:lnTo>
                <a:lnTo>
                  <a:pt x="1" y="9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40" name="Freeform 147"/>
          <p:cNvSpPr>
            <a:spLocks/>
          </p:cNvSpPr>
          <p:nvPr/>
        </p:nvSpPr>
        <p:spPr bwMode="auto">
          <a:xfrm>
            <a:off x="5307013" y="3527425"/>
            <a:ext cx="55562" cy="34925"/>
          </a:xfrm>
          <a:custGeom>
            <a:avLst/>
            <a:gdLst>
              <a:gd name="T0" fmla="*/ 2147483647 w 42"/>
              <a:gd name="T1" fmla="*/ 0 h 27"/>
              <a:gd name="T2" fmla="*/ 2147483647 w 42"/>
              <a:gd name="T3" fmla="*/ 2147483647 h 27"/>
              <a:gd name="T4" fmla="*/ 0 w 42"/>
              <a:gd name="T5" fmla="*/ 2147483647 h 27"/>
              <a:gd name="T6" fmla="*/ 2147483647 w 42"/>
              <a:gd name="T7" fmla="*/ 2147483647 h 27"/>
              <a:gd name="T8" fmla="*/ 2147483647 w 42"/>
              <a:gd name="T9" fmla="*/ 2147483647 h 27"/>
              <a:gd name="T10" fmla="*/ 2147483647 w 42"/>
              <a:gd name="T11" fmla="*/ 2147483647 h 27"/>
              <a:gd name="T12" fmla="*/ 2147483647 w 42"/>
              <a:gd name="T13" fmla="*/ 0 h 2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2"/>
              <a:gd name="T22" fmla="*/ 0 h 27"/>
              <a:gd name="T23" fmla="*/ 42 w 42"/>
              <a:gd name="T24" fmla="*/ 27 h 2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2" h="27">
                <a:moveTo>
                  <a:pt x="42" y="0"/>
                </a:moveTo>
                <a:lnTo>
                  <a:pt x="16" y="9"/>
                </a:lnTo>
                <a:lnTo>
                  <a:pt x="0" y="16"/>
                </a:lnTo>
                <a:lnTo>
                  <a:pt x="6" y="27"/>
                </a:lnTo>
                <a:lnTo>
                  <a:pt x="30" y="18"/>
                </a:lnTo>
                <a:lnTo>
                  <a:pt x="30" y="14"/>
                </a:lnTo>
                <a:lnTo>
                  <a:pt x="42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41" name="Line 148"/>
          <p:cNvSpPr>
            <a:spLocks noChangeShapeType="1"/>
          </p:cNvSpPr>
          <p:nvPr/>
        </p:nvSpPr>
        <p:spPr bwMode="auto">
          <a:xfrm>
            <a:off x="6434138" y="3486150"/>
            <a:ext cx="7937" cy="1588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42" name="Line 149"/>
          <p:cNvSpPr>
            <a:spLocks noChangeShapeType="1"/>
          </p:cNvSpPr>
          <p:nvPr/>
        </p:nvSpPr>
        <p:spPr bwMode="auto">
          <a:xfrm flipH="1">
            <a:off x="6435725" y="3487738"/>
            <a:ext cx="1588" cy="7937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43" name="Line 150"/>
          <p:cNvSpPr>
            <a:spLocks noChangeShapeType="1"/>
          </p:cNvSpPr>
          <p:nvPr/>
        </p:nvSpPr>
        <p:spPr bwMode="auto">
          <a:xfrm flipH="1">
            <a:off x="6429375" y="3494088"/>
            <a:ext cx="6350" cy="6350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44" name="Line 151"/>
          <p:cNvSpPr>
            <a:spLocks noChangeShapeType="1"/>
          </p:cNvSpPr>
          <p:nvPr/>
        </p:nvSpPr>
        <p:spPr bwMode="auto">
          <a:xfrm flipH="1">
            <a:off x="6423025" y="3495675"/>
            <a:ext cx="11113" cy="7938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45" name="Line 152"/>
          <p:cNvSpPr>
            <a:spLocks noChangeShapeType="1"/>
          </p:cNvSpPr>
          <p:nvPr/>
        </p:nvSpPr>
        <p:spPr bwMode="auto">
          <a:xfrm flipH="1">
            <a:off x="6416675" y="3503613"/>
            <a:ext cx="7938" cy="7937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46" name="Line 153"/>
          <p:cNvSpPr>
            <a:spLocks noChangeShapeType="1"/>
          </p:cNvSpPr>
          <p:nvPr/>
        </p:nvSpPr>
        <p:spPr bwMode="auto">
          <a:xfrm flipH="1">
            <a:off x="6411913" y="3508375"/>
            <a:ext cx="9525" cy="7938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47" name="Line 154"/>
          <p:cNvSpPr>
            <a:spLocks noChangeShapeType="1"/>
          </p:cNvSpPr>
          <p:nvPr/>
        </p:nvSpPr>
        <p:spPr bwMode="auto">
          <a:xfrm flipH="1">
            <a:off x="6411913" y="3513138"/>
            <a:ext cx="3175" cy="14287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48" name="Line 155"/>
          <p:cNvSpPr>
            <a:spLocks noChangeShapeType="1"/>
          </p:cNvSpPr>
          <p:nvPr/>
        </p:nvSpPr>
        <p:spPr bwMode="auto">
          <a:xfrm>
            <a:off x="6411913" y="3524250"/>
            <a:ext cx="3175" cy="11113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49" name="Line 156"/>
          <p:cNvSpPr>
            <a:spLocks noChangeShapeType="1"/>
          </p:cNvSpPr>
          <p:nvPr/>
        </p:nvSpPr>
        <p:spPr bwMode="auto">
          <a:xfrm>
            <a:off x="6415088" y="3535363"/>
            <a:ext cx="6350" cy="7937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50" name="Line 157"/>
          <p:cNvSpPr>
            <a:spLocks noChangeShapeType="1"/>
          </p:cNvSpPr>
          <p:nvPr/>
        </p:nvSpPr>
        <p:spPr bwMode="auto">
          <a:xfrm>
            <a:off x="6429375" y="3578225"/>
            <a:ext cx="4763" cy="1588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51" name="Line 158"/>
          <p:cNvSpPr>
            <a:spLocks noChangeShapeType="1"/>
          </p:cNvSpPr>
          <p:nvPr/>
        </p:nvSpPr>
        <p:spPr bwMode="auto">
          <a:xfrm>
            <a:off x="6429375" y="3576638"/>
            <a:ext cx="12700" cy="11112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52" name="Line 159"/>
          <p:cNvSpPr>
            <a:spLocks noChangeShapeType="1"/>
          </p:cNvSpPr>
          <p:nvPr/>
        </p:nvSpPr>
        <p:spPr bwMode="auto">
          <a:xfrm>
            <a:off x="6442075" y="3587750"/>
            <a:ext cx="9525" cy="7938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53" name="Line 160"/>
          <p:cNvSpPr>
            <a:spLocks noChangeShapeType="1"/>
          </p:cNvSpPr>
          <p:nvPr/>
        </p:nvSpPr>
        <p:spPr bwMode="auto">
          <a:xfrm>
            <a:off x="6451600" y="3592513"/>
            <a:ext cx="3175" cy="11112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54" name="Line 161"/>
          <p:cNvSpPr>
            <a:spLocks noChangeShapeType="1"/>
          </p:cNvSpPr>
          <p:nvPr/>
        </p:nvSpPr>
        <p:spPr bwMode="auto">
          <a:xfrm>
            <a:off x="6451600" y="3603625"/>
            <a:ext cx="3175" cy="7938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55" name="Line 162"/>
          <p:cNvSpPr>
            <a:spLocks noChangeShapeType="1"/>
          </p:cNvSpPr>
          <p:nvPr/>
        </p:nvSpPr>
        <p:spPr bwMode="auto">
          <a:xfrm>
            <a:off x="6451600" y="3611563"/>
            <a:ext cx="12700" cy="6350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56" name="Line 163"/>
          <p:cNvSpPr>
            <a:spLocks noChangeShapeType="1"/>
          </p:cNvSpPr>
          <p:nvPr/>
        </p:nvSpPr>
        <p:spPr bwMode="auto">
          <a:xfrm>
            <a:off x="6464300" y="3617913"/>
            <a:ext cx="4763" cy="1587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57" name="Line 164"/>
          <p:cNvSpPr>
            <a:spLocks noChangeShapeType="1"/>
          </p:cNvSpPr>
          <p:nvPr/>
        </p:nvSpPr>
        <p:spPr bwMode="auto">
          <a:xfrm flipV="1">
            <a:off x="6594475" y="3576638"/>
            <a:ext cx="12700" cy="7937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58" name="Line 165"/>
          <p:cNvSpPr>
            <a:spLocks noChangeShapeType="1"/>
          </p:cNvSpPr>
          <p:nvPr/>
        </p:nvSpPr>
        <p:spPr bwMode="auto">
          <a:xfrm flipV="1">
            <a:off x="6607175" y="3559175"/>
            <a:ext cx="1588" cy="19050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59" name="Line 166"/>
          <p:cNvSpPr>
            <a:spLocks noChangeShapeType="1"/>
          </p:cNvSpPr>
          <p:nvPr/>
        </p:nvSpPr>
        <p:spPr bwMode="auto">
          <a:xfrm flipV="1">
            <a:off x="6611938" y="3530600"/>
            <a:ext cx="4762" cy="31750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60" name="Line 167"/>
          <p:cNvSpPr>
            <a:spLocks noChangeShapeType="1"/>
          </p:cNvSpPr>
          <p:nvPr/>
        </p:nvSpPr>
        <p:spPr bwMode="auto">
          <a:xfrm flipH="1" flipV="1">
            <a:off x="6597650" y="3527425"/>
            <a:ext cx="17463" cy="7938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61" name="Line 168"/>
          <p:cNvSpPr>
            <a:spLocks noChangeShapeType="1"/>
          </p:cNvSpPr>
          <p:nvPr/>
        </p:nvSpPr>
        <p:spPr bwMode="auto">
          <a:xfrm flipH="1">
            <a:off x="6546850" y="3524250"/>
            <a:ext cx="15875" cy="11113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62" name="Freeform 169"/>
          <p:cNvSpPr>
            <a:spLocks/>
          </p:cNvSpPr>
          <p:nvPr/>
        </p:nvSpPr>
        <p:spPr bwMode="auto">
          <a:xfrm>
            <a:off x="5386388" y="3562350"/>
            <a:ext cx="34925" cy="52388"/>
          </a:xfrm>
          <a:custGeom>
            <a:avLst/>
            <a:gdLst>
              <a:gd name="T0" fmla="*/ 2147483647 w 26"/>
              <a:gd name="T1" fmla="*/ 2147483647 h 38"/>
              <a:gd name="T2" fmla="*/ 2147483647 w 26"/>
              <a:gd name="T3" fmla="*/ 2147483647 h 38"/>
              <a:gd name="T4" fmla="*/ 0 w 26"/>
              <a:gd name="T5" fmla="*/ 2147483647 h 38"/>
              <a:gd name="T6" fmla="*/ 2147483647 w 26"/>
              <a:gd name="T7" fmla="*/ 2147483647 h 38"/>
              <a:gd name="T8" fmla="*/ 2147483647 w 26"/>
              <a:gd name="T9" fmla="*/ 0 h 38"/>
              <a:gd name="T10" fmla="*/ 2147483647 w 26"/>
              <a:gd name="T11" fmla="*/ 2147483647 h 38"/>
              <a:gd name="T12" fmla="*/ 2147483647 w 26"/>
              <a:gd name="T13" fmla="*/ 2147483647 h 3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6"/>
              <a:gd name="T22" fmla="*/ 0 h 38"/>
              <a:gd name="T23" fmla="*/ 26 w 26"/>
              <a:gd name="T24" fmla="*/ 38 h 3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6" h="38">
                <a:moveTo>
                  <a:pt x="24" y="20"/>
                </a:moveTo>
                <a:lnTo>
                  <a:pt x="11" y="34"/>
                </a:lnTo>
                <a:lnTo>
                  <a:pt x="0" y="38"/>
                </a:lnTo>
                <a:lnTo>
                  <a:pt x="7" y="19"/>
                </a:lnTo>
                <a:lnTo>
                  <a:pt x="13" y="0"/>
                </a:lnTo>
                <a:lnTo>
                  <a:pt x="26" y="6"/>
                </a:lnTo>
                <a:lnTo>
                  <a:pt x="24" y="2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63" name="Freeform 170"/>
          <p:cNvSpPr>
            <a:spLocks/>
          </p:cNvSpPr>
          <p:nvPr/>
        </p:nvSpPr>
        <p:spPr bwMode="auto">
          <a:xfrm>
            <a:off x="5397500" y="3476625"/>
            <a:ext cx="169863" cy="166688"/>
          </a:xfrm>
          <a:custGeom>
            <a:avLst/>
            <a:gdLst>
              <a:gd name="T0" fmla="*/ 2147483647 w 129"/>
              <a:gd name="T1" fmla="*/ 2147483647 h 121"/>
              <a:gd name="T2" fmla="*/ 2147483647 w 129"/>
              <a:gd name="T3" fmla="*/ 2147483647 h 121"/>
              <a:gd name="T4" fmla="*/ 2147483647 w 129"/>
              <a:gd name="T5" fmla="*/ 2147483647 h 121"/>
              <a:gd name="T6" fmla="*/ 2147483647 w 129"/>
              <a:gd name="T7" fmla="*/ 2147483647 h 121"/>
              <a:gd name="T8" fmla="*/ 2147483647 w 129"/>
              <a:gd name="T9" fmla="*/ 2147483647 h 121"/>
              <a:gd name="T10" fmla="*/ 2147483647 w 129"/>
              <a:gd name="T11" fmla="*/ 2147483647 h 121"/>
              <a:gd name="T12" fmla="*/ 0 w 129"/>
              <a:gd name="T13" fmla="*/ 2147483647 h 121"/>
              <a:gd name="T14" fmla="*/ 2147483647 w 129"/>
              <a:gd name="T15" fmla="*/ 2147483647 h 121"/>
              <a:gd name="T16" fmla="*/ 2147483647 w 129"/>
              <a:gd name="T17" fmla="*/ 2147483647 h 121"/>
              <a:gd name="T18" fmla="*/ 2147483647 w 129"/>
              <a:gd name="T19" fmla="*/ 2147483647 h 121"/>
              <a:gd name="T20" fmla="*/ 2147483647 w 129"/>
              <a:gd name="T21" fmla="*/ 2147483647 h 121"/>
              <a:gd name="T22" fmla="*/ 2147483647 w 129"/>
              <a:gd name="T23" fmla="*/ 2147483647 h 121"/>
              <a:gd name="T24" fmla="*/ 2147483647 w 129"/>
              <a:gd name="T25" fmla="*/ 2147483647 h 121"/>
              <a:gd name="T26" fmla="*/ 2147483647 w 129"/>
              <a:gd name="T27" fmla="*/ 2147483647 h 121"/>
              <a:gd name="T28" fmla="*/ 2147483647 w 129"/>
              <a:gd name="T29" fmla="*/ 2147483647 h 121"/>
              <a:gd name="T30" fmla="*/ 2147483647 w 129"/>
              <a:gd name="T31" fmla="*/ 2147483647 h 121"/>
              <a:gd name="T32" fmla="*/ 2147483647 w 129"/>
              <a:gd name="T33" fmla="*/ 2147483647 h 121"/>
              <a:gd name="T34" fmla="*/ 2147483647 w 129"/>
              <a:gd name="T35" fmla="*/ 2147483647 h 121"/>
              <a:gd name="T36" fmla="*/ 2147483647 w 129"/>
              <a:gd name="T37" fmla="*/ 2147483647 h 121"/>
              <a:gd name="T38" fmla="*/ 2147483647 w 129"/>
              <a:gd name="T39" fmla="*/ 2147483647 h 121"/>
              <a:gd name="T40" fmla="*/ 2147483647 w 129"/>
              <a:gd name="T41" fmla="*/ 0 h 121"/>
              <a:gd name="T42" fmla="*/ 2147483647 w 129"/>
              <a:gd name="T43" fmla="*/ 2147483647 h 121"/>
              <a:gd name="T44" fmla="*/ 2147483647 w 129"/>
              <a:gd name="T45" fmla="*/ 2147483647 h 12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29"/>
              <a:gd name="T70" fmla="*/ 0 h 121"/>
              <a:gd name="T71" fmla="*/ 129 w 129"/>
              <a:gd name="T72" fmla="*/ 121 h 121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29" h="121">
                <a:moveTo>
                  <a:pt x="81" y="10"/>
                </a:moveTo>
                <a:lnTo>
                  <a:pt x="51" y="9"/>
                </a:lnTo>
                <a:lnTo>
                  <a:pt x="20" y="11"/>
                </a:lnTo>
                <a:lnTo>
                  <a:pt x="12" y="13"/>
                </a:lnTo>
                <a:lnTo>
                  <a:pt x="11" y="24"/>
                </a:lnTo>
                <a:lnTo>
                  <a:pt x="3" y="33"/>
                </a:lnTo>
                <a:lnTo>
                  <a:pt x="0" y="31"/>
                </a:lnTo>
                <a:lnTo>
                  <a:pt x="5" y="63"/>
                </a:lnTo>
                <a:lnTo>
                  <a:pt x="18" y="69"/>
                </a:lnTo>
                <a:lnTo>
                  <a:pt x="16" y="83"/>
                </a:lnTo>
                <a:lnTo>
                  <a:pt x="3" y="97"/>
                </a:lnTo>
                <a:lnTo>
                  <a:pt x="4" y="111"/>
                </a:lnTo>
                <a:lnTo>
                  <a:pt x="30" y="121"/>
                </a:lnTo>
                <a:lnTo>
                  <a:pt x="50" y="108"/>
                </a:lnTo>
                <a:lnTo>
                  <a:pt x="68" y="95"/>
                </a:lnTo>
                <a:lnTo>
                  <a:pt x="89" y="82"/>
                </a:lnTo>
                <a:lnTo>
                  <a:pt x="111" y="69"/>
                </a:lnTo>
                <a:lnTo>
                  <a:pt x="111" y="45"/>
                </a:lnTo>
                <a:lnTo>
                  <a:pt x="110" y="21"/>
                </a:lnTo>
                <a:lnTo>
                  <a:pt x="129" y="3"/>
                </a:lnTo>
                <a:lnTo>
                  <a:pt x="122" y="0"/>
                </a:lnTo>
                <a:lnTo>
                  <a:pt x="101" y="5"/>
                </a:lnTo>
                <a:lnTo>
                  <a:pt x="81" y="1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64" name="Freeform 171"/>
          <p:cNvSpPr>
            <a:spLocks/>
          </p:cNvSpPr>
          <p:nvPr/>
        </p:nvSpPr>
        <p:spPr bwMode="auto">
          <a:xfrm>
            <a:off x="6227763" y="3324225"/>
            <a:ext cx="228600" cy="166688"/>
          </a:xfrm>
          <a:custGeom>
            <a:avLst/>
            <a:gdLst>
              <a:gd name="T0" fmla="*/ 2147483647 w 171"/>
              <a:gd name="T1" fmla="*/ 2147483647 h 122"/>
              <a:gd name="T2" fmla="*/ 2147483647 w 171"/>
              <a:gd name="T3" fmla="*/ 2147483647 h 122"/>
              <a:gd name="T4" fmla="*/ 2147483647 w 171"/>
              <a:gd name="T5" fmla="*/ 2147483647 h 122"/>
              <a:gd name="T6" fmla="*/ 2147483647 w 171"/>
              <a:gd name="T7" fmla="*/ 2147483647 h 122"/>
              <a:gd name="T8" fmla="*/ 2147483647 w 171"/>
              <a:gd name="T9" fmla="*/ 2147483647 h 122"/>
              <a:gd name="T10" fmla="*/ 2147483647 w 171"/>
              <a:gd name="T11" fmla="*/ 2147483647 h 122"/>
              <a:gd name="T12" fmla="*/ 2147483647 w 171"/>
              <a:gd name="T13" fmla="*/ 2147483647 h 122"/>
              <a:gd name="T14" fmla="*/ 2147483647 w 171"/>
              <a:gd name="T15" fmla="*/ 2147483647 h 122"/>
              <a:gd name="T16" fmla="*/ 2147483647 w 171"/>
              <a:gd name="T17" fmla="*/ 2147483647 h 122"/>
              <a:gd name="T18" fmla="*/ 2147483647 w 171"/>
              <a:gd name="T19" fmla="*/ 2147483647 h 122"/>
              <a:gd name="T20" fmla="*/ 2147483647 w 171"/>
              <a:gd name="T21" fmla="*/ 2147483647 h 122"/>
              <a:gd name="T22" fmla="*/ 2147483647 w 171"/>
              <a:gd name="T23" fmla="*/ 2147483647 h 122"/>
              <a:gd name="T24" fmla="*/ 2147483647 w 171"/>
              <a:gd name="T25" fmla="*/ 2147483647 h 122"/>
              <a:gd name="T26" fmla="*/ 2147483647 w 171"/>
              <a:gd name="T27" fmla="*/ 2147483647 h 122"/>
              <a:gd name="T28" fmla="*/ 2147483647 w 171"/>
              <a:gd name="T29" fmla="*/ 2147483647 h 122"/>
              <a:gd name="T30" fmla="*/ 2147483647 w 171"/>
              <a:gd name="T31" fmla="*/ 2147483647 h 122"/>
              <a:gd name="T32" fmla="*/ 2147483647 w 171"/>
              <a:gd name="T33" fmla="*/ 2147483647 h 122"/>
              <a:gd name="T34" fmla="*/ 0 w 171"/>
              <a:gd name="T35" fmla="*/ 2147483647 h 122"/>
              <a:gd name="T36" fmla="*/ 2147483647 w 171"/>
              <a:gd name="T37" fmla="*/ 2147483647 h 122"/>
              <a:gd name="T38" fmla="*/ 2147483647 w 171"/>
              <a:gd name="T39" fmla="*/ 2147483647 h 122"/>
              <a:gd name="T40" fmla="*/ 2147483647 w 171"/>
              <a:gd name="T41" fmla="*/ 0 h 122"/>
              <a:gd name="T42" fmla="*/ 2147483647 w 171"/>
              <a:gd name="T43" fmla="*/ 2147483647 h 122"/>
              <a:gd name="T44" fmla="*/ 2147483647 w 171"/>
              <a:gd name="T45" fmla="*/ 2147483647 h 122"/>
              <a:gd name="T46" fmla="*/ 2147483647 w 171"/>
              <a:gd name="T47" fmla="*/ 2147483647 h 122"/>
              <a:gd name="T48" fmla="*/ 2147483647 w 171"/>
              <a:gd name="T49" fmla="*/ 2147483647 h 122"/>
              <a:gd name="T50" fmla="*/ 2147483647 w 171"/>
              <a:gd name="T51" fmla="*/ 2147483647 h 122"/>
              <a:gd name="T52" fmla="*/ 2147483647 w 171"/>
              <a:gd name="T53" fmla="*/ 2147483647 h 122"/>
              <a:gd name="T54" fmla="*/ 2147483647 w 171"/>
              <a:gd name="T55" fmla="*/ 2147483647 h 122"/>
              <a:gd name="T56" fmla="*/ 2147483647 w 171"/>
              <a:gd name="T57" fmla="*/ 2147483647 h 122"/>
              <a:gd name="T58" fmla="*/ 2147483647 w 171"/>
              <a:gd name="T59" fmla="*/ 2147483647 h 122"/>
              <a:gd name="T60" fmla="*/ 2147483647 w 171"/>
              <a:gd name="T61" fmla="*/ 2147483647 h 122"/>
              <a:gd name="T62" fmla="*/ 2147483647 w 171"/>
              <a:gd name="T63" fmla="*/ 2147483647 h 122"/>
              <a:gd name="T64" fmla="*/ 2147483647 w 171"/>
              <a:gd name="T65" fmla="*/ 2147483647 h 122"/>
              <a:gd name="T66" fmla="*/ 2147483647 w 171"/>
              <a:gd name="T67" fmla="*/ 2147483647 h 12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71"/>
              <a:gd name="T103" fmla="*/ 0 h 122"/>
              <a:gd name="T104" fmla="*/ 171 w 171"/>
              <a:gd name="T105" fmla="*/ 122 h 122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71" h="122">
                <a:moveTo>
                  <a:pt x="145" y="108"/>
                </a:moveTo>
                <a:lnTo>
                  <a:pt x="128" y="109"/>
                </a:lnTo>
                <a:lnTo>
                  <a:pt x="103" y="122"/>
                </a:lnTo>
                <a:lnTo>
                  <a:pt x="95" y="92"/>
                </a:lnTo>
                <a:lnTo>
                  <a:pt x="89" y="92"/>
                </a:lnTo>
                <a:lnTo>
                  <a:pt x="83" y="81"/>
                </a:lnTo>
                <a:lnTo>
                  <a:pt x="73" y="85"/>
                </a:lnTo>
                <a:lnTo>
                  <a:pt x="71" y="99"/>
                </a:lnTo>
                <a:lnTo>
                  <a:pt x="55" y="108"/>
                </a:lnTo>
                <a:lnTo>
                  <a:pt x="50" y="111"/>
                </a:lnTo>
                <a:lnTo>
                  <a:pt x="36" y="112"/>
                </a:lnTo>
                <a:lnTo>
                  <a:pt x="26" y="114"/>
                </a:lnTo>
                <a:lnTo>
                  <a:pt x="19" y="110"/>
                </a:lnTo>
                <a:lnTo>
                  <a:pt x="24" y="94"/>
                </a:lnTo>
                <a:lnTo>
                  <a:pt x="29" y="78"/>
                </a:lnTo>
                <a:lnTo>
                  <a:pt x="23" y="68"/>
                </a:lnTo>
                <a:lnTo>
                  <a:pt x="8" y="60"/>
                </a:lnTo>
                <a:lnTo>
                  <a:pt x="0" y="50"/>
                </a:lnTo>
                <a:lnTo>
                  <a:pt x="20" y="31"/>
                </a:lnTo>
                <a:lnTo>
                  <a:pt x="42" y="13"/>
                </a:lnTo>
                <a:lnTo>
                  <a:pt x="56" y="0"/>
                </a:lnTo>
                <a:lnTo>
                  <a:pt x="85" y="2"/>
                </a:lnTo>
                <a:lnTo>
                  <a:pt x="107" y="16"/>
                </a:lnTo>
                <a:lnTo>
                  <a:pt x="81" y="25"/>
                </a:lnTo>
                <a:lnTo>
                  <a:pt x="56" y="33"/>
                </a:lnTo>
                <a:lnTo>
                  <a:pt x="57" y="49"/>
                </a:lnTo>
                <a:lnTo>
                  <a:pt x="93" y="54"/>
                </a:lnTo>
                <a:lnTo>
                  <a:pt x="128" y="57"/>
                </a:lnTo>
                <a:lnTo>
                  <a:pt x="140" y="78"/>
                </a:lnTo>
                <a:lnTo>
                  <a:pt x="158" y="80"/>
                </a:lnTo>
                <a:lnTo>
                  <a:pt x="171" y="108"/>
                </a:lnTo>
                <a:lnTo>
                  <a:pt x="169" y="110"/>
                </a:lnTo>
                <a:lnTo>
                  <a:pt x="151" y="108"/>
                </a:lnTo>
                <a:lnTo>
                  <a:pt x="145" y="10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65" name="Freeform 172"/>
          <p:cNvSpPr>
            <a:spLocks/>
          </p:cNvSpPr>
          <p:nvPr/>
        </p:nvSpPr>
        <p:spPr bwMode="auto">
          <a:xfrm>
            <a:off x="5878513" y="3182938"/>
            <a:ext cx="425450" cy="292100"/>
          </a:xfrm>
          <a:custGeom>
            <a:avLst/>
            <a:gdLst>
              <a:gd name="T0" fmla="*/ 2147483647 w 320"/>
              <a:gd name="T1" fmla="*/ 2147483647 h 212"/>
              <a:gd name="T2" fmla="*/ 2147483647 w 320"/>
              <a:gd name="T3" fmla="*/ 2147483647 h 212"/>
              <a:gd name="T4" fmla="*/ 2147483647 w 320"/>
              <a:gd name="T5" fmla="*/ 2147483647 h 212"/>
              <a:gd name="T6" fmla="*/ 2147483647 w 320"/>
              <a:gd name="T7" fmla="*/ 2147483647 h 212"/>
              <a:gd name="T8" fmla="*/ 2147483647 w 320"/>
              <a:gd name="T9" fmla="*/ 2147483647 h 212"/>
              <a:gd name="T10" fmla="*/ 2147483647 w 320"/>
              <a:gd name="T11" fmla="*/ 2147483647 h 212"/>
              <a:gd name="T12" fmla="*/ 2147483647 w 320"/>
              <a:gd name="T13" fmla="*/ 2147483647 h 212"/>
              <a:gd name="T14" fmla="*/ 2147483647 w 320"/>
              <a:gd name="T15" fmla="*/ 2147483647 h 212"/>
              <a:gd name="T16" fmla="*/ 2147483647 w 320"/>
              <a:gd name="T17" fmla="*/ 2147483647 h 212"/>
              <a:gd name="T18" fmla="*/ 2147483647 w 320"/>
              <a:gd name="T19" fmla="*/ 2147483647 h 212"/>
              <a:gd name="T20" fmla="*/ 2147483647 w 320"/>
              <a:gd name="T21" fmla="*/ 2147483647 h 212"/>
              <a:gd name="T22" fmla="*/ 2147483647 w 320"/>
              <a:gd name="T23" fmla="*/ 2147483647 h 212"/>
              <a:gd name="T24" fmla="*/ 2147483647 w 320"/>
              <a:gd name="T25" fmla="*/ 2147483647 h 212"/>
              <a:gd name="T26" fmla="*/ 2147483647 w 320"/>
              <a:gd name="T27" fmla="*/ 2147483647 h 212"/>
              <a:gd name="T28" fmla="*/ 0 w 320"/>
              <a:gd name="T29" fmla="*/ 2147483647 h 212"/>
              <a:gd name="T30" fmla="*/ 2147483647 w 320"/>
              <a:gd name="T31" fmla="*/ 2147483647 h 212"/>
              <a:gd name="T32" fmla="*/ 2147483647 w 320"/>
              <a:gd name="T33" fmla="*/ 0 h 212"/>
              <a:gd name="T34" fmla="*/ 2147483647 w 320"/>
              <a:gd name="T35" fmla="*/ 2147483647 h 212"/>
              <a:gd name="T36" fmla="*/ 2147483647 w 320"/>
              <a:gd name="T37" fmla="*/ 2147483647 h 212"/>
              <a:gd name="T38" fmla="*/ 2147483647 w 320"/>
              <a:gd name="T39" fmla="*/ 2147483647 h 212"/>
              <a:gd name="T40" fmla="*/ 2147483647 w 320"/>
              <a:gd name="T41" fmla="*/ 2147483647 h 212"/>
              <a:gd name="T42" fmla="*/ 2147483647 w 320"/>
              <a:gd name="T43" fmla="*/ 2147483647 h 212"/>
              <a:gd name="T44" fmla="*/ 2147483647 w 320"/>
              <a:gd name="T45" fmla="*/ 2147483647 h 212"/>
              <a:gd name="T46" fmla="*/ 2147483647 w 320"/>
              <a:gd name="T47" fmla="*/ 2147483647 h 212"/>
              <a:gd name="T48" fmla="*/ 2147483647 w 320"/>
              <a:gd name="T49" fmla="*/ 2147483647 h 212"/>
              <a:gd name="T50" fmla="*/ 2147483647 w 320"/>
              <a:gd name="T51" fmla="*/ 2147483647 h 212"/>
              <a:gd name="T52" fmla="*/ 2147483647 w 320"/>
              <a:gd name="T53" fmla="*/ 2147483647 h 212"/>
              <a:gd name="T54" fmla="*/ 2147483647 w 320"/>
              <a:gd name="T55" fmla="*/ 2147483647 h 212"/>
              <a:gd name="T56" fmla="*/ 2147483647 w 320"/>
              <a:gd name="T57" fmla="*/ 2147483647 h 212"/>
              <a:gd name="T58" fmla="*/ 2147483647 w 320"/>
              <a:gd name="T59" fmla="*/ 2147483647 h 212"/>
              <a:gd name="T60" fmla="*/ 2147483647 w 320"/>
              <a:gd name="T61" fmla="*/ 2147483647 h 212"/>
              <a:gd name="T62" fmla="*/ 2147483647 w 320"/>
              <a:gd name="T63" fmla="*/ 2147483647 h 212"/>
              <a:gd name="T64" fmla="*/ 2147483647 w 320"/>
              <a:gd name="T65" fmla="*/ 2147483647 h 212"/>
              <a:gd name="T66" fmla="*/ 2147483647 w 320"/>
              <a:gd name="T67" fmla="*/ 2147483647 h 212"/>
              <a:gd name="T68" fmla="*/ 2147483647 w 320"/>
              <a:gd name="T69" fmla="*/ 2147483647 h 212"/>
              <a:gd name="T70" fmla="*/ 2147483647 w 320"/>
              <a:gd name="T71" fmla="*/ 2147483647 h 212"/>
              <a:gd name="T72" fmla="*/ 2147483647 w 320"/>
              <a:gd name="T73" fmla="*/ 2147483647 h 212"/>
              <a:gd name="T74" fmla="*/ 2147483647 w 320"/>
              <a:gd name="T75" fmla="*/ 2147483647 h 212"/>
              <a:gd name="T76" fmla="*/ 2147483647 w 320"/>
              <a:gd name="T77" fmla="*/ 2147483647 h 212"/>
              <a:gd name="T78" fmla="*/ 2147483647 w 320"/>
              <a:gd name="T79" fmla="*/ 2147483647 h 212"/>
              <a:gd name="T80" fmla="*/ 2147483647 w 320"/>
              <a:gd name="T81" fmla="*/ 2147483647 h 212"/>
              <a:gd name="T82" fmla="*/ 2147483647 w 320"/>
              <a:gd name="T83" fmla="*/ 2147483647 h 21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320"/>
              <a:gd name="T127" fmla="*/ 0 h 212"/>
              <a:gd name="T128" fmla="*/ 320 w 320"/>
              <a:gd name="T129" fmla="*/ 212 h 212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320" h="212">
                <a:moveTo>
                  <a:pt x="229" y="181"/>
                </a:moveTo>
                <a:lnTo>
                  <a:pt x="194" y="159"/>
                </a:lnTo>
                <a:lnTo>
                  <a:pt x="159" y="138"/>
                </a:lnTo>
                <a:lnTo>
                  <a:pt x="142" y="128"/>
                </a:lnTo>
                <a:lnTo>
                  <a:pt x="115" y="117"/>
                </a:lnTo>
                <a:lnTo>
                  <a:pt x="98" y="92"/>
                </a:lnTo>
                <a:lnTo>
                  <a:pt x="73" y="74"/>
                </a:lnTo>
                <a:lnTo>
                  <a:pt x="56" y="92"/>
                </a:lnTo>
                <a:lnTo>
                  <a:pt x="45" y="98"/>
                </a:lnTo>
                <a:lnTo>
                  <a:pt x="50" y="111"/>
                </a:lnTo>
                <a:lnTo>
                  <a:pt x="22" y="105"/>
                </a:lnTo>
                <a:lnTo>
                  <a:pt x="16" y="84"/>
                </a:lnTo>
                <a:lnTo>
                  <a:pt x="10" y="61"/>
                </a:lnTo>
                <a:lnTo>
                  <a:pt x="6" y="39"/>
                </a:lnTo>
                <a:lnTo>
                  <a:pt x="0" y="18"/>
                </a:lnTo>
                <a:lnTo>
                  <a:pt x="25" y="8"/>
                </a:lnTo>
                <a:lnTo>
                  <a:pt x="49" y="0"/>
                </a:lnTo>
                <a:lnTo>
                  <a:pt x="75" y="13"/>
                </a:lnTo>
                <a:lnTo>
                  <a:pt x="102" y="26"/>
                </a:lnTo>
                <a:lnTo>
                  <a:pt x="122" y="50"/>
                </a:lnTo>
                <a:lnTo>
                  <a:pt x="142" y="52"/>
                </a:lnTo>
                <a:lnTo>
                  <a:pt x="164" y="54"/>
                </a:lnTo>
                <a:lnTo>
                  <a:pt x="185" y="55"/>
                </a:lnTo>
                <a:lnTo>
                  <a:pt x="205" y="56"/>
                </a:lnTo>
                <a:lnTo>
                  <a:pt x="228" y="72"/>
                </a:lnTo>
                <a:lnTo>
                  <a:pt x="229" y="92"/>
                </a:lnTo>
                <a:lnTo>
                  <a:pt x="248" y="102"/>
                </a:lnTo>
                <a:lnTo>
                  <a:pt x="267" y="111"/>
                </a:lnTo>
                <a:lnTo>
                  <a:pt x="287" y="97"/>
                </a:lnTo>
                <a:lnTo>
                  <a:pt x="306" y="84"/>
                </a:lnTo>
                <a:lnTo>
                  <a:pt x="320" y="102"/>
                </a:lnTo>
                <a:lnTo>
                  <a:pt x="306" y="115"/>
                </a:lnTo>
                <a:lnTo>
                  <a:pt x="284" y="133"/>
                </a:lnTo>
                <a:lnTo>
                  <a:pt x="264" y="152"/>
                </a:lnTo>
                <a:lnTo>
                  <a:pt x="272" y="162"/>
                </a:lnTo>
                <a:lnTo>
                  <a:pt x="287" y="170"/>
                </a:lnTo>
                <a:lnTo>
                  <a:pt x="293" y="180"/>
                </a:lnTo>
                <a:lnTo>
                  <a:pt x="288" y="196"/>
                </a:lnTo>
                <a:lnTo>
                  <a:pt x="283" y="212"/>
                </a:lnTo>
                <a:lnTo>
                  <a:pt x="263" y="208"/>
                </a:lnTo>
                <a:lnTo>
                  <a:pt x="242" y="205"/>
                </a:lnTo>
                <a:lnTo>
                  <a:pt x="229" y="18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66" name="Freeform 173"/>
          <p:cNvSpPr>
            <a:spLocks/>
          </p:cNvSpPr>
          <p:nvPr/>
        </p:nvSpPr>
        <p:spPr bwMode="auto">
          <a:xfrm>
            <a:off x="4959350" y="3300413"/>
            <a:ext cx="65088" cy="52387"/>
          </a:xfrm>
          <a:custGeom>
            <a:avLst/>
            <a:gdLst>
              <a:gd name="T0" fmla="*/ 2147483647 w 50"/>
              <a:gd name="T1" fmla="*/ 2147483647 h 37"/>
              <a:gd name="T2" fmla="*/ 0 w 50"/>
              <a:gd name="T3" fmla="*/ 2147483647 h 37"/>
              <a:gd name="T4" fmla="*/ 2147483647 w 50"/>
              <a:gd name="T5" fmla="*/ 2147483647 h 37"/>
              <a:gd name="T6" fmla="*/ 2147483647 w 50"/>
              <a:gd name="T7" fmla="*/ 2147483647 h 37"/>
              <a:gd name="T8" fmla="*/ 2147483647 w 50"/>
              <a:gd name="T9" fmla="*/ 2147483647 h 37"/>
              <a:gd name="T10" fmla="*/ 2147483647 w 50"/>
              <a:gd name="T11" fmla="*/ 2147483647 h 37"/>
              <a:gd name="T12" fmla="*/ 2147483647 w 50"/>
              <a:gd name="T13" fmla="*/ 2147483647 h 37"/>
              <a:gd name="T14" fmla="*/ 2147483647 w 50"/>
              <a:gd name="T15" fmla="*/ 2147483647 h 37"/>
              <a:gd name="T16" fmla="*/ 2147483647 w 50"/>
              <a:gd name="T17" fmla="*/ 2147483647 h 37"/>
              <a:gd name="T18" fmla="*/ 2147483647 w 50"/>
              <a:gd name="T19" fmla="*/ 2147483647 h 37"/>
              <a:gd name="T20" fmla="*/ 2147483647 w 50"/>
              <a:gd name="T21" fmla="*/ 0 h 37"/>
              <a:gd name="T22" fmla="*/ 2147483647 w 50"/>
              <a:gd name="T23" fmla="*/ 2147483647 h 37"/>
              <a:gd name="T24" fmla="*/ 2147483647 w 50"/>
              <a:gd name="T25" fmla="*/ 2147483647 h 37"/>
              <a:gd name="T26" fmla="*/ 2147483647 w 50"/>
              <a:gd name="T27" fmla="*/ 2147483647 h 37"/>
              <a:gd name="T28" fmla="*/ 2147483647 w 50"/>
              <a:gd name="T29" fmla="*/ 2147483647 h 37"/>
              <a:gd name="T30" fmla="*/ 2147483647 w 50"/>
              <a:gd name="T31" fmla="*/ 2147483647 h 37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50"/>
              <a:gd name="T49" fmla="*/ 0 h 37"/>
              <a:gd name="T50" fmla="*/ 50 w 50"/>
              <a:gd name="T51" fmla="*/ 37 h 37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50" h="37">
                <a:moveTo>
                  <a:pt x="14" y="37"/>
                </a:moveTo>
                <a:lnTo>
                  <a:pt x="0" y="11"/>
                </a:lnTo>
                <a:lnTo>
                  <a:pt x="4" y="10"/>
                </a:lnTo>
                <a:lnTo>
                  <a:pt x="4" y="7"/>
                </a:lnTo>
                <a:lnTo>
                  <a:pt x="11" y="5"/>
                </a:lnTo>
                <a:lnTo>
                  <a:pt x="16" y="6"/>
                </a:lnTo>
                <a:lnTo>
                  <a:pt x="18" y="2"/>
                </a:lnTo>
                <a:lnTo>
                  <a:pt x="22" y="2"/>
                </a:lnTo>
                <a:lnTo>
                  <a:pt x="26" y="4"/>
                </a:lnTo>
                <a:lnTo>
                  <a:pt x="28" y="2"/>
                </a:lnTo>
                <a:lnTo>
                  <a:pt x="35" y="0"/>
                </a:lnTo>
                <a:lnTo>
                  <a:pt x="40" y="6"/>
                </a:lnTo>
                <a:lnTo>
                  <a:pt x="44" y="4"/>
                </a:lnTo>
                <a:lnTo>
                  <a:pt x="47" y="7"/>
                </a:lnTo>
                <a:lnTo>
                  <a:pt x="50" y="25"/>
                </a:lnTo>
                <a:lnTo>
                  <a:pt x="14" y="3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67" name="Freeform 174"/>
          <p:cNvSpPr>
            <a:spLocks/>
          </p:cNvSpPr>
          <p:nvPr/>
        </p:nvSpPr>
        <p:spPr bwMode="auto">
          <a:xfrm>
            <a:off x="5010150" y="3238500"/>
            <a:ext cx="157163" cy="100013"/>
          </a:xfrm>
          <a:custGeom>
            <a:avLst/>
            <a:gdLst>
              <a:gd name="T0" fmla="*/ 2147483647 w 118"/>
              <a:gd name="T1" fmla="*/ 2147483647 h 72"/>
              <a:gd name="T2" fmla="*/ 2147483647 w 118"/>
              <a:gd name="T3" fmla="*/ 0 h 72"/>
              <a:gd name="T4" fmla="*/ 0 w 118"/>
              <a:gd name="T5" fmla="*/ 2147483647 h 72"/>
              <a:gd name="T6" fmla="*/ 2147483647 w 118"/>
              <a:gd name="T7" fmla="*/ 2147483647 h 72"/>
              <a:gd name="T8" fmla="*/ 0 w 118"/>
              <a:gd name="T9" fmla="*/ 2147483647 h 72"/>
              <a:gd name="T10" fmla="*/ 2147483647 w 118"/>
              <a:gd name="T11" fmla="*/ 2147483647 h 72"/>
              <a:gd name="T12" fmla="*/ 2147483647 w 118"/>
              <a:gd name="T13" fmla="*/ 2147483647 h 72"/>
              <a:gd name="T14" fmla="*/ 2147483647 w 118"/>
              <a:gd name="T15" fmla="*/ 2147483647 h 72"/>
              <a:gd name="T16" fmla="*/ 2147483647 w 118"/>
              <a:gd name="T17" fmla="*/ 2147483647 h 72"/>
              <a:gd name="T18" fmla="*/ 2147483647 w 118"/>
              <a:gd name="T19" fmla="*/ 2147483647 h 72"/>
              <a:gd name="T20" fmla="*/ 2147483647 w 118"/>
              <a:gd name="T21" fmla="*/ 2147483647 h 72"/>
              <a:gd name="T22" fmla="*/ 2147483647 w 118"/>
              <a:gd name="T23" fmla="*/ 2147483647 h 72"/>
              <a:gd name="T24" fmla="*/ 2147483647 w 118"/>
              <a:gd name="T25" fmla="*/ 2147483647 h 72"/>
              <a:gd name="T26" fmla="*/ 2147483647 w 118"/>
              <a:gd name="T27" fmla="*/ 2147483647 h 72"/>
              <a:gd name="T28" fmla="*/ 2147483647 w 118"/>
              <a:gd name="T29" fmla="*/ 2147483647 h 72"/>
              <a:gd name="T30" fmla="*/ 2147483647 w 118"/>
              <a:gd name="T31" fmla="*/ 2147483647 h 72"/>
              <a:gd name="T32" fmla="*/ 2147483647 w 118"/>
              <a:gd name="T33" fmla="*/ 2147483647 h 72"/>
              <a:gd name="T34" fmla="*/ 2147483647 w 118"/>
              <a:gd name="T35" fmla="*/ 2147483647 h 72"/>
              <a:gd name="T36" fmla="*/ 2147483647 w 118"/>
              <a:gd name="T37" fmla="*/ 2147483647 h 72"/>
              <a:gd name="T38" fmla="*/ 2147483647 w 118"/>
              <a:gd name="T39" fmla="*/ 2147483647 h 72"/>
              <a:gd name="T40" fmla="*/ 2147483647 w 118"/>
              <a:gd name="T41" fmla="*/ 2147483647 h 72"/>
              <a:gd name="T42" fmla="*/ 2147483647 w 118"/>
              <a:gd name="T43" fmla="*/ 2147483647 h 72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118"/>
              <a:gd name="T67" fmla="*/ 0 h 72"/>
              <a:gd name="T68" fmla="*/ 118 w 118"/>
              <a:gd name="T69" fmla="*/ 72 h 72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118" h="72">
                <a:moveTo>
                  <a:pt x="6" y="7"/>
                </a:moveTo>
                <a:lnTo>
                  <a:pt x="1" y="0"/>
                </a:lnTo>
                <a:lnTo>
                  <a:pt x="0" y="16"/>
                </a:lnTo>
                <a:lnTo>
                  <a:pt x="8" y="30"/>
                </a:lnTo>
                <a:lnTo>
                  <a:pt x="0" y="42"/>
                </a:lnTo>
                <a:lnTo>
                  <a:pt x="6" y="51"/>
                </a:lnTo>
                <a:lnTo>
                  <a:pt x="9" y="54"/>
                </a:lnTo>
                <a:lnTo>
                  <a:pt x="12" y="72"/>
                </a:lnTo>
                <a:lnTo>
                  <a:pt x="34" y="69"/>
                </a:lnTo>
                <a:lnTo>
                  <a:pt x="69" y="72"/>
                </a:lnTo>
                <a:lnTo>
                  <a:pt x="78" y="66"/>
                </a:lnTo>
                <a:lnTo>
                  <a:pt x="81" y="63"/>
                </a:lnTo>
                <a:lnTo>
                  <a:pt x="85" y="57"/>
                </a:lnTo>
                <a:lnTo>
                  <a:pt x="114" y="55"/>
                </a:lnTo>
                <a:lnTo>
                  <a:pt x="104" y="46"/>
                </a:lnTo>
                <a:lnTo>
                  <a:pt x="109" y="36"/>
                </a:lnTo>
                <a:lnTo>
                  <a:pt x="114" y="21"/>
                </a:lnTo>
                <a:lnTo>
                  <a:pt x="118" y="12"/>
                </a:lnTo>
                <a:lnTo>
                  <a:pt x="81" y="5"/>
                </a:lnTo>
                <a:lnTo>
                  <a:pt x="50" y="15"/>
                </a:lnTo>
                <a:lnTo>
                  <a:pt x="27" y="11"/>
                </a:lnTo>
                <a:lnTo>
                  <a:pt x="6" y="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68" name="Freeform 175"/>
          <p:cNvSpPr>
            <a:spLocks/>
          </p:cNvSpPr>
          <p:nvPr/>
        </p:nvSpPr>
        <p:spPr bwMode="auto">
          <a:xfrm>
            <a:off x="4930775" y="3294063"/>
            <a:ext cx="47625" cy="98425"/>
          </a:xfrm>
          <a:custGeom>
            <a:avLst/>
            <a:gdLst>
              <a:gd name="T0" fmla="*/ 0 w 35"/>
              <a:gd name="T1" fmla="*/ 2147483647 h 71"/>
              <a:gd name="T2" fmla="*/ 2147483647 w 35"/>
              <a:gd name="T3" fmla="*/ 2147483647 h 71"/>
              <a:gd name="T4" fmla="*/ 2147483647 w 35"/>
              <a:gd name="T5" fmla="*/ 2147483647 h 71"/>
              <a:gd name="T6" fmla="*/ 2147483647 w 35"/>
              <a:gd name="T7" fmla="*/ 2147483647 h 71"/>
              <a:gd name="T8" fmla="*/ 2147483647 w 35"/>
              <a:gd name="T9" fmla="*/ 2147483647 h 71"/>
              <a:gd name="T10" fmla="*/ 2147483647 w 35"/>
              <a:gd name="T11" fmla="*/ 2147483647 h 71"/>
              <a:gd name="T12" fmla="*/ 2147483647 w 35"/>
              <a:gd name="T13" fmla="*/ 2147483647 h 71"/>
              <a:gd name="T14" fmla="*/ 2147483647 w 35"/>
              <a:gd name="T15" fmla="*/ 2147483647 h 71"/>
              <a:gd name="T16" fmla="*/ 2147483647 w 35"/>
              <a:gd name="T17" fmla="*/ 0 h 71"/>
              <a:gd name="T18" fmla="*/ 0 w 35"/>
              <a:gd name="T19" fmla="*/ 2147483647 h 7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5"/>
              <a:gd name="T31" fmla="*/ 0 h 71"/>
              <a:gd name="T32" fmla="*/ 35 w 35"/>
              <a:gd name="T33" fmla="*/ 71 h 71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5" h="71">
                <a:moveTo>
                  <a:pt x="0" y="17"/>
                </a:moveTo>
                <a:lnTo>
                  <a:pt x="4" y="49"/>
                </a:lnTo>
                <a:lnTo>
                  <a:pt x="18" y="71"/>
                </a:lnTo>
                <a:lnTo>
                  <a:pt x="24" y="64"/>
                </a:lnTo>
                <a:lnTo>
                  <a:pt x="35" y="43"/>
                </a:lnTo>
                <a:lnTo>
                  <a:pt x="35" y="42"/>
                </a:lnTo>
                <a:lnTo>
                  <a:pt x="21" y="16"/>
                </a:lnTo>
                <a:lnTo>
                  <a:pt x="15" y="4"/>
                </a:lnTo>
                <a:lnTo>
                  <a:pt x="3" y="0"/>
                </a:lnTo>
                <a:lnTo>
                  <a:pt x="0" y="1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69" name="Freeform 176"/>
          <p:cNvSpPr>
            <a:spLocks/>
          </p:cNvSpPr>
          <p:nvPr/>
        </p:nvSpPr>
        <p:spPr bwMode="auto">
          <a:xfrm>
            <a:off x="5556250" y="3327400"/>
            <a:ext cx="122238" cy="87313"/>
          </a:xfrm>
          <a:custGeom>
            <a:avLst/>
            <a:gdLst>
              <a:gd name="T0" fmla="*/ 2147483647 w 94"/>
              <a:gd name="T1" fmla="*/ 2147483647 h 63"/>
              <a:gd name="T2" fmla="*/ 0 w 94"/>
              <a:gd name="T3" fmla="*/ 0 h 63"/>
              <a:gd name="T4" fmla="*/ 2147483647 w 94"/>
              <a:gd name="T5" fmla="*/ 0 h 63"/>
              <a:gd name="T6" fmla="*/ 2147483647 w 94"/>
              <a:gd name="T7" fmla="*/ 0 h 63"/>
              <a:gd name="T8" fmla="*/ 2147483647 w 94"/>
              <a:gd name="T9" fmla="*/ 2147483647 h 63"/>
              <a:gd name="T10" fmla="*/ 2147483647 w 94"/>
              <a:gd name="T11" fmla="*/ 2147483647 h 63"/>
              <a:gd name="T12" fmla="*/ 2147483647 w 94"/>
              <a:gd name="T13" fmla="*/ 2147483647 h 63"/>
              <a:gd name="T14" fmla="*/ 2147483647 w 94"/>
              <a:gd name="T15" fmla="*/ 2147483647 h 63"/>
              <a:gd name="T16" fmla="*/ 2147483647 w 94"/>
              <a:gd name="T17" fmla="*/ 2147483647 h 63"/>
              <a:gd name="T18" fmla="*/ 2147483647 w 94"/>
              <a:gd name="T19" fmla="*/ 2147483647 h 63"/>
              <a:gd name="T20" fmla="*/ 2147483647 w 94"/>
              <a:gd name="T21" fmla="*/ 2147483647 h 63"/>
              <a:gd name="T22" fmla="*/ 2147483647 w 94"/>
              <a:gd name="T23" fmla="*/ 2147483647 h 63"/>
              <a:gd name="T24" fmla="*/ 2147483647 w 94"/>
              <a:gd name="T25" fmla="*/ 2147483647 h 63"/>
              <a:gd name="T26" fmla="*/ 2147483647 w 94"/>
              <a:gd name="T27" fmla="*/ 2147483647 h 63"/>
              <a:gd name="T28" fmla="*/ 2147483647 w 94"/>
              <a:gd name="T29" fmla="*/ 2147483647 h 63"/>
              <a:gd name="T30" fmla="*/ 2147483647 w 94"/>
              <a:gd name="T31" fmla="*/ 2147483647 h 63"/>
              <a:gd name="T32" fmla="*/ 2147483647 w 94"/>
              <a:gd name="T33" fmla="*/ 2147483647 h 63"/>
              <a:gd name="T34" fmla="*/ 2147483647 w 94"/>
              <a:gd name="T35" fmla="*/ 2147483647 h 63"/>
              <a:gd name="T36" fmla="*/ 2147483647 w 94"/>
              <a:gd name="T37" fmla="*/ 2147483647 h 63"/>
              <a:gd name="T38" fmla="*/ 2147483647 w 94"/>
              <a:gd name="T39" fmla="*/ 2147483647 h 63"/>
              <a:gd name="T40" fmla="*/ 2147483647 w 94"/>
              <a:gd name="T41" fmla="*/ 2147483647 h 6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94"/>
              <a:gd name="T64" fmla="*/ 0 h 63"/>
              <a:gd name="T65" fmla="*/ 94 w 94"/>
              <a:gd name="T66" fmla="*/ 63 h 63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94" h="63">
                <a:moveTo>
                  <a:pt x="13" y="9"/>
                </a:moveTo>
                <a:lnTo>
                  <a:pt x="0" y="0"/>
                </a:lnTo>
                <a:lnTo>
                  <a:pt x="30" y="0"/>
                </a:lnTo>
                <a:lnTo>
                  <a:pt x="59" y="0"/>
                </a:lnTo>
                <a:lnTo>
                  <a:pt x="78" y="4"/>
                </a:lnTo>
                <a:lnTo>
                  <a:pt x="78" y="25"/>
                </a:lnTo>
                <a:lnTo>
                  <a:pt x="87" y="29"/>
                </a:lnTo>
                <a:lnTo>
                  <a:pt x="79" y="39"/>
                </a:lnTo>
                <a:lnTo>
                  <a:pt x="94" y="59"/>
                </a:lnTo>
                <a:lnTo>
                  <a:pt x="85" y="63"/>
                </a:lnTo>
                <a:lnTo>
                  <a:pt x="78" y="58"/>
                </a:lnTo>
                <a:lnTo>
                  <a:pt x="77" y="55"/>
                </a:lnTo>
                <a:lnTo>
                  <a:pt x="72" y="51"/>
                </a:lnTo>
                <a:lnTo>
                  <a:pt x="67" y="51"/>
                </a:lnTo>
                <a:lnTo>
                  <a:pt x="61" y="49"/>
                </a:lnTo>
                <a:lnTo>
                  <a:pt x="55" y="47"/>
                </a:lnTo>
                <a:lnTo>
                  <a:pt x="48" y="47"/>
                </a:lnTo>
                <a:lnTo>
                  <a:pt x="47" y="46"/>
                </a:lnTo>
                <a:lnTo>
                  <a:pt x="30" y="39"/>
                </a:lnTo>
                <a:lnTo>
                  <a:pt x="22" y="25"/>
                </a:lnTo>
                <a:lnTo>
                  <a:pt x="13" y="9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70" name="Freeform 177"/>
          <p:cNvSpPr>
            <a:spLocks/>
          </p:cNvSpPr>
          <p:nvPr/>
        </p:nvSpPr>
        <p:spPr bwMode="auto">
          <a:xfrm>
            <a:off x="5659438" y="3314700"/>
            <a:ext cx="107950" cy="119063"/>
          </a:xfrm>
          <a:custGeom>
            <a:avLst/>
            <a:gdLst>
              <a:gd name="T0" fmla="*/ 2147483647 w 81"/>
              <a:gd name="T1" fmla="*/ 2147483647 h 85"/>
              <a:gd name="T2" fmla="*/ 2147483647 w 81"/>
              <a:gd name="T3" fmla="*/ 2147483647 h 85"/>
              <a:gd name="T4" fmla="*/ 2147483647 w 81"/>
              <a:gd name="T5" fmla="*/ 2147483647 h 85"/>
              <a:gd name="T6" fmla="*/ 0 w 81"/>
              <a:gd name="T7" fmla="*/ 2147483647 h 85"/>
              <a:gd name="T8" fmla="*/ 0 w 81"/>
              <a:gd name="T9" fmla="*/ 2147483647 h 85"/>
              <a:gd name="T10" fmla="*/ 2147483647 w 81"/>
              <a:gd name="T11" fmla="*/ 0 h 85"/>
              <a:gd name="T12" fmla="*/ 2147483647 w 81"/>
              <a:gd name="T13" fmla="*/ 2147483647 h 85"/>
              <a:gd name="T14" fmla="*/ 2147483647 w 81"/>
              <a:gd name="T15" fmla="*/ 2147483647 h 85"/>
              <a:gd name="T16" fmla="*/ 2147483647 w 81"/>
              <a:gd name="T17" fmla="*/ 2147483647 h 85"/>
              <a:gd name="T18" fmla="*/ 2147483647 w 81"/>
              <a:gd name="T19" fmla="*/ 2147483647 h 85"/>
              <a:gd name="T20" fmla="*/ 2147483647 w 81"/>
              <a:gd name="T21" fmla="*/ 2147483647 h 85"/>
              <a:gd name="T22" fmla="*/ 2147483647 w 81"/>
              <a:gd name="T23" fmla="*/ 2147483647 h 85"/>
              <a:gd name="T24" fmla="*/ 2147483647 w 81"/>
              <a:gd name="T25" fmla="*/ 2147483647 h 85"/>
              <a:gd name="T26" fmla="*/ 2147483647 w 81"/>
              <a:gd name="T27" fmla="*/ 2147483647 h 85"/>
              <a:gd name="T28" fmla="*/ 2147483647 w 81"/>
              <a:gd name="T29" fmla="*/ 2147483647 h 85"/>
              <a:gd name="T30" fmla="*/ 2147483647 w 81"/>
              <a:gd name="T31" fmla="*/ 2147483647 h 85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81"/>
              <a:gd name="T49" fmla="*/ 0 h 85"/>
              <a:gd name="T50" fmla="*/ 81 w 81"/>
              <a:gd name="T51" fmla="*/ 85 h 85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81" h="85">
                <a:moveTo>
                  <a:pt x="16" y="67"/>
                </a:moveTo>
                <a:lnTo>
                  <a:pt x="1" y="47"/>
                </a:lnTo>
                <a:lnTo>
                  <a:pt x="9" y="37"/>
                </a:lnTo>
                <a:lnTo>
                  <a:pt x="0" y="33"/>
                </a:lnTo>
                <a:lnTo>
                  <a:pt x="0" y="12"/>
                </a:lnTo>
                <a:lnTo>
                  <a:pt x="7" y="0"/>
                </a:lnTo>
                <a:lnTo>
                  <a:pt x="41" y="6"/>
                </a:lnTo>
                <a:lnTo>
                  <a:pt x="53" y="21"/>
                </a:lnTo>
                <a:lnTo>
                  <a:pt x="81" y="38"/>
                </a:lnTo>
                <a:lnTo>
                  <a:pt x="67" y="41"/>
                </a:lnTo>
                <a:lnTo>
                  <a:pt x="61" y="69"/>
                </a:lnTo>
                <a:lnTo>
                  <a:pt x="59" y="85"/>
                </a:lnTo>
                <a:lnTo>
                  <a:pt x="40" y="73"/>
                </a:lnTo>
                <a:lnTo>
                  <a:pt x="42" y="68"/>
                </a:lnTo>
                <a:lnTo>
                  <a:pt x="36" y="55"/>
                </a:lnTo>
                <a:lnTo>
                  <a:pt x="16" y="6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71" name="Freeform 178"/>
          <p:cNvSpPr>
            <a:spLocks/>
          </p:cNvSpPr>
          <p:nvPr/>
        </p:nvSpPr>
        <p:spPr bwMode="auto">
          <a:xfrm>
            <a:off x="5619750" y="3392488"/>
            <a:ext cx="49213" cy="26987"/>
          </a:xfrm>
          <a:custGeom>
            <a:avLst/>
            <a:gdLst>
              <a:gd name="T0" fmla="*/ 2147483647 w 37"/>
              <a:gd name="T1" fmla="*/ 2147483647 h 19"/>
              <a:gd name="T2" fmla="*/ 2147483647 w 37"/>
              <a:gd name="T3" fmla="*/ 2147483647 h 19"/>
              <a:gd name="T4" fmla="*/ 2147483647 w 37"/>
              <a:gd name="T5" fmla="*/ 2147483647 h 19"/>
              <a:gd name="T6" fmla="*/ 2147483647 w 37"/>
              <a:gd name="T7" fmla="*/ 2147483647 h 19"/>
              <a:gd name="T8" fmla="*/ 0 w 37"/>
              <a:gd name="T9" fmla="*/ 0 h 19"/>
              <a:gd name="T10" fmla="*/ 2147483647 w 37"/>
              <a:gd name="T11" fmla="*/ 0 h 19"/>
              <a:gd name="T12" fmla="*/ 2147483647 w 37"/>
              <a:gd name="T13" fmla="*/ 2147483647 h 19"/>
              <a:gd name="T14" fmla="*/ 2147483647 w 37"/>
              <a:gd name="T15" fmla="*/ 2147483647 h 19"/>
              <a:gd name="T16" fmla="*/ 2147483647 w 37"/>
              <a:gd name="T17" fmla="*/ 2147483647 h 19"/>
              <a:gd name="T18" fmla="*/ 2147483647 w 37"/>
              <a:gd name="T19" fmla="*/ 2147483647 h 19"/>
              <a:gd name="T20" fmla="*/ 2147483647 w 37"/>
              <a:gd name="T21" fmla="*/ 2147483647 h 19"/>
              <a:gd name="T22" fmla="*/ 2147483647 w 37"/>
              <a:gd name="T23" fmla="*/ 2147483647 h 1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7"/>
              <a:gd name="T37" fmla="*/ 0 h 19"/>
              <a:gd name="T38" fmla="*/ 37 w 37"/>
              <a:gd name="T39" fmla="*/ 19 h 1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7" h="19">
                <a:moveTo>
                  <a:pt x="37" y="16"/>
                </a:moveTo>
                <a:lnTo>
                  <a:pt x="30" y="19"/>
                </a:lnTo>
                <a:lnTo>
                  <a:pt x="5" y="5"/>
                </a:lnTo>
                <a:lnTo>
                  <a:pt x="1" y="1"/>
                </a:lnTo>
                <a:lnTo>
                  <a:pt x="0" y="0"/>
                </a:lnTo>
                <a:lnTo>
                  <a:pt x="7" y="0"/>
                </a:lnTo>
                <a:lnTo>
                  <a:pt x="13" y="2"/>
                </a:lnTo>
                <a:lnTo>
                  <a:pt x="19" y="4"/>
                </a:lnTo>
                <a:lnTo>
                  <a:pt x="24" y="4"/>
                </a:lnTo>
                <a:lnTo>
                  <a:pt x="29" y="8"/>
                </a:lnTo>
                <a:lnTo>
                  <a:pt x="30" y="11"/>
                </a:lnTo>
                <a:lnTo>
                  <a:pt x="37" y="16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72" name="Freeform 179"/>
          <p:cNvSpPr>
            <a:spLocks/>
          </p:cNvSpPr>
          <p:nvPr/>
        </p:nvSpPr>
        <p:spPr bwMode="auto">
          <a:xfrm>
            <a:off x="4953000" y="3324225"/>
            <a:ext cx="169863" cy="176213"/>
          </a:xfrm>
          <a:custGeom>
            <a:avLst/>
            <a:gdLst>
              <a:gd name="T0" fmla="*/ 2147483647 w 127"/>
              <a:gd name="T1" fmla="*/ 2147483647 h 128"/>
              <a:gd name="T2" fmla="*/ 2147483647 w 127"/>
              <a:gd name="T3" fmla="*/ 2147483647 h 128"/>
              <a:gd name="T4" fmla="*/ 0 w 127"/>
              <a:gd name="T5" fmla="*/ 2147483647 h 128"/>
              <a:gd name="T6" fmla="*/ 2147483647 w 127"/>
              <a:gd name="T7" fmla="*/ 2147483647 h 128"/>
              <a:gd name="T8" fmla="*/ 2147483647 w 127"/>
              <a:gd name="T9" fmla="*/ 2147483647 h 128"/>
              <a:gd name="T10" fmla="*/ 2147483647 w 127"/>
              <a:gd name="T11" fmla="*/ 2147483647 h 128"/>
              <a:gd name="T12" fmla="*/ 2147483647 w 127"/>
              <a:gd name="T13" fmla="*/ 2147483647 h 128"/>
              <a:gd name="T14" fmla="*/ 2147483647 w 127"/>
              <a:gd name="T15" fmla="*/ 2147483647 h 128"/>
              <a:gd name="T16" fmla="*/ 2147483647 w 127"/>
              <a:gd name="T17" fmla="*/ 2147483647 h 128"/>
              <a:gd name="T18" fmla="*/ 2147483647 w 127"/>
              <a:gd name="T19" fmla="*/ 2147483647 h 128"/>
              <a:gd name="T20" fmla="*/ 2147483647 w 127"/>
              <a:gd name="T21" fmla="*/ 0 h 128"/>
              <a:gd name="T22" fmla="*/ 2147483647 w 127"/>
              <a:gd name="T23" fmla="*/ 2147483647 h 128"/>
              <a:gd name="T24" fmla="*/ 2147483647 w 127"/>
              <a:gd name="T25" fmla="*/ 2147483647 h 128"/>
              <a:gd name="T26" fmla="*/ 2147483647 w 127"/>
              <a:gd name="T27" fmla="*/ 2147483647 h 128"/>
              <a:gd name="T28" fmla="*/ 2147483647 w 127"/>
              <a:gd name="T29" fmla="*/ 2147483647 h 128"/>
              <a:gd name="T30" fmla="*/ 2147483647 w 127"/>
              <a:gd name="T31" fmla="*/ 2147483647 h 128"/>
              <a:gd name="T32" fmla="*/ 2147483647 w 127"/>
              <a:gd name="T33" fmla="*/ 2147483647 h 128"/>
              <a:gd name="T34" fmla="*/ 2147483647 w 127"/>
              <a:gd name="T35" fmla="*/ 2147483647 h 128"/>
              <a:gd name="T36" fmla="*/ 2147483647 w 127"/>
              <a:gd name="T37" fmla="*/ 2147483647 h 128"/>
              <a:gd name="T38" fmla="*/ 2147483647 w 127"/>
              <a:gd name="T39" fmla="*/ 2147483647 h 128"/>
              <a:gd name="T40" fmla="*/ 2147483647 w 127"/>
              <a:gd name="T41" fmla="*/ 2147483647 h 128"/>
              <a:gd name="T42" fmla="*/ 2147483647 w 127"/>
              <a:gd name="T43" fmla="*/ 2147483647 h 128"/>
              <a:gd name="T44" fmla="*/ 2147483647 w 127"/>
              <a:gd name="T45" fmla="*/ 2147483647 h 128"/>
              <a:gd name="T46" fmla="*/ 2147483647 w 127"/>
              <a:gd name="T47" fmla="*/ 2147483647 h 128"/>
              <a:gd name="T48" fmla="*/ 2147483647 w 127"/>
              <a:gd name="T49" fmla="*/ 2147483647 h 128"/>
              <a:gd name="T50" fmla="*/ 2147483647 w 127"/>
              <a:gd name="T51" fmla="*/ 2147483647 h 128"/>
              <a:gd name="T52" fmla="*/ 2147483647 w 127"/>
              <a:gd name="T53" fmla="*/ 2147483647 h 128"/>
              <a:gd name="T54" fmla="*/ 2147483647 w 127"/>
              <a:gd name="T55" fmla="*/ 2147483647 h 128"/>
              <a:gd name="T56" fmla="*/ 2147483647 w 127"/>
              <a:gd name="T57" fmla="*/ 2147483647 h 128"/>
              <a:gd name="T58" fmla="*/ 2147483647 w 127"/>
              <a:gd name="T59" fmla="*/ 2147483647 h 128"/>
              <a:gd name="T60" fmla="*/ 2147483647 w 127"/>
              <a:gd name="T61" fmla="*/ 2147483647 h 128"/>
              <a:gd name="T62" fmla="*/ 2147483647 w 127"/>
              <a:gd name="T63" fmla="*/ 2147483647 h 128"/>
              <a:gd name="T64" fmla="*/ 2147483647 w 127"/>
              <a:gd name="T65" fmla="*/ 2147483647 h 128"/>
              <a:gd name="T66" fmla="*/ 2147483647 w 127"/>
              <a:gd name="T67" fmla="*/ 2147483647 h 128"/>
              <a:gd name="T68" fmla="*/ 2147483647 w 127"/>
              <a:gd name="T69" fmla="*/ 2147483647 h 128"/>
              <a:gd name="T70" fmla="*/ 2147483647 w 127"/>
              <a:gd name="T71" fmla="*/ 2147483647 h 128"/>
              <a:gd name="T72" fmla="*/ 2147483647 w 127"/>
              <a:gd name="T73" fmla="*/ 2147483647 h 128"/>
              <a:gd name="T74" fmla="*/ 2147483647 w 127"/>
              <a:gd name="T75" fmla="*/ 2147483647 h 128"/>
              <a:gd name="T76" fmla="*/ 2147483647 w 127"/>
              <a:gd name="T77" fmla="*/ 2147483647 h 128"/>
              <a:gd name="T78" fmla="*/ 2147483647 w 127"/>
              <a:gd name="T79" fmla="*/ 2147483647 h 128"/>
              <a:gd name="T80" fmla="*/ 2147483647 w 127"/>
              <a:gd name="T81" fmla="*/ 2147483647 h 128"/>
              <a:gd name="T82" fmla="*/ 2147483647 w 127"/>
              <a:gd name="T83" fmla="*/ 2147483647 h 128"/>
              <a:gd name="T84" fmla="*/ 2147483647 w 127"/>
              <a:gd name="T85" fmla="*/ 2147483647 h 128"/>
              <a:gd name="T86" fmla="*/ 2147483647 w 127"/>
              <a:gd name="T87" fmla="*/ 2147483647 h 128"/>
              <a:gd name="T88" fmla="*/ 2147483647 w 127"/>
              <a:gd name="T89" fmla="*/ 2147483647 h 128"/>
              <a:gd name="T90" fmla="*/ 2147483647 w 127"/>
              <a:gd name="T91" fmla="*/ 2147483647 h 128"/>
              <a:gd name="T92" fmla="*/ 2147483647 w 127"/>
              <a:gd name="T93" fmla="*/ 2147483647 h 128"/>
              <a:gd name="T94" fmla="*/ 2147483647 w 127"/>
              <a:gd name="T95" fmla="*/ 2147483647 h 12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127"/>
              <a:gd name="T145" fmla="*/ 0 h 128"/>
              <a:gd name="T146" fmla="*/ 127 w 127"/>
              <a:gd name="T147" fmla="*/ 128 h 128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127" h="128">
                <a:moveTo>
                  <a:pt x="24" y="67"/>
                </a:moveTo>
                <a:lnTo>
                  <a:pt x="9" y="61"/>
                </a:lnTo>
                <a:lnTo>
                  <a:pt x="0" y="50"/>
                </a:lnTo>
                <a:lnTo>
                  <a:pt x="6" y="43"/>
                </a:lnTo>
                <a:lnTo>
                  <a:pt x="17" y="22"/>
                </a:lnTo>
                <a:lnTo>
                  <a:pt x="17" y="21"/>
                </a:lnTo>
                <a:lnTo>
                  <a:pt x="53" y="9"/>
                </a:lnTo>
                <a:lnTo>
                  <a:pt x="75" y="6"/>
                </a:lnTo>
                <a:lnTo>
                  <a:pt x="110" y="9"/>
                </a:lnTo>
                <a:lnTo>
                  <a:pt x="119" y="3"/>
                </a:lnTo>
                <a:lnTo>
                  <a:pt x="122" y="0"/>
                </a:lnTo>
                <a:lnTo>
                  <a:pt x="127" y="8"/>
                </a:lnTo>
                <a:lnTo>
                  <a:pt x="119" y="24"/>
                </a:lnTo>
                <a:lnTo>
                  <a:pt x="95" y="19"/>
                </a:lnTo>
                <a:lnTo>
                  <a:pt x="73" y="26"/>
                </a:lnTo>
                <a:lnTo>
                  <a:pt x="83" y="37"/>
                </a:lnTo>
                <a:lnTo>
                  <a:pt x="74" y="37"/>
                </a:lnTo>
                <a:lnTo>
                  <a:pt x="75" y="42"/>
                </a:lnTo>
                <a:lnTo>
                  <a:pt x="67" y="38"/>
                </a:lnTo>
                <a:lnTo>
                  <a:pt x="72" y="44"/>
                </a:lnTo>
                <a:lnTo>
                  <a:pt x="57" y="28"/>
                </a:lnTo>
                <a:lnTo>
                  <a:pt x="51" y="33"/>
                </a:lnTo>
                <a:lnTo>
                  <a:pt x="60" y="54"/>
                </a:lnTo>
                <a:lnTo>
                  <a:pt x="65" y="64"/>
                </a:lnTo>
                <a:lnTo>
                  <a:pt x="57" y="60"/>
                </a:lnTo>
                <a:lnTo>
                  <a:pt x="60" y="68"/>
                </a:lnTo>
                <a:lnTo>
                  <a:pt x="55" y="70"/>
                </a:lnTo>
                <a:lnTo>
                  <a:pt x="83" y="88"/>
                </a:lnTo>
                <a:lnTo>
                  <a:pt x="83" y="97"/>
                </a:lnTo>
                <a:lnTo>
                  <a:pt x="72" y="92"/>
                </a:lnTo>
                <a:lnTo>
                  <a:pt x="66" y="94"/>
                </a:lnTo>
                <a:lnTo>
                  <a:pt x="72" y="105"/>
                </a:lnTo>
                <a:lnTo>
                  <a:pt x="60" y="105"/>
                </a:lnTo>
                <a:lnTo>
                  <a:pt x="67" y="128"/>
                </a:lnTo>
                <a:lnTo>
                  <a:pt x="56" y="123"/>
                </a:lnTo>
                <a:lnTo>
                  <a:pt x="53" y="128"/>
                </a:lnTo>
                <a:lnTo>
                  <a:pt x="44" y="116"/>
                </a:lnTo>
                <a:lnTo>
                  <a:pt x="41" y="121"/>
                </a:lnTo>
                <a:lnTo>
                  <a:pt x="30" y="99"/>
                </a:lnTo>
                <a:lnTo>
                  <a:pt x="29" y="91"/>
                </a:lnTo>
                <a:lnTo>
                  <a:pt x="45" y="85"/>
                </a:lnTo>
                <a:lnTo>
                  <a:pt x="65" y="90"/>
                </a:lnTo>
                <a:lnTo>
                  <a:pt x="63" y="86"/>
                </a:lnTo>
                <a:lnTo>
                  <a:pt x="51" y="81"/>
                </a:lnTo>
                <a:lnTo>
                  <a:pt x="29" y="80"/>
                </a:lnTo>
                <a:lnTo>
                  <a:pt x="24" y="80"/>
                </a:lnTo>
                <a:lnTo>
                  <a:pt x="19" y="68"/>
                </a:lnTo>
                <a:lnTo>
                  <a:pt x="24" y="6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73" name="Freeform 180"/>
          <p:cNvSpPr>
            <a:spLocks/>
          </p:cNvSpPr>
          <p:nvPr/>
        </p:nvSpPr>
        <p:spPr bwMode="auto">
          <a:xfrm>
            <a:off x="5062538" y="3530600"/>
            <a:ext cx="74612" cy="20638"/>
          </a:xfrm>
          <a:custGeom>
            <a:avLst/>
            <a:gdLst>
              <a:gd name="T0" fmla="*/ 2147483647 w 57"/>
              <a:gd name="T1" fmla="*/ 2147483647 h 13"/>
              <a:gd name="T2" fmla="*/ 2147483647 w 57"/>
              <a:gd name="T3" fmla="*/ 0 h 13"/>
              <a:gd name="T4" fmla="*/ 2147483647 w 57"/>
              <a:gd name="T5" fmla="*/ 0 h 13"/>
              <a:gd name="T6" fmla="*/ 0 w 57"/>
              <a:gd name="T7" fmla="*/ 2147483647 h 13"/>
              <a:gd name="T8" fmla="*/ 2147483647 w 57"/>
              <a:gd name="T9" fmla="*/ 2147483647 h 13"/>
              <a:gd name="T10" fmla="*/ 2147483647 w 57"/>
              <a:gd name="T11" fmla="*/ 2147483647 h 13"/>
              <a:gd name="T12" fmla="*/ 2147483647 w 57"/>
              <a:gd name="T13" fmla="*/ 2147483647 h 13"/>
              <a:gd name="T14" fmla="*/ 2147483647 w 57"/>
              <a:gd name="T15" fmla="*/ 2147483647 h 1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"/>
              <a:gd name="T25" fmla="*/ 0 h 13"/>
              <a:gd name="T26" fmla="*/ 57 w 57"/>
              <a:gd name="T27" fmla="*/ 13 h 1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" h="13">
                <a:moveTo>
                  <a:pt x="44" y="7"/>
                </a:moveTo>
                <a:lnTo>
                  <a:pt x="12" y="0"/>
                </a:lnTo>
                <a:lnTo>
                  <a:pt x="3" y="0"/>
                </a:lnTo>
                <a:lnTo>
                  <a:pt x="0" y="7"/>
                </a:lnTo>
                <a:lnTo>
                  <a:pt x="21" y="11"/>
                </a:lnTo>
                <a:lnTo>
                  <a:pt x="40" y="13"/>
                </a:lnTo>
                <a:lnTo>
                  <a:pt x="57" y="8"/>
                </a:lnTo>
                <a:lnTo>
                  <a:pt x="44" y="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74" name="Freeform 181"/>
          <p:cNvSpPr>
            <a:spLocks/>
          </p:cNvSpPr>
          <p:nvPr/>
        </p:nvSpPr>
        <p:spPr bwMode="auto">
          <a:xfrm>
            <a:off x="5038725" y="3414713"/>
            <a:ext cx="42863" cy="33337"/>
          </a:xfrm>
          <a:custGeom>
            <a:avLst/>
            <a:gdLst>
              <a:gd name="T0" fmla="*/ 2147483647 w 33"/>
              <a:gd name="T1" fmla="*/ 2147483647 h 23"/>
              <a:gd name="T2" fmla="*/ 2147483647 w 33"/>
              <a:gd name="T3" fmla="*/ 2147483647 h 23"/>
              <a:gd name="T4" fmla="*/ 0 w 33"/>
              <a:gd name="T5" fmla="*/ 0 h 23"/>
              <a:gd name="T6" fmla="*/ 2147483647 w 33"/>
              <a:gd name="T7" fmla="*/ 2147483647 h 23"/>
              <a:gd name="T8" fmla="*/ 2147483647 w 33"/>
              <a:gd name="T9" fmla="*/ 2147483647 h 23"/>
              <a:gd name="T10" fmla="*/ 2147483647 w 33"/>
              <a:gd name="T11" fmla="*/ 2147483647 h 2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3"/>
              <a:gd name="T19" fmla="*/ 0 h 23"/>
              <a:gd name="T20" fmla="*/ 33 w 33"/>
              <a:gd name="T21" fmla="*/ 23 h 2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3" h="23">
                <a:moveTo>
                  <a:pt x="33" y="21"/>
                </a:moveTo>
                <a:lnTo>
                  <a:pt x="16" y="6"/>
                </a:lnTo>
                <a:lnTo>
                  <a:pt x="0" y="0"/>
                </a:lnTo>
                <a:lnTo>
                  <a:pt x="16" y="11"/>
                </a:lnTo>
                <a:lnTo>
                  <a:pt x="33" y="23"/>
                </a:lnTo>
                <a:lnTo>
                  <a:pt x="33" y="2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75" name="Freeform 182"/>
          <p:cNvSpPr>
            <a:spLocks/>
          </p:cNvSpPr>
          <p:nvPr/>
        </p:nvSpPr>
        <p:spPr bwMode="auto">
          <a:xfrm>
            <a:off x="5113338" y="3402013"/>
            <a:ext cx="17462" cy="9525"/>
          </a:xfrm>
          <a:custGeom>
            <a:avLst/>
            <a:gdLst>
              <a:gd name="T0" fmla="*/ 2147483647 w 13"/>
              <a:gd name="T1" fmla="*/ 2147483647 h 6"/>
              <a:gd name="T2" fmla="*/ 2147483647 w 13"/>
              <a:gd name="T3" fmla="*/ 2147483647 h 6"/>
              <a:gd name="T4" fmla="*/ 0 w 13"/>
              <a:gd name="T5" fmla="*/ 0 h 6"/>
              <a:gd name="T6" fmla="*/ 2147483647 w 13"/>
              <a:gd name="T7" fmla="*/ 2147483647 h 6"/>
              <a:gd name="T8" fmla="*/ 2147483647 w 1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3"/>
              <a:gd name="T16" fmla="*/ 0 h 6"/>
              <a:gd name="T17" fmla="*/ 13 w 1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3" h="6">
                <a:moveTo>
                  <a:pt x="13" y="6"/>
                </a:moveTo>
                <a:lnTo>
                  <a:pt x="5" y="4"/>
                </a:lnTo>
                <a:lnTo>
                  <a:pt x="0" y="0"/>
                </a:lnTo>
                <a:lnTo>
                  <a:pt x="12" y="3"/>
                </a:lnTo>
                <a:lnTo>
                  <a:pt x="13" y="6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76" name="Freeform 183"/>
          <p:cNvSpPr>
            <a:spLocks/>
          </p:cNvSpPr>
          <p:nvPr/>
        </p:nvSpPr>
        <p:spPr bwMode="auto">
          <a:xfrm>
            <a:off x="4970463" y="3435350"/>
            <a:ext cx="7937" cy="7938"/>
          </a:xfrm>
          <a:custGeom>
            <a:avLst/>
            <a:gdLst>
              <a:gd name="T0" fmla="*/ 0 w 8"/>
              <a:gd name="T1" fmla="*/ 0 h 6"/>
              <a:gd name="T2" fmla="*/ 2147483647 w 8"/>
              <a:gd name="T3" fmla="*/ 2147483647 h 6"/>
              <a:gd name="T4" fmla="*/ 2147483647 w 8"/>
              <a:gd name="T5" fmla="*/ 2147483647 h 6"/>
              <a:gd name="T6" fmla="*/ 0 w 8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8"/>
              <a:gd name="T13" fmla="*/ 0 h 6"/>
              <a:gd name="T14" fmla="*/ 8 w 8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" h="6">
                <a:moveTo>
                  <a:pt x="0" y="0"/>
                </a:moveTo>
                <a:lnTo>
                  <a:pt x="8" y="6"/>
                </a:lnTo>
                <a:lnTo>
                  <a:pt x="2" y="6"/>
                </a:ln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77" name="Freeform 184"/>
          <p:cNvSpPr>
            <a:spLocks/>
          </p:cNvSpPr>
          <p:nvPr/>
        </p:nvSpPr>
        <p:spPr bwMode="auto">
          <a:xfrm>
            <a:off x="5118100" y="3427413"/>
            <a:ext cx="3175" cy="12700"/>
          </a:xfrm>
          <a:custGeom>
            <a:avLst/>
            <a:gdLst>
              <a:gd name="T0" fmla="*/ 2147483647 w 4"/>
              <a:gd name="T1" fmla="*/ 0 h 8"/>
              <a:gd name="T2" fmla="*/ 2147483647 w 4"/>
              <a:gd name="T3" fmla="*/ 2147483647 h 8"/>
              <a:gd name="T4" fmla="*/ 0 w 4"/>
              <a:gd name="T5" fmla="*/ 2147483647 h 8"/>
              <a:gd name="T6" fmla="*/ 2147483647 w 4"/>
              <a:gd name="T7" fmla="*/ 0 h 8"/>
              <a:gd name="T8" fmla="*/ 0 60000 65536"/>
              <a:gd name="T9" fmla="*/ 0 60000 65536"/>
              <a:gd name="T10" fmla="*/ 0 60000 65536"/>
              <a:gd name="T11" fmla="*/ 0 60000 65536"/>
              <a:gd name="T12" fmla="*/ 0 w 4"/>
              <a:gd name="T13" fmla="*/ 0 h 8"/>
              <a:gd name="T14" fmla="*/ 4 w 4"/>
              <a:gd name="T15" fmla="*/ 8 h 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" h="8">
                <a:moveTo>
                  <a:pt x="4" y="0"/>
                </a:moveTo>
                <a:lnTo>
                  <a:pt x="4" y="8"/>
                </a:lnTo>
                <a:lnTo>
                  <a:pt x="0" y="3"/>
                </a:lnTo>
                <a:lnTo>
                  <a:pt x="4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78" name="Freeform 185"/>
          <p:cNvSpPr>
            <a:spLocks/>
          </p:cNvSpPr>
          <p:nvPr/>
        </p:nvSpPr>
        <p:spPr bwMode="auto">
          <a:xfrm>
            <a:off x="4594225" y="3148013"/>
            <a:ext cx="317500" cy="304800"/>
          </a:xfrm>
          <a:custGeom>
            <a:avLst/>
            <a:gdLst>
              <a:gd name="T0" fmla="*/ 2147483647 w 238"/>
              <a:gd name="T1" fmla="*/ 2147483647 h 221"/>
              <a:gd name="T2" fmla="*/ 2147483647 w 238"/>
              <a:gd name="T3" fmla="*/ 0 h 221"/>
              <a:gd name="T4" fmla="*/ 2147483647 w 238"/>
              <a:gd name="T5" fmla="*/ 2147483647 h 221"/>
              <a:gd name="T6" fmla="*/ 2147483647 w 238"/>
              <a:gd name="T7" fmla="*/ 2147483647 h 221"/>
              <a:gd name="T8" fmla="*/ 2147483647 w 238"/>
              <a:gd name="T9" fmla="*/ 2147483647 h 221"/>
              <a:gd name="T10" fmla="*/ 2147483647 w 238"/>
              <a:gd name="T11" fmla="*/ 2147483647 h 221"/>
              <a:gd name="T12" fmla="*/ 2147483647 w 238"/>
              <a:gd name="T13" fmla="*/ 2147483647 h 221"/>
              <a:gd name="T14" fmla="*/ 2147483647 w 238"/>
              <a:gd name="T15" fmla="*/ 2147483647 h 221"/>
              <a:gd name="T16" fmla="*/ 2147483647 w 238"/>
              <a:gd name="T17" fmla="*/ 2147483647 h 221"/>
              <a:gd name="T18" fmla="*/ 2147483647 w 238"/>
              <a:gd name="T19" fmla="*/ 2147483647 h 221"/>
              <a:gd name="T20" fmla="*/ 2147483647 w 238"/>
              <a:gd name="T21" fmla="*/ 2147483647 h 221"/>
              <a:gd name="T22" fmla="*/ 2147483647 w 238"/>
              <a:gd name="T23" fmla="*/ 2147483647 h 221"/>
              <a:gd name="T24" fmla="*/ 2147483647 w 238"/>
              <a:gd name="T25" fmla="*/ 2147483647 h 221"/>
              <a:gd name="T26" fmla="*/ 0 w 238"/>
              <a:gd name="T27" fmla="*/ 2147483647 h 221"/>
              <a:gd name="T28" fmla="*/ 0 w 238"/>
              <a:gd name="T29" fmla="*/ 2147483647 h 221"/>
              <a:gd name="T30" fmla="*/ 2147483647 w 238"/>
              <a:gd name="T31" fmla="*/ 2147483647 h 221"/>
              <a:gd name="T32" fmla="*/ 2147483647 w 238"/>
              <a:gd name="T33" fmla="*/ 2147483647 h 221"/>
              <a:gd name="T34" fmla="*/ 2147483647 w 238"/>
              <a:gd name="T35" fmla="*/ 2147483647 h 221"/>
              <a:gd name="T36" fmla="*/ 2147483647 w 238"/>
              <a:gd name="T37" fmla="*/ 2147483647 h 221"/>
              <a:gd name="T38" fmla="*/ 2147483647 w 238"/>
              <a:gd name="T39" fmla="*/ 2147483647 h 221"/>
              <a:gd name="T40" fmla="*/ 2147483647 w 238"/>
              <a:gd name="T41" fmla="*/ 2147483647 h 221"/>
              <a:gd name="T42" fmla="*/ 2147483647 w 238"/>
              <a:gd name="T43" fmla="*/ 2147483647 h 221"/>
              <a:gd name="T44" fmla="*/ 2147483647 w 238"/>
              <a:gd name="T45" fmla="*/ 2147483647 h 221"/>
              <a:gd name="T46" fmla="*/ 2147483647 w 238"/>
              <a:gd name="T47" fmla="*/ 2147483647 h 221"/>
              <a:gd name="T48" fmla="*/ 2147483647 w 238"/>
              <a:gd name="T49" fmla="*/ 2147483647 h 221"/>
              <a:gd name="T50" fmla="*/ 2147483647 w 238"/>
              <a:gd name="T51" fmla="*/ 2147483647 h 221"/>
              <a:gd name="T52" fmla="*/ 2147483647 w 238"/>
              <a:gd name="T53" fmla="*/ 2147483647 h 221"/>
              <a:gd name="T54" fmla="*/ 2147483647 w 238"/>
              <a:gd name="T55" fmla="*/ 2147483647 h 221"/>
              <a:gd name="T56" fmla="*/ 2147483647 w 238"/>
              <a:gd name="T57" fmla="*/ 2147483647 h 221"/>
              <a:gd name="T58" fmla="*/ 2147483647 w 238"/>
              <a:gd name="T59" fmla="*/ 2147483647 h 221"/>
              <a:gd name="T60" fmla="*/ 2147483647 w 238"/>
              <a:gd name="T61" fmla="*/ 2147483647 h 221"/>
              <a:gd name="T62" fmla="*/ 2147483647 w 238"/>
              <a:gd name="T63" fmla="*/ 2147483647 h 221"/>
              <a:gd name="T64" fmla="*/ 2147483647 w 238"/>
              <a:gd name="T65" fmla="*/ 2147483647 h 221"/>
              <a:gd name="T66" fmla="*/ 2147483647 w 238"/>
              <a:gd name="T67" fmla="*/ 2147483647 h 221"/>
              <a:gd name="T68" fmla="*/ 2147483647 w 238"/>
              <a:gd name="T69" fmla="*/ 2147483647 h 221"/>
              <a:gd name="T70" fmla="*/ 2147483647 w 238"/>
              <a:gd name="T71" fmla="*/ 2147483647 h 221"/>
              <a:gd name="T72" fmla="*/ 2147483647 w 238"/>
              <a:gd name="T73" fmla="*/ 2147483647 h 221"/>
              <a:gd name="T74" fmla="*/ 2147483647 w 238"/>
              <a:gd name="T75" fmla="*/ 2147483647 h 221"/>
              <a:gd name="T76" fmla="*/ 2147483647 w 238"/>
              <a:gd name="T77" fmla="*/ 2147483647 h 221"/>
              <a:gd name="T78" fmla="*/ 2147483647 w 238"/>
              <a:gd name="T79" fmla="*/ 2147483647 h 221"/>
              <a:gd name="T80" fmla="*/ 2147483647 w 238"/>
              <a:gd name="T81" fmla="*/ 2147483647 h 221"/>
              <a:gd name="T82" fmla="*/ 2147483647 w 238"/>
              <a:gd name="T83" fmla="*/ 2147483647 h 221"/>
              <a:gd name="T84" fmla="*/ 2147483647 w 238"/>
              <a:gd name="T85" fmla="*/ 2147483647 h 221"/>
              <a:gd name="T86" fmla="*/ 2147483647 w 238"/>
              <a:gd name="T87" fmla="*/ 2147483647 h 221"/>
              <a:gd name="T88" fmla="*/ 2147483647 w 238"/>
              <a:gd name="T89" fmla="*/ 2147483647 h 221"/>
              <a:gd name="T90" fmla="*/ 2147483647 w 238"/>
              <a:gd name="T91" fmla="*/ 2147483647 h 221"/>
              <a:gd name="T92" fmla="*/ 2147483647 w 238"/>
              <a:gd name="T93" fmla="*/ 2147483647 h 221"/>
              <a:gd name="T94" fmla="*/ 2147483647 w 238"/>
              <a:gd name="T95" fmla="*/ 2147483647 h 221"/>
              <a:gd name="T96" fmla="*/ 2147483647 w 238"/>
              <a:gd name="T97" fmla="*/ 2147483647 h 221"/>
              <a:gd name="T98" fmla="*/ 2147483647 w 238"/>
              <a:gd name="T99" fmla="*/ 2147483647 h 221"/>
              <a:gd name="T100" fmla="*/ 2147483647 w 238"/>
              <a:gd name="T101" fmla="*/ 2147483647 h 221"/>
              <a:gd name="T102" fmla="*/ 2147483647 w 238"/>
              <a:gd name="T103" fmla="*/ 2147483647 h 221"/>
              <a:gd name="T104" fmla="*/ 2147483647 w 238"/>
              <a:gd name="T105" fmla="*/ 2147483647 h 221"/>
              <a:gd name="T106" fmla="*/ 2147483647 w 238"/>
              <a:gd name="T107" fmla="*/ 2147483647 h 221"/>
              <a:gd name="T108" fmla="*/ 2147483647 w 238"/>
              <a:gd name="T109" fmla="*/ 2147483647 h 221"/>
              <a:gd name="T110" fmla="*/ 2147483647 w 238"/>
              <a:gd name="T111" fmla="*/ 2147483647 h 221"/>
              <a:gd name="T112" fmla="*/ 2147483647 w 238"/>
              <a:gd name="T113" fmla="*/ 2147483647 h 221"/>
              <a:gd name="T114" fmla="*/ 2147483647 w 238"/>
              <a:gd name="T115" fmla="*/ 2147483647 h 221"/>
              <a:gd name="T116" fmla="*/ 2147483647 w 238"/>
              <a:gd name="T117" fmla="*/ 2147483647 h 221"/>
              <a:gd name="T118" fmla="*/ 2147483647 w 238"/>
              <a:gd name="T119" fmla="*/ 2147483647 h 221"/>
              <a:gd name="T120" fmla="*/ 2147483647 w 238"/>
              <a:gd name="T121" fmla="*/ 2147483647 h 221"/>
              <a:gd name="T122" fmla="*/ 2147483647 w 238"/>
              <a:gd name="T123" fmla="*/ 2147483647 h 221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38"/>
              <a:gd name="T187" fmla="*/ 0 h 221"/>
              <a:gd name="T188" fmla="*/ 238 w 238"/>
              <a:gd name="T189" fmla="*/ 221 h 221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38" h="221">
                <a:moveTo>
                  <a:pt x="132" y="10"/>
                </a:moveTo>
                <a:lnTo>
                  <a:pt x="102" y="0"/>
                </a:lnTo>
                <a:lnTo>
                  <a:pt x="81" y="3"/>
                </a:lnTo>
                <a:lnTo>
                  <a:pt x="69" y="2"/>
                </a:lnTo>
                <a:lnTo>
                  <a:pt x="69" y="3"/>
                </a:lnTo>
                <a:lnTo>
                  <a:pt x="65" y="8"/>
                </a:lnTo>
                <a:lnTo>
                  <a:pt x="60" y="15"/>
                </a:lnTo>
                <a:lnTo>
                  <a:pt x="47" y="15"/>
                </a:lnTo>
                <a:lnTo>
                  <a:pt x="40" y="24"/>
                </a:lnTo>
                <a:lnTo>
                  <a:pt x="27" y="14"/>
                </a:lnTo>
                <a:lnTo>
                  <a:pt x="15" y="23"/>
                </a:lnTo>
                <a:lnTo>
                  <a:pt x="3" y="24"/>
                </a:lnTo>
                <a:lnTo>
                  <a:pt x="3" y="34"/>
                </a:lnTo>
                <a:lnTo>
                  <a:pt x="0" y="44"/>
                </a:lnTo>
                <a:lnTo>
                  <a:pt x="0" y="50"/>
                </a:lnTo>
                <a:lnTo>
                  <a:pt x="2" y="59"/>
                </a:lnTo>
                <a:lnTo>
                  <a:pt x="15" y="68"/>
                </a:lnTo>
                <a:lnTo>
                  <a:pt x="15" y="77"/>
                </a:lnTo>
                <a:lnTo>
                  <a:pt x="34" y="64"/>
                </a:lnTo>
                <a:lnTo>
                  <a:pt x="60" y="69"/>
                </a:lnTo>
                <a:lnTo>
                  <a:pt x="75" y="94"/>
                </a:lnTo>
                <a:lnTo>
                  <a:pt x="93" y="111"/>
                </a:lnTo>
                <a:lnTo>
                  <a:pt x="111" y="128"/>
                </a:lnTo>
                <a:lnTo>
                  <a:pt x="117" y="130"/>
                </a:lnTo>
                <a:lnTo>
                  <a:pt x="118" y="130"/>
                </a:lnTo>
                <a:lnTo>
                  <a:pt x="132" y="137"/>
                </a:lnTo>
                <a:lnTo>
                  <a:pt x="158" y="154"/>
                </a:lnTo>
                <a:lnTo>
                  <a:pt x="168" y="160"/>
                </a:lnTo>
                <a:lnTo>
                  <a:pt x="179" y="168"/>
                </a:lnTo>
                <a:lnTo>
                  <a:pt x="192" y="194"/>
                </a:lnTo>
                <a:lnTo>
                  <a:pt x="185" y="215"/>
                </a:lnTo>
                <a:lnTo>
                  <a:pt x="194" y="221"/>
                </a:lnTo>
                <a:lnTo>
                  <a:pt x="203" y="206"/>
                </a:lnTo>
                <a:lnTo>
                  <a:pt x="210" y="196"/>
                </a:lnTo>
                <a:lnTo>
                  <a:pt x="214" y="190"/>
                </a:lnTo>
                <a:lnTo>
                  <a:pt x="203" y="179"/>
                </a:lnTo>
                <a:lnTo>
                  <a:pt x="207" y="159"/>
                </a:lnTo>
                <a:lnTo>
                  <a:pt x="220" y="162"/>
                </a:lnTo>
                <a:lnTo>
                  <a:pt x="234" y="173"/>
                </a:lnTo>
                <a:lnTo>
                  <a:pt x="238" y="162"/>
                </a:lnTo>
                <a:lnTo>
                  <a:pt x="212" y="148"/>
                </a:lnTo>
                <a:lnTo>
                  <a:pt x="186" y="135"/>
                </a:lnTo>
                <a:lnTo>
                  <a:pt x="190" y="126"/>
                </a:lnTo>
                <a:lnTo>
                  <a:pt x="183" y="123"/>
                </a:lnTo>
                <a:lnTo>
                  <a:pt x="156" y="116"/>
                </a:lnTo>
                <a:lnTo>
                  <a:pt x="147" y="100"/>
                </a:lnTo>
                <a:lnTo>
                  <a:pt x="136" y="83"/>
                </a:lnTo>
                <a:lnTo>
                  <a:pt x="117" y="72"/>
                </a:lnTo>
                <a:lnTo>
                  <a:pt x="108" y="52"/>
                </a:lnTo>
                <a:lnTo>
                  <a:pt x="106" y="40"/>
                </a:lnTo>
                <a:lnTo>
                  <a:pt x="123" y="30"/>
                </a:lnTo>
                <a:lnTo>
                  <a:pt x="135" y="33"/>
                </a:lnTo>
                <a:lnTo>
                  <a:pt x="130" y="17"/>
                </a:lnTo>
                <a:lnTo>
                  <a:pt x="132" y="10"/>
                </a:lnTo>
                <a:lnTo>
                  <a:pt x="113" y="72"/>
                </a:lnTo>
                <a:lnTo>
                  <a:pt x="112" y="72"/>
                </a:lnTo>
                <a:lnTo>
                  <a:pt x="111" y="74"/>
                </a:lnTo>
                <a:lnTo>
                  <a:pt x="112" y="74"/>
                </a:lnTo>
                <a:lnTo>
                  <a:pt x="113" y="72"/>
                </a:lnTo>
                <a:lnTo>
                  <a:pt x="132" y="10"/>
                </a:lnTo>
                <a:lnTo>
                  <a:pt x="118" y="128"/>
                </a:lnTo>
                <a:lnTo>
                  <a:pt x="132" y="1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79" name="Freeform 186"/>
          <p:cNvSpPr>
            <a:spLocks/>
          </p:cNvSpPr>
          <p:nvPr/>
        </p:nvSpPr>
        <p:spPr bwMode="auto">
          <a:xfrm>
            <a:off x="4594225" y="3148013"/>
            <a:ext cx="317500" cy="304800"/>
          </a:xfrm>
          <a:custGeom>
            <a:avLst/>
            <a:gdLst>
              <a:gd name="T0" fmla="*/ 2147483647 w 238"/>
              <a:gd name="T1" fmla="*/ 2147483647 h 221"/>
              <a:gd name="T2" fmla="*/ 2147483647 w 238"/>
              <a:gd name="T3" fmla="*/ 0 h 221"/>
              <a:gd name="T4" fmla="*/ 2147483647 w 238"/>
              <a:gd name="T5" fmla="*/ 2147483647 h 221"/>
              <a:gd name="T6" fmla="*/ 2147483647 w 238"/>
              <a:gd name="T7" fmla="*/ 2147483647 h 221"/>
              <a:gd name="T8" fmla="*/ 2147483647 w 238"/>
              <a:gd name="T9" fmla="*/ 2147483647 h 221"/>
              <a:gd name="T10" fmla="*/ 2147483647 w 238"/>
              <a:gd name="T11" fmla="*/ 2147483647 h 221"/>
              <a:gd name="T12" fmla="*/ 2147483647 w 238"/>
              <a:gd name="T13" fmla="*/ 2147483647 h 221"/>
              <a:gd name="T14" fmla="*/ 2147483647 w 238"/>
              <a:gd name="T15" fmla="*/ 2147483647 h 221"/>
              <a:gd name="T16" fmla="*/ 2147483647 w 238"/>
              <a:gd name="T17" fmla="*/ 2147483647 h 221"/>
              <a:gd name="T18" fmla="*/ 2147483647 w 238"/>
              <a:gd name="T19" fmla="*/ 2147483647 h 221"/>
              <a:gd name="T20" fmla="*/ 2147483647 w 238"/>
              <a:gd name="T21" fmla="*/ 2147483647 h 221"/>
              <a:gd name="T22" fmla="*/ 2147483647 w 238"/>
              <a:gd name="T23" fmla="*/ 2147483647 h 221"/>
              <a:gd name="T24" fmla="*/ 2147483647 w 238"/>
              <a:gd name="T25" fmla="*/ 2147483647 h 221"/>
              <a:gd name="T26" fmla="*/ 0 w 238"/>
              <a:gd name="T27" fmla="*/ 2147483647 h 221"/>
              <a:gd name="T28" fmla="*/ 0 w 238"/>
              <a:gd name="T29" fmla="*/ 2147483647 h 221"/>
              <a:gd name="T30" fmla="*/ 2147483647 w 238"/>
              <a:gd name="T31" fmla="*/ 2147483647 h 221"/>
              <a:gd name="T32" fmla="*/ 2147483647 w 238"/>
              <a:gd name="T33" fmla="*/ 2147483647 h 221"/>
              <a:gd name="T34" fmla="*/ 2147483647 w 238"/>
              <a:gd name="T35" fmla="*/ 2147483647 h 221"/>
              <a:gd name="T36" fmla="*/ 2147483647 w 238"/>
              <a:gd name="T37" fmla="*/ 2147483647 h 221"/>
              <a:gd name="T38" fmla="*/ 2147483647 w 238"/>
              <a:gd name="T39" fmla="*/ 2147483647 h 221"/>
              <a:gd name="T40" fmla="*/ 2147483647 w 238"/>
              <a:gd name="T41" fmla="*/ 2147483647 h 221"/>
              <a:gd name="T42" fmla="*/ 2147483647 w 238"/>
              <a:gd name="T43" fmla="*/ 2147483647 h 221"/>
              <a:gd name="T44" fmla="*/ 2147483647 w 238"/>
              <a:gd name="T45" fmla="*/ 2147483647 h 221"/>
              <a:gd name="T46" fmla="*/ 2147483647 w 238"/>
              <a:gd name="T47" fmla="*/ 2147483647 h 221"/>
              <a:gd name="T48" fmla="*/ 2147483647 w 238"/>
              <a:gd name="T49" fmla="*/ 2147483647 h 221"/>
              <a:gd name="T50" fmla="*/ 2147483647 w 238"/>
              <a:gd name="T51" fmla="*/ 2147483647 h 221"/>
              <a:gd name="T52" fmla="*/ 2147483647 w 238"/>
              <a:gd name="T53" fmla="*/ 2147483647 h 221"/>
              <a:gd name="T54" fmla="*/ 2147483647 w 238"/>
              <a:gd name="T55" fmla="*/ 2147483647 h 221"/>
              <a:gd name="T56" fmla="*/ 2147483647 w 238"/>
              <a:gd name="T57" fmla="*/ 2147483647 h 221"/>
              <a:gd name="T58" fmla="*/ 2147483647 w 238"/>
              <a:gd name="T59" fmla="*/ 2147483647 h 221"/>
              <a:gd name="T60" fmla="*/ 2147483647 w 238"/>
              <a:gd name="T61" fmla="*/ 2147483647 h 221"/>
              <a:gd name="T62" fmla="*/ 2147483647 w 238"/>
              <a:gd name="T63" fmla="*/ 2147483647 h 221"/>
              <a:gd name="T64" fmla="*/ 2147483647 w 238"/>
              <a:gd name="T65" fmla="*/ 2147483647 h 221"/>
              <a:gd name="T66" fmla="*/ 2147483647 w 238"/>
              <a:gd name="T67" fmla="*/ 2147483647 h 221"/>
              <a:gd name="T68" fmla="*/ 2147483647 w 238"/>
              <a:gd name="T69" fmla="*/ 2147483647 h 221"/>
              <a:gd name="T70" fmla="*/ 2147483647 w 238"/>
              <a:gd name="T71" fmla="*/ 2147483647 h 221"/>
              <a:gd name="T72" fmla="*/ 2147483647 w 238"/>
              <a:gd name="T73" fmla="*/ 2147483647 h 221"/>
              <a:gd name="T74" fmla="*/ 2147483647 w 238"/>
              <a:gd name="T75" fmla="*/ 2147483647 h 221"/>
              <a:gd name="T76" fmla="*/ 2147483647 w 238"/>
              <a:gd name="T77" fmla="*/ 2147483647 h 221"/>
              <a:gd name="T78" fmla="*/ 2147483647 w 238"/>
              <a:gd name="T79" fmla="*/ 2147483647 h 221"/>
              <a:gd name="T80" fmla="*/ 2147483647 w 238"/>
              <a:gd name="T81" fmla="*/ 2147483647 h 221"/>
              <a:gd name="T82" fmla="*/ 2147483647 w 238"/>
              <a:gd name="T83" fmla="*/ 2147483647 h 221"/>
              <a:gd name="T84" fmla="*/ 2147483647 w 238"/>
              <a:gd name="T85" fmla="*/ 2147483647 h 221"/>
              <a:gd name="T86" fmla="*/ 2147483647 w 238"/>
              <a:gd name="T87" fmla="*/ 2147483647 h 221"/>
              <a:gd name="T88" fmla="*/ 2147483647 w 238"/>
              <a:gd name="T89" fmla="*/ 2147483647 h 221"/>
              <a:gd name="T90" fmla="*/ 2147483647 w 238"/>
              <a:gd name="T91" fmla="*/ 2147483647 h 221"/>
              <a:gd name="T92" fmla="*/ 2147483647 w 238"/>
              <a:gd name="T93" fmla="*/ 2147483647 h 221"/>
              <a:gd name="T94" fmla="*/ 2147483647 w 238"/>
              <a:gd name="T95" fmla="*/ 2147483647 h 221"/>
              <a:gd name="T96" fmla="*/ 2147483647 w 238"/>
              <a:gd name="T97" fmla="*/ 2147483647 h 221"/>
              <a:gd name="T98" fmla="*/ 2147483647 w 238"/>
              <a:gd name="T99" fmla="*/ 2147483647 h 221"/>
              <a:gd name="T100" fmla="*/ 2147483647 w 238"/>
              <a:gd name="T101" fmla="*/ 2147483647 h 221"/>
              <a:gd name="T102" fmla="*/ 2147483647 w 238"/>
              <a:gd name="T103" fmla="*/ 2147483647 h 221"/>
              <a:gd name="T104" fmla="*/ 2147483647 w 238"/>
              <a:gd name="T105" fmla="*/ 2147483647 h 221"/>
              <a:gd name="T106" fmla="*/ 2147483647 w 238"/>
              <a:gd name="T107" fmla="*/ 2147483647 h 221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38"/>
              <a:gd name="T163" fmla="*/ 0 h 221"/>
              <a:gd name="T164" fmla="*/ 238 w 238"/>
              <a:gd name="T165" fmla="*/ 221 h 221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38" h="221">
                <a:moveTo>
                  <a:pt x="132" y="10"/>
                </a:moveTo>
                <a:lnTo>
                  <a:pt x="102" y="0"/>
                </a:lnTo>
                <a:lnTo>
                  <a:pt x="81" y="3"/>
                </a:lnTo>
                <a:lnTo>
                  <a:pt x="69" y="2"/>
                </a:lnTo>
                <a:lnTo>
                  <a:pt x="69" y="3"/>
                </a:lnTo>
                <a:lnTo>
                  <a:pt x="65" y="8"/>
                </a:lnTo>
                <a:lnTo>
                  <a:pt x="60" y="15"/>
                </a:lnTo>
                <a:lnTo>
                  <a:pt x="47" y="15"/>
                </a:lnTo>
                <a:lnTo>
                  <a:pt x="40" y="24"/>
                </a:lnTo>
                <a:lnTo>
                  <a:pt x="27" y="14"/>
                </a:lnTo>
                <a:lnTo>
                  <a:pt x="15" y="23"/>
                </a:lnTo>
                <a:lnTo>
                  <a:pt x="3" y="24"/>
                </a:lnTo>
                <a:lnTo>
                  <a:pt x="3" y="34"/>
                </a:lnTo>
                <a:lnTo>
                  <a:pt x="0" y="44"/>
                </a:lnTo>
                <a:lnTo>
                  <a:pt x="0" y="50"/>
                </a:lnTo>
                <a:lnTo>
                  <a:pt x="2" y="59"/>
                </a:lnTo>
                <a:lnTo>
                  <a:pt x="15" y="68"/>
                </a:lnTo>
                <a:lnTo>
                  <a:pt x="15" y="77"/>
                </a:lnTo>
                <a:lnTo>
                  <a:pt x="34" y="64"/>
                </a:lnTo>
                <a:lnTo>
                  <a:pt x="60" y="69"/>
                </a:lnTo>
                <a:lnTo>
                  <a:pt x="75" y="94"/>
                </a:lnTo>
                <a:lnTo>
                  <a:pt x="93" y="111"/>
                </a:lnTo>
                <a:lnTo>
                  <a:pt x="111" y="128"/>
                </a:lnTo>
                <a:lnTo>
                  <a:pt x="117" y="130"/>
                </a:lnTo>
                <a:lnTo>
                  <a:pt x="118" y="130"/>
                </a:lnTo>
                <a:lnTo>
                  <a:pt x="132" y="137"/>
                </a:lnTo>
                <a:lnTo>
                  <a:pt x="158" y="154"/>
                </a:lnTo>
                <a:lnTo>
                  <a:pt x="168" y="160"/>
                </a:lnTo>
                <a:lnTo>
                  <a:pt x="179" y="168"/>
                </a:lnTo>
                <a:lnTo>
                  <a:pt x="192" y="194"/>
                </a:lnTo>
                <a:lnTo>
                  <a:pt x="185" y="215"/>
                </a:lnTo>
                <a:lnTo>
                  <a:pt x="194" y="221"/>
                </a:lnTo>
                <a:lnTo>
                  <a:pt x="203" y="206"/>
                </a:lnTo>
                <a:lnTo>
                  <a:pt x="210" y="196"/>
                </a:lnTo>
                <a:lnTo>
                  <a:pt x="214" y="190"/>
                </a:lnTo>
                <a:lnTo>
                  <a:pt x="203" y="179"/>
                </a:lnTo>
                <a:lnTo>
                  <a:pt x="207" y="159"/>
                </a:lnTo>
                <a:lnTo>
                  <a:pt x="220" y="162"/>
                </a:lnTo>
                <a:lnTo>
                  <a:pt x="234" y="173"/>
                </a:lnTo>
                <a:lnTo>
                  <a:pt x="238" y="162"/>
                </a:lnTo>
                <a:lnTo>
                  <a:pt x="212" y="148"/>
                </a:lnTo>
                <a:lnTo>
                  <a:pt x="186" y="135"/>
                </a:lnTo>
                <a:lnTo>
                  <a:pt x="190" y="126"/>
                </a:lnTo>
                <a:lnTo>
                  <a:pt x="183" y="123"/>
                </a:lnTo>
                <a:lnTo>
                  <a:pt x="156" y="116"/>
                </a:lnTo>
                <a:lnTo>
                  <a:pt x="147" y="100"/>
                </a:lnTo>
                <a:lnTo>
                  <a:pt x="136" y="83"/>
                </a:lnTo>
                <a:lnTo>
                  <a:pt x="117" y="72"/>
                </a:lnTo>
                <a:lnTo>
                  <a:pt x="108" y="52"/>
                </a:lnTo>
                <a:lnTo>
                  <a:pt x="106" y="40"/>
                </a:lnTo>
                <a:lnTo>
                  <a:pt x="123" y="30"/>
                </a:lnTo>
                <a:lnTo>
                  <a:pt x="135" y="33"/>
                </a:lnTo>
                <a:lnTo>
                  <a:pt x="130" y="17"/>
                </a:lnTo>
                <a:lnTo>
                  <a:pt x="132" y="1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80" name="Freeform 187"/>
          <p:cNvSpPr>
            <a:spLocks/>
          </p:cNvSpPr>
          <p:nvPr/>
        </p:nvSpPr>
        <p:spPr bwMode="auto">
          <a:xfrm>
            <a:off x="4741863" y="3246438"/>
            <a:ext cx="1587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0 w 2"/>
              <a:gd name="T5" fmla="*/ 2147483647 h 2"/>
              <a:gd name="T6" fmla="*/ 2147483647 w 2"/>
              <a:gd name="T7" fmla="*/ 2147483647 h 2"/>
              <a:gd name="T8" fmla="*/ 2147483647 w 2"/>
              <a:gd name="T9" fmla="*/ 0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2"/>
              <a:gd name="T17" fmla="*/ 2 w 2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2">
                <a:moveTo>
                  <a:pt x="2" y="0"/>
                </a:moveTo>
                <a:lnTo>
                  <a:pt x="1" y="0"/>
                </a:lnTo>
                <a:lnTo>
                  <a:pt x="0" y="2"/>
                </a:lnTo>
                <a:lnTo>
                  <a:pt x="1" y="2"/>
                </a:lnTo>
                <a:lnTo>
                  <a:pt x="2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81" name="Freeform 188"/>
          <p:cNvSpPr>
            <a:spLocks/>
          </p:cNvSpPr>
          <p:nvPr/>
        </p:nvSpPr>
        <p:spPr bwMode="auto">
          <a:xfrm>
            <a:off x="4754563" y="3440113"/>
            <a:ext cx="85725" cy="53975"/>
          </a:xfrm>
          <a:custGeom>
            <a:avLst/>
            <a:gdLst>
              <a:gd name="T0" fmla="*/ 2147483647 w 65"/>
              <a:gd name="T1" fmla="*/ 2147483647 h 39"/>
              <a:gd name="T2" fmla="*/ 2147483647 w 65"/>
              <a:gd name="T3" fmla="*/ 2147483647 h 39"/>
              <a:gd name="T4" fmla="*/ 2147483647 w 65"/>
              <a:gd name="T5" fmla="*/ 2147483647 h 39"/>
              <a:gd name="T6" fmla="*/ 2147483647 w 65"/>
              <a:gd name="T7" fmla="*/ 2147483647 h 39"/>
              <a:gd name="T8" fmla="*/ 0 w 65"/>
              <a:gd name="T9" fmla="*/ 2147483647 h 39"/>
              <a:gd name="T10" fmla="*/ 2147483647 w 65"/>
              <a:gd name="T11" fmla="*/ 2147483647 h 39"/>
              <a:gd name="T12" fmla="*/ 2147483647 w 65"/>
              <a:gd name="T13" fmla="*/ 2147483647 h 39"/>
              <a:gd name="T14" fmla="*/ 2147483647 w 65"/>
              <a:gd name="T15" fmla="*/ 0 h 39"/>
              <a:gd name="T16" fmla="*/ 2147483647 w 65"/>
              <a:gd name="T17" fmla="*/ 2147483647 h 3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5"/>
              <a:gd name="T28" fmla="*/ 0 h 39"/>
              <a:gd name="T29" fmla="*/ 65 w 65"/>
              <a:gd name="T30" fmla="*/ 39 h 3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5" h="39">
                <a:moveTo>
                  <a:pt x="57" y="24"/>
                </a:moveTo>
                <a:lnTo>
                  <a:pt x="57" y="39"/>
                </a:lnTo>
                <a:lnTo>
                  <a:pt x="32" y="27"/>
                </a:lnTo>
                <a:lnTo>
                  <a:pt x="6" y="17"/>
                </a:lnTo>
                <a:lnTo>
                  <a:pt x="0" y="6"/>
                </a:lnTo>
                <a:lnTo>
                  <a:pt x="18" y="3"/>
                </a:lnTo>
                <a:lnTo>
                  <a:pt x="42" y="1"/>
                </a:lnTo>
                <a:lnTo>
                  <a:pt x="65" y="0"/>
                </a:lnTo>
                <a:lnTo>
                  <a:pt x="57" y="2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82" name="Freeform 189"/>
          <p:cNvSpPr>
            <a:spLocks/>
          </p:cNvSpPr>
          <p:nvPr/>
        </p:nvSpPr>
        <p:spPr bwMode="auto">
          <a:xfrm>
            <a:off x="4635500" y="3338513"/>
            <a:ext cx="44450" cy="80962"/>
          </a:xfrm>
          <a:custGeom>
            <a:avLst/>
            <a:gdLst>
              <a:gd name="T0" fmla="*/ 2147483647 w 32"/>
              <a:gd name="T1" fmla="*/ 2147483647 h 59"/>
              <a:gd name="T2" fmla="*/ 2147483647 w 32"/>
              <a:gd name="T3" fmla="*/ 2147483647 h 59"/>
              <a:gd name="T4" fmla="*/ 2147483647 w 32"/>
              <a:gd name="T5" fmla="*/ 2147483647 h 59"/>
              <a:gd name="T6" fmla="*/ 2147483647 w 32"/>
              <a:gd name="T7" fmla="*/ 2147483647 h 59"/>
              <a:gd name="T8" fmla="*/ 0 w 32"/>
              <a:gd name="T9" fmla="*/ 2147483647 h 59"/>
              <a:gd name="T10" fmla="*/ 2147483647 w 32"/>
              <a:gd name="T11" fmla="*/ 0 h 59"/>
              <a:gd name="T12" fmla="*/ 2147483647 w 32"/>
              <a:gd name="T13" fmla="*/ 2147483647 h 59"/>
              <a:gd name="T14" fmla="*/ 2147483647 w 32"/>
              <a:gd name="T15" fmla="*/ 2147483647 h 59"/>
              <a:gd name="T16" fmla="*/ 2147483647 w 32"/>
              <a:gd name="T17" fmla="*/ 2147483647 h 5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2"/>
              <a:gd name="T28" fmla="*/ 0 h 59"/>
              <a:gd name="T29" fmla="*/ 32 w 32"/>
              <a:gd name="T30" fmla="*/ 59 h 5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2" h="59">
                <a:moveTo>
                  <a:pt x="18" y="51"/>
                </a:moveTo>
                <a:lnTo>
                  <a:pt x="9" y="59"/>
                </a:lnTo>
                <a:lnTo>
                  <a:pt x="4" y="46"/>
                </a:lnTo>
                <a:lnTo>
                  <a:pt x="2" y="28"/>
                </a:lnTo>
                <a:lnTo>
                  <a:pt x="0" y="10"/>
                </a:lnTo>
                <a:lnTo>
                  <a:pt x="19" y="0"/>
                </a:lnTo>
                <a:lnTo>
                  <a:pt x="32" y="18"/>
                </a:lnTo>
                <a:lnTo>
                  <a:pt x="28" y="50"/>
                </a:lnTo>
                <a:lnTo>
                  <a:pt x="18" y="5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83" name="Freeform 190"/>
          <p:cNvSpPr>
            <a:spLocks/>
          </p:cNvSpPr>
          <p:nvPr/>
        </p:nvSpPr>
        <p:spPr bwMode="auto">
          <a:xfrm>
            <a:off x="4611688" y="3254375"/>
            <a:ext cx="1587" cy="3175"/>
          </a:xfrm>
          <a:custGeom>
            <a:avLst/>
            <a:gdLst>
              <a:gd name="T0" fmla="*/ 2147483647 w 2"/>
              <a:gd name="T1" fmla="*/ 0 h 1"/>
              <a:gd name="T2" fmla="*/ 0 w 2"/>
              <a:gd name="T3" fmla="*/ 0 h 1"/>
              <a:gd name="T4" fmla="*/ 0 w 2"/>
              <a:gd name="T5" fmla="*/ 2147483647 h 1"/>
              <a:gd name="T6" fmla="*/ 2147483647 w 2"/>
              <a:gd name="T7" fmla="*/ 0 h 1"/>
              <a:gd name="T8" fmla="*/ 0 60000 65536"/>
              <a:gd name="T9" fmla="*/ 0 60000 65536"/>
              <a:gd name="T10" fmla="*/ 0 60000 65536"/>
              <a:gd name="T11" fmla="*/ 0 60000 65536"/>
              <a:gd name="T12" fmla="*/ 0 w 2"/>
              <a:gd name="T13" fmla="*/ 0 h 1"/>
              <a:gd name="T14" fmla="*/ 2 w 2"/>
              <a:gd name="T15" fmla="*/ 1 h 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" h="1">
                <a:moveTo>
                  <a:pt x="2" y="0"/>
                </a:moveTo>
                <a:lnTo>
                  <a:pt x="0" y="0"/>
                </a:lnTo>
                <a:lnTo>
                  <a:pt x="0" y="1"/>
                </a:lnTo>
                <a:lnTo>
                  <a:pt x="2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84" name="Freeform 191"/>
          <p:cNvSpPr>
            <a:spLocks/>
          </p:cNvSpPr>
          <p:nvPr/>
        </p:nvSpPr>
        <p:spPr bwMode="auto">
          <a:xfrm>
            <a:off x="5121275" y="3314700"/>
            <a:ext cx="511175" cy="206375"/>
          </a:xfrm>
          <a:custGeom>
            <a:avLst/>
            <a:gdLst>
              <a:gd name="T0" fmla="*/ 2147483647 w 385"/>
              <a:gd name="T1" fmla="*/ 2147483647 h 150"/>
              <a:gd name="T2" fmla="*/ 2147483647 w 385"/>
              <a:gd name="T3" fmla="*/ 2147483647 h 150"/>
              <a:gd name="T4" fmla="*/ 2147483647 w 385"/>
              <a:gd name="T5" fmla="*/ 2147483647 h 150"/>
              <a:gd name="T6" fmla="*/ 2147483647 w 385"/>
              <a:gd name="T7" fmla="*/ 2147483647 h 150"/>
              <a:gd name="T8" fmla="*/ 2147483647 w 385"/>
              <a:gd name="T9" fmla="*/ 2147483647 h 150"/>
              <a:gd name="T10" fmla="*/ 2147483647 w 385"/>
              <a:gd name="T11" fmla="*/ 2147483647 h 150"/>
              <a:gd name="T12" fmla="*/ 2147483647 w 385"/>
              <a:gd name="T13" fmla="*/ 2147483647 h 150"/>
              <a:gd name="T14" fmla="*/ 2147483647 w 385"/>
              <a:gd name="T15" fmla="*/ 2147483647 h 150"/>
              <a:gd name="T16" fmla="*/ 2147483647 w 385"/>
              <a:gd name="T17" fmla="*/ 2147483647 h 150"/>
              <a:gd name="T18" fmla="*/ 2147483647 w 385"/>
              <a:gd name="T19" fmla="*/ 2147483647 h 150"/>
              <a:gd name="T20" fmla="*/ 2147483647 w 385"/>
              <a:gd name="T21" fmla="*/ 2147483647 h 150"/>
              <a:gd name="T22" fmla="*/ 2147483647 w 385"/>
              <a:gd name="T23" fmla="*/ 2147483647 h 150"/>
              <a:gd name="T24" fmla="*/ 2147483647 w 385"/>
              <a:gd name="T25" fmla="*/ 2147483647 h 150"/>
              <a:gd name="T26" fmla="*/ 2147483647 w 385"/>
              <a:gd name="T27" fmla="*/ 2147483647 h 150"/>
              <a:gd name="T28" fmla="*/ 2147483647 w 385"/>
              <a:gd name="T29" fmla="*/ 2147483647 h 150"/>
              <a:gd name="T30" fmla="*/ 2147483647 w 385"/>
              <a:gd name="T31" fmla="*/ 2147483647 h 150"/>
              <a:gd name="T32" fmla="*/ 0 w 385"/>
              <a:gd name="T33" fmla="*/ 2147483647 h 150"/>
              <a:gd name="T34" fmla="*/ 2147483647 w 385"/>
              <a:gd name="T35" fmla="*/ 2147483647 h 150"/>
              <a:gd name="T36" fmla="*/ 2147483647 w 385"/>
              <a:gd name="T37" fmla="*/ 2147483647 h 150"/>
              <a:gd name="T38" fmla="*/ 2147483647 w 385"/>
              <a:gd name="T39" fmla="*/ 2147483647 h 150"/>
              <a:gd name="T40" fmla="*/ 2147483647 w 385"/>
              <a:gd name="T41" fmla="*/ 2147483647 h 150"/>
              <a:gd name="T42" fmla="*/ 2147483647 w 385"/>
              <a:gd name="T43" fmla="*/ 2147483647 h 150"/>
              <a:gd name="T44" fmla="*/ 2147483647 w 385"/>
              <a:gd name="T45" fmla="*/ 2147483647 h 150"/>
              <a:gd name="T46" fmla="*/ 2147483647 w 385"/>
              <a:gd name="T47" fmla="*/ 2147483647 h 150"/>
              <a:gd name="T48" fmla="*/ 2147483647 w 385"/>
              <a:gd name="T49" fmla="*/ 2147483647 h 150"/>
              <a:gd name="T50" fmla="*/ 2147483647 w 385"/>
              <a:gd name="T51" fmla="*/ 2147483647 h 150"/>
              <a:gd name="T52" fmla="*/ 2147483647 w 385"/>
              <a:gd name="T53" fmla="*/ 2147483647 h 150"/>
              <a:gd name="T54" fmla="*/ 2147483647 w 385"/>
              <a:gd name="T55" fmla="*/ 2147483647 h 150"/>
              <a:gd name="T56" fmla="*/ 2147483647 w 385"/>
              <a:gd name="T57" fmla="*/ 2147483647 h 150"/>
              <a:gd name="T58" fmla="*/ 2147483647 w 385"/>
              <a:gd name="T59" fmla="*/ 2147483647 h 150"/>
              <a:gd name="T60" fmla="*/ 2147483647 w 385"/>
              <a:gd name="T61" fmla="*/ 2147483647 h 150"/>
              <a:gd name="T62" fmla="*/ 2147483647 w 385"/>
              <a:gd name="T63" fmla="*/ 2147483647 h 150"/>
              <a:gd name="T64" fmla="*/ 2147483647 w 385"/>
              <a:gd name="T65" fmla="*/ 2147483647 h 150"/>
              <a:gd name="T66" fmla="*/ 2147483647 w 385"/>
              <a:gd name="T67" fmla="*/ 2147483647 h 150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385"/>
              <a:gd name="T103" fmla="*/ 0 h 150"/>
              <a:gd name="T104" fmla="*/ 385 w 385"/>
              <a:gd name="T105" fmla="*/ 150 h 150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385" h="150">
                <a:moveTo>
                  <a:pt x="288" y="127"/>
                </a:moveTo>
                <a:lnTo>
                  <a:pt x="258" y="126"/>
                </a:lnTo>
                <a:lnTo>
                  <a:pt x="227" y="128"/>
                </a:lnTo>
                <a:lnTo>
                  <a:pt x="219" y="130"/>
                </a:lnTo>
                <a:lnTo>
                  <a:pt x="218" y="141"/>
                </a:lnTo>
                <a:lnTo>
                  <a:pt x="210" y="150"/>
                </a:lnTo>
                <a:lnTo>
                  <a:pt x="207" y="148"/>
                </a:lnTo>
                <a:lnTo>
                  <a:pt x="207" y="144"/>
                </a:lnTo>
                <a:lnTo>
                  <a:pt x="209" y="126"/>
                </a:lnTo>
                <a:lnTo>
                  <a:pt x="200" y="130"/>
                </a:lnTo>
                <a:lnTo>
                  <a:pt x="186" y="129"/>
                </a:lnTo>
                <a:lnTo>
                  <a:pt x="170" y="135"/>
                </a:lnTo>
                <a:lnTo>
                  <a:pt x="149" y="145"/>
                </a:lnTo>
                <a:lnTo>
                  <a:pt x="132" y="140"/>
                </a:lnTo>
                <a:lnTo>
                  <a:pt x="98" y="126"/>
                </a:lnTo>
                <a:lnTo>
                  <a:pt x="95" y="136"/>
                </a:lnTo>
                <a:lnTo>
                  <a:pt x="85" y="141"/>
                </a:lnTo>
                <a:lnTo>
                  <a:pt x="66" y="135"/>
                </a:lnTo>
                <a:lnTo>
                  <a:pt x="55" y="128"/>
                </a:lnTo>
                <a:lnTo>
                  <a:pt x="44" y="130"/>
                </a:lnTo>
                <a:lnTo>
                  <a:pt x="33" y="129"/>
                </a:lnTo>
                <a:lnTo>
                  <a:pt x="47" y="123"/>
                </a:lnTo>
                <a:lnTo>
                  <a:pt x="30" y="121"/>
                </a:lnTo>
                <a:lnTo>
                  <a:pt x="32" y="115"/>
                </a:lnTo>
                <a:lnTo>
                  <a:pt x="23" y="106"/>
                </a:lnTo>
                <a:lnTo>
                  <a:pt x="25" y="102"/>
                </a:lnTo>
                <a:lnTo>
                  <a:pt x="8" y="93"/>
                </a:lnTo>
                <a:lnTo>
                  <a:pt x="5" y="85"/>
                </a:lnTo>
                <a:lnTo>
                  <a:pt x="11" y="86"/>
                </a:lnTo>
                <a:lnTo>
                  <a:pt x="18" y="87"/>
                </a:lnTo>
                <a:lnTo>
                  <a:pt x="14" y="79"/>
                </a:lnTo>
                <a:lnTo>
                  <a:pt x="13" y="74"/>
                </a:lnTo>
                <a:lnTo>
                  <a:pt x="12" y="62"/>
                </a:lnTo>
                <a:lnTo>
                  <a:pt x="0" y="61"/>
                </a:lnTo>
                <a:lnTo>
                  <a:pt x="1" y="43"/>
                </a:lnTo>
                <a:lnTo>
                  <a:pt x="21" y="40"/>
                </a:lnTo>
                <a:lnTo>
                  <a:pt x="29" y="36"/>
                </a:lnTo>
                <a:lnTo>
                  <a:pt x="53" y="36"/>
                </a:lnTo>
                <a:lnTo>
                  <a:pt x="68" y="30"/>
                </a:lnTo>
                <a:lnTo>
                  <a:pt x="62" y="28"/>
                </a:lnTo>
                <a:lnTo>
                  <a:pt x="53" y="20"/>
                </a:lnTo>
                <a:lnTo>
                  <a:pt x="90" y="21"/>
                </a:lnTo>
                <a:lnTo>
                  <a:pt x="117" y="4"/>
                </a:lnTo>
                <a:lnTo>
                  <a:pt x="138" y="2"/>
                </a:lnTo>
                <a:lnTo>
                  <a:pt x="157" y="0"/>
                </a:lnTo>
                <a:lnTo>
                  <a:pt x="170" y="1"/>
                </a:lnTo>
                <a:lnTo>
                  <a:pt x="185" y="7"/>
                </a:lnTo>
                <a:lnTo>
                  <a:pt x="193" y="12"/>
                </a:lnTo>
                <a:lnTo>
                  <a:pt x="218" y="18"/>
                </a:lnTo>
                <a:lnTo>
                  <a:pt x="245" y="24"/>
                </a:lnTo>
                <a:lnTo>
                  <a:pt x="270" y="25"/>
                </a:lnTo>
                <a:lnTo>
                  <a:pt x="300" y="10"/>
                </a:lnTo>
                <a:lnTo>
                  <a:pt x="326" y="9"/>
                </a:lnTo>
                <a:lnTo>
                  <a:pt x="339" y="18"/>
                </a:lnTo>
                <a:lnTo>
                  <a:pt x="348" y="34"/>
                </a:lnTo>
                <a:lnTo>
                  <a:pt x="356" y="48"/>
                </a:lnTo>
                <a:lnTo>
                  <a:pt x="373" y="55"/>
                </a:lnTo>
                <a:lnTo>
                  <a:pt x="365" y="62"/>
                </a:lnTo>
                <a:lnTo>
                  <a:pt x="367" y="75"/>
                </a:lnTo>
                <a:lnTo>
                  <a:pt x="372" y="100"/>
                </a:lnTo>
                <a:lnTo>
                  <a:pt x="385" y="117"/>
                </a:lnTo>
                <a:lnTo>
                  <a:pt x="373" y="120"/>
                </a:lnTo>
                <a:lnTo>
                  <a:pt x="368" y="115"/>
                </a:lnTo>
                <a:lnTo>
                  <a:pt x="341" y="115"/>
                </a:lnTo>
                <a:lnTo>
                  <a:pt x="336" y="120"/>
                </a:lnTo>
                <a:lnTo>
                  <a:pt x="329" y="117"/>
                </a:lnTo>
                <a:lnTo>
                  <a:pt x="308" y="122"/>
                </a:lnTo>
                <a:lnTo>
                  <a:pt x="288" y="12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85" name="Freeform 192"/>
          <p:cNvSpPr>
            <a:spLocks/>
          </p:cNvSpPr>
          <p:nvPr/>
        </p:nvSpPr>
        <p:spPr bwMode="auto">
          <a:xfrm>
            <a:off x="5113338" y="3313113"/>
            <a:ext cx="76200" cy="60325"/>
          </a:xfrm>
          <a:custGeom>
            <a:avLst/>
            <a:gdLst>
              <a:gd name="T0" fmla="*/ 2147483647 w 58"/>
              <a:gd name="T1" fmla="*/ 2147483647 h 45"/>
              <a:gd name="T2" fmla="*/ 2147483647 w 58"/>
              <a:gd name="T3" fmla="*/ 2147483647 h 45"/>
              <a:gd name="T4" fmla="*/ 2147483647 w 58"/>
              <a:gd name="T5" fmla="*/ 2147483647 h 45"/>
              <a:gd name="T6" fmla="*/ 0 w 58"/>
              <a:gd name="T7" fmla="*/ 2147483647 h 45"/>
              <a:gd name="T8" fmla="*/ 2147483647 w 58"/>
              <a:gd name="T9" fmla="*/ 2147483647 h 45"/>
              <a:gd name="T10" fmla="*/ 2147483647 w 58"/>
              <a:gd name="T11" fmla="*/ 2147483647 h 45"/>
              <a:gd name="T12" fmla="*/ 2147483647 w 58"/>
              <a:gd name="T13" fmla="*/ 2147483647 h 45"/>
              <a:gd name="T14" fmla="*/ 2147483647 w 58"/>
              <a:gd name="T15" fmla="*/ 2147483647 h 45"/>
              <a:gd name="T16" fmla="*/ 2147483647 w 58"/>
              <a:gd name="T17" fmla="*/ 2147483647 h 45"/>
              <a:gd name="T18" fmla="*/ 2147483647 w 58"/>
              <a:gd name="T19" fmla="*/ 0 h 45"/>
              <a:gd name="T20" fmla="*/ 2147483647 w 58"/>
              <a:gd name="T21" fmla="*/ 2147483647 h 4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58"/>
              <a:gd name="T34" fmla="*/ 0 h 45"/>
              <a:gd name="T35" fmla="*/ 58 w 58"/>
              <a:gd name="T36" fmla="*/ 45 h 45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58" h="45">
                <a:moveTo>
                  <a:pt x="7" y="2"/>
                </a:moveTo>
                <a:lnTo>
                  <a:pt x="3" y="8"/>
                </a:lnTo>
                <a:lnTo>
                  <a:pt x="8" y="16"/>
                </a:lnTo>
                <a:lnTo>
                  <a:pt x="0" y="32"/>
                </a:lnTo>
                <a:lnTo>
                  <a:pt x="13" y="34"/>
                </a:lnTo>
                <a:lnTo>
                  <a:pt x="6" y="45"/>
                </a:lnTo>
                <a:lnTo>
                  <a:pt x="27" y="29"/>
                </a:lnTo>
                <a:lnTo>
                  <a:pt x="58" y="24"/>
                </a:lnTo>
                <a:lnTo>
                  <a:pt x="50" y="16"/>
                </a:lnTo>
                <a:lnTo>
                  <a:pt x="36" y="0"/>
                </a:lnTo>
                <a:lnTo>
                  <a:pt x="7" y="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86" name="Freeform 193"/>
          <p:cNvSpPr>
            <a:spLocks/>
          </p:cNvSpPr>
          <p:nvPr/>
        </p:nvSpPr>
        <p:spPr bwMode="auto">
          <a:xfrm>
            <a:off x="4984750" y="2851150"/>
            <a:ext cx="227013" cy="149225"/>
          </a:xfrm>
          <a:custGeom>
            <a:avLst/>
            <a:gdLst>
              <a:gd name="T0" fmla="*/ 2147483647 w 169"/>
              <a:gd name="T1" fmla="*/ 2147483647 h 107"/>
              <a:gd name="T2" fmla="*/ 2147483647 w 169"/>
              <a:gd name="T3" fmla="*/ 2147483647 h 107"/>
              <a:gd name="T4" fmla="*/ 2147483647 w 169"/>
              <a:gd name="T5" fmla="*/ 2147483647 h 107"/>
              <a:gd name="T6" fmla="*/ 2147483647 w 169"/>
              <a:gd name="T7" fmla="*/ 2147483647 h 107"/>
              <a:gd name="T8" fmla="*/ 2147483647 w 169"/>
              <a:gd name="T9" fmla="*/ 2147483647 h 107"/>
              <a:gd name="T10" fmla="*/ 2147483647 w 169"/>
              <a:gd name="T11" fmla="*/ 2147483647 h 107"/>
              <a:gd name="T12" fmla="*/ 2147483647 w 169"/>
              <a:gd name="T13" fmla="*/ 2147483647 h 107"/>
              <a:gd name="T14" fmla="*/ 2147483647 w 169"/>
              <a:gd name="T15" fmla="*/ 2147483647 h 107"/>
              <a:gd name="T16" fmla="*/ 2147483647 w 169"/>
              <a:gd name="T17" fmla="*/ 2147483647 h 107"/>
              <a:gd name="T18" fmla="*/ 2147483647 w 169"/>
              <a:gd name="T19" fmla="*/ 2147483647 h 107"/>
              <a:gd name="T20" fmla="*/ 2147483647 w 169"/>
              <a:gd name="T21" fmla="*/ 2147483647 h 107"/>
              <a:gd name="T22" fmla="*/ 0 w 169"/>
              <a:gd name="T23" fmla="*/ 2147483647 h 107"/>
              <a:gd name="T24" fmla="*/ 2147483647 w 169"/>
              <a:gd name="T25" fmla="*/ 2147483647 h 107"/>
              <a:gd name="T26" fmla="*/ 2147483647 w 169"/>
              <a:gd name="T27" fmla="*/ 2147483647 h 107"/>
              <a:gd name="T28" fmla="*/ 2147483647 w 169"/>
              <a:gd name="T29" fmla="*/ 0 h 107"/>
              <a:gd name="T30" fmla="*/ 2147483647 w 169"/>
              <a:gd name="T31" fmla="*/ 2147483647 h 107"/>
              <a:gd name="T32" fmla="*/ 2147483647 w 169"/>
              <a:gd name="T33" fmla="*/ 2147483647 h 107"/>
              <a:gd name="T34" fmla="*/ 2147483647 w 169"/>
              <a:gd name="T35" fmla="*/ 2147483647 h 107"/>
              <a:gd name="T36" fmla="*/ 2147483647 w 169"/>
              <a:gd name="T37" fmla="*/ 2147483647 h 107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69"/>
              <a:gd name="T58" fmla="*/ 0 h 107"/>
              <a:gd name="T59" fmla="*/ 169 w 169"/>
              <a:gd name="T60" fmla="*/ 107 h 107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69" h="107">
                <a:moveTo>
                  <a:pt x="169" y="58"/>
                </a:moveTo>
                <a:lnTo>
                  <a:pt x="162" y="65"/>
                </a:lnTo>
                <a:lnTo>
                  <a:pt x="168" y="87"/>
                </a:lnTo>
                <a:lnTo>
                  <a:pt x="145" y="99"/>
                </a:lnTo>
                <a:lnTo>
                  <a:pt x="146" y="107"/>
                </a:lnTo>
                <a:lnTo>
                  <a:pt x="113" y="101"/>
                </a:lnTo>
                <a:lnTo>
                  <a:pt x="80" y="95"/>
                </a:lnTo>
                <a:lnTo>
                  <a:pt x="47" y="95"/>
                </a:lnTo>
                <a:lnTo>
                  <a:pt x="14" y="95"/>
                </a:lnTo>
                <a:lnTo>
                  <a:pt x="3" y="88"/>
                </a:lnTo>
                <a:lnTo>
                  <a:pt x="15" y="71"/>
                </a:lnTo>
                <a:lnTo>
                  <a:pt x="0" y="41"/>
                </a:lnTo>
                <a:lnTo>
                  <a:pt x="29" y="22"/>
                </a:lnTo>
                <a:lnTo>
                  <a:pt x="56" y="3"/>
                </a:lnTo>
                <a:lnTo>
                  <a:pt x="83" y="0"/>
                </a:lnTo>
                <a:lnTo>
                  <a:pt x="111" y="5"/>
                </a:lnTo>
                <a:lnTo>
                  <a:pt x="140" y="10"/>
                </a:lnTo>
                <a:lnTo>
                  <a:pt x="145" y="38"/>
                </a:lnTo>
                <a:lnTo>
                  <a:pt x="169" y="5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87" name="Freeform 194"/>
          <p:cNvSpPr>
            <a:spLocks/>
          </p:cNvSpPr>
          <p:nvPr/>
        </p:nvSpPr>
        <p:spPr bwMode="auto">
          <a:xfrm>
            <a:off x="4616450" y="2819400"/>
            <a:ext cx="58738" cy="68263"/>
          </a:xfrm>
          <a:custGeom>
            <a:avLst/>
            <a:gdLst>
              <a:gd name="T0" fmla="*/ 2147483647 w 44"/>
              <a:gd name="T1" fmla="*/ 2147483647 h 49"/>
              <a:gd name="T2" fmla="*/ 2147483647 w 44"/>
              <a:gd name="T3" fmla="*/ 2147483647 h 49"/>
              <a:gd name="T4" fmla="*/ 2147483647 w 44"/>
              <a:gd name="T5" fmla="*/ 2147483647 h 49"/>
              <a:gd name="T6" fmla="*/ 2147483647 w 44"/>
              <a:gd name="T7" fmla="*/ 2147483647 h 49"/>
              <a:gd name="T8" fmla="*/ 2147483647 w 44"/>
              <a:gd name="T9" fmla="*/ 2147483647 h 49"/>
              <a:gd name="T10" fmla="*/ 0 w 44"/>
              <a:gd name="T11" fmla="*/ 2147483647 h 49"/>
              <a:gd name="T12" fmla="*/ 2147483647 w 44"/>
              <a:gd name="T13" fmla="*/ 2147483647 h 49"/>
              <a:gd name="T14" fmla="*/ 2147483647 w 44"/>
              <a:gd name="T15" fmla="*/ 2147483647 h 49"/>
              <a:gd name="T16" fmla="*/ 2147483647 w 44"/>
              <a:gd name="T17" fmla="*/ 2147483647 h 49"/>
              <a:gd name="T18" fmla="*/ 2147483647 w 44"/>
              <a:gd name="T19" fmla="*/ 0 h 49"/>
              <a:gd name="T20" fmla="*/ 2147483647 w 44"/>
              <a:gd name="T21" fmla="*/ 2147483647 h 49"/>
              <a:gd name="T22" fmla="*/ 2147483647 w 44"/>
              <a:gd name="T23" fmla="*/ 2147483647 h 49"/>
              <a:gd name="T24" fmla="*/ 2147483647 w 44"/>
              <a:gd name="T25" fmla="*/ 2147483647 h 49"/>
              <a:gd name="T26" fmla="*/ 2147483647 w 44"/>
              <a:gd name="T27" fmla="*/ 2147483647 h 49"/>
              <a:gd name="T28" fmla="*/ 2147483647 w 44"/>
              <a:gd name="T29" fmla="*/ 2147483647 h 49"/>
              <a:gd name="T30" fmla="*/ 2147483647 w 44"/>
              <a:gd name="T31" fmla="*/ 2147483647 h 4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44"/>
              <a:gd name="T49" fmla="*/ 0 h 49"/>
              <a:gd name="T50" fmla="*/ 44 w 44"/>
              <a:gd name="T51" fmla="*/ 49 h 49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44" h="49">
                <a:moveTo>
                  <a:pt x="25" y="43"/>
                </a:moveTo>
                <a:lnTo>
                  <a:pt x="23" y="49"/>
                </a:lnTo>
                <a:lnTo>
                  <a:pt x="8" y="47"/>
                </a:lnTo>
                <a:lnTo>
                  <a:pt x="6" y="43"/>
                </a:lnTo>
                <a:lnTo>
                  <a:pt x="1" y="31"/>
                </a:lnTo>
                <a:lnTo>
                  <a:pt x="0" y="8"/>
                </a:lnTo>
                <a:lnTo>
                  <a:pt x="11" y="6"/>
                </a:lnTo>
                <a:lnTo>
                  <a:pt x="14" y="8"/>
                </a:lnTo>
                <a:lnTo>
                  <a:pt x="16" y="3"/>
                </a:lnTo>
                <a:lnTo>
                  <a:pt x="29" y="0"/>
                </a:lnTo>
                <a:lnTo>
                  <a:pt x="35" y="8"/>
                </a:lnTo>
                <a:lnTo>
                  <a:pt x="44" y="8"/>
                </a:lnTo>
                <a:lnTo>
                  <a:pt x="40" y="18"/>
                </a:lnTo>
                <a:lnTo>
                  <a:pt x="28" y="29"/>
                </a:lnTo>
                <a:lnTo>
                  <a:pt x="28" y="31"/>
                </a:lnTo>
                <a:lnTo>
                  <a:pt x="25" y="4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88" name="Freeform 195"/>
          <p:cNvSpPr>
            <a:spLocks/>
          </p:cNvSpPr>
          <p:nvPr/>
        </p:nvSpPr>
        <p:spPr bwMode="auto">
          <a:xfrm>
            <a:off x="4683125" y="2847975"/>
            <a:ext cx="38100" cy="34925"/>
          </a:xfrm>
          <a:custGeom>
            <a:avLst/>
            <a:gdLst>
              <a:gd name="T0" fmla="*/ 2147483647 w 27"/>
              <a:gd name="T1" fmla="*/ 2147483647 h 25"/>
              <a:gd name="T2" fmla="*/ 2147483647 w 27"/>
              <a:gd name="T3" fmla="*/ 2147483647 h 25"/>
              <a:gd name="T4" fmla="*/ 2147483647 w 27"/>
              <a:gd name="T5" fmla="*/ 0 h 25"/>
              <a:gd name="T6" fmla="*/ 2147483647 w 27"/>
              <a:gd name="T7" fmla="*/ 2147483647 h 25"/>
              <a:gd name="T8" fmla="*/ 2147483647 w 27"/>
              <a:gd name="T9" fmla="*/ 2147483647 h 25"/>
              <a:gd name="T10" fmla="*/ 2147483647 w 27"/>
              <a:gd name="T11" fmla="*/ 2147483647 h 25"/>
              <a:gd name="T12" fmla="*/ 2147483647 w 27"/>
              <a:gd name="T13" fmla="*/ 2147483647 h 25"/>
              <a:gd name="T14" fmla="*/ 0 w 27"/>
              <a:gd name="T15" fmla="*/ 2147483647 h 25"/>
              <a:gd name="T16" fmla="*/ 2147483647 w 27"/>
              <a:gd name="T17" fmla="*/ 2147483647 h 25"/>
              <a:gd name="T18" fmla="*/ 2147483647 w 27"/>
              <a:gd name="T19" fmla="*/ 2147483647 h 25"/>
              <a:gd name="T20" fmla="*/ 2147483647 w 27"/>
              <a:gd name="T21" fmla="*/ 2147483647 h 25"/>
              <a:gd name="T22" fmla="*/ 2147483647 w 27"/>
              <a:gd name="T23" fmla="*/ 2147483647 h 2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7"/>
              <a:gd name="T37" fmla="*/ 0 h 25"/>
              <a:gd name="T38" fmla="*/ 27 w 27"/>
              <a:gd name="T39" fmla="*/ 25 h 2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7" h="25">
                <a:moveTo>
                  <a:pt x="27" y="8"/>
                </a:moveTo>
                <a:lnTo>
                  <a:pt x="25" y="5"/>
                </a:lnTo>
                <a:lnTo>
                  <a:pt x="18" y="0"/>
                </a:lnTo>
                <a:lnTo>
                  <a:pt x="18" y="7"/>
                </a:lnTo>
                <a:lnTo>
                  <a:pt x="12" y="7"/>
                </a:lnTo>
                <a:lnTo>
                  <a:pt x="3" y="2"/>
                </a:lnTo>
                <a:lnTo>
                  <a:pt x="1" y="7"/>
                </a:lnTo>
                <a:lnTo>
                  <a:pt x="0" y="13"/>
                </a:lnTo>
                <a:lnTo>
                  <a:pt x="15" y="25"/>
                </a:lnTo>
                <a:lnTo>
                  <a:pt x="20" y="20"/>
                </a:lnTo>
                <a:lnTo>
                  <a:pt x="20" y="16"/>
                </a:lnTo>
                <a:lnTo>
                  <a:pt x="27" y="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89" name="Freeform 196"/>
          <p:cNvSpPr>
            <a:spLocks/>
          </p:cNvSpPr>
          <p:nvPr/>
        </p:nvSpPr>
        <p:spPr bwMode="auto">
          <a:xfrm>
            <a:off x="4619625" y="2794000"/>
            <a:ext cx="46038" cy="33338"/>
          </a:xfrm>
          <a:custGeom>
            <a:avLst/>
            <a:gdLst>
              <a:gd name="T0" fmla="*/ 2147483647 w 36"/>
              <a:gd name="T1" fmla="*/ 2147483647 h 24"/>
              <a:gd name="T2" fmla="*/ 2147483647 w 36"/>
              <a:gd name="T3" fmla="*/ 2147483647 h 24"/>
              <a:gd name="T4" fmla="*/ 0 w 36"/>
              <a:gd name="T5" fmla="*/ 2147483647 h 24"/>
              <a:gd name="T6" fmla="*/ 2147483647 w 36"/>
              <a:gd name="T7" fmla="*/ 2147483647 h 24"/>
              <a:gd name="T8" fmla="*/ 2147483647 w 36"/>
              <a:gd name="T9" fmla="*/ 2147483647 h 24"/>
              <a:gd name="T10" fmla="*/ 2147483647 w 36"/>
              <a:gd name="T11" fmla="*/ 0 h 24"/>
              <a:gd name="T12" fmla="*/ 2147483647 w 36"/>
              <a:gd name="T13" fmla="*/ 2147483647 h 2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6"/>
              <a:gd name="T22" fmla="*/ 0 h 24"/>
              <a:gd name="T23" fmla="*/ 36 w 36"/>
              <a:gd name="T24" fmla="*/ 24 h 2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6" h="24">
                <a:moveTo>
                  <a:pt x="30" y="17"/>
                </a:moveTo>
                <a:lnTo>
                  <a:pt x="2" y="18"/>
                </a:lnTo>
                <a:lnTo>
                  <a:pt x="0" y="24"/>
                </a:lnTo>
                <a:lnTo>
                  <a:pt x="1" y="14"/>
                </a:lnTo>
                <a:lnTo>
                  <a:pt x="18" y="11"/>
                </a:lnTo>
                <a:lnTo>
                  <a:pt x="36" y="0"/>
                </a:lnTo>
                <a:lnTo>
                  <a:pt x="30" y="1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90" name="Freeform 197"/>
          <p:cNvSpPr>
            <a:spLocks/>
          </p:cNvSpPr>
          <p:nvPr/>
        </p:nvSpPr>
        <p:spPr bwMode="auto">
          <a:xfrm>
            <a:off x="4652963" y="2867025"/>
            <a:ext cx="26987" cy="12700"/>
          </a:xfrm>
          <a:custGeom>
            <a:avLst/>
            <a:gdLst>
              <a:gd name="T0" fmla="*/ 2147483647 w 19"/>
              <a:gd name="T1" fmla="*/ 2147483647 h 10"/>
              <a:gd name="T2" fmla="*/ 2147483647 w 19"/>
              <a:gd name="T3" fmla="*/ 0 h 10"/>
              <a:gd name="T4" fmla="*/ 0 w 19"/>
              <a:gd name="T5" fmla="*/ 2147483647 h 10"/>
              <a:gd name="T6" fmla="*/ 2147483647 w 19"/>
              <a:gd name="T7" fmla="*/ 2147483647 h 10"/>
              <a:gd name="T8" fmla="*/ 2147483647 w 19"/>
              <a:gd name="T9" fmla="*/ 2147483647 h 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9"/>
              <a:gd name="T16" fmla="*/ 0 h 10"/>
              <a:gd name="T17" fmla="*/ 19 w 19"/>
              <a:gd name="T18" fmla="*/ 10 h 1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9" h="10">
                <a:moveTo>
                  <a:pt x="19" y="4"/>
                </a:moveTo>
                <a:lnTo>
                  <a:pt x="13" y="0"/>
                </a:lnTo>
                <a:lnTo>
                  <a:pt x="0" y="2"/>
                </a:lnTo>
                <a:lnTo>
                  <a:pt x="13" y="10"/>
                </a:lnTo>
                <a:lnTo>
                  <a:pt x="19" y="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91" name="Freeform 198"/>
          <p:cNvSpPr>
            <a:spLocks/>
          </p:cNvSpPr>
          <p:nvPr/>
        </p:nvSpPr>
        <p:spPr bwMode="auto">
          <a:xfrm>
            <a:off x="4705350" y="2886075"/>
            <a:ext cx="6350" cy="6350"/>
          </a:xfrm>
          <a:custGeom>
            <a:avLst/>
            <a:gdLst>
              <a:gd name="T0" fmla="*/ 2147483647 w 4"/>
              <a:gd name="T1" fmla="*/ 2147483647 h 4"/>
              <a:gd name="T2" fmla="*/ 0 w 4"/>
              <a:gd name="T3" fmla="*/ 0 h 4"/>
              <a:gd name="T4" fmla="*/ 0 w 4"/>
              <a:gd name="T5" fmla="*/ 2147483647 h 4"/>
              <a:gd name="T6" fmla="*/ 2147483647 w 4"/>
              <a:gd name="T7" fmla="*/ 2147483647 h 4"/>
              <a:gd name="T8" fmla="*/ 0 60000 65536"/>
              <a:gd name="T9" fmla="*/ 0 60000 65536"/>
              <a:gd name="T10" fmla="*/ 0 60000 65536"/>
              <a:gd name="T11" fmla="*/ 0 60000 65536"/>
              <a:gd name="T12" fmla="*/ 0 w 4"/>
              <a:gd name="T13" fmla="*/ 0 h 4"/>
              <a:gd name="T14" fmla="*/ 4 w 4"/>
              <a:gd name="T15" fmla="*/ 4 h 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" h="4">
                <a:moveTo>
                  <a:pt x="4" y="1"/>
                </a:moveTo>
                <a:lnTo>
                  <a:pt x="0" y="0"/>
                </a:lnTo>
                <a:lnTo>
                  <a:pt x="0" y="4"/>
                </a:lnTo>
                <a:lnTo>
                  <a:pt x="4" y="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92" name="Freeform 199"/>
          <p:cNvSpPr>
            <a:spLocks/>
          </p:cNvSpPr>
          <p:nvPr/>
        </p:nvSpPr>
        <p:spPr bwMode="auto">
          <a:xfrm>
            <a:off x="4965700" y="2738438"/>
            <a:ext cx="109538" cy="53975"/>
          </a:xfrm>
          <a:custGeom>
            <a:avLst/>
            <a:gdLst>
              <a:gd name="T0" fmla="*/ 2147483647 w 82"/>
              <a:gd name="T1" fmla="*/ 2147483647 h 38"/>
              <a:gd name="T2" fmla="*/ 2147483647 w 82"/>
              <a:gd name="T3" fmla="*/ 2147483647 h 38"/>
              <a:gd name="T4" fmla="*/ 2147483647 w 82"/>
              <a:gd name="T5" fmla="*/ 0 h 38"/>
              <a:gd name="T6" fmla="*/ 0 w 82"/>
              <a:gd name="T7" fmla="*/ 2147483647 h 38"/>
              <a:gd name="T8" fmla="*/ 2147483647 w 82"/>
              <a:gd name="T9" fmla="*/ 2147483647 h 38"/>
              <a:gd name="T10" fmla="*/ 2147483647 w 82"/>
              <a:gd name="T11" fmla="*/ 2147483647 h 38"/>
              <a:gd name="T12" fmla="*/ 2147483647 w 82"/>
              <a:gd name="T13" fmla="*/ 2147483647 h 38"/>
              <a:gd name="T14" fmla="*/ 2147483647 w 82"/>
              <a:gd name="T15" fmla="*/ 2147483647 h 38"/>
              <a:gd name="T16" fmla="*/ 2147483647 w 82"/>
              <a:gd name="T17" fmla="*/ 2147483647 h 38"/>
              <a:gd name="T18" fmla="*/ 2147483647 w 82"/>
              <a:gd name="T19" fmla="*/ 2147483647 h 3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82"/>
              <a:gd name="T31" fmla="*/ 0 h 38"/>
              <a:gd name="T32" fmla="*/ 82 w 82"/>
              <a:gd name="T33" fmla="*/ 38 h 3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82" h="38">
                <a:moveTo>
                  <a:pt x="82" y="24"/>
                </a:moveTo>
                <a:lnTo>
                  <a:pt x="76" y="2"/>
                </a:lnTo>
                <a:lnTo>
                  <a:pt x="33" y="0"/>
                </a:lnTo>
                <a:lnTo>
                  <a:pt x="0" y="8"/>
                </a:lnTo>
                <a:lnTo>
                  <a:pt x="3" y="17"/>
                </a:lnTo>
                <a:lnTo>
                  <a:pt x="15" y="30"/>
                </a:lnTo>
                <a:lnTo>
                  <a:pt x="21" y="29"/>
                </a:lnTo>
                <a:lnTo>
                  <a:pt x="47" y="33"/>
                </a:lnTo>
                <a:lnTo>
                  <a:pt x="74" y="38"/>
                </a:lnTo>
                <a:lnTo>
                  <a:pt x="82" y="2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93" name="Freeform 200"/>
          <p:cNvSpPr>
            <a:spLocks/>
          </p:cNvSpPr>
          <p:nvPr/>
        </p:nvSpPr>
        <p:spPr bwMode="auto">
          <a:xfrm>
            <a:off x="4921250" y="2778125"/>
            <a:ext cx="176213" cy="74613"/>
          </a:xfrm>
          <a:custGeom>
            <a:avLst/>
            <a:gdLst>
              <a:gd name="T0" fmla="*/ 2147483647 w 133"/>
              <a:gd name="T1" fmla="*/ 2147483647 h 55"/>
              <a:gd name="T2" fmla="*/ 2147483647 w 133"/>
              <a:gd name="T3" fmla="*/ 2147483647 h 55"/>
              <a:gd name="T4" fmla="*/ 2147483647 w 133"/>
              <a:gd name="T5" fmla="*/ 2147483647 h 55"/>
              <a:gd name="T6" fmla="*/ 0 w 133"/>
              <a:gd name="T7" fmla="*/ 2147483647 h 55"/>
              <a:gd name="T8" fmla="*/ 2147483647 w 133"/>
              <a:gd name="T9" fmla="*/ 2147483647 h 55"/>
              <a:gd name="T10" fmla="*/ 2147483647 w 133"/>
              <a:gd name="T11" fmla="*/ 2147483647 h 55"/>
              <a:gd name="T12" fmla="*/ 2147483647 w 133"/>
              <a:gd name="T13" fmla="*/ 2147483647 h 55"/>
              <a:gd name="T14" fmla="*/ 2147483647 w 133"/>
              <a:gd name="T15" fmla="*/ 2147483647 h 55"/>
              <a:gd name="T16" fmla="*/ 2147483647 w 133"/>
              <a:gd name="T17" fmla="*/ 0 h 55"/>
              <a:gd name="T18" fmla="*/ 2147483647 w 133"/>
              <a:gd name="T19" fmla="*/ 2147483647 h 55"/>
              <a:gd name="T20" fmla="*/ 2147483647 w 133"/>
              <a:gd name="T21" fmla="*/ 2147483647 h 55"/>
              <a:gd name="T22" fmla="*/ 2147483647 w 133"/>
              <a:gd name="T23" fmla="*/ 2147483647 h 55"/>
              <a:gd name="T24" fmla="*/ 2147483647 w 133"/>
              <a:gd name="T25" fmla="*/ 2147483647 h 55"/>
              <a:gd name="T26" fmla="*/ 2147483647 w 133"/>
              <a:gd name="T27" fmla="*/ 2147483647 h 55"/>
              <a:gd name="T28" fmla="*/ 2147483647 w 133"/>
              <a:gd name="T29" fmla="*/ 2147483647 h 5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33"/>
              <a:gd name="T46" fmla="*/ 0 h 55"/>
              <a:gd name="T47" fmla="*/ 133 w 133"/>
              <a:gd name="T48" fmla="*/ 55 h 55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33" h="55">
                <a:moveTo>
                  <a:pt x="68" y="38"/>
                </a:moveTo>
                <a:lnTo>
                  <a:pt x="36" y="42"/>
                </a:lnTo>
                <a:lnTo>
                  <a:pt x="5" y="45"/>
                </a:lnTo>
                <a:lnTo>
                  <a:pt x="0" y="46"/>
                </a:lnTo>
                <a:lnTo>
                  <a:pt x="9" y="16"/>
                </a:lnTo>
                <a:lnTo>
                  <a:pt x="26" y="15"/>
                </a:lnTo>
                <a:lnTo>
                  <a:pt x="49" y="30"/>
                </a:lnTo>
                <a:lnTo>
                  <a:pt x="58" y="21"/>
                </a:lnTo>
                <a:lnTo>
                  <a:pt x="56" y="0"/>
                </a:lnTo>
                <a:lnTo>
                  <a:pt x="82" y="4"/>
                </a:lnTo>
                <a:lnTo>
                  <a:pt x="109" y="9"/>
                </a:lnTo>
                <a:lnTo>
                  <a:pt x="119" y="26"/>
                </a:lnTo>
                <a:lnTo>
                  <a:pt x="133" y="52"/>
                </a:lnTo>
                <a:lnTo>
                  <a:pt x="106" y="55"/>
                </a:lnTo>
                <a:lnTo>
                  <a:pt x="68" y="3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94" name="Freeform 201"/>
          <p:cNvSpPr>
            <a:spLocks/>
          </p:cNvSpPr>
          <p:nvPr/>
        </p:nvSpPr>
        <p:spPr bwMode="auto">
          <a:xfrm>
            <a:off x="4921250" y="2832100"/>
            <a:ext cx="141288" cy="76200"/>
          </a:xfrm>
          <a:custGeom>
            <a:avLst/>
            <a:gdLst>
              <a:gd name="T0" fmla="*/ 2147483647 w 106"/>
              <a:gd name="T1" fmla="*/ 2147483647 h 55"/>
              <a:gd name="T2" fmla="*/ 0 w 106"/>
              <a:gd name="T3" fmla="*/ 2147483647 h 55"/>
              <a:gd name="T4" fmla="*/ 2147483647 w 106"/>
              <a:gd name="T5" fmla="*/ 2147483647 h 55"/>
              <a:gd name="T6" fmla="*/ 2147483647 w 106"/>
              <a:gd name="T7" fmla="*/ 2147483647 h 55"/>
              <a:gd name="T8" fmla="*/ 2147483647 w 106"/>
              <a:gd name="T9" fmla="*/ 0 h 55"/>
              <a:gd name="T10" fmla="*/ 2147483647 w 106"/>
              <a:gd name="T11" fmla="*/ 2147483647 h 55"/>
              <a:gd name="T12" fmla="*/ 2147483647 w 106"/>
              <a:gd name="T13" fmla="*/ 2147483647 h 55"/>
              <a:gd name="T14" fmla="*/ 2147483647 w 106"/>
              <a:gd name="T15" fmla="*/ 2147483647 h 55"/>
              <a:gd name="T16" fmla="*/ 2147483647 w 106"/>
              <a:gd name="T17" fmla="*/ 2147483647 h 55"/>
              <a:gd name="T18" fmla="*/ 2147483647 w 106"/>
              <a:gd name="T19" fmla="*/ 2147483647 h 55"/>
              <a:gd name="T20" fmla="*/ 2147483647 w 106"/>
              <a:gd name="T21" fmla="*/ 2147483647 h 55"/>
              <a:gd name="T22" fmla="*/ 2147483647 w 106"/>
              <a:gd name="T23" fmla="*/ 2147483647 h 5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06"/>
              <a:gd name="T37" fmla="*/ 0 h 55"/>
              <a:gd name="T38" fmla="*/ 106 w 106"/>
              <a:gd name="T39" fmla="*/ 55 h 5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06" h="55">
                <a:moveTo>
                  <a:pt x="4" y="40"/>
                </a:moveTo>
                <a:lnTo>
                  <a:pt x="0" y="8"/>
                </a:lnTo>
                <a:lnTo>
                  <a:pt x="5" y="7"/>
                </a:lnTo>
                <a:lnTo>
                  <a:pt x="36" y="4"/>
                </a:lnTo>
                <a:lnTo>
                  <a:pt x="68" y="0"/>
                </a:lnTo>
                <a:lnTo>
                  <a:pt x="106" y="17"/>
                </a:lnTo>
                <a:lnTo>
                  <a:pt x="79" y="36"/>
                </a:lnTo>
                <a:lnTo>
                  <a:pt x="50" y="55"/>
                </a:lnTo>
                <a:lnTo>
                  <a:pt x="33" y="54"/>
                </a:lnTo>
                <a:lnTo>
                  <a:pt x="33" y="44"/>
                </a:lnTo>
                <a:lnTo>
                  <a:pt x="16" y="42"/>
                </a:lnTo>
                <a:lnTo>
                  <a:pt x="4" y="4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95" name="Freeform 202"/>
          <p:cNvSpPr>
            <a:spLocks/>
          </p:cNvSpPr>
          <p:nvPr/>
        </p:nvSpPr>
        <p:spPr bwMode="auto">
          <a:xfrm>
            <a:off x="4500563" y="2935288"/>
            <a:ext cx="93662" cy="85725"/>
          </a:xfrm>
          <a:custGeom>
            <a:avLst/>
            <a:gdLst>
              <a:gd name="T0" fmla="*/ 2147483647 w 70"/>
              <a:gd name="T1" fmla="*/ 2147483647 h 62"/>
              <a:gd name="T2" fmla="*/ 2147483647 w 70"/>
              <a:gd name="T3" fmla="*/ 2147483647 h 62"/>
              <a:gd name="T4" fmla="*/ 2147483647 w 70"/>
              <a:gd name="T5" fmla="*/ 2147483647 h 62"/>
              <a:gd name="T6" fmla="*/ 2147483647 w 70"/>
              <a:gd name="T7" fmla="*/ 2147483647 h 62"/>
              <a:gd name="T8" fmla="*/ 2147483647 w 70"/>
              <a:gd name="T9" fmla="*/ 0 h 62"/>
              <a:gd name="T10" fmla="*/ 2147483647 w 70"/>
              <a:gd name="T11" fmla="*/ 2147483647 h 62"/>
              <a:gd name="T12" fmla="*/ 2147483647 w 70"/>
              <a:gd name="T13" fmla="*/ 2147483647 h 62"/>
              <a:gd name="T14" fmla="*/ 0 w 70"/>
              <a:gd name="T15" fmla="*/ 2147483647 h 62"/>
              <a:gd name="T16" fmla="*/ 2147483647 w 70"/>
              <a:gd name="T17" fmla="*/ 2147483647 h 62"/>
              <a:gd name="T18" fmla="*/ 2147483647 w 70"/>
              <a:gd name="T19" fmla="*/ 2147483647 h 62"/>
              <a:gd name="T20" fmla="*/ 2147483647 w 70"/>
              <a:gd name="T21" fmla="*/ 2147483647 h 62"/>
              <a:gd name="T22" fmla="*/ 2147483647 w 70"/>
              <a:gd name="T23" fmla="*/ 2147483647 h 62"/>
              <a:gd name="T24" fmla="*/ 2147483647 w 70"/>
              <a:gd name="T25" fmla="*/ 2147483647 h 6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70"/>
              <a:gd name="T40" fmla="*/ 0 h 62"/>
              <a:gd name="T41" fmla="*/ 70 w 70"/>
              <a:gd name="T42" fmla="*/ 62 h 6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70" h="62">
                <a:moveTo>
                  <a:pt x="52" y="36"/>
                </a:moveTo>
                <a:lnTo>
                  <a:pt x="68" y="27"/>
                </a:lnTo>
                <a:lnTo>
                  <a:pt x="62" y="16"/>
                </a:lnTo>
                <a:lnTo>
                  <a:pt x="70" y="3"/>
                </a:lnTo>
                <a:lnTo>
                  <a:pt x="46" y="0"/>
                </a:lnTo>
                <a:lnTo>
                  <a:pt x="22" y="14"/>
                </a:lnTo>
                <a:lnTo>
                  <a:pt x="6" y="39"/>
                </a:lnTo>
                <a:lnTo>
                  <a:pt x="0" y="48"/>
                </a:lnTo>
                <a:lnTo>
                  <a:pt x="15" y="48"/>
                </a:lnTo>
                <a:lnTo>
                  <a:pt x="40" y="49"/>
                </a:lnTo>
                <a:lnTo>
                  <a:pt x="44" y="57"/>
                </a:lnTo>
                <a:lnTo>
                  <a:pt x="50" y="62"/>
                </a:lnTo>
                <a:lnTo>
                  <a:pt x="52" y="36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96" name="Freeform 203"/>
          <p:cNvSpPr>
            <a:spLocks/>
          </p:cNvSpPr>
          <p:nvPr/>
        </p:nvSpPr>
        <p:spPr bwMode="auto">
          <a:xfrm>
            <a:off x="4764088" y="2892425"/>
            <a:ext cx="255587" cy="184150"/>
          </a:xfrm>
          <a:custGeom>
            <a:avLst/>
            <a:gdLst>
              <a:gd name="T0" fmla="*/ 2147483647 w 192"/>
              <a:gd name="T1" fmla="*/ 2147483647 h 135"/>
              <a:gd name="T2" fmla="*/ 2147483647 w 192"/>
              <a:gd name="T3" fmla="*/ 0 h 135"/>
              <a:gd name="T4" fmla="*/ 2147483647 w 192"/>
              <a:gd name="T5" fmla="*/ 2147483647 h 135"/>
              <a:gd name="T6" fmla="*/ 2147483647 w 192"/>
              <a:gd name="T7" fmla="*/ 2147483647 h 135"/>
              <a:gd name="T8" fmla="*/ 0 w 192"/>
              <a:gd name="T9" fmla="*/ 2147483647 h 135"/>
              <a:gd name="T10" fmla="*/ 2147483647 w 192"/>
              <a:gd name="T11" fmla="*/ 2147483647 h 135"/>
              <a:gd name="T12" fmla="*/ 2147483647 w 192"/>
              <a:gd name="T13" fmla="*/ 2147483647 h 135"/>
              <a:gd name="T14" fmla="*/ 2147483647 w 192"/>
              <a:gd name="T15" fmla="*/ 2147483647 h 135"/>
              <a:gd name="T16" fmla="*/ 2147483647 w 192"/>
              <a:gd name="T17" fmla="*/ 2147483647 h 135"/>
              <a:gd name="T18" fmla="*/ 2147483647 w 192"/>
              <a:gd name="T19" fmla="*/ 2147483647 h 135"/>
              <a:gd name="T20" fmla="*/ 2147483647 w 192"/>
              <a:gd name="T21" fmla="*/ 2147483647 h 135"/>
              <a:gd name="T22" fmla="*/ 2147483647 w 192"/>
              <a:gd name="T23" fmla="*/ 2147483647 h 135"/>
              <a:gd name="T24" fmla="*/ 2147483647 w 192"/>
              <a:gd name="T25" fmla="*/ 2147483647 h 135"/>
              <a:gd name="T26" fmla="*/ 2147483647 w 192"/>
              <a:gd name="T27" fmla="*/ 2147483647 h 135"/>
              <a:gd name="T28" fmla="*/ 2147483647 w 192"/>
              <a:gd name="T29" fmla="*/ 2147483647 h 135"/>
              <a:gd name="T30" fmla="*/ 2147483647 w 192"/>
              <a:gd name="T31" fmla="*/ 2147483647 h 135"/>
              <a:gd name="T32" fmla="*/ 2147483647 w 192"/>
              <a:gd name="T33" fmla="*/ 2147483647 h 135"/>
              <a:gd name="T34" fmla="*/ 2147483647 w 192"/>
              <a:gd name="T35" fmla="*/ 2147483647 h 135"/>
              <a:gd name="T36" fmla="*/ 2147483647 w 192"/>
              <a:gd name="T37" fmla="*/ 2147483647 h 135"/>
              <a:gd name="T38" fmla="*/ 2147483647 w 192"/>
              <a:gd name="T39" fmla="*/ 2147483647 h 135"/>
              <a:gd name="T40" fmla="*/ 2147483647 w 192"/>
              <a:gd name="T41" fmla="*/ 2147483647 h 135"/>
              <a:gd name="T42" fmla="*/ 2147483647 w 192"/>
              <a:gd name="T43" fmla="*/ 2147483647 h 135"/>
              <a:gd name="T44" fmla="*/ 2147483647 w 192"/>
              <a:gd name="T45" fmla="*/ 2147483647 h 135"/>
              <a:gd name="T46" fmla="*/ 2147483647 w 192"/>
              <a:gd name="T47" fmla="*/ 2147483647 h 135"/>
              <a:gd name="T48" fmla="*/ 2147483647 w 192"/>
              <a:gd name="T49" fmla="*/ 2147483647 h 135"/>
              <a:gd name="T50" fmla="*/ 2147483647 w 192"/>
              <a:gd name="T51" fmla="*/ 2147483647 h 135"/>
              <a:gd name="T52" fmla="*/ 2147483647 w 192"/>
              <a:gd name="T53" fmla="*/ 2147483647 h 135"/>
              <a:gd name="T54" fmla="*/ 2147483647 w 192"/>
              <a:gd name="T55" fmla="*/ 2147483647 h 135"/>
              <a:gd name="T56" fmla="*/ 2147483647 w 192"/>
              <a:gd name="T57" fmla="*/ 2147483647 h 135"/>
              <a:gd name="T58" fmla="*/ 2147483647 w 192"/>
              <a:gd name="T59" fmla="*/ 2147483647 h 135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92"/>
              <a:gd name="T91" fmla="*/ 0 h 135"/>
              <a:gd name="T92" fmla="*/ 192 w 192"/>
              <a:gd name="T93" fmla="*/ 135 h 135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92" h="135">
                <a:moveTo>
                  <a:pt x="79" y="7"/>
                </a:moveTo>
                <a:lnTo>
                  <a:pt x="75" y="0"/>
                </a:lnTo>
                <a:lnTo>
                  <a:pt x="50" y="3"/>
                </a:lnTo>
                <a:lnTo>
                  <a:pt x="25" y="11"/>
                </a:lnTo>
                <a:lnTo>
                  <a:pt x="0" y="16"/>
                </a:lnTo>
                <a:lnTo>
                  <a:pt x="7" y="23"/>
                </a:lnTo>
                <a:lnTo>
                  <a:pt x="1" y="25"/>
                </a:lnTo>
                <a:lnTo>
                  <a:pt x="3" y="47"/>
                </a:lnTo>
                <a:lnTo>
                  <a:pt x="14" y="73"/>
                </a:lnTo>
                <a:lnTo>
                  <a:pt x="18" y="93"/>
                </a:lnTo>
                <a:lnTo>
                  <a:pt x="20" y="91"/>
                </a:lnTo>
                <a:lnTo>
                  <a:pt x="45" y="101"/>
                </a:lnTo>
                <a:lnTo>
                  <a:pt x="50" y="107"/>
                </a:lnTo>
                <a:lnTo>
                  <a:pt x="60" y="106"/>
                </a:lnTo>
                <a:lnTo>
                  <a:pt x="74" y="107"/>
                </a:lnTo>
                <a:lnTo>
                  <a:pt x="97" y="124"/>
                </a:lnTo>
                <a:lnTo>
                  <a:pt x="119" y="125"/>
                </a:lnTo>
                <a:lnTo>
                  <a:pt x="122" y="130"/>
                </a:lnTo>
                <a:lnTo>
                  <a:pt x="139" y="129"/>
                </a:lnTo>
                <a:lnTo>
                  <a:pt x="169" y="135"/>
                </a:lnTo>
                <a:lnTo>
                  <a:pt x="172" y="127"/>
                </a:lnTo>
                <a:lnTo>
                  <a:pt x="190" y="103"/>
                </a:lnTo>
                <a:lnTo>
                  <a:pt x="192" y="91"/>
                </a:lnTo>
                <a:lnTo>
                  <a:pt x="181" y="66"/>
                </a:lnTo>
                <a:lnTo>
                  <a:pt x="170" y="59"/>
                </a:lnTo>
                <a:lnTo>
                  <a:pt x="182" y="42"/>
                </a:lnTo>
                <a:lnTo>
                  <a:pt x="167" y="12"/>
                </a:lnTo>
                <a:lnTo>
                  <a:pt x="132" y="10"/>
                </a:lnTo>
                <a:lnTo>
                  <a:pt x="98" y="6"/>
                </a:lnTo>
                <a:lnTo>
                  <a:pt x="79" y="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397" name="Freeform 204"/>
          <p:cNvSpPr>
            <a:spLocks/>
          </p:cNvSpPr>
          <p:nvPr/>
        </p:nvSpPr>
        <p:spPr bwMode="auto">
          <a:xfrm>
            <a:off x="4943475" y="3103563"/>
            <a:ext cx="246063" cy="153987"/>
          </a:xfrm>
          <a:custGeom>
            <a:avLst/>
            <a:gdLst>
              <a:gd name="T0" fmla="*/ 2147483647 w 187"/>
              <a:gd name="T1" fmla="*/ 2147483647 h 112"/>
              <a:gd name="T2" fmla="*/ 2147483647 w 187"/>
              <a:gd name="T3" fmla="*/ 2147483647 h 112"/>
              <a:gd name="T4" fmla="*/ 2147483647 w 187"/>
              <a:gd name="T5" fmla="*/ 2147483647 h 112"/>
              <a:gd name="T6" fmla="*/ 2147483647 w 187"/>
              <a:gd name="T7" fmla="*/ 2147483647 h 112"/>
              <a:gd name="T8" fmla="*/ 2147483647 w 187"/>
              <a:gd name="T9" fmla="*/ 2147483647 h 112"/>
              <a:gd name="T10" fmla="*/ 2147483647 w 187"/>
              <a:gd name="T11" fmla="*/ 2147483647 h 112"/>
              <a:gd name="T12" fmla="*/ 2147483647 w 187"/>
              <a:gd name="T13" fmla="*/ 2147483647 h 112"/>
              <a:gd name="T14" fmla="*/ 2147483647 w 187"/>
              <a:gd name="T15" fmla="*/ 2147483647 h 112"/>
              <a:gd name="T16" fmla="*/ 2147483647 w 187"/>
              <a:gd name="T17" fmla="*/ 2147483647 h 112"/>
              <a:gd name="T18" fmla="*/ 2147483647 w 187"/>
              <a:gd name="T19" fmla="*/ 2147483647 h 112"/>
              <a:gd name="T20" fmla="*/ 2147483647 w 187"/>
              <a:gd name="T21" fmla="*/ 2147483647 h 112"/>
              <a:gd name="T22" fmla="*/ 0 w 187"/>
              <a:gd name="T23" fmla="*/ 2147483647 h 112"/>
              <a:gd name="T24" fmla="*/ 2147483647 w 187"/>
              <a:gd name="T25" fmla="*/ 2147483647 h 112"/>
              <a:gd name="T26" fmla="*/ 2147483647 w 187"/>
              <a:gd name="T27" fmla="*/ 2147483647 h 112"/>
              <a:gd name="T28" fmla="*/ 2147483647 w 187"/>
              <a:gd name="T29" fmla="*/ 2147483647 h 112"/>
              <a:gd name="T30" fmla="*/ 2147483647 w 187"/>
              <a:gd name="T31" fmla="*/ 2147483647 h 112"/>
              <a:gd name="T32" fmla="*/ 2147483647 w 187"/>
              <a:gd name="T33" fmla="*/ 2147483647 h 112"/>
              <a:gd name="T34" fmla="*/ 2147483647 w 187"/>
              <a:gd name="T35" fmla="*/ 0 h 112"/>
              <a:gd name="T36" fmla="*/ 2147483647 w 187"/>
              <a:gd name="T37" fmla="*/ 0 h 112"/>
              <a:gd name="T38" fmla="*/ 2147483647 w 187"/>
              <a:gd name="T39" fmla="*/ 2147483647 h 112"/>
              <a:gd name="T40" fmla="*/ 2147483647 w 187"/>
              <a:gd name="T41" fmla="*/ 2147483647 h 112"/>
              <a:gd name="T42" fmla="*/ 2147483647 w 187"/>
              <a:gd name="T43" fmla="*/ 2147483647 h 112"/>
              <a:gd name="T44" fmla="*/ 2147483647 w 187"/>
              <a:gd name="T45" fmla="*/ 2147483647 h 112"/>
              <a:gd name="T46" fmla="*/ 2147483647 w 187"/>
              <a:gd name="T47" fmla="*/ 2147483647 h 112"/>
              <a:gd name="T48" fmla="*/ 2147483647 w 187"/>
              <a:gd name="T49" fmla="*/ 2147483647 h 112"/>
              <a:gd name="T50" fmla="*/ 2147483647 w 187"/>
              <a:gd name="T51" fmla="*/ 2147483647 h 112"/>
              <a:gd name="T52" fmla="*/ 2147483647 w 187"/>
              <a:gd name="T53" fmla="*/ 2147483647 h 112"/>
              <a:gd name="T54" fmla="*/ 2147483647 w 187"/>
              <a:gd name="T55" fmla="*/ 2147483647 h 112"/>
              <a:gd name="T56" fmla="*/ 2147483647 w 187"/>
              <a:gd name="T57" fmla="*/ 2147483647 h 11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87"/>
              <a:gd name="T88" fmla="*/ 0 h 112"/>
              <a:gd name="T89" fmla="*/ 187 w 187"/>
              <a:gd name="T90" fmla="*/ 112 h 112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87" h="112">
                <a:moveTo>
                  <a:pt x="172" y="91"/>
                </a:moveTo>
                <a:lnTo>
                  <a:pt x="169" y="109"/>
                </a:lnTo>
                <a:lnTo>
                  <a:pt x="132" y="102"/>
                </a:lnTo>
                <a:lnTo>
                  <a:pt x="101" y="112"/>
                </a:lnTo>
                <a:lnTo>
                  <a:pt x="78" y="108"/>
                </a:lnTo>
                <a:lnTo>
                  <a:pt x="57" y="104"/>
                </a:lnTo>
                <a:lnTo>
                  <a:pt x="52" y="97"/>
                </a:lnTo>
                <a:lnTo>
                  <a:pt x="51" y="90"/>
                </a:lnTo>
                <a:lnTo>
                  <a:pt x="43" y="88"/>
                </a:lnTo>
                <a:lnTo>
                  <a:pt x="37" y="86"/>
                </a:lnTo>
                <a:lnTo>
                  <a:pt x="29" y="82"/>
                </a:lnTo>
                <a:lnTo>
                  <a:pt x="0" y="52"/>
                </a:lnTo>
                <a:lnTo>
                  <a:pt x="11" y="48"/>
                </a:lnTo>
                <a:lnTo>
                  <a:pt x="27" y="26"/>
                </a:lnTo>
                <a:lnTo>
                  <a:pt x="46" y="7"/>
                </a:lnTo>
                <a:lnTo>
                  <a:pt x="47" y="7"/>
                </a:lnTo>
                <a:lnTo>
                  <a:pt x="83" y="11"/>
                </a:lnTo>
                <a:lnTo>
                  <a:pt x="115" y="0"/>
                </a:lnTo>
                <a:lnTo>
                  <a:pt x="118" y="0"/>
                </a:lnTo>
                <a:lnTo>
                  <a:pt x="132" y="14"/>
                </a:lnTo>
                <a:lnTo>
                  <a:pt x="147" y="29"/>
                </a:lnTo>
                <a:lnTo>
                  <a:pt x="153" y="49"/>
                </a:lnTo>
                <a:lnTo>
                  <a:pt x="159" y="70"/>
                </a:lnTo>
                <a:lnTo>
                  <a:pt x="174" y="70"/>
                </a:lnTo>
                <a:lnTo>
                  <a:pt x="186" y="73"/>
                </a:lnTo>
                <a:lnTo>
                  <a:pt x="187" y="79"/>
                </a:lnTo>
                <a:lnTo>
                  <a:pt x="178" y="84"/>
                </a:lnTo>
                <a:lnTo>
                  <a:pt x="175" y="82"/>
                </a:lnTo>
                <a:lnTo>
                  <a:pt x="172" y="9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98" name="Freeform 205"/>
          <p:cNvSpPr>
            <a:spLocks/>
          </p:cNvSpPr>
          <p:nvPr/>
        </p:nvSpPr>
        <p:spPr bwMode="auto">
          <a:xfrm>
            <a:off x="4724400" y="3014663"/>
            <a:ext cx="169863" cy="76200"/>
          </a:xfrm>
          <a:custGeom>
            <a:avLst/>
            <a:gdLst>
              <a:gd name="T0" fmla="*/ 2147483647 w 127"/>
              <a:gd name="T1" fmla="*/ 2147483647 h 58"/>
              <a:gd name="T2" fmla="*/ 2147483647 w 127"/>
              <a:gd name="T3" fmla="*/ 2147483647 h 58"/>
              <a:gd name="T4" fmla="*/ 2147483647 w 127"/>
              <a:gd name="T5" fmla="*/ 2147483647 h 58"/>
              <a:gd name="T6" fmla="*/ 2147483647 w 127"/>
              <a:gd name="T7" fmla="*/ 2147483647 h 58"/>
              <a:gd name="T8" fmla="*/ 2147483647 w 127"/>
              <a:gd name="T9" fmla="*/ 2147483647 h 58"/>
              <a:gd name="T10" fmla="*/ 2147483647 w 127"/>
              <a:gd name="T11" fmla="*/ 2147483647 h 58"/>
              <a:gd name="T12" fmla="*/ 2147483647 w 127"/>
              <a:gd name="T13" fmla="*/ 2147483647 h 58"/>
              <a:gd name="T14" fmla="*/ 2147483647 w 127"/>
              <a:gd name="T15" fmla="*/ 2147483647 h 58"/>
              <a:gd name="T16" fmla="*/ 2147483647 w 127"/>
              <a:gd name="T17" fmla="*/ 2147483647 h 58"/>
              <a:gd name="T18" fmla="*/ 2147483647 w 127"/>
              <a:gd name="T19" fmla="*/ 2147483647 h 58"/>
              <a:gd name="T20" fmla="*/ 2147483647 w 127"/>
              <a:gd name="T21" fmla="*/ 2147483647 h 58"/>
              <a:gd name="T22" fmla="*/ 2147483647 w 127"/>
              <a:gd name="T23" fmla="*/ 2147483647 h 58"/>
              <a:gd name="T24" fmla="*/ 2147483647 w 127"/>
              <a:gd name="T25" fmla="*/ 2147483647 h 58"/>
              <a:gd name="T26" fmla="*/ 2147483647 w 127"/>
              <a:gd name="T27" fmla="*/ 2147483647 h 58"/>
              <a:gd name="T28" fmla="*/ 0 w 127"/>
              <a:gd name="T29" fmla="*/ 2147483647 h 58"/>
              <a:gd name="T30" fmla="*/ 2147483647 w 127"/>
              <a:gd name="T31" fmla="*/ 0 h 58"/>
              <a:gd name="T32" fmla="*/ 2147483647 w 127"/>
              <a:gd name="T33" fmla="*/ 2147483647 h 58"/>
              <a:gd name="T34" fmla="*/ 2147483647 w 127"/>
              <a:gd name="T35" fmla="*/ 2147483647 h 58"/>
              <a:gd name="T36" fmla="*/ 2147483647 w 127"/>
              <a:gd name="T37" fmla="*/ 2147483647 h 58"/>
              <a:gd name="T38" fmla="*/ 2147483647 w 127"/>
              <a:gd name="T39" fmla="*/ 2147483647 h 58"/>
              <a:gd name="T40" fmla="*/ 2147483647 w 127"/>
              <a:gd name="T41" fmla="*/ 2147483647 h 58"/>
              <a:gd name="T42" fmla="*/ 2147483647 w 127"/>
              <a:gd name="T43" fmla="*/ 2147483647 h 58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127"/>
              <a:gd name="T67" fmla="*/ 0 h 58"/>
              <a:gd name="T68" fmla="*/ 127 w 127"/>
              <a:gd name="T69" fmla="*/ 58 h 58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127" h="58">
                <a:moveTo>
                  <a:pt x="104" y="17"/>
                </a:moveTo>
                <a:lnTo>
                  <a:pt x="127" y="34"/>
                </a:lnTo>
                <a:lnTo>
                  <a:pt x="126" y="36"/>
                </a:lnTo>
                <a:lnTo>
                  <a:pt x="120" y="41"/>
                </a:lnTo>
                <a:lnTo>
                  <a:pt x="115" y="42"/>
                </a:lnTo>
                <a:lnTo>
                  <a:pt x="115" y="45"/>
                </a:lnTo>
                <a:lnTo>
                  <a:pt x="109" y="52"/>
                </a:lnTo>
                <a:lnTo>
                  <a:pt x="98" y="53"/>
                </a:lnTo>
                <a:lnTo>
                  <a:pt x="92" y="54"/>
                </a:lnTo>
                <a:lnTo>
                  <a:pt x="85" y="53"/>
                </a:lnTo>
                <a:lnTo>
                  <a:pt x="55" y="49"/>
                </a:lnTo>
                <a:lnTo>
                  <a:pt x="43" y="58"/>
                </a:lnTo>
                <a:lnTo>
                  <a:pt x="32" y="53"/>
                </a:lnTo>
                <a:lnTo>
                  <a:pt x="5" y="27"/>
                </a:lnTo>
                <a:lnTo>
                  <a:pt x="0" y="18"/>
                </a:lnTo>
                <a:lnTo>
                  <a:pt x="43" y="0"/>
                </a:lnTo>
                <a:lnTo>
                  <a:pt x="48" y="3"/>
                </a:lnTo>
                <a:lnTo>
                  <a:pt x="50" y="1"/>
                </a:lnTo>
                <a:lnTo>
                  <a:pt x="75" y="11"/>
                </a:lnTo>
                <a:lnTo>
                  <a:pt x="80" y="17"/>
                </a:lnTo>
                <a:lnTo>
                  <a:pt x="90" y="16"/>
                </a:lnTo>
                <a:lnTo>
                  <a:pt x="104" y="1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99" name="Freeform 206"/>
          <p:cNvSpPr>
            <a:spLocks/>
          </p:cNvSpPr>
          <p:nvPr/>
        </p:nvSpPr>
        <p:spPr bwMode="auto">
          <a:xfrm>
            <a:off x="4481513" y="3001963"/>
            <a:ext cx="90487" cy="55562"/>
          </a:xfrm>
          <a:custGeom>
            <a:avLst/>
            <a:gdLst>
              <a:gd name="T0" fmla="*/ 2147483647 w 70"/>
              <a:gd name="T1" fmla="*/ 0 h 43"/>
              <a:gd name="T2" fmla="*/ 0 w 70"/>
              <a:gd name="T3" fmla="*/ 2147483647 h 43"/>
              <a:gd name="T4" fmla="*/ 2147483647 w 70"/>
              <a:gd name="T5" fmla="*/ 2147483647 h 43"/>
              <a:gd name="T6" fmla="*/ 2147483647 w 70"/>
              <a:gd name="T7" fmla="*/ 2147483647 h 43"/>
              <a:gd name="T8" fmla="*/ 2147483647 w 70"/>
              <a:gd name="T9" fmla="*/ 2147483647 h 43"/>
              <a:gd name="T10" fmla="*/ 2147483647 w 70"/>
              <a:gd name="T11" fmla="*/ 2147483647 h 43"/>
              <a:gd name="T12" fmla="*/ 2147483647 w 70"/>
              <a:gd name="T13" fmla="*/ 2147483647 h 43"/>
              <a:gd name="T14" fmla="*/ 2147483647 w 70"/>
              <a:gd name="T15" fmla="*/ 2147483647 h 43"/>
              <a:gd name="T16" fmla="*/ 2147483647 w 70"/>
              <a:gd name="T17" fmla="*/ 2147483647 h 43"/>
              <a:gd name="T18" fmla="*/ 2147483647 w 70"/>
              <a:gd name="T19" fmla="*/ 2147483647 h 43"/>
              <a:gd name="T20" fmla="*/ 2147483647 w 70"/>
              <a:gd name="T21" fmla="*/ 2147483647 h 43"/>
              <a:gd name="T22" fmla="*/ 2147483647 w 70"/>
              <a:gd name="T23" fmla="*/ 2147483647 h 43"/>
              <a:gd name="T24" fmla="*/ 2147483647 w 70"/>
              <a:gd name="T25" fmla="*/ 2147483647 h 43"/>
              <a:gd name="T26" fmla="*/ 2147483647 w 70"/>
              <a:gd name="T27" fmla="*/ 2147483647 h 43"/>
              <a:gd name="T28" fmla="*/ 2147483647 w 70"/>
              <a:gd name="T29" fmla="*/ 0 h 43"/>
              <a:gd name="T30" fmla="*/ 2147483647 w 70"/>
              <a:gd name="T31" fmla="*/ 0 h 4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70"/>
              <a:gd name="T49" fmla="*/ 0 h 43"/>
              <a:gd name="T50" fmla="*/ 70 w 70"/>
              <a:gd name="T51" fmla="*/ 43 h 43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70" h="43">
                <a:moveTo>
                  <a:pt x="16" y="0"/>
                </a:moveTo>
                <a:lnTo>
                  <a:pt x="0" y="6"/>
                </a:lnTo>
                <a:lnTo>
                  <a:pt x="7" y="14"/>
                </a:lnTo>
                <a:lnTo>
                  <a:pt x="32" y="31"/>
                </a:lnTo>
                <a:lnTo>
                  <a:pt x="41" y="30"/>
                </a:lnTo>
                <a:lnTo>
                  <a:pt x="43" y="32"/>
                </a:lnTo>
                <a:lnTo>
                  <a:pt x="62" y="43"/>
                </a:lnTo>
                <a:lnTo>
                  <a:pt x="64" y="43"/>
                </a:lnTo>
                <a:lnTo>
                  <a:pt x="64" y="39"/>
                </a:lnTo>
                <a:lnTo>
                  <a:pt x="68" y="28"/>
                </a:lnTo>
                <a:lnTo>
                  <a:pt x="70" y="16"/>
                </a:lnTo>
                <a:lnTo>
                  <a:pt x="66" y="14"/>
                </a:lnTo>
                <a:lnTo>
                  <a:pt x="60" y="9"/>
                </a:lnTo>
                <a:lnTo>
                  <a:pt x="56" y="1"/>
                </a:lnTo>
                <a:lnTo>
                  <a:pt x="31" y="0"/>
                </a:lnTo>
                <a:lnTo>
                  <a:pt x="16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00" name="Freeform 207"/>
          <p:cNvSpPr>
            <a:spLocks/>
          </p:cNvSpPr>
          <p:nvPr/>
        </p:nvSpPr>
        <p:spPr bwMode="auto">
          <a:xfrm>
            <a:off x="4567238" y="2886075"/>
            <a:ext cx="222250" cy="246063"/>
          </a:xfrm>
          <a:custGeom>
            <a:avLst/>
            <a:gdLst>
              <a:gd name="T0" fmla="*/ 2147483647 w 167"/>
              <a:gd name="T1" fmla="*/ 2147483647 h 180"/>
              <a:gd name="T2" fmla="*/ 2147483647 w 167"/>
              <a:gd name="T3" fmla="*/ 2147483647 h 180"/>
              <a:gd name="T4" fmla="*/ 2147483647 w 167"/>
              <a:gd name="T5" fmla="*/ 2147483647 h 180"/>
              <a:gd name="T6" fmla="*/ 2147483647 w 167"/>
              <a:gd name="T7" fmla="*/ 2147483647 h 180"/>
              <a:gd name="T8" fmla="*/ 2147483647 w 167"/>
              <a:gd name="T9" fmla="*/ 2147483647 h 180"/>
              <a:gd name="T10" fmla="*/ 2147483647 w 167"/>
              <a:gd name="T11" fmla="*/ 2147483647 h 180"/>
              <a:gd name="T12" fmla="*/ 2147483647 w 167"/>
              <a:gd name="T13" fmla="*/ 2147483647 h 180"/>
              <a:gd name="T14" fmla="*/ 2147483647 w 167"/>
              <a:gd name="T15" fmla="*/ 2147483647 h 180"/>
              <a:gd name="T16" fmla="*/ 2147483647 w 167"/>
              <a:gd name="T17" fmla="*/ 0 h 180"/>
              <a:gd name="T18" fmla="*/ 2147483647 w 167"/>
              <a:gd name="T19" fmla="*/ 2147483647 h 180"/>
              <a:gd name="T20" fmla="*/ 2147483647 w 167"/>
              <a:gd name="T21" fmla="*/ 2147483647 h 180"/>
              <a:gd name="T22" fmla="*/ 2147483647 w 167"/>
              <a:gd name="T23" fmla="*/ 2147483647 h 180"/>
              <a:gd name="T24" fmla="*/ 2147483647 w 167"/>
              <a:gd name="T25" fmla="*/ 2147483647 h 180"/>
              <a:gd name="T26" fmla="*/ 2147483647 w 167"/>
              <a:gd name="T27" fmla="*/ 2147483647 h 180"/>
              <a:gd name="T28" fmla="*/ 2147483647 w 167"/>
              <a:gd name="T29" fmla="*/ 2147483647 h 180"/>
              <a:gd name="T30" fmla="*/ 2147483647 w 167"/>
              <a:gd name="T31" fmla="*/ 2147483647 h 180"/>
              <a:gd name="T32" fmla="*/ 2147483647 w 167"/>
              <a:gd name="T33" fmla="*/ 2147483647 h 180"/>
              <a:gd name="T34" fmla="*/ 2147483647 w 167"/>
              <a:gd name="T35" fmla="*/ 2147483647 h 180"/>
              <a:gd name="T36" fmla="*/ 2147483647 w 167"/>
              <a:gd name="T37" fmla="*/ 2147483647 h 180"/>
              <a:gd name="T38" fmla="*/ 2147483647 w 167"/>
              <a:gd name="T39" fmla="*/ 2147483647 h 180"/>
              <a:gd name="T40" fmla="*/ 2147483647 w 167"/>
              <a:gd name="T41" fmla="*/ 2147483647 h 180"/>
              <a:gd name="T42" fmla="*/ 2147483647 w 167"/>
              <a:gd name="T43" fmla="*/ 2147483647 h 180"/>
              <a:gd name="T44" fmla="*/ 2147483647 w 167"/>
              <a:gd name="T45" fmla="*/ 2147483647 h 180"/>
              <a:gd name="T46" fmla="*/ 2147483647 w 167"/>
              <a:gd name="T47" fmla="*/ 2147483647 h 180"/>
              <a:gd name="T48" fmla="*/ 2147483647 w 167"/>
              <a:gd name="T49" fmla="*/ 2147483647 h 180"/>
              <a:gd name="T50" fmla="*/ 2147483647 w 167"/>
              <a:gd name="T51" fmla="*/ 2147483647 h 180"/>
              <a:gd name="T52" fmla="*/ 2147483647 w 167"/>
              <a:gd name="T53" fmla="*/ 2147483647 h 180"/>
              <a:gd name="T54" fmla="*/ 2147483647 w 167"/>
              <a:gd name="T55" fmla="*/ 2147483647 h 180"/>
              <a:gd name="T56" fmla="*/ 2147483647 w 167"/>
              <a:gd name="T57" fmla="*/ 2147483647 h 180"/>
              <a:gd name="T58" fmla="*/ 2147483647 w 167"/>
              <a:gd name="T59" fmla="*/ 2147483647 h 180"/>
              <a:gd name="T60" fmla="*/ 2147483647 w 167"/>
              <a:gd name="T61" fmla="*/ 2147483647 h 180"/>
              <a:gd name="T62" fmla="*/ 2147483647 w 167"/>
              <a:gd name="T63" fmla="*/ 2147483647 h 180"/>
              <a:gd name="T64" fmla="*/ 2147483647 w 167"/>
              <a:gd name="T65" fmla="*/ 2147483647 h 180"/>
              <a:gd name="T66" fmla="*/ 2147483647 w 167"/>
              <a:gd name="T67" fmla="*/ 2147483647 h 180"/>
              <a:gd name="T68" fmla="*/ 2147483647 w 167"/>
              <a:gd name="T69" fmla="*/ 2147483647 h 180"/>
              <a:gd name="T70" fmla="*/ 2147483647 w 167"/>
              <a:gd name="T71" fmla="*/ 2147483647 h 180"/>
              <a:gd name="T72" fmla="*/ 2147483647 w 167"/>
              <a:gd name="T73" fmla="*/ 2147483647 h 180"/>
              <a:gd name="T74" fmla="*/ 2147483647 w 167"/>
              <a:gd name="T75" fmla="*/ 2147483647 h 180"/>
              <a:gd name="T76" fmla="*/ 2147483647 w 167"/>
              <a:gd name="T77" fmla="*/ 2147483647 h 180"/>
              <a:gd name="T78" fmla="*/ 2147483647 w 167"/>
              <a:gd name="T79" fmla="*/ 2147483647 h 180"/>
              <a:gd name="T80" fmla="*/ 2147483647 w 167"/>
              <a:gd name="T81" fmla="*/ 2147483647 h 180"/>
              <a:gd name="T82" fmla="*/ 2147483647 w 167"/>
              <a:gd name="T83" fmla="*/ 2147483647 h 180"/>
              <a:gd name="T84" fmla="*/ 2147483647 w 167"/>
              <a:gd name="T85" fmla="*/ 2147483647 h 180"/>
              <a:gd name="T86" fmla="*/ 0 w 167"/>
              <a:gd name="T87" fmla="*/ 2147483647 h 180"/>
              <a:gd name="T88" fmla="*/ 2147483647 w 167"/>
              <a:gd name="T89" fmla="*/ 2147483647 h 180"/>
              <a:gd name="T90" fmla="*/ 2147483647 w 167"/>
              <a:gd name="T91" fmla="*/ 2147483647 h 180"/>
              <a:gd name="T92" fmla="*/ 2147483647 w 167"/>
              <a:gd name="T93" fmla="*/ 2147483647 h 180"/>
              <a:gd name="T94" fmla="*/ 2147483647 w 167"/>
              <a:gd name="T95" fmla="*/ 2147483647 h 180"/>
              <a:gd name="T96" fmla="*/ 2147483647 w 167"/>
              <a:gd name="T97" fmla="*/ 2147483647 h 180"/>
              <a:gd name="T98" fmla="*/ 2147483647 w 167"/>
              <a:gd name="T99" fmla="*/ 2147483647 h 180"/>
              <a:gd name="T100" fmla="*/ 2147483647 w 167"/>
              <a:gd name="T101" fmla="*/ 2147483647 h 18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67"/>
              <a:gd name="T154" fmla="*/ 0 h 180"/>
              <a:gd name="T155" fmla="*/ 167 w 167"/>
              <a:gd name="T156" fmla="*/ 180 h 180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67" h="180">
                <a:moveTo>
                  <a:pt x="40" y="32"/>
                </a:moveTo>
                <a:lnTo>
                  <a:pt x="43" y="33"/>
                </a:lnTo>
                <a:lnTo>
                  <a:pt x="43" y="30"/>
                </a:lnTo>
                <a:lnTo>
                  <a:pt x="50" y="25"/>
                </a:lnTo>
                <a:lnTo>
                  <a:pt x="64" y="31"/>
                </a:lnTo>
                <a:lnTo>
                  <a:pt x="56" y="24"/>
                </a:lnTo>
                <a:lnTo>
                  <a:pt x="50" y="14"/>
                </a:lnTo>
                <a:lnTo>
                  <a:pt x="49" y="12"/>
                </a:lnTo>
                <a:lnTo>
                  <a:pt x="44" y="0"/>
                </a:lnTo>
                <a:lnTo>
                  <a:pt x="59" y="2"/>
                </a:lnTo>
                <a:lnTo>
                  <a:pt x="65" y="2"/>
                </a:lnTo>
                <a:lnTo>
                  <a:pt x="67" y="9"/>
                </a:lnTo>
                <a:lnTo>
                  <a:pt x="88" y="12"/>
                </a:lnTo>
                <a:lnTo>
                  <a:pt x="86" y="19"/>
                </a:lnTo>
                <a:lnTo>
                  <a:pt x="92" y="21"/>
                </a:lnTo>
                <a:lnTo>
                  <a:pt x="119" y="10"/>
                </a:lnTo>
                <a:lnTo>
                  <a:pt x="118" y="12"/>
                </a:lnTo>
                <a:lnTo>
                  <a:pt x="140" y="20"/>
                </a:lnTo>
                <a:lnTo>
                  <a:pt x="149" y="19"/>
                </a:lnTo>
                <a:lnTo>
                  <a:pt x="156" y="26"/>
                </a:lnTo>
                <a:lnTo>
                  <a:pt x="150" y="28"/>
                </a:lnTo>
                <a:lnTo>
                  <a:pt x="152" y="50"/>
                </a:lnTo>
                <a:lnTo>
                  <a:pt x="163" y="76"/>
                </a:lnTo>
                <a:lnTo>
                  <a:pt x="167" y="96"/>
                </a:lnTo>
                <a:lnTo>
                  <a:pt x="162" y="93"/>
                </a:lnTo>
                <a:lnTo>
                  <a:pt x="119" y="111"/>
                </a:lnTo>
                <a:lnTo>
                  <a:pt x="124" y="120"/>
                </a:lnTo>
                <a:lnTo>
                  <a:pt x="151" y="146"/>
                </a:lnTo>
                <a:lnTo>
                  <a:pt x="136" y="159"/>
                </a:lnTo>
                <a:lnTo>
                  <a:pt x="139" y="172"/>
                </a:lnTo>
                <a:lnTo>
                  <a:pt x="133" y="175"/>
                </a:lnTo>
                <a:lnTo>
                  <a:pt x="110" y="175"/>
                </a:lnTo>
                <a:lnTo>
                  <a:pt x="94" y="175"/>
                </a:lnTo>
                <a:lnTo>
                  <a:pt x="88" y="180"/>
                </a:lnTo>
                <a:lnTo>
                  <a:pt x="71" y="176"/>
                </a:lnTo>
                <a:lnTo>
                  <a:pt x="52" y="172"/>
                </a:lnTo>
                <a:lnTo>
                  <a:pt x="32" y="175"/>
                </a:lnTo>
                <a:lnTo>
                  <a:pt x="41" y="140"/>
                </a:lnTo>
                <a:lnTo>
                  <a:pt x="11" y="130"/>
                </a:lnTo>
                <a:lnTo>
                  <a:pt x="7" y="129"/>
                </a:lnTo>
                <a:lnTo>
                  <a:pt x="7" y="127"/>
                </a:lnTo>
                <a:lnTo>
                  <a:pt x="2" y="112"/>
                </a:lnTo>
                <a:lnTo>
                  <a:pt x="4" y="100"/>
                </a:lnTo>
                <a:lnTo>
                  <a:pt x="0" y="98"/>
                </a:lnTo>
                <a:lnTo>
                  <a:pt x="2" y="72"/>
                </a:lnTo>
                <a:lnTo>
                  <a:pt x="18" y="63"/>
                </a:lnTo>
                <a:lnTo>
                  <a:pt x="12" y="52"/>
                </a:lnTo>
                <a:lnTo>
                  <a:pt x="20" y="39"/>
                </a:lnTo>
                <a:lnTo>
                  <a:pt x="17" y="37"/>
                </a:lnTo>
                <a:lnTo>
                  <a:pt x="20" y="28"/>
                </a:lnTo>
                <a:lnTo>
                  <a:pt x="40" y="3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01" name="Freeform 208"/>
          <p:cNvSpPr>
            <a:spLocks/>
          </p:cNvSpPr>
          <p:nvPr/>
        </p:nvSpPr>
        <p:spPr bwMode="auto">
          <a:xfrm>
            <a:off x="4735513" y="2898775"/>
            <a:ext cx="15875" cy="3175"/>
          </a:xfrm>
          <a:custGeom>
            <a:avLst/>
            <a:gdLst>
              <a:gd name="T0" fmla="*/ 0 w 12"/>
              <a:gd name="T1" fmla="*/ 0 h 5"/>
              <a:gd name="T2" fmla="*/ 2147483647 w 12"/>
              <a:gd name="T3" fmla="*/ 0 h 5"/>
              <a:gd name="T4" fmla="*/ 2147483647 w 12"/>
              <a:gd name="T5" fmla="*/ 0 h 5"/>
              <a:gd name="T6" fmla="*/ 0 w 12"/>
              <a:gd name="T7" fmla="*/ 0 h 5"/>
              <a:gd name="T8" fmla="*/ 0 60000 65536"/>
              <a:gd name="T9" fmla="*/ 0 60000 65536"/>
              <a:gd name="T10" fmla="*/ 0 60000 65536"/>
              <a:gd name="T11" fmla="*/ 0 60000 65536"/>
              <a:gd name="T12" fmla="*/ 0 w 12"/>
              <a:gd name="T13" fmla="*/ 0 h 5"/>
              <a:gd name="T14" fmla="*/ 12 w 12"/>
              <a:gd name="T15" fmla="*/ 5 h 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2" h="5">
                <a:moveTo>
                  <a:pt x="0" y="5"/>
                </a:moveTo>
                <a:lnTo>
                  <a:pt x="12" y="5"/>
                </a:lnTo>
                <a:lnTo>
                  <a:pt x="6" y="0"/>
                </a:lnTo>
                <a:lnTo>
                  <a:pt x="0" y="5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02" name="Freeform 209"/>
          <p:cNvSpPr>
            <a:spLocks/>
          </p:cNvSpPr>
          <p:nvPr/>
        </p:nvSpPr>
        <p:spPr bwMode="auto">
          <a:xfrm>
            <a:off x="4564063" y="3040063"/>
            <a:ext cx="12700" cy="23812"/>
          </a:xfrm>
          <a:custGeom>
            <a:avLst/>
            <a:gdLst>
              <a:gd name="T0" fmla="*/ 2147483647 w 11"/>
              <a:gd name="T1" fmla="*/ 0 h 17"/>
              <a:gd name="T2" fmla="*/ 2147483647 w 11"/>
              <a:gd name="T3" fmla="*/ 2147483647 h 17"/>
              <a:gd name="T4" fmla="*/ 2147483647 w 11"/>
              <a:gd name="T5" fmla="*/ 2147483647 h 17"/>
              <a:gd name="T6" fmla="*/ 0 w 11"/>
              <a:gd name="T7" fmla="*/ 2147483647 h 17"/>
              <a:gd name="T8" fmla="*/ 2147483647 w 11"/>
              <a:gd name="T9" fmla="*/ 2147483647 h 17"/>
              <a:gd name="T10" fmla="*/ 2147483647 w 11"/>
              <a:gd name="T11" fmla="*/ 2147483647 h 17"/>
              <a:gd name="T12" fmla="*/ 2147483647 w 11"/>
              <a:gd name="T13" fmla="*/ 0 h 1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"/>
              <a:gd name="T22" fmla="*/ 0 h 17"/>
              <a:gd name="T23" fmla="*/ 11 w 11"/>
              <a:gd name="T24" fmla="*/ 17 h 1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" h="17">
                <a:moveTo>
                  <a:pt x="6" y="0"/>
                </a:moveTo>
                <a:lnTo>
                  <a:pt x="2" y="11"/>
                </a:lnTo>
                <a:lnTo>
                  <a:pt x="2" y="15"/>
                </a:lnTo>
                <a:lnTo>
                  <a:pt x="0" y="15"/>
                </a:lnTo>
                <a:lnTo>
                  <a:pt x="11" y="17"/>
                </a:lnTo>
                <a:lnTo>
                  <a:pt x="11" y="15"/>
                </a:lnTo>
                <a:lnTo>
                  <a:pt x="6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03" name="Freeform 210"/>
          <p:cNvSpPr>
            <a:spLocks/>
          </p:cNvSpPr>
          <p:nvPr/>
        </p:nvSpPr>
        <p:spPr bwMode="auto">
          <a:xfrm>
            <a:off x="5094288" y="3084513"/>
            <a:ext cx="114300" cy="120650"/>
          </a:xfrm>
          <a:custGeom>
            <a:avLst/>
            <a:gdLst>
              <a:gd name="T0" fmla="*/ 2147483647 w 87"/>
              <a:gd name="T1" fmla="*/ 0 h 86"/>
              <a:gd name="T2" fmla="*/ 0 w 87"/>
              <a:gd name="T3" fmla="*/ 2147483647 h 86"/>
              <a:gd name="T4" fmla="*/ 2147483647 w 87"/>
              <a:gd name="T5" fmla="*/ 2147483647 h 86"/>
              <a:gd name="T6" fmla="*/ 2147483647 w 87"/>
              <a:gd name="T7" fmla="*/ 2147483647 h 86"/>
              <a:gd name="T8" fmla="*/ 2147483647 w 87"/>
              <a:gd name="T9" fmla="*/ 2147483647 h 86"/>
              <a:gd name="T10" fmla="*/ 2147483647 w 87"/>
              <a:gd name="T11" fmla="*/ 2147483647 h 86"/>
              <a:gd name="T12" fmla="*/ 2147483647 w 87"/>
              <a:gd name="T13" fmla="*/ 2147483647 h 86"/>
              <a:gd name="T14" fmla="*/ 2147483647 w 87"/>
              <a:gd name="T15" fmla="*/ 2147483647 h 86"/>
              <a:gd name="T16" fmla="*/ 2147483647 w 87"/>
              <a:gd name="T17" fmla="*/ 2147483647 h 86"/>
              <a:gd name="T18" fmla="*/ 2147483647 w 87"/>
              <a:gd name="T19" fmla="*/ 2147483647 h 86"/>
              <a:gd name="T20" fmla="*/ 2147483647 w 87"/>
              <a:gd name="T21" fmla="*/ 2147483647 h 86"/>
              <a:gd name="T22" fmla="*/ 2147483647 w 87"/>
              <a:gd name="T23" fmla="*/ 2147483647 h 86"/>
              <a:gd name="T24" fmla="*/ 2147483647 w 87"/>
              <a:gd name="T25" fmla="*/ 2147483647 h 86"/>
              <a:gd name="T26" fmla="*/ 2147483647 w 87"/>
              <a:gd name="T27" fmla="*/ 2147483647 h 86"/>
              <a:gd name="T28" fmla="*/ 2147483647 w 87"/>
              <a:gd name="T29" fmla="*/ 2147483647 h 86"/>
              <a:gd name="T30" fmla="*/ 2147483647 w 87"/>
              <a:gd name="T31" fmla="*/ 0 h 8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87"/>
              <a:gd name="T49" fmla="*/ 0 h 86"/>
              <a:gd name="T50" fmla="*/ 87 w 87"/>
              <a:gd name="T51" fmla="*/ 86 h 8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87" h="86">
                <a:moveTo>
                  <a:pt x="18" y="0"/>
                </a:moveTo>
                <a:lnTo>
                  <a:pt x="0" y="13"/>
                </a:lnTo>
                <a:lnTo>
                  <a:pt x="3" y="13"/>
                </a:lnTo>
                <a:lnTo>
                  <a:pt x="17" y="27"/>
                </a:lnTo>
                <a:lnTo>
                  <a:pt x="32" y="42"/>
                </a:lnTo>
                <a:lnTo>
                  <a:pt x="38" y="62"/>
                </a:lnTo>
                <a:lnTo>
                  <a:pt x="44" y="83"/>
                </a:lnTo>
                <a:lnTo>
                  <a:pt x="59" y="83"/>
                </a:lnTo>
                <a:lnTo>
                  <a:pt x="71" y="86"/>
                </a:lnTo>
                <a:lnTo>
                  <a:pt x="70" y="75"/>
                </a:lnTo>
                <a:lnTo>
                  <a:pt x="87" y="60"/>
                </a:lnTo>
                <a:lnTo>
                  <a:pt x="71" y="45"/>
                </a:lnTo>
                <a:lnTo>
                  <a:pt x="56" y="31"/>
                </a:lnTo>
                <a:lnTo>
                  <a:pt x="40" y="17"/>
                </a:lnTo>
                <a:lnTo>
                  <a:pt x="24" y="2"/>
                </a:lnTo>
                <a:lnTo>
                  <a:pt x="18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04" name="Freeform 211"/>
          <p:cNvSpPr>
            <a:spLocks/>
          </p:cNvSpPr>
          <p:nvPr/>
        </p:nvSpPr>
        <p:spPr bwMode="auto">
          <a:xfrm>
            <a:off x="4533900" y="2393950"/>
            <a:ext cx="530225" cy="390525"/>
          </a:xfrm>
          <a:custGeom>
            <a:avLst/>
            <a:gdLst>
              <a:gd name="T0" fmla="*/ 2147483647 w 400"/>
              <a:gd name="T1" fmla="*/ 2147483647 h 283"/>
              <a:gd name="T2" fmla="*/ 2147483647 w 400"/>
              <a:gd name="T3" fmla="*/ 2147483647 h 283"/>
              <a:gd name="T4" fmla="*/ 2147483647 w 400"/>
              <a:gd name="T5" fmla="*/ 2147483647 h 283"/>
              <a:gd name="T6" fmla="*/ 2147483647 w 400"/>
              <a:gd name="T7" fmla="*/ 2147483647 h 283"/>
              <a:gd name="T8" fmla="*/ 2147483647 w 400"/>
              <a:gd name="T9" fmla="*/ 2147483647 h 283"/>
              <a:gd name="T10" fmla="*/ 2147483647 w 400"/>
              <a:gd name="T11" fmla="*/ 2147483647 h 283"/>
              <a:gd name="T12" fmla="*/ 2147483647 w 400"/>
              <a:gd name="T13" fmla="*/ 2147483647 h 283"/>
              <a:gd name="T14" fmla="*/ 2147483647 w 400"/>
              <a:gd name="T15" fmla="*/ 2147483647 h 283"/>
              <a:gd name="T16" fmla="*/ 2147483647 w 400"/>
              <a:gd name="T17" fmla="*/ 2147483647 h 283"/>
              <a:gd name="T18" fmla="*/ 2147483647 w 400"/>
              <a:gd name="T19" fmla="*/ 2147483647 h 283"/>
              <a:gd name="T20" fmla="*/ 2147483647 w 400"/>
              <a:gd name="T21" fmla="*/ 2147483647 h 283"/>
              <a:gd name="T22" fmla="*/ 2147483647 w 400"/>
              <a:gd name="T23" fmla="*/ 2147483647 h 283"/>
              <a:gd name="T24" fmla="*/ 2147483647 w 400"/>
              <a:gd name="T25" fmla="*/ 2147483647 h 283"/>
              <a:gd name="T26" fmla="*/ 2147483647 w 400"/>
              <a:gd name="T27" fmla="*/ 2147483647 h 283"/>
              <a:gd name="T28" fmla="*/ 2147483647 w 400"/>
              <a:gd name="T29" fmla="*/ 2147483647 h 283"/>
              <a:gd name="T30" fmla="*/ 2147483647 w 400"/>
              <a:gd name="T31" fmla="*/ 2147483647 h 283"/>
              <a:gd name="T32" fmla="*/ 2147483647 w 400"/>
              <a:gd name="T33" fmla="*/ 2147483647 h 283"/>
              <a:gd name="T34" fmla="*/ 2147483647 w 400"/>
              <a:gd name="T35" fmla="*/ 2147483647 h 283"/>
              <a:gd name="T36" fmla="*/ 2147483647 w 400"/>
              <a:gd name="T37" fmla="*/ 2147483647 h 283"/>
              <a:gd name="T38" fmla="*/ 2147483647 w 400"/>
              <a:gd name="T39" fmla="*/ 2147483647 h 283"/>
              <a:gd name="T40" fmla="*/ 2147483647 w 400"/>
              <a:gd name="T41" fmla="*/ 2147483647 h 283"/>
              <a:gd name="T42" fmla="*/ 2147483647 w 400"/>
              <a:gd name="T43" fmla="*/ 2147483647 h 283"/>
              <a:gd name="T44" fmla="*/ 2147483647 w 400"/>
              <a:gd name="T45" fmla="*/ 2147483647 h 283"/>
              <a:gd name="T46" fmla="*/ 2147483647 w 400"/>
              <a:gd name="T47" fmla="*/ 2147483647 h 283"/>
              <a:gd name="T48" fmla="*/ 2147483647 w 400"/>
              <a:gd name="T49" fmla="*/ 2147483647 h 283"/>
              <a:gd name="T50" fmla="*/ 0 w 400"/>
              <a:gd name="T51" fmla="*/ 2147483647 h 283"/>
              <a:gd name="T52" fmla="*/ 0 w 400"/>
              <a:gd name="T53" fmla="*/ 2147483647 h 283"/>
              <a:gd name="T54" fmla="*/ 2147483647 w 400"/>
              <a:gd name="T55" fmla="*/ 2147483647 h 283"/>
              <a:gd name="T56" fmla="*/ 2147483647 w 400"/>
              <a:gd name="T57" fmla="*/ 2147483647 h 283"/>
              <a:gd name="T58" fmla="*/ 2147483647 w 400"/>
              <a:gd name="T59" fmla="*/ 2147483647 h 283"/>
              <a:gd name="T60" fmla="*/ 2147483647 w 400"/>
              <a:gd name="T61" fmla="*/ 2147483647 h 283"/>
              <a:gd name="T62" fmla="*/ 2147483647 w 400"/>
              <a:gd name="T63" fmla="*/ 2147483647 h 283"/>
              <a:gd name="T64" fmla="*/ 2147483647 w 400"/>
              <a:gd name="T65" fmla="*/ 2147483647 h 283"/>
              <a:gd name="T66" fmla="*/ 2147483647 w 400"/>
              <a:gd name="T67" fmla="*/ 2147483647 h 283"/>
              <a:gd name="T68" fmla="*/ 2147483647 w 400"/>
              <a:gd name="T69" fmla="*/ 2147483647 h 283"/>
              <a:gd name="T70" fmla="*/ 2147483647 w 400"/>
              <a:gd name="T71" fmla="*/ 2147483647 h 283"/>
              <a:gd name="T72" fmla="*/ 2147483647 w 400"/>
              <a:gd name="T73" fmla="*/ 2147483647 h 283"/>
              <a:gd name="T74" fmla="*/ 2147483647 w 400"/>
              <a:gd name="T75" fmla="*/ 2147483647 h 283"/>
              <a:gd name="T76" fmla="*/ 2147483647 w 400"/>
              <a:gd name="T77" fmla="*/ 2147483647 h 283"/>
              <a:gd name="T78" fmla="*/ 2147483647 w 400"/>
              <a:gd name="T79" fmla="*/ 2147483647 h 283"/>
              <a:gd name="T80" fmla="*/ 2147483647 w 400"/>
              <a:gd name="T81" fmla="*/ 2147483647 h 283"/>
              <a:gd name="T82" fmla="*/ 2147483647 w 400"/>
              <a:gd name="T83" fmla="*/ 2147483647 h 283"/>
              <a:gd name="T84" fmla="*/ 2147483647 w 400"/>
              <a:gd name="T85" fmla="*/ 2147483647 h 283"/>
              <a:gd name="T86" fmla="*/ 2147483647 w 400"/>
              <a:gd name="T87" fmla="*/ 2147483647 h 283"/>
              <a:gd name="T88" fmla="*/ 2147483647 w 400"/>
              <a:gd name="T89" fmla="*/ 2147483647 h 283"/>
              <a:gd name="T90" fmla="*/ 2147483647 w 400"/>
              <a:gd name="T91" fmla="*/ 2147483647 h 283"/>
              <a:gd name="T92" fmla="*/ 2147483647 w 400"/>
              <a:gd name="T93" fmla="*/ 2147483647 h 283"/>
              <a:gd name="T94" fmla="*/ 2147483647 w 400"/>
              <a:gd name="T95" fmla="*/ 2147483647 h 283"/>
              <a:gd name="T96" fmla="*/ 2147483647 w 400"/>
              <a:gd name="T97" fmla="*/ 2147483647 h 283"/>
              <a:gd name="T98" fmla="*/ 2147483647 w 400"/>
              <a:gd name="T99" fmla="*/ 2147483647 h 283"/>
              <a:gd name="T100" fmla="*/ 2147483647 w 400"/>
              <a:gd name="T101" fmla="*/ 2147483647 h 283"/>
              <a:gd name="T102" fmla="*/ 2147483647 w 400"/>
              <a:gd name="T103" fmla="*/ 2147483647 h 283"/>
              <a:gd name="T104" fmla="*/ 2147483647 w 400"/>
              <a:gd name="T105" fmla="*/ 2147483647 h 283"/>
              <a:gd name="T106" fmla="*/ 2147483647 w 400"/>
              <a:gd name="T107" fmla="*/ 2147483647 h 283"/>
              <a:gd name="T108" fmla="*/ 2147483647 w 400"/>
              <a:gd name="T109" fmla="*/ 2147483647 h 283"/>
              <a:gd name="T110" fmla="*/ 2147483647 w 400"/>
              <a:gd name="T111" fmla="*/ 2147483647 h 283"/>
              <a:gd name="T112" fmla="*/ 2147483647 w 400"/>
              <a:gd name="T113" fmla="*/ 2147483647 h 283"/>
              <a:gd name="T114" fmla="*/ 2147483647 w 400"/>
              <a:gd name="T115" fmla="*/ 2147483647 h 283"/>
              <a:gd name="T116" fmla="*/ 2147483647 w 400"/>
              <a:gd name="T117" fmla="*/ 2147483647 h 283"/>
              <a:gd name="T118" fmla="*/ 2147483647 w 400"/>
              <a:gd name="T119" fmla="*/ 2147483647 h 28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400"/>
              <a:gd name="T181" fmla="*/ 0 h 283"/>
              <a:gd name="T182" fmla="*/ 400 w 400"/>
              <a:gd name="T183" fmla="*/ 283 h 283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400" h="283">
                <a:moveTo>
                  <a:pt x="235" y="30"/>
                </a:moveTo>
                <a:lnTo>
                  <a:pt x="229" y="36"/>
                </a:lnTo>
                <a:lnTo>
                  <a:pt x="229" y="24"/>
                </a:lnTo>
                <a:lnTo>
                  <a:pt x="227" y="30"/>
                </a:lnTo>
                <a:lnTo>
                  <a:pt x="222" y="32"/>
                </a:lnTo>
                <a:lnTo>
                  <a:pt x="221" y="26"/>
                </a:lnTo>
                <a:lnTo>
                  <a:pt x="216" y="31"/>
                </a:lnTo>
                <a:lnTo>
                  <a:pt x="217" y="36"/>
                </a:lnTo>
                <a:lnTo>
                  <a:pt x="205" y="34"/>
                </a:lnTo>
                <a:lnTo>
                  <a:pt x="207" y="37"/>
                </a:lnTo>
                <a:lnTo>
                  <a:pt x="199" y="35"/>
                </a:lnTo>
                <a:lnTo>
                  <a:pt x="195" y="41"/>
                </a:lnTo>
                <a:lnTo>
                  <a:pt x="195" y="48"/>
                </a:lnTo>
                <a:lnTo>
                  <a:pt x="193" y="49"/>
                </a:lnTo>
                <a:lnTo>
                  <a:pt x="175" y="54"/>
                </a:lnTo>
                <a:lnTo>
                  <a:pt x="193" y="55"/>
                </a:lnTo>
                <a:lnTo>
                  <a:pt x="189" y="59"/>
                </a:lnTo>
                <a:lnTo>
                  <a:pt x="177" y="59"/>
                </a:lnTo>
                <a:lnTo>
                  <a:pt x="176" y="60"/>
                </a:lnTo>
                <a:lnTo>
                  <a:pt x="174" y="65"/>
                </a:lnTo>
                <a:lnTo>
                  <a:pt x="173" y="67"/>
                </a:lnTo>
                <a:lnTo>
                  <a:pt x="167" y="61"/>
                </a:lnTo>
                <a:lnTo>
                  <a:pt x="162" y="64"/>
                </a:lnTo>
                <a:lnTo>
                  <a:pt x="151" y="72"/>
                </a:lnTo>
                <a:lnTo>
                  <a:pt x="167" y="70"/>
                </a:lnTo>
                <a:lnTo>
                  <a:pt x="161" y="72"/>
                </a:lnTo>
                <a:lnTo>
                  <a:pt x="164" y="76"/>
                </a:lnTo>
                <a:lnTo>
                  <a:pt x="163" y="77"/>
                </a:lnTo>
                <a:lnTo>
                  <a:pt x="152" y="77"/>
                </a:lnTo>
                <a:lnTo>
                  <a:pt x="151" y="80"/>
                </a:lnTo>
                <a:lnTo>
                  <a:pt x="163" y="84"/>
                </a:lnTo>
                <a:lnTo>
                  <a:pt x="149" y="85"/>
                </a:lnTo>
                <a:lnTo>
                  <a:pt x="137" y="90"/>
                </a:lnTo>
                <a:lnTo>
                  <a:pt x="128" y="96"/>
                </a:lnTo>
                <a:lnTo>
                  <a:pt x="129" y="96"/>
                </a:lnTo>
                <a:lnTo>
                  <a:pt x="125" y="100"/>
                </a:lnTo>
                <a:lnTo>
                  <a:pt x="128" y="101"/>
                </a:lnTo>
                <a:lnTo>
                  <a:pt x="139" y="102"/>
                </a:lnTo>
                <a:lnTo>
                  <a:pt x="123" y="107"/>
                </a:lnTo>
                <a:lnTo>
                  <a:pt x="119" y="113"/>
                </a:lnTo>
                <a:lnTo>
                  <a:pt x="120" y="118"/>
                </a:lnTo>
                <a:lnTo>
                  <a:pt x="120" y="122"/>
                </a:lnTo>
                <a:lnTo>
                  <a:pt x="123" y="124"/>
                </a:lnTo>
                <a:lnTo>
                  <a:pt x="104" y="131"/>
                </a:lnTo>
                <a:lnTo>
                  <a:pt x="104" y="132"/>
                </a:lnTo>
                <a:lnTo>
                  <a:pt x="111" y="130"/>
                </a:lnTo>
                <a:lnTo>
                  <a:pt x="107" y="137"/>
                </a:lnTo>
                <a:lnTo>
                  <a:pt x="98" y="139"/>
                </a:lnTo>
                <a:lnTo>
                  <a:pt x="92" y="142"/>
                </a:lnTo>
                <a:lnTo>
                  <a:pt x="81" y="151"/>
                </a:lnTo>
                <a:lnTo>
                  <a:pt x="78" y="157"/>
                </a:lnTo>
                <a:lnTo>
                  <a:pt x="84" y="161"/>
                </a:lnTo>
                <a:lnTo>
                  <a:pt x="93" y="154"/>
                </a:lnTo>
                <a:lnTo>
                  <a:pt x="101" y="151"/>
                </a:lnTo>
                <a:lnTo>
                  <a:pt x="99" y="157"/>
                </a:lnTo>
                <a:lnTo>
                  <a:pt x="86" y="163"/>
                </a:lnTo>
                <a:lnTo>
                  <a:pt x="80" y="163"/>
                </a:lnTo>
                <a:lnTo>
                  <a:pt x="67" y="161"/>
                </a:lnTo>
                <a:lnTo>
                  <a:pt x="66" y="163"/>
                </a:lnTo>
                <a:lnTo>
                  <a:pt x="57" y="168"/>
                </a:lnTo>
                <a:lnTo>
                  <a:pt x="53" y="173"/>
                </a:lnTo>
                <a:lnTo>
                  <a:pt x="54" y="175"/>
                </a:lnTo>
                <a:lnTo>
                  <a:pt x="49" y="174"/>
                </a:lnTo>
                <a:lnTo>
                  <a:pt x="55" y="179"/>
                </a:lnTo>
                <a:lnTo>
                  <a:pt x="32" y="173"/>
                </a:lnTo>
                <a:lnTo>
                  <a:pt x="30" y="179"/>
                </a:lnTo>
                <a:lnTo>
                  <a:pt x="37" y="179"/>
                </a:lnTo>
                <a:lnTo>
                  <a:pt x="44" y="179"/>
                </a:lnTo>
                <a:lnTo>
                  <a:pt x="37" y="181"/>
                </a:lnTo>
                <a:lnTo>
                  <a:pt x="23" y="184"/>
                </a:lnTo>
                <a:lnTo>
                  <a:pt x="33" y="190"/>
                </a:lnTo>
                <a:lnTo>
                  <a:pt x="31" y="191"/>
                </a:lnTo>
                <a:lnTo>
                  <a:pt x="21" y="186"/>
                </a:lnTo>
                <a:lnTo>
                  <a:pt x="21" y="190"/>
                </a:lnTo>
                <a:lnTo>
                  <a:pt x="13" y="191"/>
                </a:lnTo>
                <a:lnTo>
                  <a:pt x="14" y="193"/>
                </a:lnTo>
                <a:lnTo>
                  <a:pt x="6" y="193"/>
                </a:lnTo>
                <a:lnTo>
                  <a:pt x="0" y="193"/>
                </a:lnTo>
                <a:lnTo>
                  <a:pt x="0" y="197"/>
                </a:lnTo>
                <a:lnTo>
                  <a:pt x="24" y="199"/>
                </a:lnTo>
                <a:lnTo>
                  <a:pt x="0" y="200"/>
                </a:lnTo>
                <a:lnTo>
                  <a:pt x="7" y="208"/>
                </a:lnTo>
                <a:lnTo>
                  <a:pt x="2" y="209"/>
                </a:lnTo>
                <a:lnTo>
                  <a:pt x="3" y="209"/>
                </a:lnTo>
                <a:lnTo>
                  <a:pt x="1" y="214"/>
                </a:lnTo>
                <a:lnTo>
                  <a:pt x="25" y="211"/>
                </a:lnTo>
                <a:lnTo>
                  <a:pt x="36" y="211"/>
                </a:lnTo>
                <a:lnTo>
                  <a:pt x="38" y="209"/>
                </a:lnTo>
                <a:lnTo>
                  <a:pt x="39" y="215"/>
                </a:lnTo>
                <a:lnTo>
                  <a:pt x="36" y="218"/>
                </a:lnTo>
                <a:lnTo>
                  <a:pt x="21" y="216"/>
                </a:lnTo>
                <a:lnTo>
                  <a:pt x="0" y="218"/>
                </a:lnTo>
                <a:lnTo>
                  <a:pt x="3" y="222"/>
                </a:lnTo>
                <a:lnTo>
                  <a:pt x="3" y="223"/>
                </a:lnTo>
                <a:lnTo>
                  <a:pt x="0" y="224"/>
                </a:lnTo>
                <a:lnTo>
                  <a:pt x="11" y="226"/>
                </a:lnTo>
                <a:lnTo>
                  <a:pt x="7" y="230"/>
                </a:lnTo>
                <a:lnTo>
                  <a:pt x="2" y="235"/>
                </a:lnTo>
                <a:lnTo>
                  <a:pt x="11" y="234"/>
                </a:lnTo>
                <a:lnTo>
                  <a:pt x="14" y="239"/>
                </a:lnTo>
                <a:lnTo>
                  <a:pt x="23" y="230"/>
                </a:lnTo>
                <a:lnTo>
                  <a:pt x="30" y="229"/>
                </a:lnTo>
                <a:lnTo>
                  <a:pt x="25" y="238"/>
                </a:lnTo>
                <a:lnTo>
                  <a:pt x="24" y="232"/>
                </a:lnTo>
                <a:lnTo>
                  <a:pt x="15" y="245"/>
                </a:lnTo>
                <a:lnTo>
                  <a:pt x="18" y="246"/>
                </a:lnTo>
                <a:lnTo>
                  <a:pt x="7" y="248"/>
                </a:lnTo>
                <a:lnTo>
                  <a:pt x="7" y="256"/>
                </a:lnTo>
                <a:lnTo>
                  <a:pt x="14" y="253"/>
                </a:lnTo>
                <a:lnTo>
                  <a:pt x="20" y="251"/>
                </a:lnTo>
                <a:lnTo>
                  <a:pt x="21" y="256"/>
                </a:lnTo>
                <a:lnTo>
                  <a:pt x="20" y="263"/>
                </a:lnTo>
                <a:lnTo>
                  <a:pt x="12" y="264"/>
                </a:lnTo>
                <a:lnTo>
                  <a:pt x="13" y="275"/>
                </a:lnTo>
                <a:lnTo>
                  <a:pt x="29" y="282"/>
                </a:lnTo>
                <a:lnTo>
                  <a:pt x="53" y="283"/>
                </a:lnTo>
                <a:lnTo>
                  <a:pt x="81" y="260"/>
                </a:lnTo>
                <a:lnTo>
                  <a:pt x="93" y="260"/>
                </a:lnTo>
                <a:lnTo>
                  <a:pt x="93" y="247"/>
                </a:lnTo>
                <a:lnTo>
                  <a:pt x="99" y="244"/>
                </a:lnTo>
                <a:lnTo>
                  <a:pt x="104" y="258"/>
                </a:lnTo>
                <a:lnTo>
                  <a:pt x="113" y="263"/>
                </a:lnTo>
                <a:lnTo>
                  <a:pt x="123" y="242"/>
                </a:lnTo>
                <a:lnTo>
                  <a:pt x="126" y="222"/>
                </a:lnTo>
                <a:lnTo>
                  <a:pt x="126" y="216"/>
                </a:lnTo>
                <a:lnTo>
                  <a:pt x="133" y="209"/>
                </a:lnTo>
                <a:lnTo>
                  <a:pt x="120" y="200"/>
                </a:lnTo>
                <a:lnTo>
                  <a:pt x="119" y="180"/>
                </a:lnTo>
                <a:lnTo>
                  <a:pt x="119" y="158"/>
                </a:lnTo>
                <a:lnTo>
                  <a:pt x="133" y="149"/>
                </a:lnTo>
                <a:lnTo>
                  <a:pt x="149" y="146"/>
                </a:lnTo>
                <a:lnTo>
                  <a:pt x="140" y="138"/>
                </a:lnTo>
                <a:lnTo>
                  <a:pt x="152" y="110"/>
                </a:lnTo>
                <a:lnTo>
                  <a:pt x="150" y="104"/>
                </a:lnTo>
                <a:lnTo>
                  <a:pt x="165" y="101"/>
                </a:lnTo>
                <a:lnTo>
                  <a:pt x="173" y="88"/>
                </a:lnTo>
                <a:lnTo>
                  <a:pt x="181" y="66"/>
                </a:lnTo>
                <a:lnTo>
                  <a:pt x="203" y="61"/>
                </a:lnTo>
                <a:lnTo>
                  <a:pt x="205" y="53"/>
                </a:lnTo>
                <a:lnTo>
                  <a:pt x="233" y="54"/>
                </a:lnTo>
                <a:lnTo>
                  <a:pt x="231" y="42"/>
                </a:lnTo>
                <a:lnTo>
                  <a:pt x="239" y="42"/>
                </a:lnTo>
                <a:lnTo>
                  <a:pt x="249" y="36"/>
                </a:lnTo>
                <a:lnTo>
                  <a:pt x="267" y="46"/>
                </a:lnTo>
                <a:lnTo>
                  <a:pt x="287" y="49"/>
                </a:lnTo>
                <a:lnTo>
                  <a:pt x="307" y="50"/>
                </a:lnTo>
                <a:lnTo>
                  <a:pt x="317" y="46"/>
                </a:lnTo>
                <a:lnTo>
                  <a:pt x="323" y="30"/>
                </a:lnTo>
                <a:lnTo>
                  <a:pt x="344" y="20"/>
                </a:lnTo>
                <a:lnTo>
                  <a:pt x="371" y="28"/>
                </a:lnTo>
                <a:lnTo>
                  <a:pt x="372" y="42"/>
                </a:lnTo>
                <a:lnTo>
                  <a:pt x="389" y="32"/>
                </a:lnTo>
                <a:lnTo>
                  <a:pt x="400" y="31"/>
                </a:lnTo>
                <a:lnTo>
                  <a:pt x="398" y="26"/>
                </a:lnTo>
                <a:lnTo>
                  <a:pt x="389" y="25"/>
                </a:lnTo>
                <a:lnTo>
                  <a:pt x="380" y="26"/>
                </a:lnTo>
                <a:lnTo>
                  <a:pt x="367" y="19"/>
                </a:lnTo>
                <a:lnTo>
                  <a:pt x="398" y="16"/>
                </a:lnTo>
                <a:lnTo>
                  <a:pt x="383" y="8"/>
                </a:lnTo>
                <a:lnTo>
                  <a:pt x="368" y="6"/>
                </a:lnTo>
                <a:lnTo>
                  <a:pt x="356" y="8"/>
                </a:lnTo>
                <a:lnTo>
                  <a:pt x="354" y="19"/>
                </a:lnTo>
                <a:lnTo>
                  <a:pt x="353" y="12"/>
                </a:lnTo>
                <a:lnTo>
                  <a:pt x="350" y="8"/>
                </a:lnTo>
                <a:lnTo>
                  <a:pt x="349" y="7"/>
                </a:lnTo>
                <a:lnTo>
                  <a:pt x="347" y="0"/>
                </a:lnTo>
                <a:lnTo>
                  <a:pt x="338" y="5"/>
                </a:lnTo>
                <a:lnTo>
                  <a:pt x="327" y="14"/>
                </a:lnTo>
                <a:lnTo>
                  <a:pt x="321" y="5"/>
                </a:lnTo>
                <a:lnTo>
                  <a:pt x="303" y="19"/>
                </a:lnTo>
                <a:lnTo>
                  <a:pt x="311" y="7"/>
                </a:lnTo>
                <a:lnTo>
                  <a:pt x="306" y="5"/>
                </a:lnTo>
                <a:lnTo>
                  <a:pt x="295" y="5"/>
                </a:lnTo>
                <a:lnTo>
                  <a:pt x="294" y="8"/>
                </a:lnTo>
                <a:lnTo>
                  <a:pt x="276" y="20"/>
                </a:lnTo>
                <a:lnTo>
                  <a:pt x="265" y="20"/>
                </a:lnTo>
                <a:lnTo>
                  <a:pt x="266" y="17"/>
                </a:lnTo>
                <a:lnTo>
                  <a:pt x="248" y="19"/>
                </a:lnTo>
                <a:lnTo>
                  <a:pt x="258" y="22"/>
                </a:lnTo>
                <a:lnTo>
                  <a:pt x="257" y="25"/>
                </a:lnTo>
                <a:lnTo>
                  <a:pt x="246" y="25"/>
                </a:lnTo>
                <a:lnTo>
                  <a:pt x="235" y="3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05" name="Freeform 212"/>
          <p:cNvSpPr>
            <a:spLocks/>
          </p:cNvSpPr>
          <p:nvPr/>
        </p:nvSpPr>
        <p:spPr bwMode="auto">
          <a:xfrm>
            <a:off x="4738688" y="2454275"/>
            <a:ext cx="30162" cy="17463"/>
          </a:xfrm>
          <a:custGeom>
            <a:avLst/>
            <a:gdLst>
              <a:gd name="T0" fmla="*/ 2147483647 w 22"/>
              <a:gd name="T1" fmla="*/ 0 h 12"/>
              <a:gd name="T2" fmla="*/ 2147483647 w 22"/>
              <a:gd name="T3" fmla="*/ 2147483647 h 12"/>
              <a:gd name="T4" fmla="*/ 0 w 22"/>
              <a:gd name="T5" fmla="*/ 2147483647 h 12"/>
              <a:gd name="T6" fmla="*/ 2147483647 w 22"/>
              <a:gd name="T7" fmla="*/ 2147483647 h 12"/>
              <a:gd name="T8" fmla="*/ 2147483647 w 22"/>
              <a:gd name="T9" fmla="*/ 2147483647 h 12"/>
              <a:gd name="T10" fmla="*/ 2147483647 w 22"/>
              <a:gd name="T11" fmla="*/ 2147483647 h 12"/>
              <a:gd name="T12" fmla="*/ 2147483647 w 22"/>
              <a:gd name="T13" fmla="*/ 2147483647 h 12"/>
              <a:gd name="T14" fmla="*/ 2147483647 w 22"/>
              <a:gd name="T15" fmla="*/ 0 h 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2"/>
              <a:gd name="T25" fmla="*/ 0 h 12"/>
              <a:gd name="T26" fmla="*/ 22 w 22"/>
              <a:gd name="T27" fmla="*/ 12 h 1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2" h="12">
                <a:moveTo>
                  <a:pt x="11" y="0"/>
                </a:moveTo>
                <a:lnTo>
                  <a:pt x="4" y="11"/>
                </a:lnTo>
                <a:lnTo>
                  <a:pt x="0" y="12"/>
                </a:lnTo>
                <a:lnTo>
                  <a:pt x="9" y="10"/>
                </a:lnTo>
                <a:lnTo>
                  <a:pt x="12" y="12"/>
                </a:lnTo>
                <a:lnTo>
                  <a:pt x="22" y="4"/>
                </a:lnTo>
                <a:lnTo>
                  <a:pt x="14" y="6"/>
                </a:lnTo>
                <a:lnTo>
                  <a:pt x="11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06" name="Freeform 213"/>
          <p:cNvSpPr>
            <a:spLocks/>
          </p:cNvSpPr>
          <p:nvPr/>
        </p:nvSpPr>
        <p:spPr bwMode="auto">
          <a:xfrm>
            <a:off x="4849813" y="2420938"/>
            <a:ext cx="279400" cy="304800"/>
          </a:xfrm>
          <a:custGeom>
            <a:avLst/>
            <a:gdLst>
              <a:gd name="T0" fmla="*/ 2147483647 w 210"/>
              <a:gd name="T1" fmla="*/ 2147483647 h 222"/>
              <a:gd name="T2" fmla="*/ 2147483647 w 210"/>
              <a:gd name="T3" fmla="*/ 2147483647 h 222"/>
              <a:gd name="T4" fmla="*/ 2147483647 w 210"/>
              <a:gd name="T5" fmla="*/ 2147483647 h 222"/>
              <a:gd name="T6" fmla="*/ 2147483647 w 210"/>
              <a:gd name="T7" fmla="*/ 2147483647 h 222"/>
              <a:gd name="T8" fmla="*/ 2147483647 w 210"/>
              <a:gd name="T9" fmla="*/ 2147483647 h 222"/>
              <a:gd name="T10" fmla="*/ 2147483647 w 210"/>
              <a:gd name="T11" fmla="*/ 2147483647 h 222"/>
              <a:gd name="T12" fmla="*/ 2147483647 w 210"/>
              <a:gd name="T13" fmla="*/ 2147483647 h 222"/>
              <a:gd name="T14" fmla="*/ 2147483647 w 210"/>
              <a:gd name="T15" fmla="*/ 2147483647 h 222"/>
              <a:gd name="T16" fmla="*/ 2147483647 w 210"/>
              <a:gd name="T17" fmla="*/ 2147483647 h 222"/>
              <a:gd name="T18" fmla="*/ 2147483647 w 210"/>
              <a:gd name="T19" fmla="*/ 0 h 222"/>
              <a:gd name="T20" fmla="*/ 2147483647 w 210"/>
              <a:gd name="T21" fmla="*/ 2147483647 h 222"/>
              <a:gd name="T22" fmla="*/ 2147483647 w 210"/>
              <a:gd name="T23" fmla="*/ 2147483647 h 222"/>
              <a:gd name="T24" fmla="*/ 2147483647 w 210"/>
              <a:gd name="T25" fmla="*/ 2147483647 h 222"/>
              <a:gd name="T26" fmla="*/ 2147483647 w 210"/>
              <a:gd name="T27" fmla="*/ 2147483647 h 222"/>
              <a:gd name="T28" fmla="*/ 2147483647 w 210"/>
              <a:gd name="T29" fmla="*/ 2147483647 h 222"/>
              <a:gd name="T30" fmla="*/ 2147483647 w 210"/>
              <a:gd name="T31" fmla="*/ 2147483647 h 222"/>
              <a:gd name="T32" fmla="*/ 0 w 210"/>
              <a:gd name="T33" fmla="*/ 2147483647 h 222"/>
              <a:gd name="T34" fmla="*/ 2147483647 w 210"/>
              <a:gd name="T35" fmla="*/ 2147483647 h 222"/>
              <a:gd name="T36" fmla="*/ 2147483647 w 210"/>
              <a:gd name="T37" fmla="*/ 2147483647 h 222"/>
              <a:gd name="T38" fmla="*/ 2147483647 w 210"/>
              <a:gd name="T39" fmla="*/ 2147483647 h 222"/>
              <a:gd name="T40" fmla="*/ 2147483647 w 210"/>
              <a:gd name="T41" fmla="*/ 2147483647 h 222"/>
              <a:gd name="T42" fmla="*/ 2147483647 w 210"/>
              <a:gd name="T43" fmla="*/ 2147483647 h 222"/>
              <a:gd name="T44" fmla="*/ 2147483647 w 210"/>
              <a:gd name="T45" fmla="*/ 2147483647 h 222"/>
              <a:gd name="T46" fmla="*/ 2147483647 w 210"/>
              <a:gd name="T47" fmla="*/ 2147483647 h 222"/>
              <a:gd name="T48" fmla="*/ 2147483647 w 210"/>
              <a:gd name="T49" fmla="*/ 2147483647 h 222"/>
              <a:gd name="T50" fmla="*/ 2147483647 w 210"/>
              <a:gd name="T51" fmla="*/ 2147483647 h 222"/>
              <a:gd name="T52" fmla="*/ 2147483647 w 210"/>
              <a:gd name="T53" fmla="*/ 2147483647 h 222"/>
              <a:gd name="T54" fmla="*/ 2147483647 w 210"/>
              <a:gd name="T55" fmla="*/ 2147483647 h 222"/>
              <a:gd name="T56" fmla="*/ 2147483647 w 210"/>
              <a:gd name="T57" fmla="*/ 2147483647 h 222"/>
              <a:gd name="T58" fmla="*/ 2147483647 w 210"/>
              <a:gd name="T59" fmla="*/ 2147483647 h 222"/>
              <a:gd name="T60" fmla="*/ 2147483647 w 210"/>
              <a:gd name="T61" fmla="*/ 2147483647 h 222"/>
              <a:gd name="T62" fmla="*/ 2147483647 w 210"/>
              <a:gd name="T63" fmla="*/ 2147483647 h 222"/>
              <a:gd name="T64" fmla="*/ 2147483647 w 210"/>
              <a:gd name="T65" fmla="*/ 2147483647 h 222"/>
              <a:gd name="T66" fmla="*/ 2147483647 w 210"/>
              <a:gd name="T67" fmla="*/ 2147483647 h 222"/>
              <a:gd name="T68" fmla="*/ 2147483647 w 210"/>
              <a:gd name="T69" fmla="*/ 2147483647 h 222"/>
              <a:gd name="T70" fmla="*/ 2147483647 w 210"/>
              <a:gd name="T71" fmla="*/ 2147483647 h 222"/>
              <a:gd name="T72" fmla="*/ 2147483647 w 210"/>
              <a:gd name="T73" fmla="*/ 2147483647 h 222"/>
              <a:gd name="T74" fmla="*/ 2147483647 w 210"/>
              <a:gd name="T75" fmla="*/ 2147483647 h 222"/>
              <a:gd name="T76" fmla="*/ 2147483647 w 210"/>
              <a:gd name="T77" fmla="*/ 2147483647 h 222"/>
              <a:gd name="T78" fmla="*/ 2147483647 w 210"/>
              <a:gd name="T79" fmla="*/ 2147483647 h 222"/>
              <a:gd name="T80" fmla="*/ 2147483647 w 210"/>
              <a:gd name="T81" fmla="*/ 2147483647 h 222"/>
              <a:gd name="T82" fmla="*/ 2147483647 w 210"/>
              <a:gd name="T83" fmla="*/ 2147483647 h 222"/>
              <a:gd name="T84" fmla="*/ 2147483647 w 210"/>
              <a:gd name="T85" fmla="*/ 2147483647 h 22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10"/>
              <a:gd name="T130" fmla="*/ 0 h 222"/>
              <a:gd name="T131" fmla="*/ 210 w 210"/>
              <a:gd name="T132" fmla="*/ 222 h 222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10" h="222">
                <a:moveTo>
                  <a:pt x="176" y="120"/>
                </a:moveTo>
                <a:lnTo>
                  <a:pt x="170" y="112"/>
                </a:lnTo>
                <a:lnTo>
                  <a:pt x="169" y="94"/>
                </a:lnTo>
                <a:lnTo>
                  <a:pt x="147" y="69"/>
                </a:lnTo>
                <a:lnTo>
                  <a:pt x="158" y="53"/>
                </a:lnTo>
                <a:lnTo>
                  <a:pt x="134" y="40"/>
                </a:lnTo>
                <a:lnTo>
                  <a:pt x="132" y="26"/>
                </a:lnTo>
                <a:lnTo>
                  <a:pt x="133" y="22"/>
                </a:lnTo>
                <a:lnTo>
                  <a:pt x="132" y="8"/>
                </a:lnTo>
                <a:lnTo>
                  <a:pt x="105" y="0"/>
                </a:lnTo>
                <a:lnTo>
                  <a:pt x="84" y="10"/>
                </a:lnTo>
                <a:lnTo>
                  <a:pt x="78" y="26"/>
                </a:lnTo>
                <a:lnTo>
                  <a:pt x="68" y="30"/>
                </a:lnTo>
                <a:lnTo>
                  <a:pt x="48" y="29"/>
                </a:lnTo>
                <a:lnTo>
                  <a:pt x="28" y="26"/>
                </a:lnTo>
                <a:lnTo>
                  <a:pt x="10" y="16"/>
                </a:lnTo>
                <a:lnTo>
                  <a:pt x="0" y="22"/>
                </a:lnTo>
                <a:lnTo>
                  <a:pt x="46" y="41"/>
                </a:lnTo>
                <a:lnTo>
                  <a:pt x="63" y="70"/>
                </a:lnTo>
                <a:lnTo>
                  <a:pt x="72" y="90"/>
                </a:lnTo>
                <a:lnTo>
                  <a:pt x="79" y="89"/>
                </a:lnTo>
                <a:lnTo>
                  <a:pt x="87" y="95"/>
                </a:lnTo>
                <a:lnTo>
                  <a:pt x="91" y="111"/>
                </a:lnTo>
                <a:lnTo>
                  <a:pt x="62" y="134"/>
                </a:lnTo>
                <a:lnTo>
                  <a:pt x="51" y="144"/>
                </a:lnTo>
                <a:lnTo>
                  <a:pt x="37" y="152"/>
                </a:lnTo>
                <a:lnTo>
                  <a:pt x="39" y="177"/>
                </a:lnTo>
                <a:lnTo>
                  <a:pt x="45" y="204"/>
                </a:lnTo>
                <a:lnTo>
                  <a:pt x="64" y="210"/>
                </a:lnTo>
                <a:lnTo>
                  <a:pt x="64" y="214"/>
                </a:lnTo>
                <a:lnTo>
                  <a:pt x="72" y="213"/>
                </a:lnTo>
                <a:lnTo>
                  <a:pt x="78" y="222"/>
                </a:lnTo>
                <a:lnTo>
                  <a:pt x="84" y="219"/>
                </a:lnTo>
                <a:lnTo>
                  <a:pt x="126" y="212"/>
                </a:lnTo>
                <a:lnTo>
                  <a:pt x="135" y="207"/>
                </a:lnTo>
                <a:lnTo>
                  <a:pt x="157" y="207"/>
                </a:lnTo>
                <a:lnTo>
                  <a:pt x="171" y="194"/>
                </a:lnTo>
                <a:lnTo>
                  <a:pt x="183" y="180"/>
                </a:lnTo>
                <a:lnTo>
                  <a:pt x="197" y="167"/>
                </a:lnTo>
                <a:lnTo>
                  <a:pt x="210" y="154"/>
                </a:lnTo>
                <a:lnTo>
                  <a:pt x="179" y="136"/>
                </a:lnTo>
                <a:lnTo>
                  <a:pt x="186" y="130"/>
                </a:lnTo>
                <a:lnTo>
                  <a:pt x="176" y="12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07" name="Freeform 214"/>
          <p:cNvSpPr>
            <a:spLocks/>
          </p:cNvSpPr>
          <p:nvPr/>
        </p:nvSpPr>
        <p:spPr bwMode="auto">
          <a:xfrm>
            <a:off x="4659313" y="3136900"/>
            <a:ext cx="4762" cy="4763"/>
          </a:xfrm>
          <a:custGeom>
            <a:avLst/>
            <a:gdLst>
              <a:gd name="T0" fmla="*/ 2147483647 w 2"/>
              <a:gd name="T1" fmla="*/ 0 h 5"/>
              <a:gd name="T2" fmla="*/ 0 w 2"/>
              <a:gd name="T3" fmla="*/ 2147483647 h 5"/>
              <a:gd name="T4" fmla="*/ 2147483647 w 2"/>
              <a:gd name="T5" fmla="*/ 2147483647 h 5"/>
              <a:gd name="T6" fmla="*/ 2147483647 w 2"/>
              <a:gd name="T7" fmla="*/ 0 h 5"/>
              <a:gd name="T8" fmla="*/ 0 60000 65536"/>
              <a:gd name="T9" fmla="*/ 0 60000 65536"/>
              <a:gd name="T10" fmla="*/ 0 60000 65536"/>
              <a:gd name="T11" fmla="*/ 0 60000 65536"/>
              <a:gd name="T12" fmla="*/ 0 w 2"/>
              <a:gd name="T13" fmla="*/ 0 h 5"/>
              <a:gd name="T14" fmla="*/ 2 w 2"/>
              <a:gd name="T15" fmla="*/ 5 h 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" h="5">
                <a:moveTo>
                  <a:pt x="1" y="0"/>
                </a:moveTo>
                <a:lnTo>
                  <a:pt x="0" y="5"/>
                </a:lnTo>
                <a:lnTo>
                  <a:pt x="2" y="5"/>
                </a:lnTo>
                <a:lnTo>
                  <a:pt x="1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08" name="Freeform 215"/>
          <p:cNvSpPr>
            <a:spLocks/>
          </p:cNvSpPr>
          <p:nvPr/>
        </p:nvSpPr>
        <p:spPr bwMode="auto">
          <a:xfrm>
            <a:off x="4662488" y="3081338"/>
            <a:ext cx="192087" cy="82550"/>
          </a:xfrm>
          <a:custGeom>
            <a:avLst/>
            <a:gdLst>
              <a:gd name="T0" fmla="*/ 2147483647 w 146"/>
              <a:gd name="T1" fmla="*/ 2147483647 h 59"/>
              <a:gd name="T2" fmla="*/ 2147483647 w 146"/>
              <a:gd name="T3" fmla="*/ 2147483647 h 59"/>
              <a:gd name="T4" fmla="*/ 2147483647 w 146"/>
              <a:gd name="T5" fmla="*/ 2147483647 h 59"/>
              <a:gd name="T6" fmla="*/ 2147483647 w 146"/>
              <a:gd name="T7" fmla="*/ 2147483647 h 59"/>
              <a:gd name="T8" fmla="*/ 2147483647 w 146"/>
              <a:gd name="T9" fmla="*/ 2147483647 h 59"/>
              <a:gd name="T10" fmla="*/ 2147483647 w 146"/>
              <a:gd name="T11" fmla="*/ 2147483647 h 59"/>
              <a:gd name="T12" fmla="*/ 0 w 146"/>
              <a:gd name="T13" fmla="*/ 2147483647 h 59"/>
              <a:gd name="T14" fmla="*/ 0 w 146"/>
              <a:gd name="T15" fmla="*/ 2147483647 h 59"/>
              <a:gd name="T16" fmla="*/ 2147483647 w 146"/>
              <a:gd name="T17" fmla="*/ 2147483647 h 59"/>
              <a:gd name="T18" fmla="*/ 2147483647 w 146"/>
              <a:gd name="T19" fmla="*/ 2147483647 h 59"/>
              <a:gd name="T20" fmla="*/ 2147483647 w 146"/>
              <a:gd name="T21" fmla="*/ 2147483647 h 59"/>
              <a:gd name="T22" fmla="*/ 2147483647 w 146"/>
              <a:gd name="T23" fmla="*/ 2147483647 h 59"/>
              <a:gd name="T24" fmla="*/ 2147483647 w 146"/>
              <a:gd name="T25" fmla="*/ 2147483647 h 59"/>
              <a:gd name="T26" fmla="*/ 2147483647 w 146"/>
              <a:gd name="T27" fmla="*/ 2147483647 h 59"/>
              <a:gd name="T28" fmla="*/ 2147483647 w 146"/>
              <a:gd name="T29" fmla="*/ 2147483647 h 59"/>
              <a:gd name="T30" fmla="*/ 2147483647 w 146"/>
              <a:gd name="T31" fmla="*/ 2147483647 h 59"/>
              <a:gd name="T32" fmla="*/ 2147483647 w 146"/>
              <a:gd name="T33" fmla="*/ 2147483647 h 59"/>
              <a:gd name="T34" fmla="*/ 2147483647 w 146"/>
              <a:gd name="T35" fmla="*/ 0 h 59"/>
              <a:gd name="T36" fmla="*/ 2147483647 w 146"/>
              <a:gd name="T37" fmla="*/ 2147483647 h 59"/>
              <a:gd name="T38" fmla="*/ 2147483647 w 146"/>
              <a:gd name="T39" fmla="*/ 2147483647 h 59"/>
              <a:gd name="T40" fmla="*/ 2147483647 w 146"/>
              <a:gd name="T41" fmla="*/ 2147483647 h 59"/>
              <a:gd name="T42" fmla="*/ 2147483647 w 146"/>
              <a:gd name="T43" fmla="*/ 2147483647 h 59"/>
              <a:gd name="T44" fmla="*/ 2147483647 w 146"/>
              <a:gd name="T45" fmla="*/ 2147483647 h 59"/>
              <a:gd name="T46" fmla="*/ 2147483647 w 146"/>
              <a:gd name="T47" fmla="*/ 2147483647 h 59"/>
              <a:gd name="T48" fmla="*/ 2147483647 w 146"/>
              <a:gd name="T49" fmla="*/ 2147483647 h 59"/>
              <a:gd name="T50" fmla="*/ 2147483647 w 146"/>
              <a:gd name="T51" fmla="*/ 2147483647 h 59"/>
              <a:gd name="T52" fmla="*/ 2147483647 w 146"/>
              <a:gd name="T53" fmla="*/ 2147483647 h 59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46"/>
              <a:gd name="T82" fmla="*/ 0 h 59"/>
              <a:gd name="T83" fmla="*/ 146 w 146"/>
              <a:gd name="T84" fmla="*/ 59 h 59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46" h="59">
                <a:moveTo>
                  <a:pt x="51" y="48"/>
                </a:moveTo>
                <a:lnTo>
                  <a:pt x="30" y="51"/>
                </a:lnTo>
                <a:lnTo>
                  <a:pt x="18" y="50"/>
                </a:lnTo>
                <a:lnTo>
                  <a:pt x="3" y="45"/>
                </a:lnTo>
                <a:lnTo>
                  <a:pt x="1" y="45"/>
                </a:lnTo>
                <a:lnTo>
                  <a:pt x="1" y="44"/>
                </a:lnTo>
                <a:lnTo>
                  <a:pt x="0" y="40"/>
                </a:lnTo>
                <a:lnTo>
                  <a:pt x="0" y="34"/>
                </a:lnTo>
                <a:lnTo>
                  <a:pt x="13" y="36"/>
                </a:lnTo>
                <a:lnTo>
                  <a:pt x="17" y="38"/>
                </a:lnTo>
                <a:lnTo>
                  <a:pt x="23" y="33"/>
                </a:lnTo>
                <a:lnTo>
                  <a:pt x="39" y="33"/>
                </a:lnTo>
                <a:lnTo>
                  <a:pt x="62" y="33"/>
                </a:lnTo>
                <a:lnTo>
                  <a:pt x="68" y="30"/>
                </a:lnTo>
                <a:lnTo>
                  <a:pt x="65" y="17"/>
                </a:lnTo>
                <a:lnTo>
                  <a:pt x="80" y="4"/>
                </a:lnTo>
                <a:lnTo>
                  <a:pt x="91" y="9"/>
                </a:lnTo>
                <a:lnTo>
                  <a:pt x="103" y="0"/>
                </a:lnTo>
                <a:lnTo>
                  <a:pt x="133" y="4"/>
                </a:lnTo>
                <a:lnTo>
                  <a:pt x="146" y="22"/>
                </a:lnTo>
                <a:lnTo>
                  <a:pt x="139" y="30"/>
                </a:lnTo>
                <a:lnTo>
                  <a:pt x="137" y="32"/>
                </a:lnTo>
                <a:lnTo>
                  <a:pt x="131" y="47"/>
                </a:lnTo>
                <a:lnTo>
                  <a:pt x="128" y="50"/>
                </a:lnTo>
                <a:lnTo>
                  <a:pt x="90" y="59"/>
                </a:lnTo>
                <a:lnTo>
                  <a:pt x="81" y="58"/>
                </a:lnTo>
                <a:lnTo>
                  <a:pt x="51" y="4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09" name="Freeform 216"/>
          <p:cNvSpPr>
            <a:spLocks/>
          </p:cNvSpPr>
          <p:nvPr/>
        </p:nvSpPr>
        <p:spPr bwMode="auto">
          <a:xfrm>
            <a:off x="4826000" y="3203575"/>
            <a:ext cx="106363" cy="88900"/>
          </a:xfrm>
          <a:custGeom>
            <a:avLst/>
            <a:gdLst>
              <a:gd name="T0" fmla="*/ 2147483647 w 79"/>
              <a:gd name="T1" fmla="*/ 2147483647 h 66"/>
              <a:gd name="T2" fmla="*/ 2147483647 w 79"/>
              <a:gd name="T3" fmla="*/ 2147483647 h 66"/>
              <a:gd name="T4" fmla="*/ 2147483647 w 79"/>
              <a:gd name="T5" fmla="*/ 2147483647 h 66"/>
              <a:gd name="T6" fmla="*/ 2147483647 w 79"/>
              <a:gd name="T7" fmla="*/ 2147483647 h 66"/>
              <a:gd name="T8" fmla="*/ 2147483647 w 79"/>
              <a:gd name="T9" fmla="*/ 2147483647 h 66"/>
              <a:gd name="T10" fmla="*/ 2147483647 w 79"/>
              <a:gd name="T11" fmla="*/ 2147483647 h 66"/>
              <a:gd name="T12" fmla="*/ 2147483647 w 79"/>
              <a:gd name="T13" fmla="*/ 2147483647 h 66"/>
              <a:gd name="T14" fmla="*/ 2147483647 w 79"/>
              <a:gd name="T15" fmla="*/ 2147483647 h 66"/>
              <a:gd name="T16" fmla="*/ 2147483647 w 79"/>
              <a:gd name="T17" fmla="*/ 2147483647 h 66"/>
              <a:gd name="T18" fmla="*/ 2147483647 w 79"/>
              <a:gd name="T19" fmla="*/ 2147483647 h 66"/>
              <a:gd name="T20" fmla="*/ 2147483647 w 79"/>
              <a:gd name="T21" fmla="*/ 2147483647 h 66"/>
              <a:gd name="T22" fmla="*/ 2147483647 w 79"/>
              <a:gd name="T23" fmla="*/ 2147483647 h 66"/>
              <a:gd name="T24" fmla="*/ 2147483647 w 79"/>
              <a:gd name="T25" fmla="*/ 2147483647 h 66"/>
              <a:gd name="T26" fmla="*/ 2147483647 w 79"/>
              <a:gd name="T27" fmla="*/ 2147483647 h 66"/>
              <a:gd name="T28" fmla="*/ 2147483647 w 79"/>
              <a:gd name="T29" fmla="*/ 2147483647 h 66"/>
              <a:gd name="T30" fmla="*/ 2147483647 w 79"/>
              <a:gd name="T31" fmla="*/ 2147483647 h 66"/>
              <a:gd name="T32" fmla="*/ 2147483647 w 79"/>
              <a:gd name="T33" fmla="*/ 2147483647 h 66"/>
              <a:gd name="T34" fmla="*/ 2147483647 w 79"/>
              <a:gd name="T35" fmla="*/ 2147483647 h 66"/>
              <a:gd name="T36" fmla="*/ 2147483647 w 79"/>
              <a:gd name="T37" fmla="*/ 2147483647 h 66"/>
              <a:gd name="T38" fmla="*/ 2147483647 w 79"/>
              <a:gd name="T39" fmla="*/ 2147483647 h 66"/>
              <a:gd name="T40" fmla="*/ 2147483647 w 79"/>
              <a:gd name="T41" fmla="*/ 2147483647 h 66"/>
              <a:gd name="T42" fmla="*/ 2147483647 w 79"/>
              <a:gd name="T43" fmla="*/ 2147483647 h 66"/>
              <a:gd name="T44" fmla="*/ 2147483647 w 79"/>
              <a:gd name="T45" fmla="*/ 2147483647 h 66"/>
              <a:gd name="T46" fmla="*/ 2147483647 w 79"/>
              <a:gd name="T47" fmla="*/ 2147483647 h 66"/>
              <a:gd name="T48" fmla="*/ 2147483647 w 79"/>
              <a:gd name="T49" fmla="*/ 2147483647 h 66"/>
              <a:gd name="T50" fmla="*/ 2147483647 w 79"/>
              <a:gd name="T51" fmla="*/ 2147483647 h 66"/>
              <a:gd name="T52" fmla="*/ 2147483647 w 79"/>
              <a:gd name="T53" fmla="*/ 2147483647 h 66"/>
              <a:gd name="T54" fmla="*/ 2147483647 w 79"/>
              <a:gd name="T55" fmla="*/ 2147483647 h 66"/>
              <a:gd name="T56" fmla="*/ 2147483647 w 79"/>
              <a:gd name="T57" fmla="*/ 2147483647 h 66"/>
              <a:gd name="T58" fmla="*/ 2147483647 w 79"/>
              <a:gd name="T59" fmla="*/ 2147483647 h 66"/>
              <a:gd name="T60" fmla="*/ 0 w 79"/>
              <a:gd name="T61" fmla="*/ 2147483647 h 66"/>
              <a:gd name="T62" fmla="*/ 2147483647 w 79"/>
              <a:gd name="T63" fmla="*/ 2147483647 h 66"/>
              <a:gd name="T64" fmla="*/ 2147483647 w 79"/>
              <a:gd name="T65" fmla="*/ 2147483647 h 66"/>
              <a:gd name="T66" fmla="*/ 2147483647 w 79"/>
              <a:gd name="T67" fmla="*/ 2147483647 h 66"/>
              <a:gd name="T68" fmla="*/ 2147483647 w 79"/>
              <a:gd name="T69" fmla="*/ 0 h 66"/>
              <a:gd name="T70" fmla="*/ 2147483647 w 79"/>
              <a:gd name="T71" fmla="*/ 2147483647 h 66"/>
              <a:gd name="T72" fmla="*/ 2147483647 w 79"/>
              <a:gd name="T73" fmla="*/ 2147483647 h 66"/>
              <a:gd name="T74" fmla="*/ 2147483647 w 79"/>
              <a:gd name="T75" fmla="*/ 2147483647 h 66"/>
              <a:gd name="T76" fmla="*/ 2147483647 w 79"/>
              <a:gd name="T77" fmla="*/ 2147483647 h 66"/>
              <a:gd name="T78" fmla="*/ 2147483647 w 79"/>
              <a:gd name="T79" fmla="*/ 2147483647 h 66"/>
              <a:gd name="T80" fmla="*/ 2147483647 w 79"/>
              <a:gd name="T81" fmla="*/ 2147483647 h 66"/>
              <a:gd name="T82" fmla="*/ 2147483647 w 79"/>
              <a:gd name="T83" fmla="*/ 2147483647 h 66"/>
              <a:gd name="T84" fmla="*/ 2147483647 w 79"/>
              <a:gd name="T85" fmla="*/ 2147483647 h 66"/>
              <a:gd name="T86" fmla="*/ 2147483647 w 79"/>
              <a:gd name="T87" fmla="*/ 2147483647 h 66"/>
              <a:gd name="T88" fmla="*/ 2147483647 w 79"/>
              <a:gd name="T89" fmla="*/ 2147483647 h 6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79"/>
              <a:gd name="T136" fmla="*/ 0 h 66"/>
              <a:gd name="T137" fmla="*/ 79 w 79"/>
              <a:gd name="T138" fmla="*/ 66 h 6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79" h="66">
                <a:moveTo>
                  <a:pt x="70" y="10"/>
                </a:moveTo>
                <a:lnTo>
                  <a:pt x="70" y="13"/>
                </a:lnTo>
                <a:lnTo>
                  <a:pt x="69" y="17"/>
                </a:lnTo>
                <a:lnTo>
                  <a:pt x="66" y="20"/>
                </a:lnTo>
                <a:lnTo>
                  <a:pt x="67" y="23"/>
                </a:lnTo>
                <a:lnTo>
                  <a:pt x="70" y="25"/>
                </a:lnTo>
                <a:lnTo>
                  <a:pt x="79" y="30"/>
                </a:lnTo>
                <a:lnTo>
                  <a:pt x="72" y="34"/>
                </a:lnTo>
                <a:lnTo>
                  <a:pt x="76" y="37"/>
                </a:lnTo>
                <a:lnTo>
                  <a:pt x="76" y="42"/>
                </a:lnTo>
                <a:lnTo>
                  <a:pt x="66" y="44"/>
                </a:lnTo>
                <a:lnTo>
                  <a:pt x="70" y="49"/>
                </a:lnTo>
                <a:lnTo>
                  <a:pt x="68" y="52"/>
                </a:lnTo>
                <a:lnTo>
                  <a:pt x="64" y="48"/>
                </a:lnTo>
                <a:lnTo>
                  <a:pt x="60" y="55"/>
                </a:lnTo>
                <a:lnTo>
                  <a:pt x="57" y="58"/>
                </a:lnTo>
                <a:lnTo>
                  <a:pt x="62" y="65"/>
                </a:lnTo>
                <a:lnTo>
                  <a:pt x="57" y="66"/>
                </a:lnTo>
                <a:lnTo>
                  <a:pt x="52" y="65"/>
                </a:lnTo>
                <a:lnTo>
                  <a:pt x="46" y="60"/>
                </a:lnTo>
                <a:lnTo>
                  <a:pt x="42" y="58"/>
                </a:lnTo>
                <a:lnTo>
                  <a:pt x="42" y="55"/>
                </a:lnTo>
                <a:lnTo>
                  <a:pt x="33" y="48"/>
                </a:lnTo>
                <a:lnTo>
                  <a:pt x="32" y="46"/>
                </a:lnTo>
                <a:lnTo>
                  <a:pt x="27" y="43"/>
                </a:lnTo>
                <a:lnTo>
                  <a:pt x="12" y="29"/>
                </a:lnTo>
                <a:lnTo>
                  <a:pt x="12" y="26"/>
                </a:lnTo>
                <a:lnTo>
                  <a:pt x="9" y="26"/>
                </a:lnTo>
                <a:lnTo>
                  <a:pt x="4" y="16"/>
                </a:lnTo>
                <a:lnTo>
                  <a:pt x="1" y="12"/>
                </a:lnTo>
                <a:lnTo>
                  <a:pt x="0" y="2"/>
                </a:lnTo>
                <a:lnTo>
                  <a:pt x="4" y="1"/>
                </a:lnTo>
                <a:lnTo>
                  <a:pt x="10" y="7"/>
                </a:lnTo>
                <a:lnTo>
                  <a:pt x="14" y="1"/>
                </a:lnTo>
                <a:lnTo>
                  <a:pt x="21" y="0"/>
                </a:lnTo>
                <a:lnTo>
                  <a:pt x="27" y="2"/>
                </a:lnTo>
                <a:lnTo>
                  <a:pt x="40" y="5"/>
                </a:lnTo>
                <a:lnTo>
                  <a:pt x="43" y="2"/>
                </a:lnTo>
                <a:lnTo>
                  <a:pt x="46" y="5"/>
                </a:lnTo>
                <a:lnTo>
                  <a:pt x="48" y="4"/>
                </a:lnTo>
                <a:lnTo>
                  <a:pt x="52" y="5"/>
                </a:lnTo>
                <a:lnTo>
                  <a:pt x="56" y="5"/>
                </a:lnTo>
                <a:lnTo>
                  <a:pt x="60" y="8"/>
                </a:lnTo>
                <a:lnTo>
                  <a:pt x="64" y="10"/>
                </a:lnTo>
                <a:lnTo>
                  <a:pt x="70" y="1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10" name="Freeform 217"/>
          <p:cNvSpPr>
            <a:spLocks/>
          </p:cNvSpPr>
          <p:nvPr/>
        </p:nvSpPr>
        <p:spPr bwMode="auto">
          <a:xfrm>
            <a:off x="4773613" y="3157538"/>
            <a:ext cx="147637" cy="123825"/>
          </a:xfrm>
          <a:custGeom>
            <a:avLst/>
            <a:gdLst>
              <a:gd name="T0" fmla="*/ 2147483647 w 113"/>
              <a:gd name="T1" fmla="*/ 2147483647 h 90"/>
              <a:gd name="T2" fmla="*/ 2147483647 w 113"/>
              <a:gd name="T3" fmla="*/ 2147483647 h 90"/>
              <a:gd name="T4" fmla="*/ 2147483647 w 113"/>
              <a:gd name="T5" fmla="*/ 2147483647 h 90"/>
              <a:gd name="T6" fmla="*/ 2147483647 w 113"/>
              <a:gd name="T7" fmla="*/ 2147483647 h 90"/>
              <a:gd name="T8" fmla="*/ 2147483647 w 113"/>
              <a:gd name="T9" fmla="*/ 2147483647 h 90"/>
              <a:gd name="T10" fmla="*/ 2147483647 w 113"/>
              <a:gd name="T11" fmla="*/ 0 h 90"/>
              <a:gd name="T12" fmla="*/ 2147483647 w 113"/>
              <a:gd name="T13" fmla="*/ 2147483647 h 90"/>
              <a:gd name="T14" fmla="*/ 2147483647 w 113"/>
              <a:gd name="T15" fmla="*/ 2147483647 h 90"/>
              <a:gd name="T16" fmla="*/ 2147483647 w 113"/>
              <a:gd name="T17" fmla="*/ 2147483647 h 90"/>
              <a:gd name="T18" fmla="*/ 2147483647 w 113"/>
              <a:gd name="T19" fmla="*/ 2147483647 h 90"/>
              <a:gd name="T20" fmla="*/ 2147483647 w 113"/>
              <a:gd name="T21" fmla="*/ 2147483647 h 90"/>
              <a:gd name="T22" fmla="*/ 2147483647 w 113"/>
              <a:gd name="T23" fmla="*/ 2147483647 h 90"/>
              <a:gd name="T24" fmla="*/ 2147483647 w 113"/>
              <a:gd name="T25" fmla="*/ 2147483647 h 90"/>
              <a:gd name="T26" fmla="*/ 2147483647 w 113"/>
              <a:gd name="T27" fmla="*/ 2147483647 h 90"/>
              <a:gd name="T28" fmla="*/ 2147483647 w 113"/>
              <a:gd name="T29" fmla="*/ 2147483647 h 90"/>
              <a:gd name="T30" fmla="*/ 2147483647 w 113"/>
              <a:gd name="T31" fmla="*/ 2147483647 h 90"/>
              <a:gd name="T32" fmla="*/ 2147483647 w 113"/>
              <a:gd name="T33" fmla="*/ 2147483647 h 90"/>
              <a:gd name="T34" fmla="*/ 2147483647 w 113"/>
              <a:gd name="T35" fmla="*/ 2147483647 h 90"/>
              <a:gd name="T36" fmla="*/ 2147483647 w 113"/>
              <a:gd name="T37" fmla="*/ 2147483647 h 90"/>
              <a:gd name="T38" fmla="*/ 2147483647 w 113"/>
              <a:gd name="T39" fmla="*/ 2147483647 h 90"/>
              <a:gd name="T40" fmla="*/ 2147483647 w 113"/>
              <a:gd name="T41" fmla="*/ 2147483647 h 90"/>
              <a:gd name="T42" fmla="*/ 2147483647 w 113"/>
              <a:gd name="T43" fmla="*/ 2147483647 h 90"/>
              <a:gd name="T44" fmla="*/ 2147483647 w 113"/>
              <a:gd name="T45" fmla="*/ 2147483647 h 90"/>
              <a:gd name="T46" fmla="*/ 2147483647 w 113"/>
              <a:gd name="T47" fmla="*/ 2147483647 h 90"/>
              <a:gd name="T48" fmla="*/ 2147483647 w 113"/>
              <a:gd name="T49" fmla="*/ 2147483647 h 90"/>
              <a:gd name="T50" fmla="*/ 2147483647 w 113"/>
              <a:gd name="T51" fmla="*/ 2147483647 h 90"/>
              <a:gd name="T52" fmla="*/ 2147483647 w 113"/>
              <a:gd name="T53" fmla="*/ 2147483647 h 90"/>
              <a:gd name="T54" fmla="*/ 2147483647 w 113"/>
              <a:gd name="T55" fmla="*/ 2147483647 h 90"/>
              <a:gd name="T56" fmla="*/ 2147483647 w 113"/>
              <a:gd name="T57" fmla="*/ 2147483647 h 90"/>
              <a:gd name="T58" fmla="*/ 2147483647 w 113"/>
              <a:gd name="T59" fmla="*/ 2147483647 h 90"/>
              <a:gd name="T60" fmla="*/ 2147483647 w 113"/>
              <a:gd name="T61" fmla="*/ 2147483647 h 90"/>
              <a:gd name="T62" fmla="*/ 2147483647 w 113"/>
              <a:gd name="T63" fmla="*/ 2147483647 h 90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13"/>
              <a:gd name="T97" fmla="*/ 0 h 90"/>
              <a:gd name="T98" fmla="*/ 113 w 113"/>
              <a:gd name="T99" fmla="*/ 90 h 90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13" h="90">
                <a:moveTo>
                  <a:pt x="101" y="40"/>
                </a:moveTo>
                <a:lnTo>
                  <a:pt x="105" y="42"/>
                </a:lnTo>
                <a:lnTo>
                  <a:pt x="107" y="36"/>
                </a:lnTo>
                <a:lnTo>
                  <a:pt x="113" y="34"/>
                </a:lnTo>
                <a:lnTo>
                  <a:pt x="113" y="33"/>
                </a:lnTo>
                <a:lnTo>
                  <a:pt x="107" y="31"/>
                </a:lnTo>
                <a:lnTo>
                  <a:pt x="104" y="30"/>
                </a:lnTo>
                <a:lnTo>
                  <a:pt x="107" y="27"/>
                </a:lnTo>
                <a:lnTo>
                  <a:pt x="103" y="26"/>
                </a:lnTo>
                <a:lnTo>
                  <a:pt x="98" y="18"/>
                </a:lnTo>
                <a:lnTo>
                  <a:pt x="69" y="15"/>
                </a:lnTo>
                <a:lnTo>
                  <a:pt x="51" y="0"/>
                </a:lnTo>
                <a:lnTo>
                  <a:pt x="51" y="2"/>
                </a:lnTo>
                <a:lnTo>
                  <a:pt x="49" y="2"/>
                </a:lnTo>
                <a:lnTo>
                  <a:pt x="49" y="4"/>
                </a:lnTo>
                <a:lnTo>
                  <a:pt x="43" y="4"/>
                </a:lnTo>
                <a:lnTo>
                  <a:pt x="42" y="7"/>
                </a:lnTo>
                <a:lnTo>
                  <a:pt x="35" y="8"/>
                </a:lnTo>
                <a:lnTo>
                  <a:pt x="36" y="13"/>
                </a:lnTo>
                <a:lnTo>
                  <a:pt x="37" y="15"/>
                </a:lnTo>
                <a:lnTo>
                  <a:pt x="39" y="19"/>
                </a:lnTo>
                <a:lnTo>
                  <a:pt x="36" y="19"/>
                </a:lnTo>
                <a:lnTo>
                  <a:pt x="30" y="21"/>
                </a:lnTo>
                <a:lnTo>
                  <a:pt x="30" y="24"/>
                </a:lnTo>
                <a:lnTo>
                  <a:pt x="31" y="27"/>
                </a:lnTo>
                <a:lnTo>
                  <a:pt x="26" y="28"/>
                </a:lnTo>
                <a:lnTo>
                  <a:pt x="21" y="25"/>
                </a:lnTo>
                <a:lnTo>
                  <a:pt x="20" y="26"/>
                </a:lnTo>
                <a:lnTo>
                  <a:pt x="19" y="26"/>
                </a:lnTo>
                <a:lnTo>
                  <a:pt x="17" y="24"/>
                </a:lnTo>
                <a:lnTo>
                  <a:pt x="13" y="27"/>
                </a:lnTo>
                <a:lnTo>
                  <a:pt x="3" y="27"/>
                </a:lnTo>
                <a:lnTo>
                  <a:pt x="0" y="25"/>
                </a:lnTo>
                <a:lnTo>
                  <a:pt x="3" y="32"/>
                </a:lnTo>
                <a:lnTo>
                  <a:pt x="8" y="40"/>
                </a:lnTo>
                <a:lnTo>
                  <a:pt x="13" y="34"/>
                </a:lnTo>
                <a:lnTo>
                  <a:pt x="27" y="58"/>
                </a:lnTo>
                <a:lnTo>
                  <a:pt x="33" y="64"/>
                </a:lnTo>
                <a:lnTo>
                  <a:pt x="53" y="76"/>
                </a:lnTo>
                <a:lnTo>
                  <a:pt x="77" y="88"/>
                </a:lnTo>
                <a:lnTo>
                  <a:pt x="81" y="90"/>
                </a:lnTo>
                <a:lnTo>
                  <a:pt x="83" y="90"/>
                </a:lnTo>
                <a:lnTo>
                  <a:pt x="83" y="87"/>
                </a:lnTo>
                <a:lnTo>
                  <a:pt x="74" y="80"/>
                </a:lnTo>
                <a:lnTo>
                  <a:pt x="73" y="78"/>
                </a:lnTo>
                <a:lnTo>
                  <a:pt x="68" y="75"/>
                </a:lnTo>
                <a:lnTo>
                  <a:pt x="53" y="61"/>
                </a:lnTo>
                <a:lnTo>
                  <a:pt x="53" y="58"/>
                </a:lnTo>
                <a:lnTo>
                  <a:pt x="50" y="58"/>
                </a:lnTo>
                <a:lnTo>
                  <a:pt x="45" y="48"/>
                </a:lnTo>
                <a:lnTo>
                  <a:pt x="42" y="44"/>
                </a:lnTo>
                <a:lnTo>
                  <a:pt x="41" y="34"/>
                </a:lnTo>
                <a:lnTo>
                  <a:pt x="45" y="33"/>
                </a:lnTo>
                <a:lnTo>
                  <a:pt x="51" y="39"/>
                </a:lnTo>
                <a:lnTo>
                  <a:pt x="55" y="33"/>
                </a:lnTo>
                <a:lnTo>
                  <a:pt x="62" y="32"/>
                </a:lnTo>
                <a:lnTo>
                  <a:pt x="68" y="34"/>
                </a:lnTo>
                <a:lnTo>
                  <a:pt x="81" y="37"/>
                </a:lnTo>
                <a:lnTo>
                  <a:pt x="84" y="34"/>
                </a:lnTo>
                <a:lnTo>
                  <a:pt x="87" y="37"/>
                </a:lnTo>
                <a:lnTo>
                  <a:pt x="89" y="36"/>
                </a:lnTo>
                <a:lnTo>
                  <a:pt x="93" y="37"/>
                </a:lnTo>
                <a:lnTo>
                  <a:pt x="97" y="37"/>
                </a:lnTo>
                <a:lnTo>
                  <a:pt x="101" y="4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11" name="Freeform 218"/>
          <p:cNvSpPr>
            <a:spLocks/>
          </p:cNvSpPr>
          <p:nvPr/>
        </p:nvSpPr>
        <p:spPr bwMode="auto">
          <a:xfrm>
            <a:off x="4862513" y="3281363"/>
            <a:ext cx="41275" cy="17462"/>
          </a:xfrm>
          <a:custGeom>
            <a:avLst/>
            <a:gdLst>
              <a:gd name="T0" fmla="*/ 2147483647 w 31"/>
              <a:gd name="T1" fmla="*/ 2147483647 h 12"/>
              <a:gd name="T2" fmla="*/ 2147483647 w 31"/>
              <a:gd name="T3" fmla="*/ 2147483647 h 12"/>
              <a:gd name="T4" fmla="*/ 2147483647 w 31"/>
              <a:gd name="T5" fmla="*/ 2147483647 h 12"/>
              <a:gd name="T6" fmla="*/ 2147483647 w 31"/>
              <a:gd name="T7" fmla="*/ 2147483647 h 12"/>
              <a:gd name="T8" fmla="*/ 2147483647 w 31"/>
              <a:gd name="T9" fmla="*/ 2147483647 h 12"/>
              <a:gd name="T10" fmla="*/ 2147483647 w 31"/>
              <a:gd name="T11" fmla="*/ 0 h 12"/>
              <a:gd name="T12" fmla="*/ 2147483647 w 31"/>
              <a:gd name="T13" fmla="*/ 2147483647 h 12"/>
              <a:gd name="T14" fmla="*/ 0 w 31"/>
              <a:gd name="T15" fmla="*/ 0 h 12"/>
              <a:gd name="T16" fmla="*/ 2147483647 w 31"/>
              <a:gd name="T17" fmla="*/ 2147483647 h 1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1"/>
              <a:gd name="T28" fmla="*/ 0 h 12"/>
              <a:gd name="T29" fmla="*/ 31 w 31"/>
              <a:gd name="T30" fmla="*/ 12 h 1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1" h="12">
                <a:moveTo>
                  <a:pt x="30" y="12"/>
                </a:moveTo>
                <a:lnTo>
                  <a:pt x="31" y="9"/>
                </a:lnTo>
                <a:lnTo>
                  <a:pt x="31" y="8"/>
                </a:lnTo>
                <a:lnTo>
                  <a:pt x="26" y="7"/>
                </a:lnTo>
                <a:lnTo>
                  <a:pt x="20" y="2"/>
                </a:lnTo>
                <a:lnTo>
                  <a:pt x="16" y="0"/>
                </a:lnTo>
                <a:lnTo>
                  <a:pt x="14" y="1"/>
                </a:lnTo>
                <a:lnTo>
                  <a:pt x="0" y="0"/>
                </a:lnTo>
                <a:lnTo>
                  <a:pt x="30" y="1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12" name="Freeform 219"/>
          <p:cNvSpPr>
            <a:spLocks/>
          </p:cNvSpPr>
          <p:nvPr/>
        </p:nvSpPr>
        <p:spPr bwMode="auto">
          <a:xfrm>
            <a:off x="4292600" y="3009900"/>
            <a:ext cx="328613" cy="288925"/>
          </a:xfrm>
          <a:custGeom>
            <a:avLst/>
            <a:gdLst>
              <a:gd name="T0" fmla="*/ 2147483647 w 247"/>
              <a:gd name="T1" fmla="*/ 2147483647 h 210"/>
              <a:gd name="T2" fmla="*/ 2147483647 w 247"/>
              <a:gd name="T3" fmla="*/ 2147483647 h 210"/>
              <a:gd name="T4" fmla="*/ 2147483647 w 247"/>
              <a:gd name="T5" fmla="*/ 2147483647 h 210"/>
              <a:gd name="T6" fmla="*/ 2147483647 w 247"/>
              <a:gd name="T7" fmla="*/ 2147483647 h 210"/>
              <a:gd name="T8" fmla="*/ 2147483647 w 247"/>
              <a:gd name="T9" fmla="*/ 2147483647 h 210"/>
              <a:gd name="T10" fmla="*/ 2147483647 w 247"/>
              <a:gd name="T11" fmla="*/ 2147483647 h 210"/>
              <a:gd name="T12" fmla="*/ 2147483647 w 247"/>
              <a:gd name="T13" fmla="*/ 2147483647 h 210"/>
              <a:gd name="T14" fmla="*/ 2147483647 w 247"/>
              <a:gd name="T15" fmla="*/ 2147483647 h 210"/>
              <a:gd name="T16" fmla="*/ 2147483647 w 247"/>
              <a:gd name="T17" fmla="*/ 2147483647 h 210"/>
              <a:gd name="T18" fmla="*/ 2147483647 w 247"/>
              <a:gd name="T19" fmla="*/ 2147483647 h 210"/>
              <a:gd name="T20" fmla="*/ 2147483647 w 247"/>
              <a:gd name="T21" fmla="*/ 2147483647 h 210"/>
              <a:gd name="T22" fmla="*/ 2147483647 w 247"/>
              <a:gd name="T23" fmla="*/ 2147483647 h 210"/>
              <a:gd name="T24" fmla="*/ 2147483647 w 247"/>
              <a:gd name="T25" fmla="*/ 2147483647 h 210"/>
              <a:gd name="T26" fmla="*/ 2147483647 w 247"/>
              <a:gd name="T27" fmla="*/ 2147483647 h 210"/>
              <a:gd name="T28" fmla="*/ 2147483647 w 247"/>
              <a:gd name="T29" fmla="*/ 2147483647 h 210"/>
              <a:gd name="T30" fmla="*/ 2147483647 w 247"/>
              <a:gd name="T31" fmla="*/ 2147483647 h 210"/>
              <a:gd name="T32" fmla="*/ 2147483647 w 247"/>
              <a:gd name="T33" fmla="*/ 2147483647 h 210"/>
              <a:gd name="T34" fmla="*/ 2147483647 w 247"/>
              <a:gd name="T35" fmla="*/ 2147483647 h 210"/>
              <a:gd name="T36" fmla="*/ 2147483647 w 247"/>
              <a:gd name="T37" fmla="*/ 2147483647 h 210"/>
              <a:gd name="T38" fmla="*/ 2147483647 w 247"/>
              <a:gd name="T39" fmla="*/ 2147483647 h 210"/>
              <a:gd name="T40" fmla="*/ 2147483647 w 247"/>
              <a:gd name="T41" fmla="*/ 2147483647 h 210"/>
              <a:gd name="T42" fmla="*/ 2147483647 w 247"/>
              <a:gd name="T43" fmla="*/ 2147483647 h 210"/>
              <a:gd name="T44" fmla="*/ 2147483647 w 247"/>
              <a:gd name="T45" fmla="*/ 2147483647 h 210"/>
              <a:gd name="T46" fmla="*/ 2147483647 w 247"/>
              <a:gd name="T47" fmla="*/ 2147483647 h 210"/>
              <a:gd name="T48" fmla="*/ 2147483647 w 247"/>
              <a:gd name="T49" fmla="*/ 2147483647 h 210"/>
              <a:gd name="T50" fmla="*/ 2147483647 w 247"/>
              <a:gd name="T51" fmla="*/ 2147483647 h 210"/>
              <a:gd name="T52" fmla="*/ 2147483647 w 247"/>
              <a:gd name="T53" fmla="*/ 2147483647 h 210"/>
              <a:gd name="T54" fmla="*/ 2147483647 w 247"/>
              <a:gd name="T55" fmla="*/ 2147483647 h 210"/>
              <a:gd name="T56" fmla="*/ 2147483647 w 247"/>
              <a:gd name="T57" fmla="*/ 2147483647 h 210"/>
              <a:gd name="T58" fmla="*/ 2147483647 w 247"/>
              <a:gd name="T59" fmla="*/ 2147483647 h 210"/>
              <a:gd name="T60" fmla="*/ 2147483647 w 247"/>
              <a:gd name="T61" fmla="*/ 2147483647 h 210"/>
              <a:gd name="T62" fmla="*/ 2147483647 w 247"/>
              <a:gd name="T63" fmla="*/ 2147483647 h 210"/>
              <a:gd name="T64" fmla="*/ 0 w 247"/>
              <a:gd name="T65" fmla="*/ 2147483647 h 210"/>
              <a:gd name="T66" fmla="*/ 2147483647 w 247"/>
              <a:gd name="T67" fmla="*/ 2147483647 h 210"/>
              <a:gd name="T68" fmla="*/ 2147483647 w 247"/>
              <a:gd name="T69" fmla="*/ 2147483647 h 210"/>
              <a:gd name="T70" fmla="*/ 2147483647 w 247"/>
              <a:gd name="T71" fmla="*/ 2147483647 h 210"/>
              <a:gd name="T72" fmla="*/ 2147483647 w 247"/>
              <a:gd name="T73" fmla="*/ 2147483647 h 210"/>
              <a:gd name="T74" fmla="*/ 2147483647 w 247"/>
              <a:gd name="T75" fmla="*/ 2147483647 h 210"/>
              <a:gd name="T76" fmla="*/ 2147483647 w 247"/>
              <a:gd name="T77" fmla="*/ 2147483647 h 210"/>
              <a:gd name="T78" fmla="*/ 2147483647 w 247"/>
              <a:gd name="T79" fmla="*/ 2147483647 h 210"/>
              <a:gd name="T80" fmla="*/ 2147483647 w 247"/>
              <a:gd name="T81" fmla="*/ 2147483647 h 210"/>
              <a:gd name="T82" fmla="*/ 2147483647 w 247"/>
              <a:gd name="T83" fmla="*/ 2147483647 h 210"/>
              <a:gd name="T84" fmla="*/ 2147483647 w 247"/>
              <a:gd name="T85" fmla="*/ 2147483647 h 210"/>
              <a:gd name="T86" fmla="*/ 2147483647 w 247"/>
              <a:gd name="T87" fmla="*/ 0 h 210"/>
              <a:gd name="T88" fmla="*/ 2147483647 w 247"/>
              <a:gd name="T89" fmla="*/ 2147483647 h 210"/>
              <a:gd name="T90" fmla="*/ 2147483647 w 247"/>
              <a:gd name="T91" fmla="*/ 2147483647 h 210"/>
              <a:gd name="T92" fmla="*/ 2147483647 w 247"/>
              <a:gd name="T93" fmla="*/ 2147483647 h 210"/>
              <a:gd name="T94" fmla="*/ 2147483647 w 247"/>
              <a:gd name="T95" fmla="*/ 2147483647 h 210"/>
              <a:gd name="T96" fmla="*/ 2147483647 w 247"/>
              <a:gd name="T97" fmla="*/ 2147483647 h 210"/>
              <a:gd name="T98" fmla="*/ 2147483647 w 247"/>
              <a:gd name="T99" fmla="*/ 2147483647 h 210"/>
              <a:gd name="T100" fmla="*/ 2147483647 w 247"/>
              <a:gd name="T101" fmla="*/ 2147483647 h 210"/>
              <a:gd name="T102" fmla="*/ 2147483647 w 247"/>
              <a:gd name="T103" fmla="*/ 2147483647 h 210"/>
              <a:gd name="T104" fmla="*/ 2147483647 w 247"/>
              <a:gd name="T105" fmla="*/ 2147483647 h 210"/>
              <a:gd name="T106" fmla="*/ 2147483647 w 247"/>
              <a:gd name="T107" fmla="*/ 2147483647 h 210"/>
              <a:gd name="T108" fmla="*/ 2147483647 w 247"/>
              <a:gd name="T109" fmla="*/ 2147483647 h 210"/>
              <a:gd name="T110" fmla="*/ 2147483647 w 247"/>
              <a:gd name="T111" fmla="*/ 2147483647 h 210"/>
              <a:gd name="T112" fmla="*/ 2147483647 w 247"/>
              <a:gd name="T113" fmla="*/ 2147483647 h 210"/>
              <a:gd name="T114" fmla="*/ 2147483647 w 247"/>
              <a:gd name="T115" fmla="*/ 2147483647 h 210"/>
              <a:gd name="T116" fmla="*/ 2147483647 w 247"/>
              <a:gd name="T117" fmla="*/ 2147483647 h 210"/>
              <a:gd name="T118" fmla="*/ 2147483647 w 247"/>
              <a:gd name="T119" fmla="*/ 2147483647 h 210"/>
              <a:gd name="T120" fmla="*/ 2147483647 w 247"/>
              <a:gd name="T121" fmla="*/ 2147483647 h 210"/>
              <a:gd name="T122" fmla="*/ 2147483647 w 247"/>
              <a:gd name="T123" fmla="*/ 2147483647 h 210"/>
              <a:gd name="T124" fmla="*/ 2147483647 w 247"/>
              <a:gd name="T125" fmla="*/ 2147483647 h 210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47"/>
              <a:gd name="T190" fmla="*/ 0 h 210"/>
              <a:gd name="T191" fmla="*/ 247 w 247"/>
              <a:gd name="T192" fmla="*/ 210 h 210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47" h="210">
                <a:moveTo>
                  <a:pt x="241" y="168"/>
                </a:moveTo>
                <a:lnTo>
                  <a:pt x="241" y="177"/>
                </a:lnTo>
                <a:lnTo>
                  <a:pt x="240" y="177"/>
                </a:lnTo>
                <a:lnTo>
                  <a:pt x="238" y="177"/>
                </a:lnTo>
                <a:lnTo>
                  <a:pt x="238" y="178"/>
                </a:lnTo>
                <a:lnTo>
                  <a:pt x="218" y="194"/>
                </a:lnTo>
                <a:lnTo>
                  <a:pt x="193" y="186"/>
                </a:lnTo>
                <a:lnTo>
                  <a:pt x="186" y="183"/>
                </a:lnTo>
                <a:lnTo>
                  <a:pt x="183" y="186"/>
                </a:lnTo>
                <a:lnTo>
                  <a:pt x="166" y="184"/>
                </a:lnTo>
                <a:lnTo>
                  <a:pt x="154" y="194"/>
                </a:lnTo>
                <a:lnTo>
                  <a:pt x="156" y="210"/>
                </a:lnTo>
                <a:lnTo>
                  <a:pt x="127" y="208"/>
                </a:lnTo>
                <a:lnTo>
                  <a:pt x="128" y="206"/>
                </a:lnTo>
                <a:lnTo>
                  <a:pt x="122" y="206"/>
                </a:lnTo>
                <a:lnTo>
                  <a:pt x="67" y="194"/>
                </a:lnTo>
                <a:lnTo>
                  <a:pt x="57" y="186"/>
                </a:lnTo>
                <a:lnTo>
                  <a:pt x="64" y="174"/>
                </a:lnTo>
                <a:lnTo>
                  <a:pt x="67" y="154"/>
                </a:lnTo>
                <a:lnTo>
                  <a:pt x="69" y="135"/>
                </a:lnTo>
                <a:lnTo>
                  <a:pt x="79" y="146"/>
                </a:lnTo>
                <a:lnTo>
                  <a:pt x="69" y="128"/>
                </a:lnTo>
                <a:lnTo>
                  <a:pt x="70" y="121"/>
                </a:lnTo>
                <a:lnTo>
                  <a:pt x="60" y="112"/>
                </a:lnTo>
                <a:lnTo>
                  <a:pt x="52" y="96"/>
                </a:lnTo>
                <a:lnTo>
                  <a:pt x="55" y="92"/>
                </a:lnTo>
                <a:lnTo>
                  <a:pt x="44" y="88"/>
                </a:lnTo>
                <a:lnTo>
                  <a:pt x="32" y="85"/>
                </a:lnTo>
                <a:lnTo>
                  <a:pt x="15" y="78"/>
                </a:lnTo>
                <a:lnTo>
                  <a:pt x="4" y="74"/>
                </a:lnTo>
                <a:lnTo>
                  <a:pt x="7" y="68"/>
                </a:lnTo>
                <a:lnTo>
                  <a:pt x="9" y="67"/>
                </a:lnTo>
                <a:lnTo>
                  <a:pt x="0" y="66"/>
                </a:lnTo>
                <a:lnTo>
                  <a:pt x="24" y="56"/>
                </a:lnTo>
                <a:lnTo>
                  <a:pt x="38" y="58"/>
                </a:lnTo>
                <a:lnTo>
                  <a:pt x="62" y="58"/>
                </a:lnTo>
                <a:lnTo>
                  <a:pt x="57" y="36"/>
                </a:lnTo>
                <a:lnTo>
                  <a:pt x="63" y="34"/>
                </a:lnTo>
                <a:lnTo>
                  <a:pt x="69" y="40"/>
                </a:lnTo>
                <a:lnTo>
                  <a:pt x="100" y="39"/>
                </a:lnTo>
                <a:lnTo>
                  <a:pt x="93" y="38"/>
                </a:lnTo>
                <a:lnTo>
                  <a:pt x="120" y="24"/>
                </a:lnTo>
                <a:lnTo>
                  <a:pt x="122" y="7"/>
                </a:lnTo>
                <a:lnTo>
                  <a:pt x="140" y="0"/>
                </a:lnTo>
                <a:lnTo>
                  <a:pt x="147" y="8"/>
                </a:lnTo>
                <a:lnTo>
                  <a:pt x="172" y="25"/>
                </a:lnTo>
                <a:lnTo>
                  <a:pt x="181" y="24"/>
                </a:lnTo>
                <a:lnTo>
                  <a:pt x="183" y="26"/>
                </a:lnTo>
                <a:lnTo>
                  <a:pt x="202" y="37"/>
                </a:lnTo>
                <a:lnTo>
                  <a:pt x="213" y="39"/>
                </a:lnTo>
                <a:lnTo>
                  <a:pt x="217" y="40"/>
                </a:lnTo>
                <a:lnTo>
                  <a:pt x="247" y="50"/>
                </a:lnTo>
                <a:lnTo>
                  <a:pt x="238" y="85"/>
                </a:lnTo>
                <a:lnTo>
                  <a:pt x="232" y="88"/>
                </a:lnTo>
                <a:lnTo>
                  <a:pt x="228" y="91"/>
                </a:lnTo>
                <a:lnTo>
                  <a:pt x="211" y="116"/>
                </a:lnTo>
                <a:lnTo>
                  <a:pt x="218" y="111"/>
                </a:lnTo>
                <a:lnTo>
                  <a:pt x="229" y="124"/>
                </a:lnTo>
                <a:lnTo>
                  <a:pt x="229" y="134"/>
                </a:lnTo>
                <a:lnTo>
                  <a:pt x="226" y="144"/>
                </a:lnTo>
                <a:lnTo>
                  <a:pt x="226" y="150"/>
                </a:lnTo>
                <a:lnTo>
                  <a:pt x="228" y="159"/>
                </a:lnTo>
                <a:lnTo>
                  <a:pt x="241" y="16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13" name="Freeform 220"/>
          <p:cNvSpPr>
            <a:spLocks/>
          </p:cNvSpPr>
          <p:nvPr/>
        </p:nvSpPr>
        <p:spPr bwMode="auto">
          <a:xfrm>
            <a:off x="4645025" y="3281363"/>
            <a:ext cx="25400" cy="46037"/>
          </a:xfrm>
          <a:custGeom>
            <a:avLst/>
            <a:gdLst>
              <a:gd name="T0" fmla="*/ 2147483647 w 18"/>
              <a:gd name="T1" fmla="*/ 2147483647 h 33"/>
              <a:gd name="T2" fmla="*/ 2147483647 w 18"/>
              <a:gd name="T3" fmla="*/ 2147483647 h 33"/>
              <a:gd name="T4" fmla="*/ 0 w 18"/>
              <a:gd name="T5" fmla="*/ 2147483647 h 33"/>
              <a:gd name="T6" fmla="*/ 2147483647 w 18"/>
              <a:gd name="T7" fmla="*/ 0 h 33"/>
              <a:gd name="T8" fmla="*/ 2147483647 w 18"/>
              <a:gd name="T9" fmla="*/ 2147483647 h 33"/>
              <a:gd name="T10" fmla="*/ 2147483647 w 18"/>
              <a:gd name="T11" fmla="*/ 2147483647 h 3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8"/>
              <a:gd name="T19" fmla="*/ 0 h 33"/>
              <a:gd name="T20" fmla="*/ 18 w 18"/>
              <a:gd name="T21" fmla="*/ 33 h 3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8" h="33">
                <a:moveTo>
                  <a:pt x="13" y="33"/>
                </a:moveTo>
                <a:lnTo>
                  <a:pt x="3" y="29"/>
                </a:lnTo>
                <a:lnTo>
                  <a:pt x="0" y="14"/>
                </a:lnTo>
                <a:lnTo>
                  <a:pt x="13" y="0"/>
                </a:lnTo>
                <a:lnTo>
                  <a:pt x="18" y="15"/>
                </a:lnTo>
                <a:lnTo>
                  <a:pt x="13" y="3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14" name="Freeform 221"/>
          <p:cNvSpPr>
            <a:spLocks/>
          </p:cNvSpPr>
          <p:nvPr/>
        </p:nvSpPr>
        <p:spPr bwMode="auto">
          <a:xfrm>
            <a:off x="4832350" y="3097213"/>
            <a:ext cx="169863" cy="85725"/>
          </a:xfrm>
          <a:custGeom>
            <a:avLst/>
            <a:gdLst>
              <a:gd name="T0" fmla="*/ 2147483647 w 129"/>
              <a:gd name="T1" fmla="*/ 2147483647 h 63"/>
              <a:gd name="T2" fmla="*/ 2147483647 w 129"/>
              <a:gd name="T3" fmla="*/ 2147483647 h 63"/>
              <a:gd name="T4" fmla="*/ 2147483647 w 129"/>
              <a:gd name="T5" fmla="*/ 2147483647 h 63"/>
              <a:gd name="T6" fmla="*/ 2147483647 w 129"/>
              <a:gd name="T7" fmla="*/ 2147483647 h 63"/>
              <a:gd name="T8" fmla="*/ 0 w 129"/>
              <a:gd name="T9" fmla="*/ 2147483647 h 63"/>
              <a:gd name="T10" fmla="*/ 2147483647 w 129"/>
              <a:gd name="T11" fmla="*/ 2147483647 h 63"/>
              <a:gd name="T12" fmla="*/ 2147483647 w 129"/>
              <a:gd name="T13" fmla="*/ 2147483647 h 63"/>
              <a:gd name="T14" fmla="*/ 2147483647 w 129"/>
              <a:gd name="T15" fmla="*/ 2147483647 h 63"/>
              <a:gd name="T16" fmla="*/ 2147483647 w 129"/>
              <a:gd name="T17" fmla="*/ 2147483647 h 63"/>
              <a:gd name="T18" fmla="*/ 2147483647 w 129"/>
              <a:gd name="T19" fmla="*/ 2147483647 h 63"/>
              <a:gd name="T20" fmla="*/ 2147483647 w 129"/>
              <a:gd name="T21" fmla="*/ 2147483647 h 63"/>
              <a:gd name="T22" fmla="*/ 2147483647 w 129"/>
              <a:gd name="T23" fmla="*/ 0 h 63"/>
              <a:gd name="T24" fmla="*/ 2147483647 w 129"/>
              <a:gd name="T25" fmla="*/ 2147483647 h 63"/>
              <a:gd name="T26" fmla="*/ 2147483647 w 129"/>
              <a:gd name="T27" fmla="*/ 2147483647 h 63"/>
              <a:gd name="T28" fmla="*/ 2147483647 w 129"/>
              <a:gd name="T29" fmla="*/ 2147483647 h 63"/>
              <a:gd name="T30" fmla="*/ 2147483647 w 129"/>
              <a:gd name="T31" fmla="*/ 2147483647 h 63"/>
              <a:gd name="T32" fmla="*/ 2147483647 w 129"/>
              <a:gd name="T33" fmla="*/ 2147483647 h 63"/>
              <a:gd name="T34" fmla="*/ 2147483647 w 129"/>
              <a:gd name="T35" fmla="*/ 2147483647 h 6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29"/>
              <a:gd name="T55" fmla="*/ 0 h 63"/>
              <a:gd name="T56" fmla="*/ 129 w 129"/>
              <a:gd name="T57" fmla="*/ 63 h 63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29" h="63">
                <a:moveTo>
                  <a:pt x="54" y="63"/>
                </a:moveTo>
                <a:lnTo>
                  <a:pt x="25" y="60"/>
                </a:lnTo>
                <a:lnTo>
                  <a:pt x="7" y="45"/>
                </a:lnTo>
                <a:lnTo>
                  <a:pt x="1" y="41"/>
                </a:lnTo>
                <a:lnTo>
                  <a:pt x="0" y="39"/>
                </a:lnTo>
                <a:lnTo>
                  <a:pt x="3" y="36"/>
                </a:lnTo>
                <a:lnTo>
                  <a:pt x="9" y="21"/>
                </a:lnTo>
                <a:lnTo>
                  <a:pt x="11" y="19"/>
                </a:lnTo>
                <a:lnTo>
                  <a:pt x="18" y="11"/>
                </a:lnTo>
                <a:lnTo>
                  <a:pt x="24" y="15"/>
                </a:lnTo>
                <a:lnTo>
                  <a:pt x="48" y="15"/>
                </a:lnTo>
                <a:lnTo>
                  <a:pt x="79" y="0"/>
                </a:lnTo>
                <a:lnTo>
                  <a:pt x="113" y="1"/>
                </a:lnTo>
                <a:lnTo>
                  <a:pt x="129" y="12"/>
                </a:lnTo>
                <a:lnTo>
                  <a:pt x="110" y="31"/>
                </a:lnTo>
                <a:lnTo>
                  <a:pt x="94" y="53"/>
                </a:lnTo>
                <a:lnTo>
                  <a:pt x="83" y="57"/>
                </a:lnTo>
                <a:lnTo>
                  <a:pt x="54" y="6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15" name="Freeform 222"/>
          <p:cNvSpPr>
            <a:spLocks/>
          </p:cNvSpPr>
          <p:nvPr/>
        </p:nvSpPr>
        <p:spPr bwMode="auto">
          <a:xfrm>
            <a:off x="5024438" y="2217738"/>
            <a:ext cx="3462337" cy="1106487"/>
          </a:xfrm>
          <a:custGeom>
            <a:avLst/>
            <a:gdLst>
              <a:gd name="T0" fmla="*/ 2147483647 w 2606"/>
              <a:gd name="T1" fmla="*/ 2147483647 h 804"/>
              <a:gd name="T2" fmla="*/ 2147483647 w 2606"/>
              <a:gd name="T3" fmla="*/ 2147483647 h 804"/>
              <a:gd name="T4" fmla="*/ 2147483647 w 2606"/>
              <a:gd name="T5" fmla="*/ 2147483647 h 804"/>
              <a:gd name="T6" fmla="*/ 2147483647 w 2606"/>
              <a:gd name="T7" fmla="*/ 2147483647 h 804"/>
              <a:gd name="T8" fmla="*/ 2147483647 w 2606"/>
              <a:gd name="T9" fmla="*/ 2147483647 h 804"/>
              <a:gd name="T10" fmla="*/ 2147483647 w 2606"/>
              <a:gd name="T11" fmla="*/ 2147483647 h 804"/>
              <a:gd name="T12" fmla="*/ 2147483647 w 2606"/>
              <a:gd name="T13" fmla="*/ 2147483647 h 804"/>
              <a:gd name="T14" fmla="*/ 2147483647 w 2606"/>
              <a:gd name="T15" fmla="*/ 2147483647 h 804"/>
              <a:gd name="T16" fmla="*/ 2147483647 w 2606"/>
              <a:gd name="T17" fmla="*/ 2147483647 h 804"/>
              <a:gd name="T18" fmla="*/ 2147483647 w 2606"/>
              <a:gd name="T19" fmla="*/ 2147483647 h 804"/>
              <a:gd name="T20" fmla="*/ 2147483647 w 2606"/>
              <a:gd name="T21" fmla="*/ 2147483647 h 804"/>
              <a:gd name="T22" fmla="*/ 2147483647 w 2606"/>
              <a:gd name="T23" fmla="*/ 2147483647 h 804"/>
              <a:gd name="T24" fmla="*/ 2147483647 w 2606"/>
              <a:gd name="T25" fmla="*/ 2147483647 h 804"/>
              <a:gd name="T26" fmla="*/ 2147483647 w 2606"/>
              <a:gd name="T27" fmla="*/ 2147483647 h 804"/>
              <a:gd name="T28" fmla="*/ 2147483647 w 2606"/>
              <a:gd name="T29" fmla="*/ 2147483647 h 804"/>
              <a:gd name="T30" fmla="*/ 2147483647 w 2606"/>
              <a:gd name="T31" fmla="*/ 2147483647 h 804"/>
              <a:gd name="T32" fmla="*/ 2147483647 w 2606"/>
              <a:gd name="T33" fmla="*/ 2147483647 h 804"/>
              <a:gd name="T34" fmla="*/ 2147483647 w 2606"/>
              <a:gd name="T35" fmla="*/ 2147483647 h 804"/>
              <a:gd name="T36" fmla="*/ 2147483647 w 2606"/>
              <a:gd name="T37" fmla="*/ 2147483647 h 804"/>
              <a:gd name="T38" fmla="*/ 2147483647 w 2606"/>
              <a:gd name="T39" fmla="*/ 2147483647 h 804"/>
              <a:gd name="T40" fmla="*/ 2147483647 w 2606"/>
              <a:gd name="T41" fmla="*/ 2147483647 h 804"/>
              <a:gd name="T42" fmla="*/ 2147483647 w 2606"/>
              <a:gd name="T43" fmla="*/ 2147483647 h 804"/>
              <a:gd name="T44" fmla="*/ 2147483647 w 2606"/>
              <a:gd name="T45" fmla="*/ 2147483647 h 804"/>
              <a:gd name="T46" fmla="*/ 2147483647 w 2606"/>
              <a:gd name="T47" fmla="*/ 2147483647 h 804"/>
              <a:gd name="T48" fmla="*/ 2147483647 w 2606"/>
              <a:gd name="T49" fmla="*/ 2147483647 h 804"/>
              <a:gd name="T50" fmla="*/ 2147483647 w 2606"/>
              <a:gd name="T51" fmla="*/ 2147483647 h 804"/>
              <a:gd name="T52" fmla="*/ 2147483647 w 2606"/>
              <a:gd name="T53" fmla="*/ 2147483647 h 804"/>
              <a:gd name="T54" fmla="*/ 2147483647 w 2606"/>
              <a:gd name="T55" fmla="*/ 2147483647 h 804"/>
              <a:gd name="T56" fmla="*/ 2147483647 w 2606"/>
              <a:gd name="T57" fmla="*/ 2147483647 h 804"/>
              <a:gd name="T58" fmla="*/ 2147483647 w 2606"/>
              <a:gd name="T59" fmla="*/ 2147483647 h 804"/>
              <a:gd name="T60" fmla="*/ 2147483647 w 2606"/>
              <a:gd name="T61" fmla="*/ 2147483647 h 804"/>
              <a:gd name="T62" fmla="*/ 2147483647 w 2606"/>
              <a:gd name="T63" fmla="*/ 2147483647 h 804"/>
              <a:gd name="T64" fmla="*/ 2147483647 w 2606"/>
              <a:gd name="T65" fmla="*/ 2147483647 h 804"/>
              <a:gd name="T66" fmla="*/ 2147483647 w 2606"/>
              <a:gd name="T67" fmla="*/ 2147483647 h 804"/>
              <a:gd name="T68" fmla="*/ 2147483647 w 2606"/>
              <a:gd name="T69" fmla="*/ 2147483647 h 804"/>
              <a:gd name="T70" fmla="*/ 2147483647 w 2606"/>
              <a:gd name="T71" fmla="*/ 2147483647 h 804"/>
              <a:gd name="T72" fmla="*/ 2147483647 w 2606"/>
              <a:gd name="T73" fmla="*/ 2147483647 h 804"/>
              <a:gd name="T74" fmla="*/ 2147483647 w 2606"/>
              <a:gd name="T75" fmla="*/ 2147483647 h 804"/>
              <a:gd name="T76" fmla="*/ 2147483647 w 2606"/>
              <a:gd name="T77" fmla="*/ 2147483647 h 804"/>
              <a:gd name="T78" fmla="*/ 2147483647 w 2606"/>
              <a:gd name="T79" fmla="*/ 2147483647 h 804"/>
              <a:gd name="T80" fmla="*/ 2147483647 w 2606"/>
              <a:gd name="T81" fmla="*/ 2147483647 h 804"/>
              <a:gd name="T82" fmla="*/ 2147483647 w 2606"/>
              <a:gd name="T83" fmla="*/ 2147483647 h 804"/>
              <a:gd name="T84" fmla="*/ 2147483647 w 2606"/>
              <a:gd name="T85" fmla="*/ 2147483647 h 804"/>
              <a:gd name="T86" fmla="*/ 2147483647 w 2606"/>
              <a:gd name="T87" fmla="*/ 2147483647 h 804"/>
              <a:gd name="T88" fmla="*/ 2147483647 w 2606"/>
              <a:gd name="T89" fmla="*/ 2147483647 h 804"/>
              <a:gd name="T90" fmla="*/ 2147483647 w 2606"/>
              <a:gd name="T91" fmla="*/ 2147483647 h 804"/>
              <a:gd name="T92" fmla="*/ 2147483647 w 2606"/>
              <a:gd name="T93" fmla="*/ 2147483647 h 804"/>
              <a:gd name="T94" fmla="*/ 2147483647 w 2606"/>
              <a:gd name="T95" fmla="*/ 2147483647 h 804"/>
              <a:gd name="T96" fmla="*/ 2147483647 w 2606"/>
              <a:gd name="T97" fmla="*/ 2147483647 h 804"/>
              <a:gd name="T98" fmla="*/ 2147483647 w 2606"/>
              <a:gd name="T99" fmla="*/ 2147483647 h 804"/>
              <a:gd name="T100" fmla="*/ 2147483647 w 2606"/>
              <a:gd name="T101" fmla="*/ 2147483647 h 804"/>
              <a:gd name="T102" fmla="*/ 2147483647 w 2606"/>
              <a:gd name="T103" fmla="*/ 2147483647 h 804"/>
              <a:gd name="T104" fmla="*/ 2147483647 w 2606"/>
              <a:gd name="T105" fmla="*/ 2147483647 h 804"/>
              <a:gd name="T106" fmla="*/ 2147483647 w 2606"/>
              <a:gd name="T107" fmla="*/ 2147483647 h 804"/>
              <a:gd name="T108" fmla="*/ 2147483647 w 2606"/>
              <a:gd name="T109" fmla="*/ 2147483647 h 804"/>
              <a:gd name="T110" fmla="*/ 2147483647 w 2606"/>
              <a:gd name="T111" fmla="*/ 2147483647 h 804"/>
              <a:gd name="T112" fmla="*/ 2147483647 w 2606"/>
              <a:gd name="T113" fmla="*/ 2147483647 h 804"/>
              <a:gd name="T114" fmla="*/ 2147483647 w 2606"/>
              <a:gd name="T115" fmla="*/ 2147483647 h 804"/>
              <a:gd name="T116" fmla="*/ 2147483647 w 2606"/>
              <a:gd name="T117" fmla="*/ 2147483647 h 804"/>
              <a:gd name="T118" fmla="*/ 2147483647 w 2606"/>
              <a:gd name="T119" fmla="*/ 2147483647 h 804"/>
              <a:gd name="T120" fmla="*/ 2147483647 w 2606"/>
              <a:gd name="T121" fmla="*/ 2147483647 h 804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2606"/>
              <a:gd name="T184" fmla="*/ 0 h 804"/>
              <a:gd name="T185" fmla="*/ 2606 w 2606"/>
              <a:gd name="T186" fmla="*/ 804 h 804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2606" h="804">
                <a:moveTo>
                  <a:pt x="2409" y="170"/>
                </a:moveTo>
                <a:lnTo>
                  <a:pt x="2359" y="161"/>
                </a:lnTo>
                <a:lnTo>
                  <a:pt x="2310" y="151"/>
                </a:lnTo>
                <a:lnTo>
                  <a:pt x="2267" y="151"/>
                </a:lnTo>
                <a:lnTo>
                  <a:pt x="2226" y="147"/>
                </a:lnTo>
                <a:lnTo>
                  <a:pt x="2241" y="157"/>
                </a:lnTo>
                <a:lnTo>
                  <a:pt x="2265" y="170"/>
                </a:lnTo>
                <a:lnTo>
                  <a:pt x="2261" y="174"/>
                </a:lnTo>
                <a:lnTo>
                  <a:pt x="2247" y="174"/>
                </a:lnTo>
                <a:lnTo>
                  <a:pt x="2224" y="165"/>
                </a:lnTo>
                <a:lnTo>
                  <a:pt x="2215" y="165"/>
                </a:lnTo>
                <a:lnTo>
                  <a:pt x="2191" y="153"/>
                </a:lnTo>
                <a:lnTo>
                  <a:pt x="2173" y="159"/>
                </a:lnTo>
                <a:lnTo>
                  <a:pt x="2107" y="155"/>
                </a:lnTo>
                <a:lnTo>
                  <a:pt x="2106" y="165"/>
                </a:lnTo>
                <a:lnTo>
                  <a:pt x="2085" y="156"/>
                </a:lnTo>
                <a:lnTo>
                  <a:pt x="2059" y="151"/>
                </a:lnTo>
                <a:lnTo>
                  <a:pt x="2035" y="135"/>
                </a:lnTo>
                <a:lnTo>
                  <a:pt x="1997" y="127"/>
                </a:lnTo>
                <a:lnTo>
                  <a:pt x="1957" y="129"/>
                </a:lnTo>
                <a:lnTo>
                  <a:pt x="1919" y="132"/>
                </a:lnTo>
                <a:lnTo>
                  <a:pt x="1908" y="129"/>
                </a:lnTo>
                <a:lnTo>
                  <a:pt x="1878" y="121"/>
                </a:lnTo>
                <a:lnTo>
                  <a:pt x="1869" y="125"/>
                </a:lnTo>
                <a:lnTo>
                  <a:pt x="1870" y="119"/>
                </a:lnTo>
                <a:lnTo>
                  <a:pt x="1859" y="117"/>
                </a:lnTo>
                <a:lnTo>
                  <a:pt x="1839" y="114"/>
                </a:lnTo>
                <a:lnTo>
                  <a:pt x="1849" y="111"/>
                </a:lnTo>
                <a:lnTo>
                  <a:pt x="1812" y="103"/>
                </a:lnTo>
                <a:lnTo>
                  <a:pt x="1791" y="107"/>
                </a:lnTo>
                <a:lnTo>
                  <a:pt x="1785" y="107"/>
                </a:lnTo>
                <a:lnTo>
                  <a:pt x="1788" y="102"/>
                </a:lnTo>
                <a:lnTo>
                  <a:pt x="1786" y="102"/>
                </a:lnTo>
                <a:lnTo>
                  <a:pt x="1732" y="97"/>
                </a:lnTo>
                <a:lnTo>
                  <a:pt x="1679" y="92"/>
                </a:lnTo>
                <a:lnTo>
                  <a:pt x="1691" y="97"/>
                </a:lnTo>
                <a:lnTo>
                  <a:pt x="1669" y="102"/>
                </a:lnTo>
                <a:lnTo>
                  <a:pt x="1678" y="104"/>
                </a:lnTo>
                <a:lnTo>
                  <a:pt x="1684" y="105"/>
                </a:lnTo>
                <a:lnTo>
                  <a:pt x="1691" y="111"/>
                </a:lnTo>
                <a:lnTo>
                  <a:pt x="1701" y="120"/>
                </a:lnTo>
                <a:lnTo>
                  <a:pt x="1673" y="117"/>
                </a:lnTo>
                <a:lnTo>
                  <a:pt x="1679" y="121"/>
                </a:lnTo>
                <a:lnTo>
                  <a:pt x="1681" y="126"/>
                </a:lnTo>
                <a:lnTo>
                  <a:pt x="1637" y="116"/>
                </a:lnTo>
                <a:lnTo>
                  <a:pt x="1622" y="121"/>
                </a:lnTo>
                <a:lnTo>
                  <a:pt x="1585" y="114"/>
                </a:lnTo>
                <a:lnTo>
                  <a:pt x="1579" y="111"/>
                </a:lnTo>
                <a:lnTo>
                  <a:pt x="1588" y="123"/>
                </a:lnTo>
                <a:lnTo>
                  <a:pt x="1584" y="134"/>
                </a:lnTo>
                <a:lnTo>
                  <a:pt x="1559" y="127"/>
                </a:lnTo>
                <a:lnTo>
                  <a:pt x="1528" y="114"/>
                </a:lnTo>
                <a:lnTo>
                  <a:pt x="1493" y="102"/>
                </a:lnTo>
                <a:lnTo>
                  <a:pt x="1482" y="103"/>
                </a:lnTo>
                <a:lnTo>
                  <a:pt x="1510" y="121"/>
                </a:lnTo>
                <a:lnTo>
                  <a:pt x="1472" y="102"/>
                </a:lnTo>
                <a:lnTo>
                  <a:pt x="1415" y="95"/>
                </a:lnTo>
                <a:lnTo>
                  <a:pt x="1356" y="89"/>
                </a:lnTo>
                <a:lnTo>
                  <a:pt x="1325" y="80"/>
                </a:lnTo>
                <a:lnTo>
                  <a:pt x="1328" y="78"/>
                </a:lnTo>
                <a:lnTo>
                  <a:pt x="1304" y="77"/>
                </a:lnTo>
                <a:lnTo>
                  <a:pt x="1249" y="79"/>
                </a:lnTo>
                <a:lnTo>
                  <a:pt x="1232" y="71"/>
                </a:lnTo>
                <a:lnTo>
                  <a:pt x="1208" y="71"/>
                </a:lnTo>
                <a:lnTo>
                  <a:pt x="1208" y="68"/>
                </a:lnTo>
                <a:lnTo>
                  <a:pt x="1183" y="72"/>
                </a:lnTo>
                <a:lnTo>
                  <a:pt x="1206" y="74"/>
                </a:lnTo>
                <a:lnTo>
                  <a:pt x="1178" y="83"/>
                </a:lnTo>
                <a:lnTo>
                  <a:pt x="1148" y="86"/>
                </a:lnTo>
                <a:lnTo>
                  <a:pt x="1150" y="83"/>
                </a:lnTo>
                <a:lnTo>
                  <a:pt x="1180" y="62"/>
                </a:lnTo>
                <a:lnTo>
                  <a:pt x="1208" y="42"/>
                </a:lnTo>
                <a:lnTo>
                  <a:pt x="1195" y="38"/>
                </a:lnTo>
                <a:lnTo>
                  <a:pt x="1181" y="33"/>
                </a:lnTo>
                <a:lnTo>
                  <a:pt x="1204" y="37"/>
                </a:lnTo>
                <a:lnTo>
                  <a:pt x="1184" y="26"/>
                </a:lnTo>
                <a:lnTo>
                  <a:pt x="1181" y="27"/>
                </a:lnTo>
                <a:lnTo>
                  <a:pt x="1170" y="26"/>
                </a:lnTo>
                <a:lnTo>
                  <a:pt x="1145" y="19"/>
                </a:lnTo>
                <a:lnTo>
                  <a:pt x="1094" y="19"/>
                </a:lnTo>
                <a:lnTo>
                  <a:pt x="1076" y="20"/>
                </a:lnTo>
                <a:lnTo>
                  <a:pt x="1075" y="12"/>
                </a:lnTo>
                <a:lnTo>
                  <a:pt x="1054" y="11"/>
                </a:lnTo>
                <a:lnTo>
                  <a:pt x="1028" y="11"/>
                </a:lnTo>
                <a:lnTo>
                  <a:pt x="1046" y="5"/>
                </a:lnTo>
                <a:lnTo>
                  <a:pt x="1008" y="0"/>
                </a:lnTo>
                <a:lnTo>
                  <a:pt x="985" y="12"/>
                </a:lnTo>
                <a:lnTo>
                  <a:pt x="994" y="20"/>
                </a:lnTo>
                <a:lnTo>
                  <a:pt x="1008" y="21"/>
                </a:lnTo>
                <a:lnTo>
                  <a:pt x="972" y="24"/>
                </a:lnTo>
                <a:lnTo>
                  <a:pt x="984" y="27"/>
                </a:lnTo>
                <a:lnTo>
                  <a:pt x="960" y="29"/>
                </a:lnTo>
                <a:lnTo>
                  <a:pt x="936" y="30"/>
                </a:lnTo>
                <a:lnTo>
                  <a:pt x="892" y="30"/>
                </a:lnTo>
                <a:lnTo>
                  <a:pt x="910" y="31"/>
                </a:lnTo>
                <a:lnTo>
                  <a:pt x="875" y="37"/>
                </a:lnTo>
                <a:lnTo>
                  <a:pt x="840" y="44"/>
                </a:lnTo>
                <a:lnTo>
                  <a:pt x="827" y="47"/>
                </a:lnTo>
                <a:lnTo>
                  <a:pt x="827" y="56"/>
                </a:lnTo>
                <a:lnTo>
                  <a:pt x="814" y="55"/>
                </a:lnTo>
                <a:lnTo>
                  <a:pt x="836" y="61"/>
                </a:lnTo>
                <a:lnTo>
                  <a:pt x="822" y="62"/>
                </a:lnTo>
                <a:lnTo>
                  <a:pt x="840" y="68"/>
                </a:lnTo>
                <a:lnTo>
                  <a:pt x="840" y="71"/>
                </a:lnTo>
                <a:lnTo>
                  <a:pt x="798" y="74"/>
                </a:lnTo>
                <a:lnTo>
                  <a:pt x="756" y="79"/>
                </a:lnTo>
                <a:lnTo>
                  <a:pt x="762" y="87"/>
                </a:lnTo>
                <a:lnTo>
                  <a:pt x="781" y="102"/>
                </a:lnTo>
                <a:lnTo>
                  <a:pt x="803" y="105"/>
                </a:lnTo>
                <a:lnTo>
                  <a:pt x="832" y="116"/>
                </a:lnTo>
                <a:lnTo>
                  <a:pt x="846" y="134"/>
                </a:lnTo>
                <a:lnTo>
                  <a:pt x="851" y="141"/>
                </a:lnTo>
                <a:lnTo>
                  <a:pt x="842" y="143"/>
                </a:lnTo>
                <a:lnTo>
                  <a:pt x="828" y="129"/>
                </a:lnTo>
                <a:lnTo>
                  <a:pt x="826" y="137"/>
                </a:lnTo>
                <a:lnTo>
                  <a:pt x="816" y="123"/>
                </a:lnTo>
                <a:lnTo>
                  <a:pt x="826" y="115"/>
                </a:lnTo>
                <a:lnTo>
                  <a:pt x="791" y="111"/>
                </a:lnTo>
                <a:lnTo>
                  <a:pt x="756" y="101"/>
                </a:lnTo>
                <a:lnTo>
                  <a:pt x="728" y="105"/>
                </a:lnTo>
                <a:lnTo>
                  <a:pt x="741" y="111"/>
                </a:lnTo>
                <a:lnTo>
                  <a:pt x="709" y="110"/>
                </a:lnTo>
                <a:lnTo>
                  <a:pt x="717" y="117"/>
                </a:lnTo>
                <a:lnTo>
                  <a:pt x="756" y="125"/>
                </a:lnTo>
                <a:lnTo>
                  <a:pt x="763" y="129"/>
                </a:lnTo>
                <a:lnTo>
                  <a:pt x="707" y="120"/>
                </a:lnTo>
                <a:lnTo>
                  <a:pt x="689" y="93"/>
                </a:lnTo>
                <a:lnTo>
                  <a:pt x="675" y="92"/>
                </a:lnTo>
                <a:lnTo>
                  <a:pt x="690" y="107"/>
                </a:lnTo>
                <a:lnTo>
                  <a:pt x="674" y="115"/>
                </a:lnTo>
                <a:lnTo>
                  <a:pt x="680" y="123"/>
                </a:lnTo>
                <a:lnTo>
                  <a:pt x="704" y="138"/>
                </a:lnTo>
                <a:lnTo>
                  <a:pt x="702" y="153"/>
                </a:lnTo>
                <a:lnTo>
                  <a:pt x="717" y="169"/>
                </a:lnTo>
                <a:lnTo>
                  <a:pt x="759" y="167"/>
                </a:lnTo>
                <a:lnTo>
                  <a:pt x="781" y="173"/>
                </a:lnTo>
                <a:lnTo>
                  <a:pt x="791" y="187"/>
                </a:lnTo>
                <a:lnTo>
                  <a:pt x="797" y="195"/>
                </a:lnTo>
                <a:lnTo>
                  <a:pt x="821" y="200"/>
                </a:lnTo>
                <a:lnTo>
                  <a:pt x="786" y="195"/>
                </a:lnTo>
                <a:lnTo>
                  <a:pt x="773" y="177"/>
                </a:lnTo>
                <a:lnTo>
                  <a:pt x="761" y="170"/>
                </a:lnTo>
                <a:lnTo>
                  <a:pt x="731" y="176"/>
                </a:lnTo>
                <a:lnTo>
                  <a:pt x="749" y="198"/>
                </a:lnTo>
                <a:lnTo>
                  <a:pt x="734" y="219"/>
                </a:lnTo>
                <a:lnTo>
                  <a:pt x="727" y="223"/>
                </a:lnTo>
                <a:lnTo>
                  <a:pt x="717" y="227"/>
                </a:lnTo>
                <a:lnTo>
                  <a:pt x="672" y="221"/>
                </a:lnTo>
                <a:lnTo>
                  <a:pt x="667" y="217"/>
                </a:lnTo>
                <a:lnTo>
                  <a:pt x="697" y="218"/>
                </a:lnTo>
                <a:lnTo>
                  <a:pt x="691" y="221"/>
                </a:lnTo>
                <a:lnTo>
                  <a:pt x="711" y="218"/>
                </a:lnTo>
                <a:lnTo>
                  <a:pt x="708" y="213"/>
                </a:lnTo>
                <a:lnTo>
                  <a:pt x="721" y="192"/>
                </a:lnTo>
                <a:lnTo>
                  <a:pt x="721" y="182"/>
                </a:lnTo>
                <a:lnTo>
                  <a:pt x="693" y="165"/>
                </a:lnTo>
                <a:lnTo>
                  <a:pt x="681" y="145"/>
                </a:lnTo>
                <a:lnTo>
                  <a:pt x="668" y="126"/>
                </a:lnTo>
                <a:lnTo>
                  <a:pt x="651" y="117"/>
                </a:lnTo>
                <a:lnTo>
                  <a:pt x="651" y="98"/>
                </a:lnTo>
                <a:lnTo>
                  <a:pt x="626" y="90"/>
                </a:lnTo>
                <a:lnTo>
                  <a:pt x="593" y="92"/>
                </a:lnTo>
                <a:lnTo>
                  <a:pt x="589" y="119"/>
                </a:lnTo>
                <a:lnTo>
                  <a:pt x="577" y="128"/>
                </a:lnTo>
                <a:lnTo>
                  <a:pt x="581" y="133"/>
                </a:lnTo>
                <a:lnTo>
                  <a:pt x="591" y="134"/>
                </a:lnTo>
                <a:lnTo>
                  <a:pt x="595" y="147"/>
                </a:lnTo>
                <a:lnTo>
                  <a:pt x="600" y="156"/>
                </a:lnTo>
                <a:lnTo>
                  <a:pt x="621" y="162"/>
                </a:lnTo>
                <a:lnTo>
                  <a:pt x="636" y="171"/>
                </a:lnTo>
                <a:lnTo>
                  <a:pt x="643" y="173"/>
                </a:lnTo>
                <a:lnTo>
                  <a:pt x="636" y="186"/>
                </a:lnTo>
                <a:lnTo>
                  <a:pt x="612" y="173"/>
                </a:lnTo>
                <a:lnTo>
                  <a:pt x="572" y="163"/>
                </a:lnTo>
                <a:lnTo>
                  <a:pt x="536" y="157"/>
                </a:lnTo>
                <a:lnTo>
                  <a:pt x="499" y="152"/>
                </a:lnTo>
                <a:lnTo>
                  <a:pt x="493" y="158"/>
                </a:lnTo>
                <a:lnTo>
                  <a:pt x="511" y="173"/>
                </a:lnTo>
                <a:lnTo>
                  <a:pt x="499" y="179"/>
                </a:lnTo>
                <a:lnTo>
                  <a:pt x="498" y="185"/>
                </a:lnTo>
                <a:lnTo>
                  <a:pt x="488" y="182"/>
                </a:lnTo>
                <a:lnTo>
                  <a:pt x="483" y="173"/>
                </a:lnTo>
                <a:lnTo>
                  <a:pt x="461" y="176"/>
                </a:lnTo>
                <a:lnTo>
                  <a:pt x="443" y="179"/>
                </a:lnTo>
                <a:lnTo>
                  <a:pt x="422" y="186"/>
                </a:lnTo>
                <a:lnTo>
                  <a:pt x="397" y="183"/>
                </a:lnTo>
                <a:lnTo>
                  <a:pt x="404" y="181"/>
                </a:lnTo>
                <a:lnTo>
                  <a:pt x="397" y="173"/>
                </a:lnTo>
                <a:lnTo>
                  <a:pt x="410" y="170"/>
                </a:lnTo>
                <a:lnTo>
                  <a:pt x="380" y="179"/>
                </a:lnTo>
                <a:lnTo>
                  <a:pt x="379" y="181"/>
                </a:lnTo>
                <a:lnTo>
                  <a:pt x="347" y="188"/>
                </a:lnTo>
                <a:lnTo>
                  <a:pt x="329" y="194"/>
                </a:lnTo>
                <a:lnTo>
                  <a:pt x="330" y="198"/>
                </a:lnTo>
                <a:lnTo>
                  <a:pt x="314" y="200"/>
                </a:lnTo>
                <a:lnTo>
                  <a:pt x="313" y="215"/>
                </a:lnTo>
                <a:lnTo>
                  <a:pt x="288" y="215"/>
                </a:lnTo>
                <a:lnTo>
                  <a:pt x="269" y="203"/>
                </a:lnTo>
                <a:lnTo>
                  <a:pt x="294" y="193"/>
                </a:lnTo>
                <a:lnTo>
                  <a:pt x="265" y="179"/>
                </a:lnTo>
                <a:lnTo>
                  <a:pt x="233" y="177"/>
                </a:lnTo>
                <a:lnTo>
                  <a:pt x="251" y="186"/>
                </a:lnTo>
                <a:lnTo>
                  <a:pt x="259" y="209"/>
                </a:lnTo>
                <a:lnTo>
                  <a:pt x="266" y="224"/>
                </a:lnTo>
                <a:lnTo>
                  <a:pt x="265" y="234"/>
                </a:lnTo>
                <a:lnTo>
                  <a:pt x="257" y="233"/>
                </a:lnTo>
                <a:lnTo>
                  <a:pt x="251" y="225"/>
                </a:lnTo>
                <a:lnTo>
                  <a:pt x="231" y="223"/>
                </a:lnTo>
                <a:lnTo>
                  <a:pt x="216" y="235"/>
                </a:lnTo>
                <a:lnTo>
                  <a:pt x="199" y="247"/>
                </a:lnTo>
                <a:lnTo>
                  <a:pt x="216" y="265"/>
                </a:lnTo>
                <a:lnTo>
                  <a:pt x="177" y="260"/>
                </a:lnTo>
                <a:lnTo>
                  <a:pt x="152" y="252"/>
                </a:lnTo>
                <a:lnTo>
                  <a:pt x="153" y="261"/>
                </a:lnTo>
                <a:lnTo>
                  <a:pt x="171" y="270"/>
                </a:lnTo>
                <a:lnTo>
                  <a:pt x="181" y="277"/>
                </a:lnTo>
                <a:lnTo>
                  <a:pt x="158" y="279"/>
                </a:lnTo>
                <a:lnTo>
                  <a:pt x="125" y="264"/>
                </a:lnTo>
                <a:lnTo>
                  <a:pt x="114" y="245"/>
                </a:lnTo>
                <a:lnTo>
                  <a:pt x="113" y="239"/>
                </a:lnTo>
                <a:lnTo>
                  <a:pt x="115" y="237"/>
                </a:lnTo>
                <a:lnTo>
                  <a:pt x="93" y="227"/>
                </a:lnTo>
                <a:lnTo>
                  <a:pt x="84" y="222"/>
                </a:lnTo>
                <a:lnTo>
                  <a:pt x="62" y="210"/>
                </a:lnTo>
                <a:lnTo>
                  <a:pt x="75" y="213"/>
                </a:lnTo>
                <a:lnTo>
                  <a:pt x="120" y="223"/>
                </a:lnTo>
                <a:lnTo>
                  <a:pt x="165" y="233"/>
                </a:lnTo>
                <a:lnTo>
                  <a:pt x="207" y="223"/>
                </a:lnTo>
                <a:lnTo>
                  <a:pt x="212" y="207"/>
                </a:lnTo>
                <a:lnTo>
                  <a:pt x="195" y="195"/>
                </a:lnTo>
                <a:lnTo>
                  <a:pt x="147" y="181"/>
                </a:lnTo>
                <a:lnTo>
                  <a:pt x="101" y="165"/>
                </a:lnTo>
                <a:lnTo>
                  <a:pt x="73" y="167"/>
                </a:lnTo>
                <a:lnTo>
                  <a:pt x="66" y="169"/>
                </a:lnTo>
                <a:lnTo>
                  <a:pt x="72" y="161"/>
                </a:lnTo>
                <a:lnTo>
                  <a:pt x="61" y="163"/>
                </a:lnTo>
                <a:lnTo>
                  <a:pt x="48" y="156"/>
                </a:lnTo>
                <a:lnTo>
                  <a:pt x="63" y="153"/>
                </a:lnTo>
                <a:lnTo>
                  <a:pt x="44" y="151"/>
                </a:lnTo>
                <a:lnTo>
                  <a:pt x="37" y="155"/>
                </a:lnTo>
                <a:lnTo>
                  <a:pt x="27" y="153"/>
                </a:lnTo>
                <a:lnTo>
                  <a:pt x="29" y="158"/>
                </a:lnTo>
                <a:lnTo>
                  <a:pt x="18" y="159"/>
                </a:lnTo>
                <a:lnTo>
                  <a:pt x="1" y="169"/>
                </a:lnTo>
                <a:lnTo>
                  <a:pt x="0" y="173"/>
                </a:lnTo>
                <a:lnTo>
                  <a:pt x="2" y="187"/>
                </a:lnTo>
                <a:lnTo>
                  <a:pt x="26" y="200"/>
                </a:lnTo>
                <a:lnTo>
                  <a:pt x="15" y="216"/>
                </a:lnTo>
                <a:lnTo>
                  <a:pt x="37" y="241"/>
                </a:lnTo>
                <a:lnTo>
                  <a:pt x="38" y="259"/>
                </a:lnTo>
                <a:lnTo>
                  <a:pt x="44" y="267"/>
                </a:lnTo>
                <a:lnTo>
                  <a:pt x="54" y="277"/>
                </a:lnTo>
                <a:lnTo>
                  <a:pt x="47" y="283"/>
                </a:lnTo>
                <a:lnTo>
                  <a:pt x="78" y="301"/>
                </a:lnTo>
                <a:lnTo>
                  <a:pt x="65" y="314"/>
                </a:lnTo>
                <a:lnTo>
                  <a:pt x="51" y="327"/>
                </a:lnTo>
                <a:lnTo>
                  <a:pt x="39" y="341"/>
                </a:lnTo>
                <a:lnTo>
                  <a:pt x="25" y="354"/>
                </a:lnTo>
                <a:lnTo>
                  <a:pt x="38" y="354"/>
                </a:lnTo>
                <a:lnTo>
                  <a:pt x="36" y="354"/>
                </a:lnTo>
                <a:lnTo>
                  <a:pt x="39" y="359"/>
                </a:lnTo>
                <a:lnTo>
                  <a:pt x="71" y="367"/>
                </a:lnTo>
                <a:lnTo>
                  <a:pt x="51" y="367"/>
                </a:lnTo>
                <a:lnTo>
                  <a:pt x="36" y="374"/>
                </a:lnTo>
                <a:lnTo>
                  <a:pt x="31" y="380"/>
                </a:lnTo>
                <a:lnTo>
                  <a:pt x="37" y="402"/>
                </a:lnTo>
                <a:lnTo>
                  <a:pt x="29" y="416"/>
                </a:lnTo>
                <a:lnTo>
                  <a:pt x="39" y="433"/>
                </a:lnTo>
                <a:lnTo>
                  <a:pt x="53" y="459"/>
                </a:lnTo>
                <a:lnTo>
                  <a:pt x="81" y="464"/>
                </a:lnTo>
                <a:lnTo>
                  <a:pt x="110" y="469"/>
                </a:lnTo>
                <a:lnTo>
                  <a:pt x="115" y="497"/>
                </a:lnTo>
                <a:lnTo>
                  <a:pt x="139" y="517"/>
                </a:lnTo>
                <a:lnTo>
                  <a:pt x="132" y="524"/>
                </a:lnTo>
                <a:lnTo>
                  <a:pt x="138" y="546"/>
                </a:lnTo>
                <a:lnTo>
                  <a:pt x="153" y="541"/>
                </a:lnTo>
                <a:lnTo>
                  <a:pt x="183" y="545"/>
                </a:lnTo>
                <a:lnTo>
                  <a:pt x="187" y="553"/>
                </a:lnTo>
                <a:lnTo>
                  <a:pt x="212" y="573"/>
                </a:lnTo>
                <a:lnTo>
                  <a:pt x="237" y="595"/>
                </a:lnTo>
                <a:lnTo>
                  <a:pt x="249" y="593"/>
                </a:lnTo>
                <a:lnTo>
                  <a:pt x="278" y="602"/>
                </a:lnTo>
                <a:lnTo>
                  <a:pt x="307" y="611"/>
                </a:lnTo>
                <a:lnTo>
                  <a:pt x="320" y="645"/>
                </a:lnTo>
                <a:lnTo>
                  <a:pt x="305" y="653"/>
                </a:lnTo>
                <a:lnTo>
                  <a:pt x="297" y="667"/>
                </a:lnTo>
                <a:lnTo>
                  <a:pt x="302" y="672"/>
                </a:lnTo>
                <a:lnTo>
                  <a:pt x="287" y="680"/>
                </a:lnTo>
                <a:lnTo>
                  <a:pt x="277" y="683"/>
                </a:lnTo>
                <a:lnTo>
                  <a:pt x="293" y="696"/>
                </a:lnTo>
                <a:lnTo>
                  <a:pt x="287" y="695"/>
                </a:lnTo>
                <a:lnTo>
                  <a:pt x="284" y="702"/>
                </a:lnTo>
                <a:lnTo>
                  <a:pt x="281" y="697"/>
                </a:lnTo>
                <a:lnTo>
                  <a:pt x="279" y="711"/>
                </a:lnTo>
                <a:lnTo>
                  <a:pt x="263" y="713"/>
                </a:lnTo>
                <a:lnTo>
                  <a:pt x="258" y="717"/>
                </a:lnTo>
                <a:lnTo>
                  <a:pt x="288" y="733"/>
                </a:lnTo>
                <a:lnTo>
                  <a:pt x="318" y="749"/>
                </a:lnTo>
                <a:lnTo>
                  <a:pt x="319" y="746"/>
                </a:lnTo>
                <a:lnTo>
                  <a:pt x="342" y="749"/>
                </a:lnTo>
                <a:lnTo>
                  <a:pt x="363" y="750"/>
                </a:lnTo>
                <a:lnTo>
                  <a:pt x="393" y="762"/>
                </a:lnTo>
                <a:lnTo>
                  <a:pt x="423" y="774"/>
                </a:lnTo>
                <a:lnTo>
                  <a:pt x="453" y="786"/>
                </a:lnTo>
                <a:lnTo>
                  <a:pt x="483" y="798"/>
                </a:lnTo>
                <a:lnTo>
                  <a:pt x="517" y="804"/>
                </a:lnTo>
                <a:lnTo>
                  <a:pt x="500" y="785"/>
                </a:lnTo>
                <a:lnTo>
                  <a:pt x="483" y="767"/>
                </a:lnTo>
                <a:lnTo>
                  <a:pt x="480" y="750"/>
                </a:lnTo>
                <a:lnTo>
                  <a:pt x="479" y="756"/>
                </a:lnTo>
                <a:lnTo>
                  <a:pt x="468" y="738"/>
                </a:lnTo>
                <a:lnTo>
                  <a:pt x="461" y="731"/>
                </a:lnTo>
                <a:lnTo>
                  <a:pt x="471" y="707"/>
                </a:lnTo>
                <a:lnTo>
                  <a:pt x="492" y="697"/>
                </a:lnTo>
                <a:lnTo>
                  <a:pt x="501" y="692"/>
                </a:lnTo>
                <a:lnTo>
                  <a:pt x="499" y="686"/>
                </a:lnTo>
                <a:lnTo>
                  <a:pt x="485" y="662"/>
                </a:lnTo>
                <a:lnTo>
                  <a:pt x="461" y="644"/>
                </a:lnTo>
                <a:lnTo>
                  <a:pt x="438" y="626"/>
                </a:lnTo>
                <a:lnTo>
                  <a:pt x="441" y="599"/>
                </a:lnTo>
                <a:lnTo>
                  <a:pt x="444" y="572"/>
                </a:lnTo>
                <a:lnTo>
                  <a:pt x="467" y="583"/>
                </a:lnTo>
                <a:lnTo>
                  <a:pt x="470" y="572"/>
                </a:lnTo>
                <a:lnTo>
                  <a:pt x="485" y="561"/>
                </a:lnTo>
                <a:lnTo>
                  <a:pt x="500" y="551"/>
                </a:lnTo>
                <a:lnTo>
                  <a:pt x="528" y="551"/>
                </a:lnTo>
                <a:lnTo>
                  <a:pt x="553" y="563"/>
                </a:lnTo>
                <a:lnTo>
                  <a:pt x="579" y="573"/>
                </a:lnTo>
                <a:lnTo>
                  <a:pt x="608" y="572"/>
                </a:lnTo>
                <a:lnTo>
                  <a:pt x="645" y="571"/>
                </a:lnTo>
                <a:lnTo>
                  <a:pt x="684" y="577"/>
                </a:lnTo>
                <a:lnTo>
                  <a:pt x="686" y="571"/>
                </a:lnTo>
                <a:lnTo>
                  <a:pt x="666" y="546"/>
                </a:lnTo>
                <a:lnTo>
                  <a:pt x="675" y="519"/>
                </a:lnTo>
                <a:lnTo>
                  <a:pt x="692" y="519"/>
                </a:lnTo>
                <a:lnTo>
                  <a:pt x="669" y="509"/>
                </a:lnTo>
                <a:lnTo>
                  <a:pt x="693" y="504"/>
                </a:lnTo>
                <a:lnTo>
                  <a:pt x="719" y="500"/>
                </a:lnTo>
                <a:lnTo>
                  <a:pt x="741" y="494"/>
                </a:lnTo>
                <a:lnTo>
                  <a:pt x="765" y="487"/>
                </a:lnTo>
                <a:lnTo>
                  <a:pt x="788" y="481"/>
                </a:lnTo>
                <a:lnTo>
                  <a:pt x="811" y="474"/>
                </a:lnTo>
                <a:lnTo>
                  <a:pt x="828" y="473"/>
                </a:lnTo>
                <a:lnTo>
                  <a:pt x="842" y="487"/>
                </a:lnTo>
                <a:lnTo>
                  <a:pt x="880" y="500"/>
                </a:lnTo>
                <a:lnTo>
                  <a:pt x="893" y="507"/>
                </a:lnTo>
                <a:lnTo>
                  <a:pt x="908" y="510"/>
                </a:lnTo>
                <a:lnTo>
                  <a:pt x="932" y="501"/>
                </a:lnTo>
                <a:lnTo>
                  <a:pt x="958" y="492"/>
                </a:lnTo>
                <a:lnTo>
                  <a:pt x="961" y="495"/>
                </a:lnTo>
                <a:lnTo>
                  <a:pt x="958" y="507"/>
                </a:lnTo>
                <a:lnTo>
                  <a:pt x="984" y="524"/>
                </a:lnTo>
                <a:lnTo>
                  <a:pt x="1010" y="542"/>
                </a:lnTo>
                <a:lnTo>
                  <a:pt x="1037" y="560"/>
                </a:lnTo>
                <a:lnTo>
                  <a:pt x="1063" y="578"/>
                </a:lnTo>
                <a:lnTo>
                  <a:pt x="1067" y="572"/>
                </a:lnTo>
                <a:lnTo>
                  <a:pt x="1081" y="577"/>
                </a:lnTo>
                <a:lnTo>
                  <a:pt x="1106" y="573"/>
                </a:lnTo>
                <a:lnTo>
                  <a:pt x="1133" y="589"/>
                </a:lnTo>
                <a:lnTo>
                  <a:pt x="1159" y="606"/>
                </a:lnTo>
                <a:lnTo>
                  <a:pt x="1184" y="600"/>
                </a:lnTo>
                <a:lnTo>
                  <a:pt x="1206" y="623"/>
                </a:lnTo>
                <a:lnTo>
                  <a:pt x="1222" y="621"/>
                </a:lnTo>
                <a:lnTo>
                  <a:pt x="1231" y="613"/>
                </a:lnTo>
                <a:lnTo>
                  <a:pt x="1249" y="606"/>
                </a:lnTo>
                <a:lnTo>
                  <a:pt x="1268" y="594"/>
                </a:lnTo>
                <a:lnTo>
                  <a:pt x="1288" y="583"/>
                </a:lnTo>
                <a:lnTo>
                  <a:pt x="1327" y="588"/>
                </a:lnTo>
                <a:lnTo>
                  <a:pt x="1333" y="596"/>
                </a:lnTo>
                <a:lnTo>
                  <a:pt x="1363" y="601"/>
                </a:lnTo>
                <a:lnTo>
                  <a:pt x="1392" y="606"/>
                </a:lnTo>
                <a:lnTo>
                  <a:pt x="1406" y="594"/>
                </a:lnTo>
                <a:lnTo>
                  <a:pt x="1388" y="577"/>
                </a:lnTo>
                <a:lnTo>
                  <a:pt x="1393" y="553"/>
                </a:lnTo>
                <a:lnTo>
                  <a:pt x="1427" y="560"/>
                </a:lnTo>
                <a:lnTo>
                  <a:pt x="1459" y="567"/>
                </a:lnTo>
                <a:lnTo>
                  <a:pt x="1474" y="581"/>
                </a:lnTo>
                <a:lnTo>
                  <a:pt x="1504" y="596"/>
                </a:lnTo>
                <a:lnTo>
                  <a:pt x="1537" y="590"/>
                </a:lnTo>
                <a:lnTo>
                  <a:pt x="1564" y="595"/>
                </a:lnTo>
                <a:lnTo>
                  <a:pt x="1591" y="601"/>
                </a:lnTo>
                <a:lnTo>
                  <a:pt x="1602" y="611"/>
                </a:lnTo>
                <a:lnTo>
                  <a:pt x="1643" y="620"/>
                </a:lnTo>
                <a:lnTo>
                  <a:pt x="1666" y="617"/>
                </a:lnTo>
                <a:lnTo>
                  <a:pt x="1687" y="612"/>
                </a:lnTo>
                <a:lnTo>
                  <a:pt x="1710" y="595"/>
                </a:lnTo>
                <a:lnTo>
                  <a:pt x="1746" y="603"/>
                </a:lnTo>
                <a:lnTo>
                  <a:pt x="1764" y="605"/>
                </a:lnTo>
                <a:lnTo>
                  <a:pt x="1793" y="611"/>
                </a:lnTo>
                <a:lnTo>
                  <a:pt x="1807" y="595"/>
                </a:lnTo>
                <a:lnTo>
                  <a:pt x="1801" y="577"/>
                </a:lnTo>
                <a:lnTo>
                  <a:pt x="1800" y="548"/>
                </a:lnTo>
                <a:lnTo>
                  <a:pt x="1786" y="539"/>
                </a:lnTo>
                <a:lnTo>
                  <a:pt x="1777" y="535"/>
                </a:lnTo>
                <a:lnTo>
                  <a:pt x="1792" y="522"/>
                </a:lnTo>
                <a:lnTo>
                  <a:pt x="1816" y="521"/>
                </a:lnTo>
                <a:lnTo>
                  <a:pt x="1840" y="521"/>
                </a:lnTo>
                <a:lnTo>
                  <a:pt x="1890" y="536"/>
                </a:lnTo>
                <a:lnTo>
                  <a:pt x="1909" y="553"/>
                </a:lnTo>
                <a:lnTo>
                  <a:pt x="1930" y="570"/>
                </a:lnTo>
                <a:lnTo>
                  <a:pt x="1949" y="587"/>
                </a:lnTo>
                <a:lnTo>
                  <a:pt x="1969" y="603"/>
                </a:lnTo>
                <a:lnTo>
                  <a:pt x="1991" y="612"/>
                </a:lnTo>
                <a:lnTo>
                  <a:pt x="2026" y="621"/>
                </a:lnTo>
                <a:lnTo>
                  <a:pt x="2046" y="630"/>
                </a:lnTo>
                <a:lnTo>
                  <a:pt x="2071" y="656"/>
                </a:lnTo>
                <a:lnTo>
                  <a:pt x="2100" y="653"/>
                </a:lnTo>
                <a:lnTo>
                  <a:pt x="2131" y="642"/>
                </a:lnTo>
                <a:lnTo>
                  <a:pt x="2143" y="663"/>
                </a:lnTo>
                <a:lnTo>
                  <a:pt x="2147" y="692"/>
                </a:lnTo>
                <a:lnTo>
                  <a:pt x="2151" y="721"/>
                </a:lnTo>
                <a:lnTo>
                  <a:pt x="2124" y="716"/>
                </a:lnTo>
                <a:lnTo>
                  <a:pt x="2121" y="729"/>
                </a:lnTo>
                <a:lnTo>
                  <a:pt x="2134" y="751"/>
                </a:lnTo>
                <a:lnTo>
                  <a:pt x="2148" y="773"/>
                </a:lnTo>
                <a:lnTo>
                  <a:pt x="2140" y="779"/>
                </a:lnTo>
                <a:lnTo>
                  <a:pt x="2145" y="786"/>
                </a:lnTo>
                <a:lnTo>
                  <a:pt x="2148" y="788"/>
                </a:lnTo>
                <a:lnTo>
                  <a:pt x="2146" y="781"/>
                </a:lnTo>
                <a:lnTo>
                  <a:pt x="2149" y="781"/>
                </a:lnTo>
                <a:lnTo>
                  <a:pt x="2160" y="767"/>
                </a:lnTo>
                <a:lnTo>
                  <a:pt x="2166" y="764"/>
                </a:lnTo>
                <a:lnTo>
                  <a:pt x="2172" y="775"/>
                </a:lnTo>
                <a:lnTo>
                  <a:pt x="2187" y="776"/>
                </a:lnTo>
                <a:lnTo>
                  <a:pt x="2211" y="768"/>
                </a:lnTo>
                <a:lnTo>
                  <a:pt x="2218" y="751"/>
                </a:lnTo>
                <a:lnTo>
                  <a:pt x="2224" y="734"/>
                </a:lnTo>
                <a:lnTo>
                  <a:pt x="2227" y="710"/>
                </a:lnTo>
                <a:lnTo>
                  <a:pt x="2230" y="687"/>
                </a:lnTo>
                <a:lnTo>
                  <a:pt x="2232" y="665"/>
                </a:lnTo>
                <a:lnTo>
                  <a:pt x="2233" y="642"/>
                </a:lnTo>
                <a:lnTo>
                  <a:pt x="2224" y="621"/>
                </a:lnTo>
                <a:lnTo>
                  <a:pt x="2214" y="601"/>
                </a:lnTo>
                <a:lnTo>
                  <a:pt x="2202" y="588"/>
                </a:lnTo>
                <a:lnTo>
                  <a:pt x="2197" y="572"/>
                </a:lnTo>
                <a:lnTo>
                  <a:pt x="2191" y="557"/>
                </a:lnTo>
                <a:lnTo>
                  <a:pt x="2177" y="540"/>
                </a:lnTo>
                <a:lnTo>
                  <a:pt x="2155" y="527"/>
                </a:lnTo>
                <a:lnTo>
                  <a:pt x="2169" y="528"/>
                </a:lnTo>
                <a:lnTo>
                  <a:pt x="2118" y="501"/>
                </a:lnTo>
                <a:lnTo>
                  <a:pt x="2094" y="498"/>
                </a:lnTo>
                <a:lnTo>
                  <a:pt x="2101" y="509"/>
                </a:lnTo>
                <a:lnTo>
                  <a:pt x="2085" y="517"/>
                </a:lnTo>
                <a:lnTo>
                  <a:pt x="2085" y="509"/>
                </a:lnTo>
                <a:lnTo>
                  <a:pt x="2074" y="505"/>
                </a:lnTo>
                <a:lnTo>
                  <a:pt x="2071" y="510"/>
                </a:lnTo>
                <a:lnTo>
                  <a:pt x="2056" y="493"/>
                </a:lnTo>
                <a:lnTo>
                  <a:pt x="2022" y="489"/>
                </a:lnTo>
                <a:lnTo>
                  <a:pt x="2031" y="468"/>
                </a:lnTo>
                <a:lnTo>
                  <a:pt x="2037" y="447"/>
                </a:lnTo>
                <a:lnTo>
                  <a:pt x="2043" y="433"/>
                </a:lnTo>
                <a:lnTo>
                  <a:pt x="2049" y="419"/>
                </a:lnTo>
                <a:lnTo>
                  <a:pt x="2044" y="408"/>
                </a:lnTo>
                <a:lnTo>
                  <a:pt x="2052" y="387"/>
                </a:lnTo>
                <a:lnTo>
                  <a:pt x="2075" y="384"/>
                </a:lnTo>
                <a:lnTo>
                  <a:pt x="2099" y="380"/>
                </a:lnTo>
                <a:lnTo>
                  <a:pt x="2105" y="380"/>
                </a:lnTo>
                <a:lnTo>
                  <a:pt x="2115" y="385"/>
                </a:lnTo>
                <a:lnTo>
                  <a:pt x="2117" y="381"/>
                </a:lnTo>
                <a:lnTo>
                  <a:pt x="2161" y="384"/>
                </a:lnTo>
                <a:lnTo>
                  <a:pt x="2163" y="379"/>
                </a:lnTo>
                <a:lnTo>
                  <a:pt x="2159" y="375"/>
                </a:lnTo>
                <a:lnTo>
                  <a:pt x="2194" y="377"/>
                </a:lnTo>
                <a:lnTo>
                  <a:pt x="2221" y="383"/>
                </a:lnTo>
                <a:lnTo>
                  <a:pt x="2212" y="386"/>
                </a:lnTo>
                <a:lnTo>
                  <a:pt x="2219" y="393"/>
                </a:lnTo>
                <a:lnTo>
                  <a:pt x="2238" y="391"/>
                </a:lnTo>
                <a:lnTo>
                  <a:pt x="2251" y="385"/>
                </a:lnTo>
                <a:lnTo>
                  <a:pt x="2279" y="386"/>
                </a:lnTo>
                <a:lnTo>
                  <a:pt x="2274" y="381"/>
                </a:lnTo>
                <a:lnTo>
                  <a:pt x="2256" y="379"/>
                </a:lnTo>
                <a:lnTo>
                  <a:pt x="2249" y="373"/>
                </a:lnTo>
                <a:lnTo>
                  <a:pt x="2248" y="351"/>
                </a:lnTo>
                <a:lnTo>
                  <a:pt x="2247" y="329"/>
                </a:lnTo>
                <a:lnTo>
                  <a:pt x="2285" y="327"/>
                </a:lnTo>
                <a:lnTo>
                  <a:pt x="2293" y="325"/>
                </a:lnTo>
                <a:lnTo>
                  <a:pt x="2314" y="345"/>
                </a:lnTo>
                <a:lnTo>
                  <a:pt x="2317" y="343"/>
                </a:lnTo>
                <a:lnTo>
                  <a:pt x="2329" y="354"/>
                </a:lnTo>
                <a:lnTo>
                  <a:pt x="2339" y="331"/>
                </a:lnTo>
                <a:lnTo>
                  <a:pt x="2350" y="331"/>
                </a:lnTo>
                <a:lnTo>
                  <a:pt x="2329" y="312"/>
                </a:lnTo>
                <a:lnTo>
                  <a:pt x="2335" y="308"/>
                </a:lnTo>
                <a:lnTo>
                  <a:pt x="2367" y="312"/>
                </a:lnTo>
                <a:lnTo>
                  <a:pt x="2370" y="315"/>
                </a:lnTo>
                <a:lnTo>
                  <a:pt x="2353" y="314"/>
                </a:lnTo>
                <a:lnTo>
                  <a:pt x="2368" y="330"/>
                </a:lnTo>
                <a:lnTo>
                  <a:pt x="2382" y="345"/>
                </a:lnTo>
                <a:lnTo>
                  <a:pt x="2371" y="354"/>
                </a:lnTo>
                <a:lnTo>
                  <a:pt x="2368" y="371"/>
                </a:lnTo>
                <a:lnTo>
                  <a:pt x="2363" y="390"/>
                </a:lnTo>
                <a:lnTo>
                  <a:pt x="2362" y="413"/>
                </a:lnTo>
                <a:lnTo>
                  <a:pt x="2344" y="416"/>
                </a:lnTo>
                <a:lnTo>
                  <a:pt x="2352" y="423"/>
                </a:lnTo>
                <a:lnTo>
                  <a:pt x="2355" y="439"/>
                </a:lnTo>
                <a:lnTo>
                  <a:pt x="2370" y="459"/>
                </a:lnTo>
                <a:lnTo>
                  <a:pt x="2386" y="479"/>
                </a:lnTo>
                <a:lnTo>
                  <a:pt x="2415" y="504"/>
                </a:lnTo>
                <a:lnTo>
                  <a:pt x="2443" y="528"/>
                </a:lnTo>
                <a:lnTo>
                  <a:pt x="2472" y="553"/>
                </a:lnTo>
                <a:lnTo>
                  <a:pt x="2502" y="577"/>
                </a:lnTo>
                <a:lnTo>
                  <a:pt x="2510" y="563"/>
                </a:lnTo>
                <a:lnTo>
                  <a:pt x="2493" y="530"/>
                </a:lnTo>
                <a:lnTo>
                  <a:pt x="2500" y="525"/>
                </a:lnTo>
                <a:lnTo>
                  <a:pt x="2513" y="528"/>
                </a:lnTo>
                <a:lnTo>
                  <a:pt x="2510" y="523"/>
                </a:lnTo>
                <a:lnTo>
                  <a:pt x="2493" y="500"/>
                </a:lnTo>
                <a:lnTo>
                  <a:pt x="2516" y="491"/>
                </a:lnTo>
                <a:lnTo>
                  <a:pt x="2486" y="465"/>
                </a:lnTo>
                <a:lnTo>
                  <a:pt x="2484" y="453"/>
                </a:lnTo>
                <a:lnTo>
                  <a:pt x="2487" y="449"/>
                </a:lnTo>
                <a:lnTo>
                  <a:pt x="2486" y="453"/>
                </a:lnTo>
                <a:lnTo>
                  <a:pt x="2500" y="458"/>
                </a:lnTo>
                <a:lnTo>
                  <a:pt x="2484" y="443"/>
                </a:lnTo>
                <a:lnTo>
                  <a:pt x="2475" y="441"/>
                </a:lnTo>
                <a:lnTo>
                  <a:pt x="2454" y="416"/>
                </a:lnTo>
                <a:lnTo>
                  <a:pt x="2445" y="419"/>
                </a:lnTo>
                <a:lnTo>
                  <a:pt x="2427" y="411"/>
                </a:lnTo>
                <a:lnTo>
                  <a:pt x="2417" y="386"/>
                </a:lnTo>
                <a:lnTo>
                  <a:pt x="2406" y="371"/>
                </a:lnTo>
                <a:lnTo>
                  <a:pt x="2418" y="366"/>
                </a:lnTo>
                <a:lnTo>
                  <a:pt x="2433" y="372"/>
                </a:lnTo>
                <a:lnTo>
                  <a:pt x="2429" y="365"/>
                </a:lnTo>
                <a:lnTo>
                  <a:pt x="2437" y="356"/>
                </a:lnTo>
                <a:lnTo>
                  <a:pt x="2454" y="371"/>
                </a:lnTo>
                <a:lnTo>
                  <a:pt x="2455" y="360"/>
                </a:lnTo>
                <a:lnTo>
                  <a:pt x="2487" y="354"/>
                </a:lnTo>
                <a:lnTo>
                  <a:pt x="2519" y="366"/>
                </a:lnTo>
                <a:lnTo>
                  <a:pt x="2519" y="361"/>
                </a:lnTo>
                <a:lnTo>
                  <a:pt x="2528" y="345"/>
                </a:lnTo>
                <a:lnTo>
                  <a:pt x="2530" y="343"/>
                </a:lnTo>
                <a:lnTo>
                  <a:pt x="2529" y="336"/>
                </a:lnTo>
                <a:lnTo>
                  <a:pt x="2531" y="333"/>
                </a:lnTo>
                <a:lnTo>
                  <a:pt x="2549" y="321"/>
                </a:lnTo>
                <a:lnTo>
                  <a:pt x="2567" y="309"/>
                </a:lnTo>
                <a:lnTo>
                  <a:pt x="2558" y="307"/>
                </a:lnTo>
                <a:lnTo>
                  <a:pt x="2564" y="306"/>
                </a:lnTo>
                <a:lnTo>
                  <a:pt x="2603" y="314"/>
                </a:lnTo>
                <a:lnTo>
                  <a:pt x="2606" y="311"/>
                </a:lnTo>
                <a:lnTo>
                  <a:pt x="2588" y="300"/>
                </a:lnTo>
                <a:lnTo>
                  <a:pt x="2568" y="290"/>
                </a:lnTo>
                <a:lnTo>
                  <a:pt x="2558" y="287"/>
                </a:lnTo>
                <a:lnTo>
                  <a:pt x="2528" y="269"/>
                </a:lnTo>
                <a:lnTo>
                  <a:pt x="2526" y="272"/>
                </a:lnTo>
                <a:lnTo>
                  <a:pt x="2505" y="260"/>
                </a:lnTo>
                <a:lnTo>
                  <a:pt x="2517" y="263"/>
                </a:lnTo>
                <a:lnTo>
                  <a:pt x="2536" y="259"/>
                </a:lnTo>
                <a:lnTo>
                  <a:pt x="2505" y="236"/>
                </a:lnTo>
                <a:lnTo>
                  <a:pt x="2472" y="215"/>
                </a:lnTo>
                <a:lnTo>
                  <a:pt x="2441" y="192"/>
                </a:lnTo>
                <a:lnTo>
                  <a:pt x="2409" y="17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16" name="Freeform 223"/>
          <p:cNvSpPr>
            <a:spLocks/>
          </p:cNvSpPr>
          <p:nvPr/>
        </p:nvSpPr>
        <p:spPr bwMode="auto">
          <a:xfrm>
            <a:off x="5486400" y="2235200"/>
            <a:ext cx="249238" cy="98425"/>
          </a:xfrm>
          <a:custGeom>
            <a:avLst/>
            <a:gdLst>
              <a:gd name="T0" fmla="*/ 2147483647 w 188"/>
              <a:gd name="T1" fmla="*/ 2147483647 h 71"/>
              <a:gd name="T2" fmla="*/ 2147483647 w 188"/>
              <a:gd name="T3" fmla="*/ 2147483647 h 71"/>
              <a:gd name="T4" fmla="*/ 2147483647 w 188"/>
              <a:gd name="T5" fmla="*/ 2147483647 h 71"/>
              <a:gd name="T6" fmla="*/ 2147483647 w 188"/>
              <a:gd name="T7" fmla="*/ 2147483647 h 71"/>
              <a:gd name="T8" fmla="*/ 2147483647 w 188"/>
              <a:gd name="T9" fmla="*/ 2147483647 h 71"/>
              <a:gd name="T10" fmla="*/ 2147483647 w 188"/>
              <a:gd name="T11" fmla="*/ 2147483647 h 71"/>
              <a:gd name="T12" fmla="*/ 2147483647 w 188"/>
              <a:gd name="T13" fmla="*/ 2147483647 h 71"/>
              <a:gd name="T14" fmla="*/ 2147483647 w 188"/>
              <a:gd name="T15" fmla="*/ 2147483647 h 71"/>
              <a:gd name="T16" fmla="*/ 2147483647 w 188"/>
              <a:gd name="T17" fmla="*/ 2147483647 h 71"/>
              <a:gd name="T18" fmla="*/ 2147483647 w 188"/>
              <a:gd name="T19" fmla="*/ 2147483647 h 71"/>
              <a:gd name="T20" fmla="*/ 2147483647 w 188"/>
              <a:gd name="T21" fmla="*/ 2147483647 h 71"/>
              <a:gd name="T22" fmla="*/ 2147483647 w 188"/>
              <a:gd name="T23" fmla="*/ 2147483647 h 71"/>
              <a:gd name="T24" fmla="*/ 2147483647 w 188"/>
              <a:gd name="T25" fmla="*/ 2147483647 h 71"/>
              <a:gd name="T26" fmla="*/ 2147483647 w 188"/>
              <a:gd name="T27" fmla="*/ 2147483647 h 71"/>
              <a:gd name="T28" fmla="*/ 2147483647 w 188"/>
              <a:gd name="T29" fmla="*/ 2147483647 h 71"/>
              <a:gd name="T30" fmla="*/ 2147483647 w 188"/>
              <a:gd name="T31" fmla="*/ 2147483647 h 71"/>
              <a:gd name="T32" fmla="*/ 2147483647 w 188"/>
              <a:gd name="T33" fmla="*/ 2147483647 h 71"/>
              <a:gd name="T34" fmla="*/ 2147483647 w 188"/>
              <a:gd name="T35" fmla="*/ 2147483647 h 71"/>
              <a:gd name="T36" fmla="*/ 2147483647 w 188"/>
              <a:gd name="T37" fmla="*/ 2147483647 h 71"/>
              <a:gd name="T38" fmla="*/ 0 w 188"/>
              <a:gd name="T39" fmla="*/ 2147483647 h 71"/>
              <a:gd name="T40" fmla="*/ 2147483647 w 188"/>
              <a:gd name="T41" fmla="*/ 2147483647 h 71"/>
              <a:gd name="T42" fmla="*/ 2147483647 w 188"/>
              <a:gd name="T43" fmla="*/ 2147483647 h 71"/>
              <a:gd name="T44" fmla="*/ 2147483647 w 188"/>
              <a:gd name="T45" fmla="*/ 2147483647 h 71"/>
              <a:gd name="T46" fmla="*/ 2147483647 w 188"/>
              <a:gd name="T47" fmla="*/ 2147483647 h 71"/>
              <a:gd name="T48" fmla="*/ 2147483647 w 188"/>
              <a:gd name="T49" fmla="*/ 2147483647 h 71"/>
              <a:gd name="T50" fmla="*/ 2147483647 w 188"/>
              <a:gd name="T51" fmla="*/ 2147483647 h 71"/>
              <a:gd name="T52" fmla="*/ 2147483647 w 188"/>
              <a:gd name="T53" fmla="*/ 2147483647 h 71"/>
              <a:gd name="T54" fmla="*/ 2147483647 w 188"/>
              <a:gd name="T55" fmla="*/ 2147483647 h 71"/>
              <a:gd name="T56" fmla="*/ 2147483647 w 188"/>
              <a:gd name="T57" fmla="*/ 2147483647 h 71"/>
              <a:gd name="T58" fmla="*/ 2147483647 w 188"/>
              <a:gd name="T59" fmla="*/ 2147483647 h 71"/>
              <a:gd name="T60" fmla="*/ 2147483647 w 188"/>
              <a:gd name="T61" fmla="*/ 2147483647 h 71"/>
              <a:gd name="T62" fmla="*/ 2147483647 w 188"/>
              <a:gd name="T63" fmla="*/ 2147483647 h 71"/>
              <a:gd name="T64" fmla="*/ 2147483647 w 188"/>
              <a:gd name="T65" fmla="*/ 2147483647 h 71"/>
              <a:gd name="T66" fmla="*/ 2147483647 w 188"/>
              <a:gd name="T67" fmla="*/ 0 h 71"/>
              <a:gd name="T68" fmla="*/ 2147483647 w 188"/>
              <a:gd name="T69" fmla="*/ 2147483647 h 71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88"/>
              <a:gd name="T106" fmla="*/ 0 h 71"/>
              <a:gd name="T107" fmla="*/ 188 w 188"/>
              <a:gd name="T108" fmla="*/ 71 h 71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88" h="71">
                <a:moveTo>
                  <a:pt x="188" y="5"/>
                </a:moveTo>
                <a:lnTo>
                  <a:pt x="173" y="14"/>
                </a:lnTo>
                <a:lnTo>
                  <a:pt x="132" y="25"/>
                </a:lnTo>
                <a:lnTo>
                  <a:pt x="90" y="35"/>
                </a:lnTo>
                <a:lnTo>
                  <a:pt x="80" y="36"/>
                </a:lnTo>
                <a:lnTo>
                  <a:pt x="86" y="39"/>
                </a:lnTo>
                <a:lnTo>
                  <a:pt x="83" y="43"/>
                </a:lnTo>
                <a:lnTo>
                  <a:pt x="74" y="44"/>
                </a:lnTo>
                <a:lnTo>
                  <a:pt x="75" y="48"/>
                </a:lnTo>
                <a:lnTo>
                  <a:pt x="59" y="45"/>
                </a:lnTo>
                <a:lnTo>
                  <a:pt x="64" y="53"/>
                </a:lnTo>
                <a:lnTo>
                  <a:pt x="58" y="55"/>
                </a:lnTo>
                <a:lnTo>
                  <a:pt x="62" y="62"/>
                </a:lnTo>
                <a:lnTo>
                  <a:pt x="42" y="59"/>
                </a:lnTo>
                <a:lnTo>
                  <a:pt x="62" y="65"/>
                </a:lnTo>
                <a:lnTo>
                  <a:pt x="51" y="65"/>
                </a:lnTo>
                <a:lnTo>
                  <a:pt x="54" y="71"/>
                </a:lnTo>
                <a:lnTo>
                  <a:pt x="11" y="67"/>
                </a:lnTo>
                <a:lnTo>
                  <a:pt x="18" y="62"/>
                </a:lnTo>
                <a:lnTo>
                  <a:pt x="0" y="61"/>
                </a:lnTo>
                <a:lnTo>
                  <a:pt x="18" y="53"/>
                </a:lnTo>
                <a:lnTo>
                  <a:pt x="24" y="53"/>
                </a:lnTo>
                <a:lnTo>
                  <a:pt x="17" y="49"/>
                </a:lnTo>
                <a:lnTo>
                  <a:pt x="22" y="45"/>
                </a:lnTo>
                <a:lnTo>
                  <a:pt x="32" y="41"/>
                </a:lnTo>
                <a:lnTo>
                  <a:pt x="24" y="39"/>
                </a:lnTo>
                <a:lnTo>
                  <a:pt x="28" y="36"/>
                </a:lnTo>
                <a:lnTo>
                  <a:pt x="17" y="35"/>
                </a:lnTo>
                <a:lnTo>
                  <a:pt x="29" y="31"/>
                </a:lnTo>
                <a:lnTo>
                  <a:pt x="40" y="29"/>
                </a:lnTo>
                <a:lnTo>
                  <a:pt x="74" y="18"/>
                </a:lnTo>
                <a:lnTo>
                  <a:pt x="80" y="14"/>
                </a:lnTo>
                <a:lnTo>
                  <a:pt x="143" y="7"/>
                </a:lnTo>
                <a:lnTo>
                  <a:pt x="171" y="0"/>
                </a:lnTo>
                <a:lnTo>
                  <a:pt x="188" y="5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17" name="Freeform 224"/>
          <p:cNvSpPr>
            <a:spLocks/>
          </p:cNvSpPr>
          <p:nvPr/>
        </p:nvSpPr>
        <p:spPr bwMode="auto">
          <a:xfrm>
            <a:off x="5467350" y="2333625"/>
            <a:ext cx="144463" cy="71438"/>
          </a:xfrm>
          <a:custGeom>
            <a:avLst/>
            <a:gdLst>
              <a:gd name="T0" fmla="*/ 2147483647 w 109"/>
              <a:gd name="T1" fmla="*/ 2147483647 h 52"/>
              <a:gd name="T2" fmla="*/ 2147483647 w 109"/>
              <a:gd name="T3" fmla="*/ 2147483647 h 52"/>
              <a:gd name="T4" fmla="*/ 2147483647 w 109"/>
              <a:gd name="T5" fmla="*/ 2147483647 h 52"/>
              <a:gd name="T6" fmla="*/ 2147483647 w 109"/>
              <a:gd name="T7" fmla="*/ 2147483647 h 52"/>
              <a:gd name="T8" fmla="*/ 2147483647 w 109"/>
              <a:gd name="T9" fmla="*/ 2147483647 h 52"/>
              <a:gd name="T10" fmla="*/ 2147483647 w 109"/>
              <a:gd name="T11" fmla="*/ 2147483647 h 52"/>
              <a:gd name="T12" fmla="*/ 2147483647 w 109"/>
              <a:gd name="T13" fmla="*/ 0 h 52"/>
              <a:gd name="T14" fmla="*/ 2147483647 w 109"/>
              <a:gd name="T15" fmla="*/ 2147483647 h 52"/>
              <a:gd name="T16" fmla="*/ 2147483647 w 109"/>
              <a:gd name="T17" fmla="*/ 2147483647 h 52"/>
              <a:gd name="T18" fmla="*/ 2147483647 w 109"/>
              <a:gd name="T19" fmla="*/ 2147483647 h 52"/>
              <a:gd name="T20" fmla="*/ 2147483647 w 109"/>
              <a:gd name="T21" fmla="*/ 2147483647 h 52"/>
              <a:gd name="T22" fmla="*/ 0 w 109"/>
              <a:gd name="T23" fmla="*/ 2147483647 h 52"/>
              <a:gd name="T24" fmla="*/ 2147483647 w 109"/>
              <a:gd name="T25" fmla="*/ 2147483647 h 52"/>
              <a:gd name="T26" fmla="*/ 2147483647 w 109"/>
              <a:gd name="T27" fmla="*/ 2147483647 h 52"/>
              <a:gd name="T28" fmla="*/ 2147483647 w 109"/>
              <a:gd name="T29" fmla="*/ 2147483647 h 52"/>
              <a:gd name="T30" fmla="*/ 2147483647 w 109"/>
              <a:gd name="T31" fmla="*/ 2147483647 h 52"/>
              <a:gd name="T32" fmla="*/ 2147483647 w 109"/>
              <a:gd name="T33" fmla="*/ 2147483647 h 52"/>
              <a:gd name="T34" fmla="*/ 2147483647 w 109"/>
              <a:gd name="T35" fmla="*/ 2147483647 h 52"/>
              <a:gd name="T36" fmla="*/ 2147483647 w 109"/>
              <a:gd name="T37" fmla="*/ 2147483647 h 52"/>
              <a:gd name="T38" fmla="*/ 2147483647 w 109"/>
              <a:gd name="T39" fmla="*/ 2147483647 h 52"/>
              <a:gd name="T40" fmla="*/ 2147483647 w 109"/>
              <a:gd name="T41" fmla="*/ 2147483647 h 52"/>
              <a:gd name="T42" fmla="*/ 2147483647 w 109"/>
              <a:gd name="T43" fmla="*/ 2147483647 h 52"/>
              <a:gd name="T44" fmla="*/ 2147483647 w 109"/>
              <a:gd name="T45" fmla="*/ 2147483647 h 52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09"/>
              <a:gd name="T70" fmla="*/ 0 h 52"/>
              <a:gd name="T71" fmla="*/ 109 w 109"/>
              <a:gd name="T72" fmla="*/ 52 h 52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09" h="52">
                <a:moveTo>
                  <a:pt x="109" y="51"/>
                </a:moveTo>
                <a:lnTo>
                  <a:pt x="68" y="33"/>
                </a:lnTo>
                <a:lnTo>
                  <a:pt x="56" y="13"/>
                </a:lnTo>
                <a:lnTo>
                  <a:pt x="56" y="10"/>
                </a:lnTo>
                <a:lnTo>
                  <a:pt x="59" y="7"/>
                </a:lnTo>
                <a:lnTo>
                  <a:pt x="62" y="1"/>
                </a:lnTo>
                <a:lnTo>
                  <a:pt x="22" y="0"/>
                </a:lnTo>
                <a:lnTo>
                  <a:pt x="16" y="6"/>
                </a:lnTo>
                <a:lnTo>
                  <a:pt x="10" y="12"/>
                </a:lnTo>
                <a:lnTo>
                  <a:pt x="16" y="15"/>
                </a:lnTo>
                <a:lnTo>
                  <a:pt x="8" y="24"/>
                </a:lnTo>
                <a:lnTo>
                  <a:pt x="0" y="27"/>
                </a:lnTo>
                <a:lnTo>
                  <a:pt x="11" y="37"/>
                </a:lnTo>
                <a:lnTo>
                  <a:pt x="24" y="36"/>
                </a:lnTo>
                <a:lnTo>
                  <a:pt x="32" y="37"/>
                </a:lnTo>
                <a:lnTo>
                  <a:pt x="41" y="38"/>
                </a:lnTo>
                <a:lnTo>
                  <a:pt x="48" y="44"/>
                </a:lnTo>
                <a:lnTo>
                  <a:pt x="46" y="46"/>
                </a:lnTo>
                <a:lnTo>
                  <a:pt x="61" y="50"/>
                </a:lnTo>
                <a:lnTo>
                  <a:pt x="73" y="51"/>
                </a:lnTo>
                <a:lnTo>
                  <a:pt x="89" y="52"/>
                </a:lnTo>
                <a:lnTo>
                  <a:pt x="102" y="52"/>
                </a:lnTo>
                <a:lnTo>
                  <a:pt x="109" y="5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18" name="Freeform 225"/>
          <p:cNvSpPr>
            <a:spLocks/>
          </p:cNvSpPr>
          <p:nvPr/>
        </p:nvSpPr>
        <p:spPr bwMode="auto">
          <a:xfrm>
            <a:off x="4911725" y="2886075"/>
            <a:ext cx="52388" cy="19050"/>
          </a:xfrm>
          <a:custGeom>
            <a:avLst/>
            <a:gdLst>
              <a:gd name="T0" fmla="*/ 2147483647 w 40"/>
              <a:gd name="T1" fmla="*/ 0 h 14"/>
              <a:gd name="T2" fmla="*/ 2147483647 w 40"/>
              <a:gd name="T3" fmla="*/ 2147483647 h 14"/>
              <a:gd name="T4" fmla="*/ 0 w 40"/>
              <a:gd name="T5" fmla="*/ 2147483647 h 14"/>
              <a:gd name="T6" fmla="*/ 0 w 40"/>
              <a:gd name="T7" fmla="*/ 2147483647 h 14"/>
              <a:gd name="T8" fmla="*/ 2147483647 w 40"/>
              <a:gd name="T9" fmla="*/ 2147483647 h 14"/>
              <a:gd name="T10" fmla="*/ 0 w 40"/>
              <a:gd name="T11" fmla="*/ 2147483647 h 14"/>
              <a:gd name="T12" fmla="*/ 0 w 40"/>
              <a:gd name="T13" fmla="*/ 2147483647 h 14"/>
              <a:gd name="T14" fmla="*/ 2147483647 w 40"/>
              <a:gd name="T15" fmla="*/ 2147483647 h 14"/>
              <a:gd name="T16" fmla="*/ 2147483647 w 40"/>
              <a:gd name="T17" fmla="*/ 2147483647 h 14"/>
              <a:gd name="T18" fmla="*/ 2147483647 w 40"/>
              <a:gd name="T19" fmla="*/ 2147483647 h 14"/>
              <a:gd name="T20" fmla="*/ 2147483647 w 40"/>
              <a:gd name="T21" fmla="*/ 2147483647 h 14"/>
              <a:gd name="T22" fmla="*/ 2147483647 w 40"/>
              <a:gd name="T23" fmla="*/ 0 h 1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0"/>
              <a:gd name="T37" fmla="*/ 0 h 14"/>
              <a:gd name="T38" fmla="*/ 40 w 40"/>
              <a:gd name="T39" fmla="*/ 14 h 1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0" h="14">
                <a:moveTo>
                  <a:pt x="11" y="0"/>
                </a:moveTo>
                <a:lnTo>
                  <a:pt x="11" y="3"/>
                </a:lnTo>
                <a:lnTo>
                  <a:pt x="0" y="2"/>
                </a:lnTo>
                <a:lnTo>
                  <a:pt x="0" y="4"/>
                </a:lnTo>
                <a:lnTo>
                  <a:pt x="3" y="6"/>
                </a:lnTo>
                <a:lnTo>
                  <a:pt x="0" y="7"/>
                </a:lnTo>
                <a:lnTo>
                  <a:pt x="0" y="10"/>
                </a:lnTo>
                <a:lnTo>
                  <a:pt x="9" y="12"/>
                </a:lnTo>
                <a:lnTo>
                  <a:pt x="40" y="14"/>
                </a:lnTo>
                <a:lnTo>
                  <a:pt x="40" y="4"/>
                </a:lnTo>
                <a:lnTo>
                  <a:pt x="23" y="2"/>
                </a:lnTo>
                <a:lnTo>
                  <a:pt x="11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19" name="Freeform 226"/>
          <p:cNvSpPr>
            <a:spLocks/>
          </p:cNvSpPr>
          <p:nvPr/>
        </p:nvSpPr>
        <p:spPr bwMode="auto">
          <a:xfrm>
            <a:off x="5437188" y="2438400"/>
            <a:ext cx="42862" cy="23813"/>
          </a:xfrm>
          <a:custGeom>
            <a:avLst/>
            <a:gdLst>
              <a:gd name="T0" fmla="*/ 2147483647 w 34"/>
              <a:gd name="T1" fmla="*/ 2147483647 h 17"/>
              <a:gd name="T2" fmla="*/ 2147483647 w 34"/>
              <a:gd name="T3" fmla="*/ 2147483647 h 17"/>
              <a:gd name="T4" fmla="*/ 0 w 34"/>
              <a:gd name="T5" fmla="*/ 2147483647 h 17"/>
              <a:gd name="T6" fmla="*/ 2147483647 w 34"/>
              <a:gd name="T7" fmla="*/ 0 h 17"/>
              <a:gd name="T8" fmla="*/ 2147483647 w 34"/>
              <a:gd name="T9" fmla="*/ 2147483647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4"/>
              <a:gd name="T16" fmla="*/ 0 h 17"/>
              <a:gd name="T17" fmla="*/ 34 w 34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4" h="17">
                <a:moveTo>
                  <a:pt x="34" y="9"/>
                </a:moveTo>
                <a:lnTo>
                  <a:pt x="9" y="17"/>
                </a:lnTo>
                <a:lnTo>
                  <a:pt x="0" y="5"/>
                </a:lnTo>
                <a:lnTo>
                  <a:pt x="7" y="0"/>
                </a:lnTo>
                <a:lnTo>
                  <a:pt x="34" y="9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20" name="Freeform 227"/>
          <p:cNvSpPr>
            <a:spLocks/>
          </p:cNvSpPr>
          <p:nvPr/>
        </p:nvSpPr>
        <p:spPr bwMode="auto">
          <a:xfrm>
            <a:off x="5637213" y="2413000"/>
            <a:ext cx="49212" cy="15875"/>
          </a:xfrm>
          <a:custGeom>
            <a:avLst/>
            <a:gdLst>
              <a:gd name="T0" fmla="*/ 2147483647 w 39"/>
              <a:gd name="T1" fmla="*/ 2147483647 h 12"/>
              <a:gd name="T2" fmla="*/ 2147483647 w 39"/>
              <a:gd name="T3" fmla="*/ 0 h 12"/>
              <a:gd name="T4" fmla="*/ 0 w 39"/>
              <a:gd name="T5" fmla="*/ 2147483647 h 12"/>
              <a:gd name="T6" fmla="*/ 2147483647 w 39"/>
              <a:gd name="T7" fmla="*/ 2147483647 h 12"/>
              <a:gd name="T8" fmla="*/ 2147483647 w 39"/>
              <a:gd name="T9" fmla="*/ 2147483647 h 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9"/>
              <a:gd name="T16" fmla="*/ 0 h 12"/>
              <a:gd name="T17" fmla="*/ 39 w 39"/>
              <a:gd name="T18" fmla="*/ 12 h 1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9" h="12">
                <a:moveTo>
                  <a:pt x="39" y="12"/>
                </a:moveTo>
                <a:lnTo>
                  <a:pt x="4" y="0"/>
                </a:lnTo>
                <a:lnTo>
                  <a:pt x="0" y="3"/>
                </a:lnTo>
                <a:lnTo>
                  <a:pt x="24" y="12"/>
                </a:lnTo>
                <a:lnTo>
                  <a:pt x="39" y="1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21" name="Freeform 228"/>
          <p:cNvSpPr>
            <a:spLocks/>
          </p:cNvSpPr>
          <p:nvPr/>
        </p:nvSpPr>
        <p:spPr bwMode="auto">
          <a:xfrm>
            <a:off x="4938713" y="2770188"/>
            <a:ext cx="26987" cy="14287"/>
          </a:xfrm>
          <a:custGeom>
            <a:avLst/>
            <a:gdLst>
              <a:gd name="T0" fmla="*/ 2147483647 w 22"/>
              <a:gd name="T1" fmla="*/ 2147483647 h 10"/>
              <a:gd name="T2" fmla="*/ 2147483647 w 22"/>
              <a:gd name="T3" fmla="*/ 2147483647 h 10"/>
              <a:gd name="T4" fmla="*/ 0 w 22"/>
              <a:gd name="T5" fmla="*/ 2147483647 h 10"/>
              <a:gd name="T6" fmla="*/ 2147483647 w 22"/>
              <a:gd name="T7" fmla="*/ 0 h 10"/>
              <a:gd name="T8" fmla="*/ 2147483647 w 22"/>
              <a:gd name="T9" fmla="*/ 2147483647 h 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2"/>
              <a:gd name="T16" fmla="*/ 0 h 10"/>
              <a:gd name="T17" fmla="*/ 22 w 22"/>
              <a:gd name="T18" fmla="*/ 10 h 1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2" h="10">
                <a:moveTo>
                  <a:pt x="22" y="2"/>
                </a:moveTo>
                <a:lnTo>
                  <a:pt x="3" y="10"/>
                </a:lnTo>
                <a:lnTo>
                  <a:pt x="0" y="2"/>
                </a:lnTo>
                <a:lnTo>
                  <a:pt x="18" y="0"/>
                </a:lnTo>
                <a:lnTo>
                  <a:pt x="22" y="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22" name="Freeform 229"/>
          <p:cNvSpPr>
            <a:spLocks/>
          </p:cNvSpPr>
          <p:nvPr/>
        </p:nvSpPr>
        <p:spPr bwMode="auto">
          <a:xfrm>
            <a:off x="5821363" y="2327275"/>
            <a:ext cx="33337" cy="11113"/>
          </a:xfrm>
          <a:custGeom>
            <a:avLst/>
            <a:gdLst>
              <a:gd name="T0" fmla="*/ 2147483647 w 25"/>
              <a:gd name="T1" fmla="*/ 2147483647 h 7"/>
              <a:gd name="T2" fmla="*/ 0 w 25"/>
              <a:gd name="T3" fmla="*/ 2147483647 h 7"/>
              <a:gd name="T4" fmla="*/ 2147483647 w 25"/>
              <a:gd name="T5" fmla="*/ 0 h 7"/>
              <a:gd name="T6" fmla="*/ 2147483647 w 25"/>
              <a:gd name="T7" fmla="*/ 2147483647 h 7"/>
              <a:gd name="T8" fmla="*/ 2147483647 w 25"/>
              <a:gd name="T9" fmla="*/ 2147483647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5"/>
              <a:gd name="T16" fmla="*/ 0 h 7"/>
              <a:gd name="T17" fmla="*/ 25 w 25"/>
              <a:gd name="T18" fmla="*/ 7 h 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5" h="7">
                <a:moveTo>
                  <a:pt x="25" y="6"/>
                </a:moveTo>
                <a:lnTo>
                  <a:pt x="0" y="7"/>
                </a:lnTo>
                <a:lnTo>
                  <a:pt x="3" y="0"/>
                </a:lnTo>
                <a:lnTo>
                  <a:pt x="15" y="4"/>
                </a:lnTo>
                <a:lnTo>
                  <a:pt x="25" y="6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23" name="Freeform 230"/>
          <p:cNvSpPr>
            <a:spLocks/>
          </p:cNvSpPr>
          <p:nvPr/>
        </p:nvSpPr>
        <p:spPr bwMode="auto">
          <a:xfrm>
            <a:off x="6621463" y="2300288"/>
            <a:ext cx="36512" cy="9525"/>
          </a:xfrm>
          <a:custGeom>
            <a:avLst/>
            <a:gdLst>
              <a:gd name="T0" fmla="*/ 2147483647 w 28"/>
              <a:gd name="T1" fmla="*/ 0 h 5"/>
              <a:gd name="T2" fmla="*/ 0 w 28"/>
              <a:gd name="T3" fmla="*/ 2147483647 h 5"/>
              <a:gd name="T4" fmla="*/ 2147483647 w 28"/>
              <a:gd name="T5" fmla="*/ 2147483647 h 5"/>
              <a:gd name="T6" fmla="*/ 2147483647 w 28"/>
              <a:gd name="T7" fmla="*/ 0 h 5"/>
              <a:gd name="T8" fmla="*/ 0 60000 65536"/>
              <a:gd name="T9" fmla="*/ 0 60000 65536"/>
              <a:gd name="T10" fmla="*/ 0 60000 65536"/>
              <a:gd name="T11" fmla="*/ 0 60000 65536"/>
              <a:gd name="T12" fmla="*/ 0 w 28"/>
              <a:gd name="T13" fmla="*/ 0 h 5"/>
              <a:gd name="T14" fmla="*/ 28 w 28"/>
              <a:gd name="T15" fmla="*/ 5 h 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8" h="5">
                <a:moveTo>
                  <a:pt x="25" y="0"/>
                </a:moveTo>
                <a:lnTo>
                  <a:pt x="0" y="1"/>
                </a:lnTo>
                <a:lnTo>
                  <a:pt x="28" y="5"/>
                </a:lnTo>
                <a:lnTo>
                  <a:pt x="25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24" name="Freeform 231"/>
          <p:cNvSpPr>
            <a:spLocks/>
          </p:cNvSpPr>
          <p:nvPr/>
        </p:nvSpPr>
        <p:spPr bwMode="auto">
          <a:xfrm>
            <a:off x="5980113" y="2354263"/>
            <a:ext cx="25400" cy="6350"/>
          </a:xfrm>
          <a:custGeom>
            <a:avLst/>
            <a:gdLst>
              <a:gd name="T0" fmla="*/ 2147483647 w 17"/>
              <a:gd name="T1" fmla="*/ 0 h 4"/>
              <a:gd name="T2" fmla="*/ 0 w 17"/>
              <a:gd name="T3" fmla="*/ 2147483647 h 4"/>
              <a:gd name="T4" fmla="*/ 0 w 17"/>
              <a:gd name="T5" fmla="*/ 0 h 4"/>
              <a:gd name="T6" fmla="*/ 2147483647 w 17"/>
              <a:gd name="T7" fmla="*/ 0 h 4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4"/>
              <a:gd name="T14" fmla="*/ 17 w 17"/>
              <a:gd name="T15" fmla="*/ 4 h 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4">
                <a:moveTo>
                  <a:pt x="17" y="0"/>
                </a:moveTo>
                <a:lnTo>
                  <a:pt x="0" y="4"/>
                </a:lnTo>
                <a:lnTo>
                  <a:pt x="0" y="0"/>
                </a:lnTo>
                <a:lnTo>
                  <a:pt x="17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25" name="Freeform 232"/>
          <p:cNvSpPr>
            <a:spLocks/>
          </p:cNvSpPr>
          <p:nvPr/>
        </p:nvSpPr>
        <p:spPr bwMode="auto">
          <a:xfrm>
            <a:off x="4938713" y="2757488"/>
            <a:ext cx="20637" cy="1587"/>
          </a:xfrm>
          <a:custGeom>
            <a:avLst/>
            <a:gdLst>
              <a:gd name="T0" fmla="*/ 2147483647 w 16"/>
              <a:gd name="T1" fmla="*/ 2147483647 h 2"/>
              <a:gd name="T2" fmla="*/ 0 w 16"/>
              <a:gd name="T3" fmla="*/ 2147483647 h 2"/>
              <a:gd name="T4" fmla="*/ 2147483647 w 16"/>
              <a:gd name="T5" fmla="*/ 0 h 2"/>
              <a:gd name="T6" fmla="*/ 2147483647 w 16"/>
              <a:gd name="T7" fmla="*/ 2147483647 h 2"/>
              <a:gd name="T8" fmla="*/ 0 60000 65536"/>
              <a:gd name="T9" fmla="*/ 0 60000 65536"/>
              <a:gd name="T10" fmla="*/ 0 60000 65536"/>
              <a:gd name="T11" fmla="*/ 0 60000 65536"/>
              <a:gd name="T12" fmla="*/ 0 w 16"/>
              <a:gd name="T13" fmla="*/ 0 h 2"/>
              <a:gd name="T14" fmla="*/ 16 w 16"/>
              <a:gd name="T15" fmla="*/ 2 h 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6" h="2">
                <a:moveTo>
                  <a:pt x="16" y="2"/>
                </a:moveTo>
                <a:lnTo>
                  <a:pt x="0" y="1"/>
                </a:lnTo>
                <a:lnTo>
                  <a:pt x="5" y="0"/>
                </a:lnTo>
                <a:lnTo>
                  <a:pt x="16" y="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26" name="Freeform 233"/>
          <p:cNvSpPr>
            <a:spLocks/>
          </p:cNvSpPr>
          <p:nvPr/>
        </p:nvSpPr>
        <p:spPr bwMode="auto">
          <a:xfrm>
            <a:off x="4741863" y="3246438"/>
            <a:ext cx="1587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0 w 2"/>
              <a:gd name="T5" fmla="*/ 2147483647 h 2"/>
              <a:gd name="T6" fmla="*/ 2147483647 w 2"/>
              <a:gd name="T7" fmla="*/ 2147483647 h 2"/>
              <a:gd name="T8" fmla="*/ 2147483647 w 2"/>
              <a:gd name="T9" fmla="*/ 0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2"/>
              <a:gd name="T17" fmla="*/ 2 w 2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2">
                <a:moveTo>
                  <a:pt x="2" y="0"/>
                </a:moveTo>
                <a:lnTo>
                  <a:pt x="1" y="0"/>
                </a:lnTo>
                <a:lnTo>
                  <a:pt x="0" y="2"/>
                </a:lnTo>
                <a:lnTo>
                  <a:pt x="1" y="2"/>
                </a:lnTo>
                <a:lnTo>
                  <a:pt x="2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27" name="Freeform 234"/>
          <p:cNvSpPr>
            <a:spLocks/>
          </p:cNvSpPr>
          <p:nvPr/>
        </p:nvSpPr>
        <p:spPr bwMode="auto">
          <a:xfrm>
            <a:off x="4840288" y="3057525"/>
            <a:ext cx="150812" cy="58738"/>
          </a:xfrm>
          <a:custGeom>
            <a:avLst/>
            <a:gdLst>
              <a:gd name="T0" fmla="*/ 2147483647 w 114"/>
              <a:gd name="T1" fmla="*/ 0 h 41"/>
              <a:gd name="T2" fmla="*/ 2147483647 w 114"/>
              <a:gd name="T3" fmla="*/ 2147483647 h 41"/>
              <a:gd name="T4" fmla="*/ 2147483647 w 114"/>
              <a:gd name="T5" fmla="*/ 2147483647 h 41"/>
              <a:gd name="T6" fmla="*/ 2147483647 w 114"/>
              <a:gd name="T7" fmla="*/ 2147483647 h 41"/>
              <a:gd name="T8" fmla="*/ 2147483647 w 114"/>
              <a:gd name="T9" fmla="*/ 2147483647 h 41"/>
              <a:gd name="T10" fmla="*/ 2147483647 w 114"/>
              <a:gd name="T11" fmla="*/ 2147483647 h 41"/>
              <a:gd name="T12" fmla="*/ 2147483647 w 114"/>
              <a:gd name="T13" fmla="*/ 2147483647 h 41"/>
              <a:gd name="T14" fmla="*/ 2147483647 w 114"/>
              <a:gd name="T15" fmla="*/ 2147483647 h 41"/>
              <a:gd name="T16" fmla="*/ 0 w 114"/>
              <a:gd name="T17" fmla="*/ 2147483647 h 41"/>
              <a:gd name="T18" fmla="*/ 2147483647 w 114"/>
              <a:gd name="T19" fmla="*/ 2147483647 h 41"/>
              <a:gd name="T20" fmla="*/ 2147483647 w 114"/>
              <a:gd name="T21" fmla="*/ 2147483647 h 41"/>
              <a:gd name="T22" fmla="*/ 2147483647 w 114"/>
              <a:gd name="T23" fmla="*/ 2147483647 h 41"/>
              <a:gd name="T24" fmla="*/ 2147483647 w 114"/>
              <a:gd name="T25" fmla="*/ 2147483647 h 41"/>
              <a:gd name="T26" fmla="*/ 2147483647 w 114"/>
              <a:gd name="T27" fmla="*/ 2147483647 h 41"/>
              <a:gd name="T28" fmla="*/ 2147483647 w 114"/>
              <a:gd name="T29" fmla="*/ 2147483647 h 41"/>
              <a:gd name="T30" fmla="*/ 2147483647 w 114"/>
              <a:gd name="T31" fmla="*/ 2147483647 h 41"/>
              <a:gd name="T32" fmla="*/ 2147483647 w 114"/>
              <a:gd name="T33" fmla="*/ 2147483647 h 41"/>
              <a:gd name="T34" fmla="*/ 2147483647 w 114"/>
              <a:gd name="T35" fmla="*/ 2147483647 h 41"/>
              <a:gd name="T36" fmla="*/ 2147483647 w 114"/>
              <a:gd name="T37" fmla="*/ 0 h 41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14"/>
              <a:gd name="T58" fmla="*/ 0 h 41"/>
              <a:gd name="T59" fmla="*/ 114 w 114"/>
              <a:gd name="T60" fmla="*/ 41 h 41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14" h="41">
                <a:moveTo>
                  <a:pt x="42" y="0"/>
                </a:moveTo>
                <a:lnTo>
                  <a:pt x="41" y="2"/>
                </a:lnTo>
                <a:lnTo>
                  <a:pt x="35" y="7"/>
                </a:lnTo>
                <a:lnTo>
                  <a:pt x="30" y="8"/>
                </a:lnTo>
                <a:lnTo>
                  <a:pt x="30" y="11"/>
                </a:lnTo>
                <a:lnTo>
                  <a:pt x="24" y="18"/>
                </a:lnTo>
                <a:lnTo>
                  <a:pt x="13" y="19"/>
                </a:lnTo>
                <a:lnTo>
                  <a:pt x="7" y="20"/>
                </a:lnTo>
                <a:lnTo>
                  <a:pt x="0" y="19"/>
                </a:lnTo>
                <a:lnTo>
                  <a:pt x="13" y="37"/>
                </a:lnTo>
                <a:lnTo>
                  <a:pt x="19" y="41"/>
                </a:lnTo>
                <a:lnTo>
                  <a:pt x="43" y="41"/>
                </a:lnTo>
                <a:lnTo>
                  <a:pt x="74" y="26"/>
                </a:lnTo>
                <a:lnTo>
                  <a:pt x="108" y="27"/>
                </a:lnTo>
                <a:lnTo>
                  <a:pt x="114" y="11"/>
                </a:lnTo>
                <a:lnTo>
                  <a:pt x="84" y="5"/>
                </a:lnTo>
                <a:lnTo>
                  <a:pt x="67" y="6"/>
                </a:lnTo>
                <a:lnTo>
                  <a:pt x="64" y="1"/>
                </a:lnTo>
                <a:lnTo>
                  <a:pt x="42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28" name="Freeform 235"/>
          <p:cNvSpPr>
            <a:spLocks/>
          </p:cNvSpPr>
          <p:nvPr/>
        </p:nvSpPr>
        <p:spPr bwMode="auto">
          <a:xfrm>
            <a:off x="4768850" y="3149600"/>
            <a:ext cx="73025" cy="47625"/>
          </a:xfrm>
          <a:custGeom>
            <a:avLst/>
            <a:gdLst>
              <a:gd name="T0" fmla="*/ 2147483647 w 56"/>
              <a:gd name="T1" fmla="*/ 2147483647 h 34"/>
              <a:gd name="T2" fmla="*/ 2147483647 w 56"/>
              <a:gd name="T3" fmla="*/ 2147483647 h 34"/>
              <a:gd name="T4" fmla="*/ 2147483647 w 56"/>
              <a:gd name="T5" fmla="*/ 2147483647 h 34"/>
              <a:gd name="T6" fmla="*/ 2147483647 w 56"/>
              <a:gd name="T7" fmla="*/ 2147483647 h 34"/>
              <a:gd name="T8" fmla="*/ 2147483647 w 56"/>
              <a:gd name="T9" fmla="*/ 2147483647 h 34"/>
              <a:gd name="T10" fmla="*/ 2147483647 w 56"/>
              <a:gd name="T11" fmla="*/ 2147483647 h 34"/>
              <a:gd name="T12" fmla="*/ 2147483647 w 56"/>
              <a:gd name="T13" fmla="*/ 2147483647 h 34"/>
              <a:gd name="T14" fmla="*/ 2147483647 w 56"/>
              <a:gd name="T15" fmla="*/ 2147483647 h 34"/>
              <a:gd name="T16" fmla="*/ 2147483647 w 56"/>
              <a:gd name="T17" fmla="*/ 2147483647 h 34"/>
              <a:gd name="T18" fmla="*/ 2147483647 w 56"/>
              <a:gd name="T19" fmla="*/ 2147483647 h 34"/>
              <a:gd name="T20" fmla="*/ 2147483647 w 56"/>
              <a:gd name="T21" fmla="*/ 2147483647 h 34"/>
              <a:gd name="T22" fmla="*/ 2147483647 w 56"/>
              <a:gd name="T23" fmla="*/ 2147483647 h 34"/>
              <a:gd name="T24" fmla="*/ 2147483647 w 56"/>
              <a:gd name="T25" fmla="*/ 2147483647 h 34"/>
              <a:gd name="T26" fmla="*/ 2147483647 w 56"/>
              <a:gd name="T27" fmla="*/ 2147483647 h 34"/>
              <a:gd name="T28" fmla="*/ 2147483647 w 56"/>
              <a:gd name="T29" fmla="*/ 2147483647 h 34"/>
              <a:gd name="T30" fmla="*/ 2147483647 w 56"/>
              <a:gd name="T31" fmla="*/ 2147483647 h 34"/>
              <a:gd name="T32" fmla="*/ 2147483647 w 56"/>
              <a:gd name="T33" fmla="*/ 2147483647 h 34"/>
              <a:gd name="T34" fmla="*/ 2147483647 w 56"/>
              <a:gd name="T35" fmla="*/ 2147483647 h 34"/>
              <a:gd name="T36" fmla="*/ 2147483647 w 56"/>
              <a:gd name="T37" fmla="*/ 2147483647 h 34"/>
              <a:gd name="T38" fmla="*/ 2147483647 w 56"/>
              <a:gd name="T39" fmla="*/ 2147483647 h 34"/>
              <a:gd name="T40" fmla="*/ 2147483647 w 56"/>
              <a:gd name="T41" fmla="*/ 2147483647 h 34"/>
              <a:gd name="T42" fmla="*/ 2147483647 w 56"/>
              <a:gd name="T43" fmla="*/ 2147483647 h 34"/>
              <a:gd name="T44" fmla="*/ 2147483647 w 56"/>
              <a:gd name="T45" fmla="*/ 0 h 34"/>
              <a:gd name="T46" fmla="*/ 2147483647 w 56"/>
              <a:gd name="T47" fmla="*/ 2147483647 h 34"/>
              <a:gd name="T48" fmla="*/ 2147483647 w 56"/>
              <a:gd name="T49" fmla="*/ 2147483647 h 34"/>
              <a:gd name="T50" fmla="*/ 0 w 56"/>
              <a:gd name="T51" fmla="*/ 2147483647 h 34"/>
              <a:gd name="T52" fmla="*/ 2147483647 w 56"/>
              <a:gd name="T53" fmla="*/ 2147483647 h 34"/>
              <a:gd name="T54" fmla="*/ 2147483647 w 56"/>
              <a:gd name="T55" fmla="*/ 2147483647 h 3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56"/>
              <a:gd name="T85" fmla="*/ 0 h 34"/>
              <a:gd name="T86" fmla="*/ 56 w 56"/>
              <a:gd name="T87" fmla="*/ 34 h 34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56" h="34">
                <a:moveTo>
                  <a:pt x="8" y="33"/>
                </a:moveTo>
                <a:lnTo>
                  <a:pt x="18" y="33"/>
                </a:lnTo>
                <a:lnTo>
                  <a:pt x="22" y="30"/>
                </a:lnTo>
                <a:lnTo>
                  <a:pt x="24" y="32"/>
                </a:lnTo>
                <a:lnTo>
                  <a:pt x="25" y="32"/>
                </a:lnTo>
                <a:lnTo>
                  <a:pt x="26" y="31"/>
                </a:lnTo>
                <a:lnTo>
                  <a:pt x="31" y="34"/>
                </a:lnTo>
                <a:lnTo>
                  <a:pt x="36" y="33"/>
                </a:lnTo>
                <a:lnTo>
                  <a:pt x="35" y="30"/>
                </a:lnTo>
                <a:lnTo>
                  <a:pt x="35" y="27"/>
                </a:lnTo>
                <a:lnTo>
                  <a:pt x="41" y="25"/>
                </a:lnTo>
                <a:lnTo>
                  <a:pt x="44" y="25"/>
                </a:lnTo>
                <a:lnTo>
                  <a:pt x="42" y="21"/>
                </a:lnTo>
                <a:lnTo>
                  <a:pt x="41" y="19"/>
                </a:lnTo>
                <a:lnTo>
                  <a:pt x="40" y="14"/>
                </a:lnTo>
                <a:lnTo>
                  <a:pt x="47" y="13"/>
                </a:lnTo>
                <a:lnTo>
                  <a:pt x="48" y="10"/>
                </a:lnTo>
                <a:lnTo>
                  <a:pt x="54" y="10"/>
                </a:lnTo>
                <a:lnTo>
                  <a:pt x="54" y="8"/>
                </a:lnTo>
                <a:lnTo>
                  <a:pt x="56" y="8"/>
                </a:lnTo>
                <a:lnTo>
                  <a:pt x="56" y="6"/>
                </a:lnTo>
                <a:lnTo>
                  <a:pt x="50" y="2"/>
                </a:lnTo>
                <a:lnTo>
                  <a:pt x="49" y="0"/>
                </a:lnTo>
                <a:lnTo>
                  <a:pt x="11" y="9"/>
                </a:lnTo>
                <a:lnTo>
                  <a:pt x="2" y="8"/>
                </a:lnTo>
                <a:lnTo>
                  <a:pt x="0" y="15"/>
                </a:lnTo>
                <a:lnTo>
                  <a:pt x="5" y="31"/>
                </a:lnTo>
                <a:lnTo>
                  <a:pt x="8" y="3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29" name="Freeform 236"/>
          <p:cNvSpPr>
            <a:spLocks/>
          </p:cNvSpPr>
          <p:nvPr/>
        </p:nvSpPr>
        <p:spPr bwMode="auto">
          <a:xfrm>
            <a:off x="4679950" y="2452688"/>
            <a:ext cx="265113" cy="415925"/>
          </a:xfrm>
          <a:custGeom>
            <a:avLst/>
            <a:gdLst>
              <a:gd name="T0" fmla="*/ 2147483647 w 202"/>
              <a:gd name="T1" fmla="*/ 2147483647 h 305"/>
              <a:gd name="T2" fmla="*/ 2147483647 w 202"/>
              <a:gd name="T3" fmla="*/ 2147483647 h 305"/>
              <a:gd name="T4" fmla="*/ 2147483647 w 202"/>
              <a:gd name="T5" fmla="*/ 2147483647 h 305"/>
              <a:gd name="T6" fmla="*/ 2147483647 w 202"/>
              <a:gd name="T7" fmla="*/ 2147483647 h 305"/>
              <a:gd name="T8" fmla="*/ 2147483647 w 202"/>
              <a:gd name="T9" fmla="*/ 2147483647 h 305"/>
              <a:gd name="T10" fmla="*/ 2147483647 w 202"/>
              <a:gd name="T11" fmla="*/ 2147483647 h 305"/>
              <a:gd name="T12" fmla="*/ 2147483647 w 202"/>
              <a:gd name="T13" fmla="*/ 2147483647 h 305"/>
              <a:gd name="T14" fmla="*/ 2147483647 w 202"/>
              <a:gd name="T15" fmla="*/ 2147483647 h 305"/>
              <a:gd name="T16" fmla="*/ 2147483647 w 202"/>
              <a:gd name="T17" fmla="*/ 2147483647 h 305"/>
              <a:gd name="T18" fmla="*/ 2147483647 w 202"/>
              <a:gd name="T19" fmla="*/ 2147483647 h 305"/>
              <a:gd name="T20" fmla="*/ 2147483647 w 202"/>
              <a:gd name="T21" fmla="*/ 2147483647 h 305"/>
              <a:gd name="T22" fmla="*/ 2147483647 w 202"/>
              <a:gd name="T23" fmla="*/ 2147483647 h 305"/>
              <a:gd name="T24" fmla="*/ 2147483647 w 202"/>
              <a:gd name="T25" fmla="*/ 2147483647 h 305"/>
              <a:gd name="T26" fmla="*/ 2147483647 w 202"/>
              <a:gd name="T27" fmla="*/ 2147483647 h 305"/>
              <a:gd name="T28" fmla="*/ 2147483647 w 202"/>
              <a:gd name="T29" fmla="*/ 2147483647 h 305"/>
              <a:gd name="T30" fmla="*/ 2147483647 w 202"/>
              <a:gd name="T31" fmla="*/ 2147483647 h 305"/>
              <a:gd name="T32" fmla="*/ 2147483647 w 202"/>
              <a:gd name="T33" fmla="*/ 2147483647 h 305"/>
              <a:gd name="T34" fmla="*/ 0 w 202"/>
              <a:gd name="T35" fmla="*/ 2147483647 h 305"/>
              <a:gd name="T36" fmla="*/ 2147483647 w 202"/>
              <a:gd name="T37" fmla="*/ 2147483647 h 305"/>
              <a:gd name="T38" fmla="*/ 2147483647 w 202"/>
              <a:gd name="T39" fmla="*/ 2147483647 h 305"/>
              <a:gd name="T40" fmla="*/ 2147483647 w 202"/>
              <a:gd name="T41" fmla="*/ 2147483647 h 305"/>
              <a:gd name="T42" fmla="*/ 2147483647 w 202"/>
              <a:gd name="T43" fmla="*/ 2147483647 h 305"/>
              <a:gd name="T44" fmla="*/ 2147483647 w 202"/>
              <a:gd name="T45" fmla="*/ 2147483647 h 305"/>
              <a:gd name="T46" fmla="*/ 2147483647 w 202"/>
              <a:gd name="T47" fmla="*/ 2147483647 h 305"/>
              <a:gd name="T48" fmla="*/ 2147483647 w 202"/>
              <a:gd name="T49" fmla="*/ 2147483647 h 305"/>
              <a:gd name="T50" fmla="*/ 2147483647 w 202"/>
              <a:gd name="T51" fmla="*/ 2147483647 h 305"/>
              <a:gd name="T52" fmla="*/ 2147483647 w 202"/>
              <a:gd name="T53" fmla="*/ 2147483647 h 305"/>
              <a:gd name="T54" fmla="*/ 2147483647 w 202"/>
              <a:gd name="T55" fmla="*/ 0 h 305"/>
              <a:gd name="T56" fmla="*/ 2147483647 w 202"/>
              <a:gd name="T57" fmla="*/ 2147483647 h 305"/>
              <a:gd name="T58" fmla="*/ 2147483647 w 202"/>
              <a:gd name="T59" fmla="*/ 2147483647 h 305"/>
              <a:gd name="T60" fmla="*/ 2147483647 w 202"/>
              <a:gd name="T61" fmla="*/ 2147483647 h 305"/>
              <a:gd name="T62" fmla="*/ 2147483647 w 202"/>
              <a:gd name="T63" fmla="*/ 2147483647 h 305"/>
              <a:gd name="T64" fmla="*/ 2147483647 w 202"/>
              <a:gd name="T65" fmla="*/ 2147483647 h 30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02"/>
              <a:gd name="T100" fmla="*/ 0 h 305"/>
              <a:gd name="T101" fmla="*/ 202 w 202"/>
              <a:gd name="T102" fmla="*/ 305 h 305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02" h="305">
                <a:moveTo>
                  <a:pt x="160" y="101"/>
                </a:moveTo>
                <a:lnTo>
                  <a:pt x="140" y="118"/>
                </a:lnTo>
                <a:lnTo>
                  <a:pt x="125" y="126"/>
                </a:lnTo>
                <a:lnTo>
                  <a:pt x="118" y="131"/>
                </a:lnTo>
                <a:lnTo>
                  <a:pt x="107" y="132"/>
                </a:lnTo>
                <a:lnTo>
                  <a:pt x="104" y="142"/>
                </a:lnTo>
                <a:lnTo>
                  <a:pt x="101" y="146"/>
                </a:lnTo>
                <a:lnTo>
                  <a:pt x="100" y="160"/>
                </a:lnTo>
                <a:lnTo>
                  <a:pt x="104" y="184"/>
                </a:lnTo>
                <a:lnTo>
                  <a:pt x="125" y="193"/>
                </a:lnTo>
                <a:lnTo>
                  <a:pt x="133" y="203"/>
                </a:lnTo>
                <a:lnTo>
                  <a:pt x="116" y="212"/>
                </a:lnTo>
                <a:lnTo>
                  <a:pt x="109" y="205"/>
                </a:lnTo>
                <a:lnTo>
                  <a:pt x="109" y="209"/>
                </a:lnTo>
                <a:lnTo>
                  <a:pt x="86" y="211"/>
                </a:lnTo>
                <a:lnTo>
                  <a:pt x="127" y="214"/>
                </a:lnTo>
                <a:lnTo>
                  <a:pt x="116" y="223"/>
                </a:lnTo>
                <a:lnTo>
                  <a:pt x="113" y="218"/>
                </a:lnTo>
                <a:lnTo>
                  <a:pt x="102" y="229"/>
                </a:lnTo>
                <a:lnTo>
                  <a:pt x="94" y="229"/>
                </a:lnTo>
                <a:lnTo>
                  <a:pt x="100" y="234"/>
                </a:lnTo>
                <a:lnTo>
                  <a:pt x="97" y="245"/>
                </a:lnTo>
                <a:lnTo>
                  <a:pt x="101" y="250"/>
                </a:lnTo>
                <a:lnTo>
                  <a:pt x="98" y="248"/>
                </a:lnTo>
                <a:lnTo>
                  <a:pt x="95" y="268"/>
                </a:lnTo>
                <a:lnTo>
                  <a:pt x="92" y="286"/>
                </a:lnTo>
                <a:lnTo>
                  <a:pt x="62" y="292"/>
                </a:lnTo>
                <a:lnTo>
                  <a:pt x="59" y="305"/>
                </a:lnTo>
                <a:lnTo>
                  <a:pt x="38" y="304"/>
                </a:lnTo>
                <a:lnTo>
                  <a:pt x="32" y="286"/>
                </a:lnTo>
                <a:lnTo>
                  <a:pt x="29" y="271"/>
                </a:lnTo>
                <a:lnTo>
                  <a:pt x="11" y="245"/>
                </a:lnTo>
                <a:lnTo>
                  <a:pt x="13" y="239"/>
                </a:lnTo>
                <a:lnTo>
                  <a:pt x="7" y="236"/>
                </a:lnTo>
                <a:lnTo>
                  <a:pt x="6" y="238"/>
                </a:lnTo>
                <a:lnTo>
                  <a:pt x="0" y="224"/>
                </a:lnTo>
                <a:lnTo>
                  <a:pt x="4" y="221"/>
                </a:lnTo>
                <a:lnTo>
                  <a:pt x="14" y="200"/>
                </a:lnTo>
                <a:lnTo>
                  <a:pt x="17" y="180"/>
                </a:lnTo>
                <a:lnTo>
                  <a:pt x="17" y="174"/>
                </a:lnTo>
                <a:lnTo>
                  <a:pt x="24" y="167"/>
                </a:lnTo>
                <a:lnTo>
                  <a:pt x="11" y="158"/>
                </a:lnTo>
                <a:lnTo>
                  <a:pt x="10" y="138"/>
                </a:lnTo>
                <a:lnTo>
                  <a:pt x="10" y="116"/>
                </a:lnTo>
                <a:lnTo>
                  <a:pt x="24" y="107"/>
                </a:lnTo>
                <a:lnTo>
                  <a:pt x="40" y="104"/>
                </a:lnTo>
                <a:lnTo>
                  <a:pt x="31" y="96"/>
                </a:lnTo>
                <a:lnTo>
                  <a:pt x="43" y="68"/>
                </a:lnTo>
                <a:lnTo>
                  <a:pt x="41" y="62"/>
                </a:lnTo>
                <a:lnTo>
                  <a:pt x="56" y="59"/>
                </a:lnTo>
                <a:lnTo>
                  <a:pt x="64" y="46"/>
                </a:lnTo>
                <a:lnTo>
                  <a:pt x="72" y="24"/>
                </a:lnTo>
                <a:lnTo>
                  <a:pt x="94" y="19"/>
                </a:lnTo>
                <a:lnTo>
                  <a:pt x="96" y="11"/>
                </a:lnTo>
                <a:lnTo>
                  <a:pt x="124" y="12"/>
                </a:lnTo>
                <a:lnTo>
                  <a:pt x="122" y="0"/>
                </a:lnTo>
                <a:lnTo>
                  <a:pt x="130" y="0"/>
                </a:lnTo>
                <a:lnTo>
                  <a:pt x="176" y="19"/>
                </a:lnTo>
                <a:lnTo>
                  <a:pt x="193" y="48"/>
                </a:lnTo>
                <a:lnTo>
                  <a:pt x="202" y="68"/>
                </a:lnTo>
                <a:lnTo>
                  <a:pt x="178" y="68"/>
                </a:lnTo>
                <a:lnTo>
                  <a:pt x="172" y="71"/>
                </a:lnTo>
                <a:lnTo>
                  <a:pt x="170" y="74"/>
                </a:lnTo>
                <a:lnTo>
                  <a:pt x="167" y="73"/>
                </a:lnTo>
                <a:lnTo>
                  <a:pt x="157" y="79"/>
                </a:lnTo>
                <a:lnTo>
                  <a:pt x="155" y="90"/>
                </a:lnTo>
                <a:lnTo>
                  <a:pt x="160" y="10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30" name="Freeform 237"/>
          <p:cNvSpPr>
            <a:spLocks/>
          </p:cNvSpPr>
          <p:nvPr/>
        </p:nvSpPr>
        <p:spPr bwMode="auto">
          <a:xfrm>
            <a:off x="4849813" y="2792413"/>
            <a:ext cx="12700" cy="25400"/>
          </a:xfrm>
          <a:custGeom>
            <a:avLst/>
            <a:gdLst>
              <a:gd name="T0" fmla="*/ 2147483647 w 10"/>
              <a:gd name="T1" fmla="*/ 0 h 18"/>
              <a:gd name="T2" fmla="*/ 2147483647 w 10"/>
              <a:gd name="T3" fmla="*/ 2147483647 h 18"/>
              <a:gd name="T4" fmla="*/ 2147483647 w 10"/>
              <a:gd name="T5" fmla="*/ 2147483647 h 18"/>
              <a:gd name="T6" fmla="*/ 2147483647 w 10"/>
              <a:gd name="T7" fmla="*/ 2147483647 h 18"/>
              <a:gd name="T8" fmla="*/ 0 w 10"/>
              <a:gd name="T9" fmla="*/ 2147483647 h 18"/>
              <a:gd name="T10" fmla="*/ 2147483647 w 10"/>
              <a:gd name="T11" fmla="*/ 0 h 1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0"/>
              <a:gd name="T19" fmla="*/ 0 h 18"/>
              <a:gd name="T20" fmla="*/ 10 w 10"/>
              <a:gd name="T21" fmla="*/ 18 h 1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0" h="18">
                <a:moveTo>
                  <a:pt x="10" y="0"/>
                </a:moveTo>
                <a:lnTo>
                  <a:pt x="10" y="5"/>
                </a:lnTo>
                <a:lnTo>
                  <a:pt x="5" y="16"/>
                </a:lnTo>
                <a:lnTo>
                  <a:pt x="4" y="18"/>
                </a:lnTo>
                <a:lnTo>
                  <a:pt x="0" y="10"/>
                </a:lnTo>
                <a:lnTo>
                  <a:pt x="10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31" name="Freeform 238"/>
          <p:cNvSpPr>
            <a:spLocks/>
          </p:cNvSpPr>
          <p:nvPr/>
        </p:nvSpPr>
        <p:spPr bwMode="auto">
          <a:xfrm>
            <a:off x="4573588" y="3122613"/>
            <a:ext cx="111125" cy="57150"/>
          </a:xfrm>
          <a:custGeom>
            <a:avLst/>
            <a:gdLst>
              <a:gd name="T0" fmla="*/ 2147483647 w 84"/>
              <a:gd name="T1" fmla="*/ 2147483647 h 42"/>
              <a:gd name="T2" fmla="*/ 2147483647 w 84"/>
              <a:gd name="T3" fmla="*/ 2147483647 h 42"/>
              <a:gd name="T4" fmla="*/ 2147483647 w 84"/>
              <a:gd name="T5" fmla="*/ 2147483647 h 42"/>
              <a:gd name="T6" fmla="*/ 2147483647 w 84"/>
              <a:gd name="T7" fmla="*/ 2147483647 h 42"/>
              <a:gd name="T8" fmla="*/ 2147483647 w 84"/>
              <a:gd name="T9" fmla="*/ 2147483647 h 42"/>
              <a:gd name="T10" fmla="*/ 2147483647 w 84"/>
              <a:gd name="T11" fmla="*/ 2147483647 h 42"/>
              <a:gd name="T12" fmla="*/ 2147483647 w 84"/>
              <a:gd name="T13" fmla="*/ 2147483647 h 42"/>
              <a:gd name="T14" fmla="*/ 2147483647 w 84"/>
              <a:gd name="T15" fmla="*/ 2147483647 h 42"/>
              <a:gd name="T16" fmla="*/ 0 w 84"/>
              <a:gd name="T17" fmla="*/ 2147483647 h 42"/>
              <a:gd name="T18" fmla="*/ 2147483647 w 84"/>
              <a:gd name="T19" fmla="*/ 2147483647 h 42"/>
              <a:gd name="T20" fmla="*/ 2147483647 w 84"/>
              <a:gd name="T21" fmla="*/ 2147483647 h 42"/>
              <a:gd name="T22" fmla="*/ 2147483647 w 84"/>
              <a:gd name="T23" fmla="*/ 2147483647 h 42"/>
              <a:gd name="T24" fmla="*/ 2147483647 w 84"/>
              <a:gd name="T25" fmla="*/ 0 h 42"/>
              <a:gd name="T26" fmla="*/ 2147483647 w 84"/>
              <a:gd name="T27" fmla="*/ 2147483647 h 42"/>
              <a:gd name="T28" fmla="*/ 2147483647 w 84"/>
              <a:gd name="T29" fmla="*/ 2147483647 h 42"/>
              <a:gd name="T30" fmla="*/ 2147483647 w 84"/>
              <a:gd name="T31" fmla="*/ 2147483647 h 42"/>
              <a:gd name="T32" fmla="*/ 2147483647 w 84"/>
              <a:gd name="T33" fmla="*/ 2147483647 h 42"/>
              <a:gd name="T34" fmla="*/ 2147483647 w 84"/>
              <a:gd name="T35" fmla="*/ 2147483647 h 42"/>
              <a:gd name="T36" fmla="*/ 2147483647 w 84"/>
              <a:gd name="T37" fmla="*/ 2147483647 h 42"/>
              <a:gd name="T38" fmla="*/ 2147483647 w 84"/>
              <a:gd name="T39" fmla="*/ 2147483647 h 42"/>
              <a:gd name="T40" fmla="*/ 2147483647 w 84"/>
              <a:gd name="T41" fmla="*/ 2147483647 h 42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84"/>
              <a:gd name="T64" fmla="*/ 0 h 42"/>
              <a:gd name="T65" fmla="*/ 84 w 84"/>
              <a:gd name="T66" fmla="*/ 42 h 42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84" h="42">
                <a:moveTo>
                  <a:pt x="80" y="26"/>
                </a:moveTo>
                <a:lnTo>
                  <a:pt x="75" y="33"/>
                </a:lnTo>
                <a:lnTo>
                  <a:pt x="62" y="33"/>
                </a:lnTo>
                <a:lnTo>
                  <a:pt x="55" y="42"/>
                </a:lnTo>
                <a:lnTo>
                  <a:pt x="42" y="32"/>
                </a:lnTo>
                <a:lnTo>
                  <a:pt x="30" y="41"/>
                </a:lnTo>
                <a:lnTo>
                  <a:pt x="18" y="42"/>
                </a:lnTo>
                <a:lnTo>
                  <a:pt x="7" y="29"/>
                </a:lnTo>
                <a:lnTo>
                  <a:pt x="0" y="34"/>
                </a:lnTo>
                <a:lnTo>
                  <a:pt x="17" y="9"/>
                </a:lnTo>
                <a:lnTo>
                  <a:pt x="21" y="6"/>
                </a:lnTo>
                <a:lnTo>
                  <a:pt x="27" y="3"/>
                </a:lnTo>
                <a:lnTo>
                  <a:pt x="47" y="0"/>
                </a:lnTo>
                <a:lnTo>
                  <a:pt x="66" y="4"/>
                </a:lnTo>
                <a:lnTo>
                  <a:pt x="66" y="10"/>
                </a:lnTo>
                <a:lnTo>
                  <a:pt x="65" y="12"/>
                </a:lnTo>
                <a:lnTo>
                  <a:pt x="65" y="15"/>
                </a:lnTo>
                <a:lnTo>
                  <a:pt x="69" y="15"/>
                </a:lnTo>
                <a:lnTo>
                  <a:pt x="84" y="20"/>
                </a:lnTo>
                <a:lnTo>
                  <a:pt x="84" y="21"/>
                </a:lnTo>
                <a:lnTo>
                  <a:pt x="80" y="26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32" name="Freeform 239"/>
          <p:cNvSpPr>
            <a:spLocks/>
          </p:cNvSpPr>
          <p:nvPr/>
        </p:nvSpPr>
        <p:spPr bwMode="auto">
          <a:xfrm>
            <a:off x="4983163" y="2962275"/>
            <a:ext cx="469900" cy="268288"/>
          </a:xfrm>
          <a:custGeom>
            <a:avLst/>
            <a:gdLst>
              <a:gd name="T0" fmla="*/ 2147483647 w 354"/>
              <a:gd name="T1" fmla="*/ 0 h 194"/>
              <a:gd name="T2" fmla="*/ 2147483647 w 354"/>
              <a:gd name="T3" fmla="*/ 2147483647 h 194"/>
              <a:gd name="T4" fmla="*/ 2147483647 w 354"/>
              <a:gd name="T5" fmla="*/ 2147483647 h 194"/>
              <a:gd name="T6" fmla="*/ 2147483647 w 354"/>
              <a:gd name="T7" fmla="*/ 2147483647 h 194"/>
              <a:gd name="T8" fmla="*/ 2147483647 w 354"/>
              <a:gd name="T9" fmla="*/ 2147483647 h 194"/>
              <a:gd name="T10" fmla="*/ 2147483647 w 354"/>
              <a:gd name="T11" fmla="*/ 2147483647 h 194"/>
              <a:gd name="T12" fmla="*/ 2147483647 w 354"/>
              <a:gd name="T13" fmla="*/ 2147483647 h 194"/>
              <a:gd name="T14" fmla="*/ 2147483647 w 354"/>
              <a:gd name="T15" fmla="*/ 2147483647 h 194"/>
              <a:gd name="T16" fmla="*/ 2147483647 w 354"/>
              <a:gd name="T17" fmla="*/ 2147483647 h 194"/>
              <a:gd name="T18" fmla="*/ 2147483647 w 354"/>
              <a:gd name="T19" fmla="*/ 2147483647 h 194"/>
              <a:gd name="T20" fmla="*/ 2147483647 w 354"/>
              <a:gd name="T21" fmla="*/ 2147483647 h 194"/>
              <a:gd name="T22" fmla="*/ 2147483647 w 354"/>
              <a:gd name="T23" fmla="*/ 2147483647 h 194"/>
              <a:gd name="T24" fmla="*/ 0 w 354"/>
              <a:gd name="T25" fmla="*/ 2147483647 h 194"/>
              <a:gd name="T26" fmla="*/ 2147483647 w 354"/>
              <a:gd name="T27" fmla="*/ 2147483647 h 194"/>
              <a:gd name="T28" fmla="*/ 2147483647 w 354"/>
              <a:gd name="T29" fmla="*/ 2147483647 h 194"/>
              <a:gd name="T30" fmla="*/ 2147483647 w 354"/>
              <a:gd name="T31" fmla="*/ 2147483647 h 194"/>
              <a:gd name="T32" fmla="*/ 2147483647 w 354"/>
              <a:gd name="T33" fmla="*/ 2147483647 h 194"/>
              <a:gd name="T34" fmla="*/ 2147483647 w 354"/>
              <a:gd name="T35" fmla="*/ 2147483647 h 194"/>
              <a:gd name="T36" fmla="*/ 2147483647 w 354"/>
              <a:gd name="T37" fmla="*/ 2147483647 h 194"/>
              <a:gd name="T38" fmla="*/ 2147483647 w 354"/>
              <a:gd name="T39" fmla="*/ 2147483647 h 194"/>
              <a:gd name="T40" fmla="*/ 2147483647 w 354"/>
              <a:gd name="T41" fmla="*/ 2147483647 h 194"/>
              <a:gd name="T42" fmla="*/ 2147483647 w 354"/>
              <a:gd name="T43" fmla="*/ 2147483647 h 194"/>
              <a:gd name="T44" fmla="*/ 2147483647 w 354"/>
              <a:gd name="T45" fmla="*/ 2147483647 h 194"/>
              <a:gd name="T46" fmla="*/ 2147483647 w 354"/>
              <a:gd name="T47" fmla="*/ 2147483647 h 194"/>
              <a:gd name="T48" fmla="*/ 2147483647 w 354"/>
              <a:gd name="T49" fmla="*/ 2147483647 h 194"/>
              <a:gd name="T50" fmla="*/ 2147483647 w 354"/>
              <a:gd name="T51" fmla="*/ 2147483647 h 194"/>
              <a:gd name="T52" fmla="*/ 2147483647 w 354"/>
              <a:gd name="T53" fmla="*/ 2147483647 h 194"/>
              <a:gd name="T54" fmla="*/ 2147483647 w 354"/>
              <a:gd name="T55" fmla="*/ 2147483647 h 194"/>
              <a:gd name="T56" fmla="*/ 2147483647 w 354"/>
              <a:gd name="T57" fmla="*/ 2147483647 h 194"/>
              <a:gd name="T58" fmla="*/ 2147483647 w 354"/>
              <a:gd name="T59" fmla="*/ 2147483647 h 194"/>
              <a:gd name="T60" fmla="*/ 2147483647 w 354"/>
              <a:gd name="T61" fmla="*/ 2147483647 h 194"/>
              <a:gd name="T62" fmla="*/ 2147483647 w 354"/>
              <a:gd name="T63" fmla="*/ 2147483647 h 194"/>
              <a:gd name="T64" fmla="*/ 2147483647 w 354"/>
              <a:gd name="T65" fmla="*/ 2147483647 h 194"/>
              <a:gd name="T66" fmla="*/ 2147483647 w 354"/>
              <a:gd name="T67" fmla="*/ 2147483647 h 194"/>
              <a:gd name="T68" fmla="*/ 2147483647 w 354"/>
              <a:gd name="T69" fmla="*/ 2147483647 h 194"/>
              <a:gd name="T70" fmla="*/ 2147483647 w 354"/>
              <a:gd name="T71" fmla="*/ 2147483647 h 194"/>
              <a:gd name="T72" fmla="*/ 2147483647 w 354"/>
              <a:gd name="T73" fmla="*/ 2147483647 h 194"/>
              <a:gd name="T74" fmla="*/ 2147483647 w 354"/>
              <a:gd name="T75" fmla="*/ 2147483647 h 194"/>
              <a:gd name="T76" fmla="*/ 2147483647 w 354"/>
              <a:gd name="T77" fmla="*/ 2147483647 h 194"/>
              <a:gd name="T78" fmla="*/ 2147483647 w 354"/>
              <a:gd name="T79" fmla="*/ 2147483647 h 194"/>
              <a:gd name="T80" fmla="*/ 2147483647 w 354"/>
              <a:gd name="T81" fmla="*/ 2147483647 h 194"/>
              <a:gd name="T82" fmla="*/ 2147483647 w 354"/>
              <a:gd name="T83" fmla="*/ 2147483647 h 194"/>
              <a:gd name="T84" fmla="*/ 2147483647 w 354"/>
              <a:gd name="T85" fmla="*/ 2147483647 h 194"/>
              <a:gd name="T86" fmla="*/ 2147483647 w 354"/>
              <a:gd name="T87" fmla="*/ 2147483647 h 194"/>
              <a:gd name="T88" fmla="*/ 2147483647 w 354"/>
              <a:gd name="T89" fmla="*/ 2147483647 h 194"/>
              <a:gd name="T90" fmla="*/ 2147483647 w 354"/>
              <a:gd name="T91" fmla="*/ 2147483647 h 194"/>
              <a:gd name="T92" fmla="*/ 2147483647 w 354"/>
              <a:gd name="T93" fmla="*/ 2147483647 h 194"/>
              <a:gd name="T94" fmla="*/ 2147483647 w 354"/>
              <a:gd name="T95" fmla="*/ 2147483647 h 194"/>
              <a:gd name="T96" fmla="*/ 2147483647 w 354"/>
              <a:gd name="T97" fmla="*/ 2147483647 h 194"/>
              <a:gd name="T98" fmla="*/ 2147483647 w 354"/>
              <a:gd name="T99" fmla="*/ 2147483647 h 194"/>
              <a:gd name="T100" fmla="*/ 2147483647 w 354"/>
              <a:gd name="T101" fmla="*/ 2147483647 h 194"/>
              <a:gd name="T102" fmla="*/ 2147483647 w 354"/>
              <a:gd name="T103" fmla="*/ 2147483647 h 194"/>
              <a:gd name="T104" fmla="*/ 2147483647 w 354"/>
              <a:gd name="T105" fmla="*/ 2147483647 h 194"/>
              <a:gd name="T106" fmla="*/ 2147483647 w 354"/>
              <a:gd name="T107" fmla="*/ 2147483647 h 194"/>
              <a:gd name="T108" fmla="*/ 2147483647 w 354"/>
              <a:gd name="T109" fmla="*/ 2147483647 h 194"/>
              <a:gd name="T110" fmla="*/ 2147483647 w 354"/>
              <a:gd name="T111" fmla="*/ 2147483647 h 194"/>
              <a:gd name="T112" fmla="*/ 2147483647 w 354"/>
              <a:gd name="T113" fmla="*/ 0 h 19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354"/>
              <a:gd name="T172" fmla="*/ 0 h 194"/>
              <a:gd name="T173" fmla="*/ 354 w 354"/>
              <a:gd name="T174" fmla="*/ 194 h 194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354" h="194">
                <a:moveTo>
                  <a:pt x="187" y="0"/>
                </a:moveTo>
                <a:lnTo>
                  <a:pt x="172" y="5"/>
                </a:lnTo>
                <a:lnTo>
                  <a:pt x="149" y="17"/>
                </a:lnTo>
                <a:lnTo>
                  <a:pt x="150" y="25"/>
                </a:lnTo>
                <a:lnTo>
                  <a:pt x="117" y="19"/>
                </a:lnTo>
                <a:lnTo>
                  <a:pt x="84" y="13"/>
                </a:lnTo>
                <a:lnTo>
                  <a:pt x="51" y="13"/>
                </a:lnTo>
                <a:lnTo>
                  <a:pt x="18" y="13"/>
                </a:lnTo>
                <a:lnTo>
                  <a:pt x="29" y="38"/>
                </a:lnTo>
                <a:lnTo>
                  <a:pt x="27" y="50"/>
                </a:lnTo>
                <a:lnTo>
                  <a:pt x="9" y="74"/>
                </a:lnTo>
                <a:lnTo>
                  <a:pt x="6" y="82"/>
                </a:lnTo>
                <a:lnTo>
                  <a:pt x="0" y="98"/>
                </a:lnTo>
                <a:lnTo>
                  <a:pt x="16" y="109"/>
                </a:lnTo>
                <a:lnTo>
                  <a:pt x="17" y="109"/>
                </a:lnTo>
                <a:lnTo>
                  <a:pt x="53" y="113"/>
                </a:lnTo>
                <a:lnTo>
                  <a:pt x="85" y="102"/>
                </a:lnTo>
                <a:lnTo>
                  <a:pt x="103" y="89"/>
                </a:lnTo>
                <a:lnTo>
                  <a:pt x="109" y="91"/>
                </a:lnTo>
                <a:lnTo>
                  <a:pt x="125" y="106"/>
                </a:lnTo>
                <a:lnTo>
                  <a:pt x="141" y="120"/>
                </a:lnTo>
                <a:lnTo>
                  <a:pt x="156" y="134"/>
                </a:lnTo>
                <a:lnTo>
                  <a:pt x="172" y="149"/>
                </a:lnTo>
                <a:lnTo>
                  <a:pt x="187" y="138"/>
                </a:lnTo>
                <a:lnTo>
                  <a:pt x="193" y="142"/>
                </a:lnTo>
                <a:lnTo>
                  <a:pt x="191" y="130"/>
                </a:lnTo>
                <a:lnTo>
                  <a:pt x="195" y="138"/>
                </a:lnTo>
                <a:lnTo>
                  <a:pt x="209" y="142"/>
                </a:lnTo>
                <a:lnTo>
                  <a:pt x="189" y="143"/>
                </a:lnTo>
                <a:lnTo>
                  <a:pt x="197" y="149"/>
                </a:lnTo>
                <a:lnTo>
                  <a:pt x="214" y="154"/>
                </a:lnTo>
                <a:lnTo>
                  <a:pt x="232" y="156"/>
                </a:lnTo>
                <a:lnTo>
                  <a:pt x="211" y="169"/>
                </a:lnTo>
                <a:lnTo>
                  <a:pt x="225" y="176"/>
                </a:lnTo>
                <a:lnTo>
                  <a:pt x="234" y="185"/>
                </a:lnTo>
                <a:lnTo>
                  <a:pt x="238" y="194"/>
                </a:lnTo>
                <a:lnTo>
                  <a:pt x="265" y="184"/>
                </a:lnTo>
                <a:lnTo>
                  <a:pt x="279" y="181"/>
                </a:lnTo>
                <a:lnTo>
                  <a:pt x="291" y="174"/>
                </a:lnTo>
                <a:lnTo>
                  <a:pt x="275" y="173"/>
                </a:lnTo>
                <a:lnTo>
                  <a:pt x="256" y="158"/>
                </a:lnTo>
                <a:lnTo>
                  <a:pt x="261" y="148"/>
                </a:lnTo>
                <a:lnTo>
                  <a:pt x="258" y="154"/>
                </a:lnTo>
                <a:lnTo>
                  <a:pt x="263" y="149"/>
                </a:lnTo>
                <a:lnTo>
                  <a:pt x="291" y="138"/>
                </a:lnTo>
                <a:lnTo>
                  <a:pt x="322" y="127"/>
                </a:lnTo>
                <a:lnTo>
                  <a:pt x="331" y="126"/>
                </a:lnTo>
                <a:lnTo>
                  <a:pt x="339" y="112"/>
                </a:lnTo>
                <a:lnTo>
                  <a:pt x="354" y="104"/>
                </a:lnTo>
                <a:lnTo>
                  <a:pt x="341" y="70"/>
                </a:lnTo>
                <a:lnTo>
                  <a:pt x="312" y="61"/>
                </a:lnTo>
                <a:lnTo>
                  <a:pt x="283" y="52"/>
                </a:lnTo>
                <a:lnTo>
                  <a:pt x="271" y="54"/>
                </a:lnTo>
                <a:lnTo>
                  <a:pt x="246" y="32"/>
                </a:lnTo>
                <a:lnTo>
                  <a:pt x="221" y="12"/>
                </a:lnTo>
                <a:lnTo>
                  <a:pt x="217" y="4"/>
                </a:lnTo>
                <a:lnTo>
                  <a:pt x="187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33" name="Freeform 240"/>
          <p:cNvSpPr>
            <a:spLocks/>
          </p:cNvSpPr>
          <p:nvPr/>
        </p:nvSpPr>
        <p:spPr bwMode="auto">
          <a:xfrm>
            <a:off x="4903788" y="3175000"/>
            <a:ext cx="115887" cy="142875"/>
          </a:xfrm>
          <a:custGeom>
            <a:avLst/>
            <a:gdLst>
              <a:gd name="T0" fmla="*/ 2147483647 w 89"/>
              <a:gd name="T1" fmla="*/ 2147483647 h 104"/>
              <a:gd name="T2" fmla="*/ 2147483647 w 89"/>
              <a:gd name="T3" fmla="*/ 2147483647 h 104"/>
              <a:gd name="T4" fmla="*/ 2147483647 w 89"/>
              <a:gd name="T5" fmla="*/ 2147483647 h 104"/>
              <a:gd name="T6" fmla="*/ 2147483647 w 89"/>
              <a:gd name="T7" fmla="*/ 2147483647 h 104"/>
              <a:gd name="T8" fmla="*/ 2147483647 w 89"/>
              <a:gd name="T9" fmla="*/ 2147483647 h 104"/>
              <a:gd name="T10" fmla="*/ 2147483647 w 89"/>
              <a:gd name="T11" fmla="*/ 2147483647 h 104"/>
              <a:gd name="T12" fmla="*/ 2147483647 w 89"/>
              <a:gd name="T13" fmla="*/ 2147483647 h 104"/>
              <a:gd name="T14" fmla="*/ 2147483647 w 89"/>
              <a:gd name="T15" fmla="*/ 2147483647 h 104"/>
              <a:gd name="T16" fmla="*/ 2147483647 w 89"/>
              <a:gd name="T17" fmla="*/ 2147483647 h 104"/>
              <a:gd name="T18" fmla="*/ 2147483647 w 89"/>
              <a:gd name="T19" fmla="*/ 2147483647 h 104"/>
              <a:gd name="T20" fmla="*/ 2147483647 w 89"/>
              <a:gd name="T21" fmla="*/ 2147483647 h 104"/>
              <a:gd name="T22" fmla="*/ 2147483647 w 89"/>
              <a:gd name="T23" fmla="*/ 2147483647 h 104"/>
              <a:gd name="T24" fmla="*/ 2147483647 w 89"/>
              <a:gd name="T25" fmla="*/ 2147483647 h 104"/>
              <a:gd name="T26" fmla="*/ 2147483647 w 89"/>
              <a:gd name="T27" fmla="*/ 2147483647 h 104"/>
              <a:gd name="T28" fmla="*/ 2147483647 w 89"/>
              <a:gd name="T29" fmla="*/ 2147483647 h 104"/>
              <a:gd name="T30" fmla="*/ 2147483647 w 89"/>
              <a:gd name="T31" fmla="*/ 2147483647 h 104"/>
              <a:gd name="T32" fmla="*/ 2147483647 w 89"/>
              <a:gd name="T33" fmla="*/ 2147483647 h 104"/>
              <a:gd name="T34" fmla="*/ 2147483647 w 89"/>
              <a:gd name="T35" fmla="*/ 2147483647 h 104"/>
              <a:gd name="T36" fmla="*/ 2147483647 w 89"/>
              <a:gd name="T37" fmla="*/ 2147483647 h 104"/>
              <a:gd name="T38" fmla="*/ 2147483647 w 89"/>
              <a:gd name="T39" fmla="*/ 2147483647 h 104"/>
              <a:gd name="T40" fmla="*/ 2147483647 w 89"/>
              <a:gd name="T41" fmla="*/ 2147483647 h 104"/>
              <a:gd name="T42" fmla="*/ 2147483647 w 89"/>
              <a:gd name="T43" fmla="*/ 2147483647 h 104"/>
              <a:gd name="T44" fmla="*/ 2147483647 w 89"/>
              <a:gd name="T45" fmla="*/ 2147483647 h 104"/>
              <a:gd name="T46" fmla="*/ 0 w 89"/>
              <a:gd name="T47" fmla="*/ 2147483647 h 104"/>
              <a:gd name="T48" fmla="*/ 2147483647 w 89"/>
              <a:gd name="T49" fmla="*/ 2147483647 h 104"/>
              <a:gd name="T50" fmla="*/ 2147483647 w 89"/>
              <a:gd name="T51" fmla="*/ 2147483647 h 104"/>
              <a:gd name="T52" fmla="*/ 2147483647 w 89"/>
              <a:gd name="T53" fmla="*/ 2147483647 h 104"/>
              <a:gd name="T54" fmla="*/ 2147483647 w 89"/>
              <a:gd name="T55" fmla="*/ 2147483647 h 104"/>
              <a:gd name="T56" fmla="*/ 2147483647 w 89"/>
              <a:gd name="T57" fmla="*/ 2147483647 h 104"/>
              <a:gd name="T58" fmla="*/ 2147483647 w 89"/>
              <a:gd name="T59" fmla="*/ 2147483647 h 104"/>
              <a:gd name="T60" fmla="*/ 2147483647 w 89"/>
              <a:gd name="T61" fmla="*/ 2147483647 h 104"/>
              <a:gd name="T62" fmla="*/ 2147483647 w 89"/>
              <a:gd name="T63" fmla="*/ 2147483647 h 104"/>
              <a:gd name="T64" fmla="*/ 2147483647 w 89"/>
              <a:gd name="T65" fmla="*/ 2147483647 h 104"/>
              <a:gd name="T66" fmla="*/ 2147483647 w 89"/>
              <a:gd name="T67" fmla="*/ 2147483647 h 104"/>
              <a:gd name="T68" fmla="*/ 2147483647 w 89"/>
              <a:gd name="T69" fmla="*/ 2147483647 h 104"/>
              <a:gd name="T70" fmla="*/ 2147483647 w 89"/>
              <a:gd name="T71" fmla="*/ 2147483647 h 104"/>
              <a:gd name="T72" fmla="*/ 2147483647 w 89"/>
              <a:gd name="T73" fmla="*/ 2147483647 h 104"/>
              <a:gd name="T74" fmla="*/ 2147483647 w 89"/>
              <a:gd name="T75" fmla="*/ 2147483647 h 104"/>
              <a:gd name="T76" fmla="*/ 2147483647 w 89"/>
              <a:gd name="T77" fmla="*/ 2147483647 h 104"/>
              <a:gd name="T78" fmla="*/ 2147483647 w 89"/>
              <a:gd name="T79" fmla="*/ 2147483647 h 104"/>
              <a:gd name="T80" fmla="*/ 2147483647 w 89"/>
              <a:gd name="T81" fmla="*/ 2147483647 h 104"/>
              <a:gd name="T82" fmla="*/ 2147483647 w 89"/>
              <a:gd name="T83" fmla="*/ 2147483647 h 104"/>
              <a:gd name="T84" fmla="*/ 2147483647 w 89"/>
              <a:gd name="T85" fmla="*/ 2147483647 h 104"/>
              <a:gd name="T86" fmla="*/ 2147483647 w 89"/>
              <a:gd name="T87" fmla="*/ 2147483647 h 104"/>
              <a:gd name="T88" fmla="*/ 2147483647 w 89"/>
              <a:gd name="T89" fmla="*/ 2147483647 h 104"/>
              <a:gd name="T90" fmla="*/ 2147483647 w 89"/>
              <a:gd name="T91" fmla="*/ 2147483647 h 104"/>
              <a:gd name="T92" fmla="*/ 2147483647 w 89"/>
              <a:gd name="T93" fmla="*/ 2147483647 h 104"/>
              <a:gd name="T94" fmla="*/ 2147483647 w 89"/>
              <a:gd name="T95" fmla="*/ 2147483647 h 104"/>
              <a:gd name="T96" fmla="*/ 2147483647 w 89"/>
              <a:gd name="T97" fmla="*/ 0 h 104"/>
              <a:gd name="T98" fmla="*/ 2147483647 w 89"/>
              <a:gd name="T99" fmla="*/ 2147483647 h 104"/>
              <a:gd name="T100" fmla="*/ 2147483647 w 89"/>
              <a:gd name="T101" fmla="*/ 2147483647 h 104"/>
              <a:gd name="T102" fmla="*/ 2147483647 w 89"/>
              <a:gd name="T103" fmla="*/ 2147483647 h 104"/>
              <a:gd name="T104" fmla="*/ 2147483647 w 89"/>
              <a:gd name="T105" fmla="*/ 2147483647 h 104"/>
              <a:gd name="T106" fmla="*/ 2147483647 w 89"/>
              <a:gd name="T107" fmla="*/ 2147483647 h 104"/>
              <a:gd name="T108" fmla="*/ 2147483647 w 89"/>
              <a:gd name="T109" fmla="*/ 2147483647 h 10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89"/>
              <a:gd name="T166" fmla="*/ 0 h 104"/>
              <a:gd name="T167" fmla="*/ 89 w 89"/>
              <a:gd name="T168" fmla="*/ 104 h 104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89" h="104">
                <a:moveTo>
                  <a:pt x="16" y="21"/>
                </a:moveTo>
                <a:lnTo>
                  <a:pt x="16" y="22"/>
                </a:lnTo>
                <a:lnTo>
                  <a:pt x="10" y="24"/>
                </a:lnTo>
                <a:lnTo>
                  <a:pt x="8" y="30"/>
                </a:lnTo>
                <a:lnTo>
                  <a:pt x="14" y="30"/>
                </a:lnTo>
                <a:lnTo>
                  <a:pt x="14" y="33"/>
                </a:lnTo>
                <a:lnTo>
                  <a:pt x="13" y="37"/>
                </a:lnTo>
                <a:lnTo>
                  <a:pt x="10" y="40"/>
                </a:lnTo>
                <a:lnTo>
                  <a:pt x="11" y="43"/>
                </a:lnTo>
                <a:lnTo>
                  <a:pt x="14" y="45"/>
                </a:lnTo>
                <a:lnTo>
                  <a:pt x="23" y="50"/>
                </a:lnTo>
                <a:lnTo>
                  <a:pt x="16" y="54"/>
                </a:lnTo>
                <a:lnTo>
                  <a:pt x="20" y="57"/>
                </a:lnTo>
                <a:lnTo>
                  <a:pt x="20" y="62"/>
                </a:lnTo>
                <a:lnTo>
                  <a:pt x="10" y="64"/>
                </a:lnTo>
                <a:lnTo>
                  <a:pt x="14" y="69"/>
                </a:lnTo>
                <a:lnTo>
                  <a:pt x="12" y="72"/>
                </a:lnTo>
                <a:lnTo>
                  <a:pt x="8" y="68"/>
                </a:lnTo>
                <a:lnTo>
                  <a:pt x="4" y="75"/>
                </a:lnTo>
                <a:lnTo>
                  <a:pt x="1" y="78"/>
                </a:lnTo>
                <a:lnTo>
                  <a:pt x="6" y="85"/>
                </a:lnTo>
                <a:lnTo>
                  <a:pt x="1" y="86"/>
                </a:lnTo>
                <a:lnTo>
                  <a:pt x="1" y="87"/>
                </a:lnTo>
                <a:lnTo>
                  <a:pt x="0" y="90"/>
                </a:lnTo>
                <a:lnTo>
                  <a:pt x="14" y="97"/>
                </a:lnTo>
                <a:lnTo>
                  <a:pt x="22" y="104"/>
                </a:lnTo>
                <a:lnTo>
                  <a:pt x="25" y="87"/>
                </a:lnTo>
                <a:lnTo>
                  <a:pt x="37" y="91"/>
                </a:lnTo>
                <a:lnTo>
                  <a:pt x="43" y="103"/>
                </a:lnTo>
                <a:lnTo>
                  <a:pt x="47" y="102"/>
                </a:lnTo>
                <a:lnTo>
                  <a:pt x="47" y="99"/>
                </a:lnTo>
                <a:lnTo>
                  <a:pt x="54" y="97"/>
                </a:lnTo>
                <a:lnTo>
                  <a:pt x="59" y="98"/>
                </a:lnTo>
                <a:lnTo>
                  <a:pt x="61" y="94"/>
                </a:lnTo>
                <a:lnTo>
                  <a:pt x="65" y="94"/>
                </a:lnTo>
                <a:lnTo>
                  <a:pt x="69" y="96"/>
                </a:lnTo>
                <a:lnTo>
                  <a:pt x="71" y="94"/>
                </a:lnTo>
                <a:lnTo>
                  <a:pt x="78" y="92"/>
                </a:lnTo>
                <a:lnTo>
                  <a:pt x="83" y="98"/>
                </a:lnTo>
                <a:lnTo>
                  <a:pt x="87" y="96"/>
                </a:lnTo>
                <a:lnTo>
                  <a:pt x="81" y="87"/>
                </a:lnTo>
                <a:lnTo>
                  <a:pt x="89" y="75"/>
                </a:lnTo>
                <a:lnTo>
                  <a:pt x="81" y="61"/>
                </a:lnTo>
                <a:lnTo>
                  <a:pt x="82" y="45"/>
                </a:lnTo>
                <a:lnTo>
                  <a:pt x="81" y="38"/>
                </a:lnTo>
                <a:lnTo>
                  <a:pt x="73" y="36"/>
                </a:lnTo>
                <a:lnTo>
                  <a:pt x="67" y="34"/>
                </a:lnTo>
                <a:lnTo>
                  <a:pt x="59" y="30"/>
                </a:lnTo>
                <a:lnTo>
                  <a:pt x="30" y="0"/>
                </a:lnTo>
                <a:lnTo>
                  <a:pt x="1" y="6"/>
                </a:lnTo>
                <a:lnTo>
                  <a:pt x="6" y="14"/>
                </a:lnTo>
                <a:lnTo>
                  <a:pt x="10" y="15"/>
                </a:lnTo>
                <a:lnTo>
                  <a:pt x="7" y="18"/>
                </a:lnTo>
                <a:lnTo>
                  <a:pt x="10" y="19"/>
                </a:lnTo>
                <a:lnTo>
                  <a:pt x="16" y="2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34" name="Freeform 241"/>
          <p:cNvSpPr>
            <a:spLocks/>
          </p:cNvSpPr>
          <p:nvPr/>
        </p:nvSpPr>
        <p:spPr bwMode="auto">
          <a:xfrm>
            <a:off x="1452563" y="2368550"/>
            <a:ext cx="1889125" cy="955675"/>
          </a:xfrm>
          <a:custGeom>
            <a:avLst/>
            <a:gdLst>
              <a:gd name="T0" fmla="*/ 2147483647 w 1425"/>
              <a:gd name="T1" fmla="*/ 2147483647 h 695"/>
              <a:gd name="T2" fmla="*/ 2147483647 w 1425"/>
              <a:gd name="T3" fmla="*/ 2147483647 h 695"/>
              <a:gd name="T4" fmla="*/ 2147483647 w 1425"/>
              <a:gd name="T5" fmla="*/ 2147483647 h 695"/>
              <a:gd name="T6" fmla="*/ 2147483647 w 1425"/>
              <a:gd name="T7" fmla="*/ 2147483647 h 695"/>
              <a:gd name="T8" fmla="*/ 2147483647 w 1425"/>
              <a:gd name="T9" fmla="*/ 2147483647 h 695"/>
              <a:gd name="T10" fmla="*/ 2147483647 w 1425"/>
              <a:gd name="T11" fmla="*/ 2147483647 h 695"/>
              <a:gd name="T12" fmla="*/ 2147483647 w 1425"/>
              <a:gd name="T13" fmla="*/ 2147483647 h 695"/>
              <a:gd name="T14" fmla="*/ 2147483647 w 1425"/>
              <a:gd name="T15" fmla="*/ 2147483647 h 695"/>
              <a:gd name="T16" fmla="*/ 2147483647 w 1425"/>
              <a:gd name="T17" fmla="*/ 2147483647 h 695"/>
              <a:gd name="T18" fmla="*/ 2147483647 w 1425"/>
              <a:gd name="T19" fmla="*/ 2147483647 h 695"/>
              <a:gd name="T20" fmla="*/ 2147483647 w 1425"/>
              <a:gd name="T21" fmla="*/ 2147483647 h 695"/>
              <a:gd name="T22" fmla="*/ 2147483647 w 1425"/>
              <a:gd name="T23" fmla="*/ 2147483647 h 695"/>
              <a:gd name="T24" fmla="*/ 2147483647 w 1425"/>
              <a:gd name="T25" fmla="*/ 2147483647 h 695"/>
              <a:gd name="T26" fmla="*/ 2147483647 w 1425"/>
              <a:gd name="T27" fmla="*/ 2147483647 h 695"/>
              <a:gd name="T28" fmla="*/ 2147483647 w 1425"/>
              <a:gd name="T29" fmla="*/ 2147483647 h 695"/>
              <a:gd name="T30" fmla="*/ 2147483647 w 1425"/>
              <a:gd name="T31" fmla="*/ 2147483647 h 695"/>
              <a:gd name="T32" fmla="*/ 2147483647 w 1425"/>
              <a:gd name="T33" fmla="*/ 2147483647 h 695"/>
              <a:gd name="T34" fmla="*/ 2147483647 w 1425"/>
              <a:gd name="T35" fmla="*/ 2147483647 h 695"/>
              <a:gd name="T36" fmla="*/ 2147483647 w 1425"/>
              <a:gd name="T37" fmla="*/ 2147483647 h 695"/>
              <a:gd name="T38" fmla="*/ 2147483647 w 1425"/>
              <a:gd name="T39" fmla="*/ 2147483647 h 695"/>
              <a:gd name="T40" fmla="*/ 2147483647 w 1425"/>
              <a:gd name="T41" fmla="*/ 2147483647 h 695"/>
              <a:gd name="T42" fmla="*/ 2147483647 w 1425"/>
              <a:gd name="T43" fmla="*/ 2147483647 h 695"/>
              <a:gd name="T44" fmla="*/ 2147483647 w 1425"/>
              <a:gd name="T45" fmla="*/ 2147483647 h 695"/>
              <a:gd name="T46" fmla="*/ 2147483647 w 1425"/>
              <a:gd name="T47" fmla="*/ 2147483647 h 695"/>
              <a:gd name="T48" fmla="*/ 2147483647 w 1425"/>
              <a:gd name="T49" fmla="*/ 2147483647 h 695"/>
              <a:gd name="T50" fmla="*/ 2147483647 w 1425"/>
              <a:gd name="T51" fmla="*/ 2147483647 h 695"/>
              <a:gd name="T52" fmla="*/ 2147483647 w 1425"/>
              <a:gd name="T53" fmla="*/ 2147483647 h 695"/>
              <a:gd name="T54" fmla="*/ 2147483647 w 1425"/>
              <a:gd name="T55" fmla="*/ 2147483647 h 695"/>
              <a:gd name="T56" fmla="*/ 2147483647 w 1425"/>
              <a:gd name="T57" fmla="*/ 2147483647 h 695"/>
              <a:gd name="T58" fmla="*/ 2147483647 w 1425"/>
              <a:gd name="T59" fmla="*/ 2147483647 h 695"/>
              <a:gd name="T60" fmla="*/ 2147483647 w 1425"/>
              <a:gd name="T61" fmla="*/ 2147483647 h 695"/>
              <a:gd name="T62" fmla="*/ 2147483647 w 1425"/>
              <a:gd name="T63" fmla="*/ 2147483647 h 695"/>
              <a:gd name="T64" fmla="*/ 2147483647 w 1425"/>
              <a:gd name="T65" fmla="*/ 2147483647 h 695"/>
              <a:gd name="T66" fmla="*/ 2147483647 w 1425"/>
              <a:gd name="T67" fmla="*/ 2147483647 h 695"/>
              <a:gd name="T68" fmla="*/ 2147483647 w 1425"/>
              <a:gd name="T69" fmla="*/ 2147483647 h 695"/>
              <a:gd name="T70" fmla="*/ 2147483647 w 1425"/>
              <a:gd name="T71" fmla="*/ 2147483647 h 695"/>
              <a:gd name="T72" fmla="*/ 2147483647 w 1425"/>
              <a:gd name="T73" fmla="*/ 2147483647 h 695"/>
              <a:gd name="T74" fmla="*/ 2147483647 w 1425"/>
              <a:gd name="T75" fmla="*/ 2147483647 h 695"/>
              <a:gd name="T76" fmla="*/ 2147483647 w 1425"/>
              <a:gd name="T77" fmla="*/ 2147483647 h 695"/>
              <a:gd name="T78" fmla="*/ 2147483647 w 1425"/>
              <a:gd name="T79" fmla="*/ 2147483647 h 695"/>
              <a:gd name="T80" fmla="*/ 2147483647 w 1425"/>
              <a:gd name="T81" fmla="*/ 2147483647 h 695"/>
              <a:gd name="T82" fmla="*/ 2147483647 w 1425"/>
              <a:gd name="T83" fmla="*/ 2147483647 h 695"/>
              <a:gd name="T84" fmla="*/ 2147483647 w 1425"/>
              <a:gd name="T85" fmla="*/ 2147483647 h 695"/>
              <a:gd name="T86" fmla="*/ 2147483647 w 1425"/>
              <a:gd name="T87" fmla="*/ 2147483647 h 695"/>
              <a:gd name="T88" fmla="*/ 2147483647 w 1425"/>
              <a:gd name="T89" fmla="*/ 2147483647 h 695"/>
              <a:gd name="T90" fmla="*/ 2147483647 w 1425"/>
              <a:gd name="T91" fmla="*/ 2147483647 h 695"/>
              <a:gd name="T92" fmla="*/ 2147483647 w 1425"/>
              <a:gd name="T93" fmla="*/ 2147483647 h 695"/>
              <a:gd name="T94" fmla="*/ 2147483647 w 1425"/>
              <a:gd name="T95" fmla="*/ 2147483647 h 695"/>
              <a:gd name="T96" fmla="*/ 2147483647 w 1425"/>
              <a:gd name="T97" fmla="*/ 2147483647 h 695"/>
              <a:gd name="T98" fmla="*/ 2147483647 w 1425"/>
              <a:gd name="T99" fmla="*/ 2147483647 h 695"/>
              <a:gd name="T100" fmla="*/ 2147483647 w 1425"/>
              <a:gd name="T101" fmla="*/ 2147483647 h 695"/>
              <a:gd name="T102" fmla="*/ 2147483647 w 1425"/>
              <a:gd name="T103" fmla="*/ 2147483647 h 695"/>
              <a:gd name="T104" fmla="*/ 2147483647 w 1425"/>
              <a:gd name="T105" fmla="*/ 2147483647 h 695"/>
              <a:gd name="T106" fmla="*/ 2147483647 w 1425"/>
              <a:gd name="T107" fmla="*/ 2147483647 h 695"/>
              <a:gd name="T108" fmla="*/ 2147483647 w 1425"/>
              <a:gd name="T109" fmla="*/ 2147483647 h 695"/>
              <a:gd name="T110" fmla="*/ 2147483647 w 1425"/>
              <a:gd name="T111" fmla="*/ 2147483647 h 695"/>
              <a:gd name="T112" fmla="*/ 2147483647 w 1425"/>
              <a:gd name="T113" fmla="*/ 2147483647 h 695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425"/>
              <a:gd name="T172" fmla="*/ 0 h 695"/>
              <a:gd name="T173" fmla="*/ 1425 w 1425"/>
              <a:gd name="T174" fmla="*/ 695 h 695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425" h="695">
                <a:moveTo>
                  <a:pt x="1049" y="121"/>
                </a:moveTo>
                <a:lnTo>
                  <a:pt x="1041" y="114"/>
                </a:lnTo>
                <a:lnTo>
                  <a:pt x="1063" y="114"/>
                </a:lnTo>
                <a:lnTo>
                  <a:pt x="1075" y="120"/>
                </a:lnTo>
                <a:lnTo>
                  <a:pt x="1085" y="118"/>
                </a:lnTo>
                <a:lnTo>
                  <a:pt x="1078" y="106"/>
                </a:lnTo>
                <a:lnTo>
                  <a:pt x="1086" y="108"/>
                </a:lnTo>
                <a:lnTo>
                  <a:pt x="1090" y="109"/>
                </a:lnTo>
                <a:lnTo>
                  <a:pt x="1097" y="116"/>
                </a:lnTo>
                <a:lnTo>
                  <a:pt x="1137" y="102"/>
                </a:lnTo>
                <a:lnTo>
                  <a:pt x="1144" y="90"/>
                </a:lnTo>
                <a:lnTo>
                  <a:pt x="1143" y="79"/>
                </a:lnTo>
                <a:lnTo>
                  <a:pt x="1144" y="73"/>
                </a:lnTo>
                <a:lnTo>
                  <a:pt x="1164" y="66"/>
                </a:lnTo>
                <a:lnTo>
                  <a:pt x="1153" y="64"/>
                </a:lnTo>
                <a:lnTo>
                  <a:pt x="1169" y="56"/>
                </a:lnTo>
                <a:lnTo>
                  <a:pt x="1143" y="49"/>
                </a:lnTo>
                <a:lnTo>
                  <a:pt x="1161" y="48"/>
                </a:lnTo>
                <a:lnTo>
                  <a:pt x="1111" y="46"/>
                </a:lnTo>
                <a:lnTo>
                  <a:pt x="1107" y="58"/>
                </a:lnTo>
                <a:lnTo>
                  <a:pt x="1110" y="62"/>
                </a:lnTo>
                <a:lnTo>
                  <a:pt x="1107" y="67"/>
                </a:lnTo>
                <a:lnTo>
                  <a:pt x="1093" y="67"/>
                </a:lnTo>
                <a:lnTo>
                  <a:pt x="1056" y="96"/>
                </a:lnTo>
                <a:lnTo>
                  <a:pt x="1043" y="98"/>
                </a:lnTo>
                <a:lnTo>
                  <a:pt x="1039" y="82"/>
                </a:lnTo>
                <a:lnTo>
                  <a:pt x="1045" y="77"/>
                </a:lnTo>
                <a:lnTo>
                  <a:pt x="1055" y="62"/>
                </a:lnTo>
                <a:lnTo>
                  <a:pt x="1042" y="56"/>
                </a:lnTo>
                <a:lnTo>
                  <a:pt x="1012" y="77"/>
                </a:lnTo>
                <a:lnTo>
                  <a:pt x="1019" y="59"/>
                </a:lnTo>
                <a:lnTo>
                  <a:pt x="1014" y="55"/>
                </a:lnTo>
                <a:lnTo>
                  <a:pt x="1030" y="52"/>
                </a:lnTo>
                <a:lnTo>
                  <a:pt x="1019" y="48"/>
                </a:lnTo>
                <a:lnTo>
                  <a:pt x="1001" y="47"/>
                </a:lnTo>
                <a:lnTo>
                  <a:pt x="999" y="44"/>
                </a:lnTo>
                <a:lnTo>
                  <a:pt x="1013" y="38"/>
                </a:lnTo>
                <a:lnTo>
                  <a:pt x="1013" y="35"/>
                </a:lnTo>
                <a:lnTo>
                  <a:pt x="1021" y="36"/>
                </a:lnTo>
                <a:lnTo>
                  <a:pt x="1015" y="23"/>
                </a:lnTo>
                <a:lnTo>
                  <a:pt x="1020" y="11"/>
                </a:lnTo>
                <a:lnTo>
                  <a:pt x="1012" y="4"/>
                </a:lnTo>
                <a:lnTo>
                  <a:pt x="1006" y="4"/>
                </a:lnTo>
                <a:lnTo>
                  <a:pt x="1011" y="0"/>
                </a:lnTo>
                <a:lnTo>
                  <a:pt x="997" y="2"/>
                </a:lnTo>
                <a:lnTo>
                  <a:pt x="1005" y="2"/>
                </a:lnTo>
                <a:lnTo>
                  <a:pt x="981" y="8"/>
                </a:lnTo>
                <a:lnTo>
                  <a:pt x="984" y="12"/>
                </a:lnTo>
                <a:lnTo>
                  <a:pt x="966" y="14"/>
                </a:lnTo>
                <a:lnTo>
                  <a:pt x="959" y="28"/>
                </a:lnTo>
                <a:lnTo>
                  <a:pt x="963" y="29"/>
                </a:lnTo>
                <a:lnTo>
                  <a:pt x="951" y="31"/>
                </a:lnTo>
                <a:lnTo>
                  <a:pt x="945" y="42"/>
                </a:lnTo>
                <a:lnTo>
                  <a:pt x="981" y="53"/>
                </a:lnTo>
                <a:lnTo>
                  <a:pt x="971" y="55"/>
                </a:lnTo>
                <a:lnTo>
                  <a:pt x="972" y="54"/>
                </a:lnTo>
                <a:lnTo>
                  <a:pt x="963" y="59"/>
                </a:lnTo>
                <a:lnTo>
                  <a:pt x="953" y="67"/>
                </a:lnTo>
                <a:lnTo>
                  <a:pt x="970" y="61"/>
                </a:lnTo>
                <a:lnTo>
                  <a:pt x="961" y="70"/>
                </a:lnTo>
                <a:lnTo>
                  <a:pt x="929" y="80"/>
                </a:lnTo>
                <a:lnTo>
                  <a:pt x="915" y="96"/>
                </a:lnTo>
                <a:lnTo>
                  <a:pt x="906" y="104"/>
                </a:lnTo>
                <a:lnTo>
                  <a:pt x="895" y="104"/>
                </a:lnTo>
                <a:lnTo>
                  <a:pt x="897" y="109"/>
                </a:lnTo>
                <a:lnTo>
                  <a:pt x="895" y="104"/>
                </a:lnTo>
                <a:lnTo>
                  <a:pt x="897" y="104"/>
                </a:lnTo>
                <a:lnTo>
                  <a:pt x="909" y="102"/>
                </a:lnTo>
                <a:lnTo>
                  <a:pt x="904" y="100"/>
                </a:lnTo>
                <a:lnTo>
                  <a:pt x="909" y="95"/>
                </a:lnTo>
                <a:lnTo>
                  <a:pt x="899" y="97"/>
                </a:lnTo>
                <a:lnTo>
                  <a:pt x="922" y="76"/>
                </a:lnTo>
                <a:lnTo>
                  <a:pt x="907" y="79"/>
                </a:lnTo>
                <a:lnTo>
                  <a:pt x="910" y="77"/>
                </a:lnTo>
                <a:lnTo>
                  <a:pt x="892" y="73"/>
                </a:lnTo>
                <a:lnTo>
                  <a:pt x="879" y="77"/>
                </a:lnTo>
                <a:lnTo>
                  <a:pt x="882" y="84"/>
                </a:lnTo>
                <a:lnTo>
                  <a:pt x="893" y="86"/>
                </a:lnTo>
                <a:lnTo>
                  <a:pt x="877" y="88"/>
                </a:lnTo>
                <a:lnTo>
                  <a:pt x="873" y="80"/>
                </a:lnTo>
                <a:lnTo>
                  <a:pt x="867" y="88"/>
                </a:lnTo>
                <a:lnTo>
                  <a:pt x="834" y="86"/>
                </a:lnTo>
                <a:lnTo>
                  <a:pt x="802" y="86"/>
                </a:lnTo>
                <a:lnTo>
                  <a:pt x="792" y="80"/>
                </a:lnTo>
                <a:lnTo>
                  <a:pt x="779" y="79"/>
                </a:lnTo>
                <a:lnTo>
                  <a:pt x="773" y="71"/>
                </a:lnTo>
                <a:lnTo>
                  <a:pt x="768" y="62"/>
                </a:lnTo>
                <a:lnTo>
                  <a:pt x="717" y="74"/>
                </a:lnTo>
                <a:lnTo>
                  <a:pt x="727" y="79"/>
                </a:lnTo>
                <a:lnTo>
                  <a:pt x="753" y="73"/>
                </a:lnTo>
                <a:lnTo>
                  <a:pt x="768" y="71"/>
                </a:lnTo>
                <a:lnTo>
                  <a:pt x="738" y="80"/>
                </a:lnTo>
                <a:lnTo>
                  <a:pt x="723" y="83"/>
                </a:lnTo>
                <a:lnTo>
                  <a:pt x="713" y="108"/>
                </a:lnTo>
                <a:lnTo>
                  <a:pt x="707" y="103"/>
                </a:lnTo>
                <a:lnTo>
                  <a:pt x="702" y="118"/>
                </a:lnTo>
                <a:lnTo>
                  <a:pt x="695" y="101"/>
                </a:lnTo>
                <a:lnTo>
                  <a:pt x="707" y="101"/>
                </a:lnTo>
                <a:lnTo>
                  <a:pt x="703" y="90"/>
                </a:lnTo>
                <a:lnTo>
                  <a:pt x="695" y="95"/>
                </a:lnTo>
                <a:lnTo>
                  <a:pt x="695" y="88"/>
                </a:lnTo>
                <a:lnTo>
                  <a:pt x="683" y="83"/>
                </a:lnTo>
                <a:lnTo>
                  <a:pt x="621" y="89"/>
                </a:lnTo>
                <a:lnTo>
                  <a:pt x="599" y="84"/>
                </a:lnTo>
                <a:lnTo>
                  <a:pt x="623" y="77"/>
                </a:lnTo>
                <a:lnTo>
                  <a:pt x="633" y="74"/>
                </a:lnTo>
                <a:lnTo>
                  <a:pt x="615" y="61"/>
                </a:lnTo>
                <a:lnTo>
                  <a:pt x="604" y="64"/>
                </a:lnTo>
                <a:lnTo>
                  <a:pt x="563" y="54"/>
                </a:lnTo>
                <a:lnTo>
                  <a:pt x="521" y="43"/>
                </a:lnTo>
                <a:lnTo>
                  <a:pt x="499" y="53"/>
                </a:lnTo>
                <a:lnTo>
                  <a:pt x="490" y="52"/>
                </a:lnTo>
                <a:lnTo>
                  <a:pt x="497" y="46"/>
                </a:lnTo>
                <a:lnTo>
                  <a:pt x="502" y="37"/>
                </a:lnTo>
                <a:lnTo>
                  <a:pt x="496" y="41"/>
                </a:lnTo>
                <a:lnTo>
                  <a:pt x="489" y="46"/>
                </a:lnTo>
                <a:lnTo>
                  <a:pt x="478" y="49"/>
                </a:lnTo>
                <a:lnTo>
                  <a:pt x="471" y="54"/>
                </a:lnTo>
                <a:lnTo>
                  <a:pt x="463" y="40"/>
                </a:lnTo>
                <a:lnTo>
                  <a:pt x="456" y="29"/>
                </a:lnTo>
                <a:lnTo>
                  <a:pt x="459" y="35"/>
                </a:lnTo>
                <a:lnTo>
                  <a:pt x="424" y="46"/>
                </a:lnTo>
                <a:lnTo>
                  <a:pt x="425" y="42"/>
                </a:lnTo>
                <a:lnTo>
                  <a:pt x="389" y="49"/>
                </a:lnTo>
                <a:lnTo>
                  <a:pt x="425" y="36"/>
                </a:lnTo>
                <a:lnTo>
                  <a:pt x="400" y="40"/>
                </a:lnTo>
                <a:lnTo>
                  <a:pt x="359" y="50"/>
                </a:lnTo>
                <a:lnTo>
                  <a:pt x="317" y="60"/>
                </a:lnTo>
                <a:lnTo>
                  <a:pt x="312" y="67"/>
                </a:lnTo>
                <a:lnTo>
                  <a:pt x="299" y="65"/>
                </a:lnTo>
                <a:lnTo>
                  <a:pt x="296" y="68"/>
                </a:lnTo>
                <a:lnTo>
                  <a:pt x="264" y="58"/>
                </a:lnTo>
                <a:lnTo>
                  <a:pt x="232" y="47"/>
                </a:lnTo>
                <a:lnTo>
                  <a:pt x="202" y="72"/>
                </a:lnTo>
                <a:lnTo>
                  <a:pt x="172" y="97"/>
                </a:lnTo>
                <a:lnTo>
                  <a:pt x="143" y="121"/>
                </a:lnTo>
                <a:lnTo>
                  <a:pt x="113" y="146"/>
                </a:lnTo>
                <a:lnTo>
                  <a:pt x="85" y="173"/>
                </a:lnTo>
                <a:lnTo>
                  <a:pt x="56" y="199"/>
                </a:lnTo>
                <a:lnTo>
                  <a:pt x="29" y="224"/>
                </a:lnTo>
                <a:lnTo>
                  <a:pt x="0" y="251"/>
                </a:lnTo>
                <a:lnTo>
                  <a:pt x="35" y="250"/>
                </a:lnTo>
                <a:lnTo>
                  <a:pt x="26" y="256"/>
                </a:lnTo>
                <a:lnTo>
                  <a:pt x="31" y="260"/>
                </a:lnTo>
                <a:lnTo>
                  <a:pt x="31" y="283"/>
                </a:lnTo>
                <a:lnTo>
                  <a:pt x="48" y="277"/>
                </a:lnTo>
                <a:lnTo>
                  <a:pt x="61" y="270"/>
                </a:lnTo>
                <a:lnTo>
                  <a:pt x="85" y="263"/>
                </a:lnTo>
                <a:lnTo>
                  <a:pt x="91" y="287"/>
                </a:lnTo>
                <a:lnTo>
                  <a:pt x="88" y="308"/>
                </a:lnTo>
                <a:lnTo>
                  <a:pt x="83" y="330"/>
                </a:lnTo>
                <a:lnTo>
                  <a:pt x="92" y="341"/>
                </a:lnTo>
                <a:lnTo>
                  <a:pt x="101" y="352"/>
                </a:lnTo>
                <a:lnTo>
                  <a:pt x="80" y="373"/>
                </a:lnTo>
                <a:lnTo>
                  <a:pt x="98" y="359"/>
                </a:lnTo>
                <a:lnTo>
                  <a:pt x="98" y="362"/>
                </a:lnTo>
                <a:lnTo>
                  <a:pt x="83" y="373"/>
                </a:lnTo>
                <a:lnTo>
                  <a:pt x="85" y="373"/>
                </a:lnTo>
                <a:lnTo>
                  <a:pt x="76" y="382"/>
                </a:lnTo>
                <a:lnTo>
                  <a:pt x="68" y="382"/>
                </a:lnTo>
                <a:lnTo>
                  <a:pt x="70" y="389"/>
                </a:lnTo>
                <a:lnTo>
                  <a:pt x="66" y="384"/>
                </a:lnTo>
                <a:lnTo>
                  <a:pt x="64" y="394"/>
                </a:lnTo>
                <a:lnTo>
                  <a:pt x="74" y="392"/>
                </a:lnTo>
                <a:lnTo>
                  <a:pt x="68" y="392"/>
                </a:lnTo>
                <a:lnTo>
                  <a:pt x="67" y="398"/>
                </a:lnTo>
                <a:lnTo>
                  <a:pt x="62" y="395"/>
                </a:lnTo>
                <a:lnTo>
                  <a:pt x="65" y="412"/>
                </a:lnTo>
                <a:lnTo>
                  <a:pt x="90" y="396"/>
                </a:lnTo>
                <a:lnTo>
                  <a:pt x="80" y="410"/>
                </a:lnTo>
                <a:lnTo>
                  <a:pt x="86" y="413"/>
                </a:lnTo>
                <a:lnTo>
                  <a:pt x="74" y="409"/>
                </a:lnTo>
                <a:lnTo>
                  <a:pt x="73" y="425"/>
                </a:lnTo>
                <a:lnTo>
                  <a:pt x="77" y="424"/>
                </a:lnTo>
                <a:lnTo>
                  <a:pt x="62" y="438"/>
                </a:lnTo>
                <a:lnTo>
                  <a:pt x="71" y="433"/>
                </a:lnTo>
                <a:lnTo>
                  <a:pt x="70" y="439"/>
                </a:lnTo>
                <a:lnTo>
                  <a:pt x="98" y="425"/>
                </a:lnTo>
                <a:lnTo>
                  <a:pt x="89" y="437"/>
                </a:lnTo>
                <a:lnTo>
                  <a:pt x="88" y="445"/>
                </a:lnTo>
                <a:lnTo>
                  <a:pt x="84" y="437"/>
                </a:lnTo>
                <a:lnTo>
                  <a:pt x="61" y="449"/>
                </a:lnTo>
                <a:lnTo>
                  <a:pt x="64" y="455"/>
                </a:lnTo>
                <a:lnTo>
                  <a:pt x="70" y="450"/>
                </a:lnTo>
                <a:lnTo>
                  <a:pt x="82" y="452"/>
                </a:lnTo>
                <a:lnTo>
                  <a:pt x="61" y="457"/>
                </a:lnTo>
                <a:lnTo>
                  <a:pt x="55" y="460"/>
                </a:lnTo>
                <a:lnTo>
                  <a:pt x="65" y="461"/>
                </a:lnTo>
                <a:lnTo>
                  <a:pt x="53" y="466"/>
                </a:lnTo>
                <a:lnTo>
                  <a:pt x="67" y="472"/>
                </a:lnTo>
                <a:lnTo>
                  <a:pt x="73" y="468"/>
                </a:lnTo>
                <a:lnTo>
                  <a:pt x="78" y="470"/>
                </a:lnTo>
                <a:lnTo>
                  <a:pt x="70" y="473"/>
                </a:lnTo>
                <a:lnTo>
                  <a:pt x="78" y="473"/>
                </a:lnTo>
                <a:lnTo>
                  <a:pt x="72" y="476"/>
                </a:lnTo>
                <a:lnTo>
                  <a:pt x="89" y="470"/>
                </a:lnTo>
                <a:lnTo>
                  <a:pt x="92" y="467"/>
                </a:lnTo>
                <a:lnTo>
                  <a:pt x="83" y="475"/>
                </a:lnTo>
                <a:lnTo>
                  <a:pt x="74" y="476"/>
                </a:lnTo>
                <a:lnTo>
                  <a:pt x="72" y="481"/>
                </a:lnTo>
                <a:lnTo>
                  <a:pt x="86" y="476"/>
                </a:lnTo>
                <a:lnTo>
                  <a:pt x="85" y="481"/>
                </a:lnTo>
                <a:lnTo>
                  <a:pt x="100" y="473"/>
                </a:lnTo>
                <a:lnTo>
                  <a:pt x="92" y="485"/>
                </a:lnTo>
                <a:lnTo>
                  <a:pt x="104" y="480"/>
                </a:lnTo>
                <a:lnTo>
                  <a:pt x="88" y="491"/>
                </a:lnTo>
                <a:lnTo>
                  <a:pt x="97" y="497"/>
                </a:lnTo>
                <a:lnTo>
                  <a:pt x="107" y="487"/>
                </a:lnTo>
                <a:lnTo>
                  <a:pt x="101" y="500"/>
                </a:lnTo>
                <a:lnTo>
                  <a:pt x="104" y="500"/>
                </a:lnTo>
                <a:lnTo>
                  <a:pt x="96" y="500"/>
                </a:lnTo>
                <a:lnTo>
                  <a:pt x="104" y="504"/>
                </a:lnTo>
                <a:lnTo>
                  <a:pt x="113" y="500"/>
                </a:lnTo>
                <a:lnTo>
                  <a:pt x="106" y="508"/>
                </a:lnTo>
                <a:lnTo>
                  <a:pt x="112" y="509"/>
                </a:lnTo>
                <a:lnTo>
                  <a:pt x="104" y="512"/>
                </a:lnTo>
                <a:lnTo>
                  <a:pt x="110" y="516"/>
                </a:lnTo>
                <a:lnTo>
                  <a:pt x="144" y="516"/>
                </a:lnTo>
                <a:lnTo>
                  <a:pt x="176" y="516"/>
                </a:lnTo>
                <a:lnTo>
                  <a:pt x="210" y="516"/>
                </a:lnTo>
                <a:lnTo>
                  <a:pt x="242" y="516"/>
                </a:lnTo>
                <a:lnTo>
                  <a:pt x="276" y="516"/>
                </a:lnTo>
                <a:lnTo>
                  <a:pt x="310" y="516"/>
                </a:lnTo>
                <a:lnTo>
                  <a:pt x="342" y="516"/>
                </a:lnTo>
                <a:lnTo>
                  <a:pt x="376" y="516"/>
                </a:lnTo>
                <a:lnTo>
                  <a:pt x="408" y="516"/>
                </a:lnTo>
                <a:lnTo>
                  <a:pt x="442" y="516"/>
                </a:lnTo>
                <a:lnTo>
                  <a:pt x="474" y="516"/>
                </a:lnTo>
                <a:lnTo>
                  <a:pt x="508" y="516"/>
                </a:lnTo>
                <a:lnTo>
                  <a:pt x="540" y="516"/>
                </a:lnTo>
                <a:lnTo>
                  <a:pt x="574" y="516"/>
                </a:lnTo>
                <a:lnTo>
                  <a:pt x="606" y="516"/>
                </a:lnTo>
                <a:lnTo>
                  <a:pt x="640" y="516"/>
                </a:lnTo>
                <a:lnTo>
                  <a:pt x="648" y="508"/>
                </a:lnTo>
                <a:lnTo>
                  <a:pt x="646" y="521"/>
                </a:lnTo>
                <a:lnTo>
                  <a:pt x="667" y="526"/>
                </a:lnTo>
                <a:lnTo>
                  <a:pt x="696" y="538"/>
                </a:lnTo>
                <a:lnTo>
                  <a:pt x="713" y="534"/>
                </a:lnTo>
                <a:lnTo>
                  <a:pt x="729" y="541"/>
                </a:lnTo>
                <a:lnTo>
                  <a:pt x="755" y="534"/>
                </a:lnTo>
                <a:lnTo>
                  <a:pt x="772" y="545"/>
                </a:lnTo>
                <a:lnTo>
                  <a:pt x="789" y="556"/>
                </a:lnTo>
                <a:lnTo>
                  <a:pt x="805" y="566"/>
                </a:lnTo>
                <a:lnTo>
                  <a:pt x="822" y="576"/>
                </a:lnTo>
                <a:lnTo>
                  <a:pt x="823" y="587"/>
                </a:lnTo>
                <a:lnTo>
                  <a:pt x="831" y="586"/>
                </a:lnTo>
                <a:lnTo>
                  <a:pt x="828" y="593"/>
                </a:lnTo>
                <a:lnTo>
                  <a:pt x="844" y="605"/>
                </a:lnTo>
                <a:lnTo>
                  <a:pt x="839" y="626"/>
                </a:lnTo>
                <a:lnTo>
                  <a:pt x="835" y="648"/>
                </a:lnTo>
                <a:lnTo>
                  <a:pt x="825" y="661"/>
                </a:lnTo>
                <a:lnTo>
                  <a:pt x="801" y="685"/>
                </a:lnTo>
                <a:lnTo>
                  <a:pt x="807" y="695"/>
                </a:lnTo>
                <a:lnTo>
                  <a:pt x="828" y="688"/>
                </a:lnTo>
                <a:lnTo>
                  <a:pt x="849" y="680"/>
                </a:lnTo>
                <a:lnTo>
                  <a:pt x="870" y="673"/>
                </a:lnTo>
                <a:lnTo>
                  <a:pt x="891" y="666"/>
                </a:lnTo>
                <a:lnTo>
                  <a:pt x="893" y="650"/>
                </a:lnTo>
                <a:lnTo>
                  <a:pt x="917" y="648"/>
                </a:lnTo>
                <a:lnTo>
                  <a:pt x="941" y="647"/>
                </a:lnTo>
                <a:lnTo>
                  <a:pt x="961" y="631"/>
                </a:lnTo>
                <a:lnTo>
                  <a:pt x="981" y="617"/>
                </a:lnTo>
                <a:lnTo>
                  <a:pt x="1019" y="614"/>
                </a:lnTo>
                <a:lnTo>
                  <a:pt x="1057" y="612"/>
                </a:lnTo>
                <a:lnTo>
                  <a:pt x="1071" y="605"/>
                </a:lnTo>
                <a:lnTo>
                  <a:pt x="1090" y="589"/>
                </a:lnTo>
                <a:lnTo>
                  <a:pt x="1107" y="571"/>
                </a:lnTo>
                <a:lnTo>
                  <a:pt x="1123" y="553"/>
                </a:lnTo>
                <a:lnTo>
                  <a:pt x="1125" y="558"/>
                </a:lnTo>
                <a:lnTo>
                  <a:pt x="1134" y="558"/>
                </a:lnTo>
                <a:lnTo>
                  <a:pt x="1147" y="563"/>
                </a:lnTo>
                <a:lnTo>
                  <a:pt x="1138" y="593"/>
                </a:lnTo>
                <a:lnTo>
                  <a:pt x="1144" y="608"/>
                </a:lnTo>
                <a:lnTo>
                  <a:pt x="1149" y="611"/>
                </a:lnTo>
                <a:lnTo>
                  <a:pt x="1167" y="605"/>
                </a:lnTo>
                <a:lnTo>
                  <a:pt x="1165" y="606"/>
                </a:lnTo>
                <a:lnTo>
                  <a:pt x="1194" y="598"/>
                </a:lnTo>
                <a:lnTo>
                  <a:pt x="1199" y="587"/>
                </a:lnTo>
                <a:lnTo>
                  <a:pt x="1201" y="592"/>
                </a:lnTo>
                <a:lnTo>
                  <a:pt x="1205" y="592"/>
                </a:lnTo>
                <a:lnTo>
                  <a:pt x="1191" y="602"/>
                </a:lnTo>
                <a:lnTo>
                  <a:pt x="1221" y="604"/>
                </a:lnTo>
                <a:lnTo>
                  <a:pt x="1201" y="610"/>
                </a:lnTo>
                <a:lnTo>
                  <a:pt x="1200" y="606"/>
                </a:lnTo>
                <a:lnTo>
                  <a:pt x="1170" y="620"/>
                </a:lnTo>
                <a:lnTo>
                  <a:pt x="1175" y="618"/>
                </a:lnTo>
                <a:lnTo>
                  <a:pt x="1157" y="628"/>
                </a:lnTo>
                <a:lnTo>
                  <a:pt x="1163" y="623"/>
                </a:lnTo>
                <a:lnTo>
                  <a:pt x="1155" y="635"/>
                </a:lnTo>
                <a:lnTo>
                  <a:pt x="1159" y="648"/>
                </a:lnTo>
                <a:lnTo>
                  <a:pt x="1173" y="644"/>
                </a:lnTo>
                <a:lnTo>
                  <a:pt x="1201" y="622"/>
                </a:lnTo>
                <a:lnTo>
                  <a:pt x="1204" y="625"/>
                </a:lnTo>
                <a:lnTo>
                  <a:pt x="1211" y="622"/>
                </a:lnTo>
                <a:lnTo>
                  <a:pt x="1214" y="623"/>
                </a:lnTo>
                <a:lnTo>
                  <a:pt x="1239" y="614"/>
                </a:lnTo>
                <a:lnTo>
                  <a:pt x="1264" y="606"/>
                </a:lnTo>
                <a:lnTo>
                  <a:pt x="1257" y="604"/>
                </a:lnTo>
                <a:lnTo>
                  <a:pt x="1263" y="602"/>
                </a:lnTo>
                <a:lnTo>
                  <a:pt x="1253" y="592"/>
                </a:lnTo>
                <a:lnTo>
                  <a:pt x="1245" y="596"/>
                </a:lnTo>
                <a:lnTo>
                  <a:pt x="1229" y="594"/>
                </a:lnTo>
                <a:lnTo>
                  <a:pt x="1215" y="588"/>
                </a:lnTo>
                <a:lnTo>
                  <a:pt x="1205" y="583"/>
                </a:lnTo>
                <a:lnTo>
                  <a:pt x="1205" y="565"/>
                </a:lnTo>
                <a:lnTo>
                  <a:pt x="1198" y="563"/>
                </a:lnTo>
                <a:lnTo>
                  <a:pt x="1212" y="547"/>
                </a:lnTo>
                <a:lnTo>
                  <a:pt x="1195" y="548"/>
                </a:lnTo>
                <a:lnTo>
                  <a:pt x="1194" y="544"/>
                </a:lnTo>
                <a:lnTo>
                  <a:pt x="1175" y="541"/>
                </a:lnTo>
                <a:lnTo>
                  <a:pt x="1180" y="539"/>
                </a:lnTo>
                <a:lnTo>
                  <a:pt x="1200" y="539"/>
                </a:lnTo>
                <a:lnTo>
                  <a:pt x="1226" y="530"/>
                </a:lnTo>
                <a:lnTo>
                  <a:pt x="1228" y="522"/>
                </a:lnTo>
                <a:lnTo>
                  <a:pt x="1232" y="522"/>
                </a:lnTo>
                <a:lnTo>
                  <a:pt x="1230" y="517"/>
                </a:lnTo>
                <a:lnTo>
                  <a:pt x="1209" y="510"/>
                </a:lnTo>
                <a:lnTo>
                  <a:pt x="1180" y="517"/>
                </a:lnTo>
                <a:lnTo>
                  <a:pt x="1152" y="524"/>
                </a:lnTo>
                <a:lnTo>
                  <a:pt x="1132" y="539"/>
                </a:lnTo>
                <a:lnTo>
                  <a:pt x="1111" y="552"/>
                </a:lnTo>
                <a:lnTo>
                  <a:pt x="1080" y="568"/>
                </a:lnTo>
                <a:lnTo>
                  <a:pt x="1099" y="553"/>
                </a:lnTo>
                <a:lnTo>
                  <a:pt x="1119" y="538"/>
                </a:lnTo>
                <a:lnTo>
                  <a:pt x="1098" y="529"/>
                </a:lnTo>
                <a:lnTo>
                  <a:pt x="1117" y="536"/>
                </a:lnTo>
                <a:lnTo>
                  <a:pt x="1146" y="517"/>
                </a:lnTo>
                <a:lnTo>
                  <a:pt x="1175" y="508"/>
                </a:lnTo>
                <a:lnTo>
                  <a:pt x="1197" y="488"/>
                </a:lnTo>
                <a:lnTo>
                  <a:pt x="1239" y="487"/>
                </a:lnTo>
                <a:lnTo>
                  <a:pt x="1281" y="486"/>
                </a:lnTo>
                <a:lnTo>
                  <a:pt x="1318" y="486"/>
                </a:lnTo>
                <a:lnTo>
                  <a:pt x="1353" y="467"/>
                </a:lnTo>
                <a:lnTo>
                  <a:pt x="1385" y="458"/>
                </a:lnTo>
                <a:lnTo>
                  <a:pt x="1422" y="439"/>
                </a:lnTo>
                <a:lnTo>
                  <a:pt x="1413" y="434"/>
                </a:lnTo>
                <a:lnTo>
                  <a:pt x="1422" y="432"/>
                </a:lnTo>
                <a:lnTo>
                  <a:pt x="1409" y="430"/>
                </a:lnTo>
                <a:lnTo>
                  <a:pt x="1419" y="428"/>
                </a:lnTo>
                <a:lnTo>
                  <a:pt x="1420" y="425"/>
                </a:lnTo>
                <a:lnTo>
                  <a:pt x="1424" y="418"/>
                </a:lnTo>
                <a:lnTo>
                  <a:pt x="1425" y="410"/>
                </a:lnTo>
                <a:lnTo>
                  <a:pt x="1413" y="404"/>
                </a:lnTo>
                <a:lnTo>
                  <a:pt x="1415" y="403"/>
                </a:lnTo>
                <a:lnTo>
                  <a:pt x="1402" y="407"/>
                </a:lnTo>
                <a:lnTo>
                  <a:pt x="1404" y="392"/>
                </a:lnTo>
                <a:lnTo>
                  <a:pt x="1388" y="395"/>
                </a:lnTo>
                <a:lnTo>
                  <a:pt x="1397" y="395"/>
                </a:lnTo>
                <a:lnTo>
                  <a:pt x="1366" y="404"/>
                </a:lnTo>
                <a:lnTo>
                  <a:pt x="1342" y="413"/>
                </a:lnTo>
                <a:lnTo>
                  <a:pt x="1350" y="409"/>
                </a:lnTo>
                <a:lnTo>
                  <a:pt x="1341" y="403"/>
                </a:lnTo>
                <a:lnTo>
                  <a:pt x="1353" y="404"/>
                </a:lnTo>
                <a:lnTo>
                  <a:pt x="1388" y="391"/>
                </a:lnTo>
                <a:lnTo>
                  <a:pt x="1364" y="396"/>
                </a:lnTo>
                <a:lnTo>
                  <a:pt x="1408" y="383"/>
                </a:lnTo>
                <a:lnTo>
                  <a:pt x="1382" y="373"/>
                </a:lnTo>
                <a:lnTo>
                  <a:pt x="1376" y="374"/>
                </a:lnTo>
                <a:lnTo>
                  <a:pt x="1380" y="368"/>
                </a:lnTo>
                <a:lnTo>
                  <a:pt x="1365" y="377"/>
                </a:lnTo>
                <a:lnTo>
                  <a:pt x="1372" y="370"/>
                </a:lnTo>
                <a:lnTo>
                  <a:pt x="1371" y="368"/>
                </a:lnTo>
                <a:lnTo>
                  <a:pt x="1361" y="371"/>
                </a:lnTo>
                <a:lnTo>
                  <a:pt x="1364" y="366"/>
                </a:lnTo>
                <a:lnTo>
                  <a:pt x="1353" y="372"/>
                </a:lnTo>
                <a:lnTo>
                  <a:pt x="1358" y="367"/>
                </a:lnTo>
                <a:lnTo>
                  <a:pt x="1361" y="364"/>
                </a:lnTo>
                <a:lnTo>
                  <a:pt x="1362" y="355"/>
                </a:lnTo>
                <a:lnTo>
                  <a:pt x="1358" y="360"/>
                </a:lnTo>
                <a:lnTo>
                  <a:pt x="1358" y="356"/>
                </a:lnTo>
                <a:lnTo>
                  <a:pt x="1349" y="347"/>
                </a:lnTo>
                <a:lnTo>
                  <a:pt x="1338" y="343"/>
                </a:lnTo>
                <a:lnTo>
                  <a:pt x="1348" y="343"/>
                </a:lnTo>
                <a:lnTo>
                  <a:pt x="1341" y="338"/>
                </a:lnTo>
                <a:lnTo>
                  <a:pt x="1347" y="337"/>
                </a:lnTo>
                <a:lnTo>
                  <a:pt x="1340" y="336"/>
                </a:lnTo>
                <a:lnTo>
                  <a:pt x="1344" y="336"/>
                </a:lnTo>
                <a:lnTo>
                  <a:pt x="1337" y="330"/>
                </a:lnTo>
                <a:lnTo>
                  <a:pt x="1341" y="331"/>
                </a:lnTo>
                <a:lnTo>
                  <a:pt x="1347" y="334"/>
                </a:lnTo>
                <a:lnTo>
                  <a:pt x="1360" y="325"/>
                </a:lnTo>
                <a:lnTo>
                  <a:pt x="1353" y="318"/>
                </a:lnTo>
                <a:lnTo>
                  <a:pt x="1348" y="314"/>
                </a:lnTo>
                <a:lnTo>
                  <a:pt x="1355" y="310"/>
                </a:lnTo>
                <a:lnTo>
                  <a:pt x="1348" y="304"/>
                </a:lnTo>
                <a:lnTo>
                  <a:pt x="1346" y="300"/>
                </a:lnTo>
                <a:lnTo>
                  <a:pt x="1336" y="302"/>
                </a:lnTo>
                <a:lnTo>
                  <a:pt x="1349" y="296"/>
                </a:lnTo>
                <a:lnTo>
                  <a:pt x="1348" y="293"/>
                </a:lnTo>
                <a:lnTo>
                  <a:pt x="1332" y="296"/>
                </a:lnTo>
                <a:lnTo>
                  <a:pt x="1349" y="286"/>
                </a:lnTo>
                <a:lnTo>
                  <a:pt x="1343" y="281"/>
                </a:lnTo>
                <a:lnTo>
                  <a:pt x="1336" y="280"/>
                </a:lnTo>
                <a:lnTo>
                  <a:pt x="1343" y="274"/>
                </a:lnTo>
                <a:lnTo>
                  <a:pt x="1340" y="271"/>
                </a:lnTo>
                <a:lnTo>
                  <a:pt x="1335" y="259"/>
                </a:lnTo>
                <a:lnTo>
                  <a:pt x="1335" y="256"/>
                </a:lnTo>
                <a:lnTo>
                  <a:pt x="1328" y="258"/>
                </a:lnTo>
                <a:lnTo>
                  <a:pt x="1334" y="252"/>
                </a:lnTo>
                <a:lnTo>
                  <a:pt x="1323" y="257"/>
                </a:lnTo>
                <a:lnTo>
                  <a:pt x="1323" y="263"/>
                </a:lnTo>
                <a:lnTo>
                  <a:pt x="1312" y="264"/>
                </a:lnTo>
                <a:lnTo>
                  <a:pt x="1316" y="270"/>
                </a:lnTo>
                <a:lnTo>
                  <a:pt x="1311" y="274"/>
                </a:lnTo>
                <a:lnTo>
                  <a:pt x="1304" y="280"/>
                </a:lnTo>
                <a:lnTo>
                  <a:pt x="1294" y="288"/>
                </a:lnTo>
                <a:lnTo>
                  <a:pt x="1290" y="294"/>
                </a:lnTo>
                <a:lnTo>
                  <a:pt x="1287" y="286"/>
                </a:lnTo>
                <a:lnTo>
                  <a:pt x="1269" y="295"/>
                </a:lnTo>
                <a:lnTo>
                  <a:pt x="1254" y="306"/>
                </a:lnTo>
                <a:lnTo>
                  <a:pt x="1257" y="296"/>
                </a:lnTo>
                <a:lnTo>
                  <a:pt x="1250" y="301"/>
                </a:lnTo>
                <a:lnTo>
                  <a:pt x="1253" y="292"/>
                </a:lnTo>
                <a:lnTo>
                  <a:pt x="1244" y="304"/>
                </a:lnTo>
                <a:lnTo>
                  <a:pt x="1223" y="310"/>
                </a:lnTo>
                <a:lnTo>
                  <a:pt x="1250" y="296"/>
                </a:lnTo>
                <a:lnTo>
                  <a:pt x="1247" y="283"/>
                </a:lnTo>
                <a:lnTo>
                  <a:pt x="1224" y="288"/>
                </a:lnTo>
                <a:lnTo>
                  <a:pt x="1218" y="286"/>
                </a:lnTo>
                <a:lnTo>
                  <a:pt x="1227" y="282"/>
                </a:lnTo>
                <a:lnTo>
                  <a:pt x="1234" y="284"/>
                </a:lnTo>
                <a:lnTo>
                  <a:pt x="1240" y="272"/>
                </a:lnTo>
                <a:lnTo>
                  <a:pt x="1235" y="269"/>
                </a:lnTo>
                <a:lnTo>
                  <a:pt x="1241" y="258"/>
                </a:lnTo>
                <a:lnTo>
                  <a:pt x="1221" y="256"/>
                </a:lnTo>
                <a:lnTo>
                  <a:pt x="1246" y="253"/>
                </a:lnTo>
                <a:lnTo>
                  <a:pt x="1250" y="242"/>
                </a:lnTo>
                <a:lnTo>
                  <a:pt x="1253" y="236"/>
                </a:lnTo>
                <a:lnTo>
                  <a:pt x="1246" y="238"/>
                </a:lnTo>
                <a:lnTo>
                  <a:pt x="1222" y="227"/>
                </a:lnTo>
                <a:lnTo>
                  <a:pt x="1228" y="221"/>
                </a:lnTo>
                <a:lnTo>
                  <a:pt x="1221" y="222"/>
                </a:lnTo>
                <a:lnTo>
                  <a:pt x="1216" y="214"/>
                </a:lnTo>
                <a:lnTo>
                  <a:pt x="1217" y="210"/>
                </a:lnTo>
                <a:lnTo>
                  <a:pt x="1200" y="203"/>
                </a:lnTo>
                <a:lnTo>
                  <a:pt x="1181" y="210"/>
                </a:lnTo>
                <a:lnTo>
                  <a:pt x="1162" y="210"/>
                </a:lnTo>
                <a:lnTo>
                  <a:pt x="1168" y="206"/>
                </a:lnTo>
                <a:lnTo>
                  <a:pt x="1133" y="203"/>
                </a:lnTo>
                <a:lnTo>
                  <a:pt x="1120" y="220"/>
                </a:lnTo>
                <a:lnTo>
                  <a:pt x="1121" y="226"/>
                </a:lnTo>
                <a:lnTo>
                  <a:pt x="1109" y="241"/>
                </a:lnTo>
                <a:lnTo>
                  <a:pt x="1114" y="241"/>
                </a:lnTo>
                <a:lnTo>
                  <a:pt x="1109" y="257"/>
                </a:lnTo>
                <a:lnTo>
                  <a:pt x="1102" y="266"/>
                </a:lnTo>
                <a:lnTo>
                  <a:pt x="1097" y="266"/>
                </a:lnTo>
                <a:lnTo>
                  <a:pt x="1069" y="289"/>
                </a:lnTo>
                <a:lnTo>
                  <a:pt x="1089" y="312"/>
                </a:lnTo>
                <a:lnTo>
                  <a:pt x="1078" y="331"/>
                </a:lnTo>
                <a:lnTo>
                  <a:pt x="1067" y="352"/>
                </a:lnTo>
                <a:lnTo>
                  <a:pt x="1041" y="364"/>
                </a:lnTo>
                <a:lnTo>
                  <a:pt x="1014" y="377"/>
                </a:lnTo>
                <a:lnTo>
                  <a:pt x="1001" y="383"/>
                </a:lnTo>
                <a:lnTo>
                  <a:pt x="1003" y="398"/>
                </a:lnTo>
                <a:lnTo>
                  <a:pt x="996" y="432"/>
                </a:lnTo>
                <a:lnTo>
                  <a:pt x="987" y="445"/>
                </a:lnTo>
                <a:lnTo>
                  <a:pt x="979" y="456"/>
                </a:lnTo>
                <a:lnTo>
                  <a:pt x="975" y="461"/>
                </a:lnTo>
                <a:lnTo>
                  <a:pt x="972" y="452"/>
                </a:lnTo>
                <a:lnTo>
                  <a:pt x="958" y="467"/>
                </a:lnTo>
                <a:lnTo>
                  <a:pt x="961" y="474"/>
                </a:lnTo>
                <a:lnTo>
                  <a:pt x="948" y="460"/>
                </a:lnTo>
                <a:lnTo>
                  <a:pt x="933" y="467"/>
                </a:lnTo>
                <a:lnTo>
                  <a:pt x="948" y="456"/>
                </a:lnTo>
                <a:lnTo>
                  <a:pt x="934" y="439"/>
                </a:lnTo>
                <a:lnTo>
                  <a:pt x="937" y="432"/>
                </a:lnTo>
                <a:lnTo>
                  <a:pt x="935" y="415"/>
                </a:lnTo>
                <a:lnTo>
                  <a:pt x="943" y="392"/>
                </a:lnTo>
                <a:lnTo>
                  <a:pt x="953" y="370"/>
                </a:lnTo>
                <a:lnTo>
                  <a:pt x="929" y="368"/>
                </a:lnTo>
                <a:lnTo>
                  <a:pt x="906" y="367"/>
                </a:lnTo>
                <a:lnTo>
                  <a:pt x="900" y="371"/>
                </a:lnTo>
                <a:lnTo>
                  <a:pt x="909" y="365"/>
                </a:lnTo>
                <a:lnTo>
                  <a:pt x="891" y="356"/>
                </a:lnTo>
                <a:lnTo>
                  <a:pt x="874" y="348"/>
                </a:lnTo>
                <a:lnTo>
                  <a:pt x="853" y="329"/>
                </a:lnTo>
                <a:lnTo>
                  <a:pt x="829" y="320"/>
                </a:lnTo>
                <a:lnTo>
                  <a:pt x="798" y="329"/>
                </a:lnTo>
                <a:lnTo>
                  <a:pt x="799" y="326"/>
                </a:lnTo>
                <a:lnTo>
                  <a:pt x="793" y="328"/>
                </a:lnTo>
                <a:lnTo>
                  <a:pt x="809" y="300"/>
                </a:lnTo>
                <a:lnTo>
                  <a:pt x="808" y="288"/>
                </a:lnTo>
                <a:lnTo>
                  <a:pt x="791" y="290"/>
                </a:lnTo>
                <a:lnTo>
                  <a:pt x="783" y="299"/>
                </a:lnTo>
                <a:lnTo>
                  <a:pt x="790" y="287"/>
                </a:lnTo>
                <a:lnTo>
                  <a:pt x="789" y="278"/>
                </a:lnTo>
                <a:lnTo>
                  <a:pt x="815" y="246"/>
                </a:lnTo>
                <a:lnTo>
                  <a:pt x="852" y="220"/>
                </a:lnTo>
                <a:lnTo>
                  <a:pt x="855" y="214"/>
                </a:lnTo>
                <a:lnTo>
                  <a:pt x="873" y="208"/>
                </a:lnTo>
                <a:lnTo>
                  <a:pt x="868" y="205"/>
                </a:lnTo>
                <a:lnTo>
                  <a:pt x="876" y="208"/>
                </a:lnTo>
                <a:lnTo>
                  <a:pt x="883" y="200"/>
                </a:lnTo>
                <a:lnTo>
                  <a:pt x="894" y="198"/>
                </a:lnTo>
                <a:lnTo>
                  <a:pt x="894" y="194"/>
                </a:lnTo>
                <a:lnTo>
                  <a:pt x="923" y="190"/>
                </a:lnTo>
                <a:lnTo>
                  <a:pt x="925" y="182"/>
                </a:lnTo>
                <a:lnTo>
                  <a:pt x="905" y="176"/>
                </a:lnTo>
                <a:lnTo>
                  <a:pt x="907" y="175"/>
                </a:lnTo>
                <a:lnTo>
                  <a:pt x="888" y="172"/>
                </a:lnTo>
                <a:lnTo>
                  <a:pt x="888" y="167"/>
                </a:lnTo>
                <a:lnTo>
                  <a:pt x="915" y="172"/>
                </a:lnTo>
                <a:lnTo>
                  <a:pt x="940" y="176"/>
                </a:lnTo>
                <a:lnTo>
                  <a:pt x="947" y="169"/>
                </a:lnTo>
                <a:lnTo>
                  <a:pt x="953" y="166"/>
                </a:lnTo>
                <a:lnTo>
                  <a:pt x="963" y="169"/>
                </a:lnTo>
                <a:lnTo>
                  <a:pt x="963" y="164"/>
                </a:lnTo>
                <a:lnTo>
                  <a:pt x="973" y="167"/>
                </a:lnTo>
                <a:lnTo>
                  <a:pt x="1012" y="146"/>
                </a:lnTo>
                <a:lnTo>
                  <a:pt x="1017" y="142"/>
                </a:lnTo>
                <a:lnTo>
                  <a:pt x="982" y="136"/>
                </a:lnTo>
                <a:lnTo>
                  <a:pt x="960" y="126"/>
                </a:lnTo>
                <a:lnTo>
                  <a:pt x="1000" y="133"/>
                </a:lnTo>
                <a:lnTo>
                  <a:pt x="1012" y="139"/>
                </a:lnTo>
                <a:lnTo>
                  <a:pt x="1049" y="12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35" name="Freeform 242"/>
          <p:cNvSpPr>
            <a:spLocks/>
          </p:cNvSpPr>
          <p:nvPr/>
        </p:nvSpPr>
        <p:spPr bwMode="auto">
          <a:xfrm>
            <a:off x="3198813" y="2995613"/>
            <a:ext cx="171450" cy="161925"/>
          </a:xfrm>
          <a:custGeom>
            <a:avLst/>
            <a:gdLst>
              <a:gd name="T0" fmla="*/ 2147483647 w 128"/>
              <a:gd name="T1" fmla="*/ 2147483647 h 118"/>
              <a:gd name="T2" fmla="*/ 2147483647 w 128"/>
              <a:gd name="T3" fmla="*/ 2147483647 h 118"/>
              <a:gd name="T4" fmla="*/ 2147483647 w 128"/>
              <a:gd name="T5" fmla="*/ 2147483647 h 118"/>
              <a:gd name="T6" fmla="*/ 0 w 128"/>
              <a:gd name="T7" fmla="*/ 2147483647 h 118"/>
              <a:gd name="T8" fmla="*/ 2147483647 w 128"/>
              <a:gd name="T9" fmla="*/ 2147483647 h 118"/>
              <a:gd name="T10" fmla="*/ 2147483647 w 128"/>
              <a:gd name="T11" fmla="*/ 2147483647 h 118"/>
              <a:gd name="T12" fmla="*/ 2147483647 w 128"/>
              <a:gd name="T13" fmla="*/ 2147483647 h 118"/>
              <a:gd name="T14" fmla="*/ 2147483647 w 128"/>
              <a:gd name="T15" fmla="*/ 2147483647 h 118"/>
              <a:gd name="T16" fmla="*/ 2147483647 w 128"/>
              <a:gd name="T17" fmla="*/ 2147483647 h 118"/>
              <a:gd name="T18" fmla="*/ 2147483647 w 128"/>
              <a:gd name="T19" fmla="*/ 2147483647 h 118"/>
              <a:gd name="T20" fmla="*/ 2147483647 w 128"/>
              <a:gd name="T21" fmla="*/ 2147483647 h 118"/>
              <a:gd name="T22" fmla="*/ 2147483647 w 128"/>
              <a:gd name="T23" fmla="*/ 2147483647 h 118"/>
              <a:gd name="T24" fmla="*/ 2147483647 w 128"/>
              <a:gd name="T25" fmla="*/ 2147483647 h 118"/>
              <a:gd name="T26" fmla="*/ 2147483647 w 128"/>
              <a:gd name="T27" fmla="*/ 2147483647 h 118"/>
              <a:gd name="T28" fmla="*/ 2147483647 w 128"/>
              <a:gd name="T29" fmla="*/ 2147483647 h 118"/>
              <a:gd name="T30" fmla="*/ 2147483647 w 128"/>
              <a:gd name="T31" fmla="*/ 0 h 118"/>
              <a:gd name="T32" fmla="*/ 2147483647 w 128"/>
              <a:gd name="T33" fmla="*/ 0 h 118"/>
              <a:gd name="T34" fmla="*/ 2147483647 w 128"/>
              <a:gd name="T35" fmla="*/ 2147483647 h 118"/>
              <a:gd name="T36" fmla="*/ 2147483647 w 128"/>
              <a:gd name="T37" fmla="*/ 2147483647 h 118"/>
              <a:gd name="T38" fmla="*/ 2147483647 w 128"/>
              <a:gd name="T39" fmla="*/ 2147483647 h 118"/>
              <a:gd name="T40" fmla="*/ 2147483647 w 128"/>
              <a:gd name="T41" fmla="*/ 2147483647 h 118"/>
              <a:gd name="T42" fmla="*/ 2147483647 w 128"/>
              <a:gd name="T43" fmla="*/ 2147483647 h 118"/>
              <a:gd name="T44" fmla="*/ 2147483647 w 128"/>
              <a:gd name="T45" fmla="*/ 2147483647 h 118"/>
              <a:gd name="T46" fmla="*/ 2147483647 w 128"/>
              <a:gd name="T47" fmla="*/ 2147483647 h 118"/>
              <a:gd name="T48" fmla="*/ 2147483647 w 128"/>
              <a:gd name="T49" fmla="*/ 2147483647 h 118"/>
              <a:gd name="T50" fmla="*/ 2147483647 w 128"/>
              <a:gd name="T51" fmla="*/ 2147483647 h 118"/>
              <a:gd name="T52" fmla="*/ 2147483647 w 128"/>
              <a:gd name="T53" fmla="*/ 2147483647 h 118"/>
              <a:gd name="T54" fmla="*/ 2147483647 w 128"/>
              <a:gd name="T55" fmla="*/ 2147483647 h 118"/>
              <a:gd name="T56" fmla="*/ 2147483647 w 128"/>
              <a:gd name="T57" fmla="*/ 2147483647 h 118"/>
              <a:gd name="T58" fmla="*/ 2147483647 w 128"/>
              <a:gd name="T59" fmla="*/ 2147483647 h 118"/>
              <a:gd name="T60" fmla="*/ 2147483647 w 128"/>
              <a:gd name="T61" fmla="*/ 2147483647 h 118"/>
              <a:gd name="T62" fmla="*/ 2147483647 w 128"/>
              <a:gd name="T63" fmla="*/ 2147483647 h 118"/>
              <a:gd name="T64" fmla="*/ 2147483647 w 128"/>
              <a:gd name="T65" fmla="*/ 2147483647 h 118"/>
              <a:gd name="T66" fmla="*/ 2147483647 w 128"/>
              <a:gd name="T67" fmla="*/ 2147483647 h 118"/>
              <a:gd name="T68" fmla="*/ 2147483647 w 128"/>
              <a:gd name="T69" fmla="*/ 2147483647 h 118"/>
              <a:gd name="T70" fmla="*/ 2147483647 w 128"/>
              <a:gd name="T71" fmla="*/ 2147483647 h 118"/>
              <a:gd name="T72" fmla="*/ 2147483647 w 128"/>
              <a:gd name="T73" fmla="*/ 2147483647 h 118"/>
              <a:gd name="T74" fmla="*/ 2147483647 w 128"/>
              <a:gd name="T75" fmla="*/ 2147483647 h 118"/>
              <a:gd name="T76" fmla="*/ 2147483647 w 128"/>
              <a:gd name="T77" fmla="*/ 2147483647 h 118"/>
              <a:gd name="T78" fmla="*/ 2147483647 w 128"/>
              <a:gd name="T79" fmla="*/ 2147483647 h 118"/>
              <a:gd name="T80" fmla="*/ 2147483647 w 128"/>
              <a:gd name="T81" fmla="*/ 2147483647 h 118"/>
              <a:gd name="T82" fmla="*/ 2147483647 w 128"/>
              <a:gd name="T83" fmla="*/ 2147483647 h 118"/>
              <a:gd name="T84" fmla="*/ 2147483647 w 128"/>
              <a:gd name="T85" fmla="*/ 2147483647 h 118"/>
              <a:gd name="T86" fmla="*/ 2147483647 w 128"/>
              <a:gd name="T87" fmla="*/ 2147483647 h 118"/>
              <a:gd name="T88" fmla="*/ 2147483647 w 128"/>
              <a:gd name="T89" fmla="*/ 2147483647 h 118"/>
              <a:gd name="T90" fmla="*/ 2147483647 w 128"/>
              <a:gd name="T91" fmla="*/ 2147483647 h 118"/>
              <a:gd name="T92" fmla="*/ 2147483647 w 128"/>
              <a:gd name="T93" fmla="*/ 2147483647 h 118"/>
              <a:gd name="T94" fmla="*/ 2147483647 w 128"/>
              <a:gd name="T95" fmla="*/ 2147483647 h 118"/>
              <a:gd name="T96" fmla="*/ 2147483647 w 128"/>
              <a:gd name="T97" fmla="*/ 2147483647 h 118"/>
              <a:gd name="T98" fmla="*/ 2147483647 w 128"/>
              <a:gd name="T99" fmla="*/ 2147483647 h 118"/>
              <a:gd name="T100" fmla="*/ 2147483647 w 128"/>
              <a:gd name="T101" fmla="*/ 2147483647 h 118"/>
              <a:gd name="T102" fmla="*/ 2147483647 w 128"/>
              <a:gd name="T103" fmla="*/ 2147483647 h 118"/>
              <a:gd name="T104" fmla="*/ 2147483647 w 128"/>
              <a:gd name="T105" fmla="*/ 2147483647 h 118"/>
              <a:gd name="T106" fmla="*/ 2147483647 w 128"/>
              <a:gd name="T107" fmla="*/ 2147483647 h 118"/>
              <a:gd name="T108" fmla="*/ 2147483647 w 128"/>
              <a:gd name="T109" fmla="*/ 2147483647 h 118"/>
              <a:gd name="T110" fmla="*/ 2147483647 w 128"/>
              <a:gd name="T111" fmla="*/ 2147483647 h 118"/>
              <a:gd name="T112" fmla="*/ 2147483647 w 128"/>
              <a:gd name="T113" fmla="*/ 2147483647 h 118"/>
              <a:gd name="T114" fmla="*/ 2147483647 w 128"/>
              <a:gd name="T115" fmla="*/ 2147483647 h 118"/>
              <a:gd name="T116" fmla="*/ 2147483647 w 128"/>
              <a:gd name="T117" fmla="*/ 2147483647 h 118"/>
              <a:gd name="T118" fmla="*/ 2147483647 w 128"/>
              <a:gd name="T119" fmla="*/ 2147483647 h 11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28"/>
              <a:gd name="T181" fmla="*/ 0 h 118"/>
              <a:gd name="T182" fmla="*/ 128 w 128"/>
              <a:gd name="T183" fmla="*/ 118 h 118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28" h="118">
                <a:moveTo>
                  <a:pt x="67" y="94"/>
                </a:moveTo>
                <a:lnTo>
                  <a:pt x="67" y="89"/>
                </a:lnTo>
                <a:lnTo>
                  <a:pt x="31" y="94"/>
                </a:lnTo>
                <a:lnTo>
                  <a:pt x="0" y="91"/>
                </a:lnTo>
                <a:lnTo>
                  <a:pt x="8" y="82"/>
                </a:lnTo>
                <a:lnTo>
                  <a:pt x="23" y="72"/>
                </a:lnTo>
                <a:lnTo>
                  <a:pt x="7" y="72"/>
                </a:lnTo>
                <a:lnTo>
                  <a:pt x="14" y="68"/>
                </a:lnTo>
                <a:lnTo>
                  <a:pt x="32" y="59"/>
                </a:lnTo>
                <a:lnTo>
                  <a:pt x="33" y="60"/>
                </a:lnTo>
                <a:lnTo>
                  <a:pt x="38" y="54"/>
                </a:lnTo>
                <a:lnTo>
                  <a:pt x="33" y="50"/>
                </a:lnTo>
                <a:lnTo>
                  <a:pt x="42" y="47"/>
                </a:lnTo>
                <a:lnTo>
                  <a:pt x="62" y="20"/>
                </a:lnTo>
                <a:lnTo>
                  <a:pt x="84" y="2"/>
                </a:lnTo>
                <a:lnTo>
                  <a:pt x="95" y="0"/>
                </a:lnTo>
                <a:lnTo>
                  <a:pt x="102" y="0"/>
                </a:lnTo>
                <a:lnTo>
                  <a:pt x="89" y="6"/>
                </a:lnTo>
                <a:lnTo>
                  <a:pt x="92" y="11"/>
                </a:lnTo>
                <a:lnTo>
                  <a:pt x="84" y="18"/>
                </a:lnTo>
                <a:lnTo>
                  <a:pt x="61" y="47"/>
                </a:lnTo>
                <a:lnTo>
                  <a:pt x="79" y="34"/>
                </a:lnTo>
                <a:lnTo>
                  <a:pt x="75" y="38"/>
                </a:lnTo>
                <a:lnTo>
                  <a:pt x="90" y="37"/>
                </a:lnTo>
                <a:lnTo>
                  <a:pt x="77" y="44"/>
                </a:lnTo>
                <a:lnTo>
                  <a:pt x="77" y="48"/>
                </a:lnTo>
                <a:lnTo>
                  <a:pt x="90" y="50"/>
                </a:lnTo>
                <a:lnTo>
                  <a:pt x="87" y="56"/>
                </a:lnTo>
                <a:lnTo>
                  <a:pt x="105" y="49"/>
                </a:lnTo>
                <a:lnTo>
                  <a:pt x="104" y="53"/>
                </a:lnTo>
                <a:lnTo>
                  <a:pt x="121" y="52"/>
                </a:lnTo>
                <a:lnTo>
                  <a:pt x="109" y="64"/>
                </a:lnTo>
                <a:lnTo>
                  <a:pt x="113" y="70"/>
                </a:lnTo>
                <a:lnTo>
                  <a:pt x="105" y="74"/>
                </a:lnTo>
                <a:lnTo>
                  <a:pt x="128" y="70"/>
                </a:lnTo>
                <a:lnTo>
                  <a:pt x="107" y="83"/>
                </a:lnTo>
                <a:lnTo>
                  <a:pt x="110" y="86"/>
                </a:lnTo>
                <a:lnTo>
                  <a:pt x="108" y="86"/>
                </a:lnTo>
                <a:lnTo>
                  <a:pt x="108" y="94"/>
                </a:lnTo>
                <a:lnTo>
                  <a:pt x="127" y="80"/>
                </a:lnTo>
                <a:lnTo>
                  <a:pt x="119" y="94"/>
                </a:lnTo>
                <a:lnTo>
                  <a:pt x="127" y="89"/>
                </a:lnTo>
                <a:lnTo>
                  <a:pt x="128" y="96"/>
                </a:lnTo>
                <a:lnTo>
                  <a:pt x="111" y="118"/>
                </a:lnTo>
                <a:lnTo>
                  <a:pt x="104" y="114"/>
                </a:lnTo>
                <a:lnTo>
                  <a:pt x="104" y="107"/>
                </a:lnTo>
                <a:lnTo>
                  <a:pt x="93" y="112"/>
                </a:lnTo>
                <a:lnTo>
                  <a:pt x="103" y="94"/>
                </a:lnTo>
                <a:lnTo>
                  <a:pt x="99" y="88"/>
                </a:lnTo>
                <a:lnTo>
                  <a:pt x="89" y="100"/>
                </a:lnTo>
                <a:lnTo>
                  <a:pt x="93" y="95"/>
                </a:lnTo>
                <a:lnTo>
                  <a:pt x="63" y="112"/>
                </a:lnTo>
                <a:lnTo>
                  <a:pt x="62" y="107"/>
                </a:lnTo>
                <a:lnTo>
                  <a:pt x="87" y="92"/>
                </a:lnTo>
                <a:lnTo>
                  <a:pt x="81" y="95"/>
                </a:lnTo>
                <a:lnTo>
                  <a:pt x="85" y="90"/>
                </a:lnTo>
                <a:lnTo>
                  <a:pt x="75" y="92"/>
                </a:lnTo>
                <a:lnTo>
                  <a:pt x="67" y="97"/>
                </a:lnTo>
                <a:lnTo>
                  <a:pt x="60" y="96"/>
                </a:lnTo>
                <a:lnTo>
                  <a:pt x="67" y="9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36" name="Freeform 243"/>
          <p:cNvSpPr>
            <a:spLocks/>
          </p:cNvSpPr>
          <p:nvPr/>
        </p:nvSpPr>
        <p:spPr bwMode="auto">
          <a:xfrm>
            <a:off x="4160838" y="2873375"/>
            <a:ext cx="103187" cy="120650"/>
          </a:xfrm>
          <a:custGeom>
            <a:avLst/>
            <a:gdLst>
              <a:gd name="T0" fmla="*/ 2147483647 w 78"/>
              <a:gd name="T1" fmla="*/ 2147483647 h 89"/>
              <a:gd name="T2" fmla="*/ 2147483647 w 78"/>
              <a:gd name="T3" fmla="*/ 2147483647 h 89"/>
              <a:gd name="T4" fmla="*/ 2147483647 w 78"/>
              <a:gd name="T5" fmla="*/ 2147483647 h 89"/>
              <a:gd name="T6" fmla="*/ 2147483647 w 78"/>
              <a:gd name="T7" fmla="*/ 2147483647 h 89"/>
              <a:gd name="T8" fmla="*/ 2147483647 w 78"/>
              <a:gd name="T9" fmla="*/ 2147483647 h 89"/>
              <a:gd name="T10" fmla="*/ 2147483647 w 78"/>
              <a:gd name="T11" fmla="*/ 2147483647 h 89"/>
              <a:gd name="T12" fmla="*/ 2147483647 w 78"/>
              <a:gd name="T13" fmla="*/ 2147483647 h 89"/>
              <a:gd name="T14" fmla="*/ 2147483647 w 78"/>
              <a:gd name="T15" fmla="*/ 0 h 89"/>
              <a:gd name="T16" fmla="*/ 2147483647 w 78"/>
              <a:gd name="T17" fmla="*/ 2147483647 h 89"/>
              <a:gd name="T18" fmla="*/ 2147483647 w 78"/>
              <a:gd name="T19" fmla="*/ 2147483647 h 89"/>
              <a:gd name="T20" fmla="*/ 2147483647 w 78"/>
              <a:gd name="T21" fmla="*/ 2147483647 h 89"/>
              <a:gd name="T22" fmla="*/ 2147483647 w 78"/>
              <a:gd name="T23" fmla="*/ 2147483647 h 89"/>
              <a:gd name="T24" fmla="*/ 2147483647 w 78"/>
              <a:gd name="T25" fmla="*/ 2147483647 h 89"/>
              <a:gd name="T26" fmla="*/ 2147483647 w 78"/>
              <a:gd name="T27" fmla="*/ 2147483647 h 89"/>
              <a:gd name="T28" fmla="*/ 2147483647 w 78"/>
              <a:gd name="T29" fmla="*/ 2147483647 h 89"/>
              <a:gd name="T30" fmla="*/ 2147483647 w 78"/>
              <a:gd name="T31" fmla="*/ 2147483647 h 89"/>
              <a:gd name="T32" fmla="*/ 2147483647 w 78"/>
              <a:gd name="T33" fmla="*/ 2147483647 h 89"/>
              <a:gd name="T34" fmla="*/ 2147483647 w 78"/>
              <a:gd name="T35" fmla="*/ 2147483647 h 89"/>
              <a:gd name="T36" fmla="*/ 2147483647 w 78"/>
              <a:gd name="T37" fmla="*/ 2147483647 h 89"/>
              <a:gd name="T38" fmla="*/ 2147483647 w 78"/>
              <a:gd name="T39" fmla="*/ 2147483647 h 89"/>
              <a:gd name="T40" fmla="*/ 0 w 78"/>
              <a:gd name="T41" fmla="*/ 2147483647 h 89"/>
              <a:gd name="T42" fmla="*/ 2147483647 w 78"/>
              <a:gd name="T43" fmla="*/ 2147483647 h 89"/>
              <a:gd name="T44" fmla="*/ 0 w 78"/>
              <a:gd name="T45" fmla="*/ 2147483647 h 89"/>
              <a:gd name="T46" fmla="*/ 2147483647 w 78"/>
              <a:gd name="T47" fmla="*/ 2147483647 h 89"/>
              <a:gd name="T48" fmla="*/ 2147483647 w 78"/>
              <a:gd name="T49" fmla="*/ 2147483647 h 89"/>
              <a:gd name="T50" fmla="*/ 2147483647 w 78"/>
              <a:gd name="T51" fmla="*/ 2147483647 h 89"/>
              <a:gd name="T52" fmla="*/ 2147483647 w 78"/>
              <a:gd name="T53" fmla="*/ 2147483647 h 89"/>
              <a:gd name="T54" fmla="*/ 2147483647 w 78"/>
              <a:gd name="T55" fmla="*/ 2147483647 h 89"/>
              <a:gd name="T56" fmla="*/ 2147483647 w 78"/>
              <a:gd name="T57" fmla="*/ 2147483647 h 89"/>
              <a:gd name="T58" fmla="*/ 2147483647 w 78"/>
              <a:gd name="T59" fmla="*/ 2147483647 h 89"/>
              <a:gd name="T60" fmla="*/ 2147483647 w 78"/>
              <a:gd name="T61" fmla="*/ 2147483647 h 89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78"/>
              <a:gd name="T94" fmla="*/ 0 h 89"/>
              <a:gd name="T95" fmla="*/ 78 w 78"/>
              <a:gd name="T96" fmla="*/ 89 h 89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78" h="89">
                <a:moveTo>
                  <a:pt x="78" y="65"/>
                </a:moveTo>
                <a:lnTo>
                  <a:pt x="78" y="47"/>
                </a:lnTo>
                <a:lnTo>
                  <a:pt x="78" y="29"/>
                </a:lnTo>
                <a:lnTo>
                  <a:pt x="66" y="23"/>
                </a:lnTo>
                <a:lnTo>
                  <a:pt x="61" y="25"/>
                </a:lnTo>
                <a:lnTo>
                  <a:pt x="47" y="23"/>
                </a:lnTo>
                <a:lnTo>
                  <a:pt x="60" y="6"/>
                </a:lnTo>
                <a:lnTo>
                  <a:pt x="62" y="0"/>
                </a:lnTo>
                <a:lnTo>
                  <a:pt x="55" y="5"/>
                </a:lnTo>
                <a:lnTo>
                  <a:pt x="49" y="4"/>
                </a:lnTo>
                <a:lnTo>
                  <a:pt x="35" y="13"/>
                </a:lnTo>
                <a:lnTo>
                  <a:pt x="39" y="17"/>
                </a:lnTo>
                <a:lnTo>
                  <a:pt x="33" y="23"/>
                </a:lnTo>
                <a:lnTo>
                  <a:pt x="11" y="26"/>
                </a:lnTo>
                <a:lnTo>
                  <a:pt x="13" y="34"/>
                </a:lnTo>
                <a:lnTo>
                  <a:pt x="5" y="42"/>
                </a:lnTo>
                <a:lnTo>
                  <a:pt x="25" y="48"/>
                </a:lnTo>
                <a:lnTo>
                  <a:pt x="9" y="64"/>
                </a:lnTo>
                <a:lnTo>
                  <a:pt x="26" y="60"/>
                </a:lnTo>
                <a:lnTo>
                  <a:pt x="9" y="70"/>
                </a:lnTo>
                <a:lnTo>
                  <a:pt x="0" y="73"/>
                </a:lnTo>
                <a:lnTo>
                  <a:pt x="6" y="76"/>
                </a:lnTo>
                <a:lnTo>
                  <a:pt x="0" y="79"/>
                </a:lnTo>
                <a:lnTo>
                  <a:pt x="8" y="83"/>
                </a:lnTo>
                <a:lnTo>
                  <a:pt x="6" y="86"/>
                </a:lnTo>
                <a:lnTo>
                  <a:pt x="13" y="86"/>
                </a:lnTo>
                <a:lnTo>
                  <a:pt x="12" y="89"/>
                </a:lnTo>
                <a:lnTo>
                  <a:pt x="32" y="86"/>
                </a:lnTo>
                <a:lnTo>
                  <a:pt x="51" y="78"/>
                </a:lnTo>
                <a:lnTo>
                  <a:pt x="69" y="74"/>
                </a:lnTo>
                <a:lnTo>
                  <a:pt x="78" y="65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37" name="Freeform 244"/>
          <p:cNvSpPr>
            <a:spLocks/>
          </p:cNvSpPr>
          <p:nvPr/>
        </p:nvSpPr>
        <p:spPr bwMode="auto">
          <a:xfrm>
            <a:off x="4271963" y="2767013"/>
            <a:ext cx="188912" cy="276225"/>
          </a:xfrm>
          <a:custGeom>
            <a:avLst/>
            <a:gdLst>
              <a:gd name="T0" fmla="*/ 2147483647 w 140"/>
              <a:gd name="T1" fmla="*/ 2147483647 h 200"/>
              <a:gd name="T2" fmla="*/ 2147483647 w 140"/>
              <a:gd name="T3" fmla="*/ 2147483647 h 200"/>
              <a:gd name="T4" fmla="*/ 2147483647 w 140"/>
              <a:gd name="T5" fmla="*/ 2147483647 h 200"/>
              <a:gd name="T6" fmla="*/ 2147483647 w 140"/>
              <a:gd name="T7" fmla="*/ 2147483647 h 200"/>
              <a:gd name="T8" fmla="*/ 2147483647 w 140"/>
              <a:gd name="T9" fmla="*/ 2147483647 h 200"/>
              <a:gd name="T10" fmla="*/ 2147483647 w 140"/>
              <a:gd name="T11" fmla="*/ 2147483647 h 200"/>
              <a:gd name="T12" fmla="*/ 2147483647 w 140"/>
              <a:gd name="T13" fmla="*/ 2147483647 h 200"/>
              <a:gd name="T14" fmla="*/ 2147483647 w 140"/>
              <a:gd name="T15" fmla="*/ 2147483647 h 200"/>
              <a:gd name="T16" fmla="*/ 2147483647 w 140"/>
              <a:gd name="T17" fmla="*/ 2147483647 h 200"/>
              <a:gd name="T18" fmla="*/ 2147483647 w 140"/>
              <a:gd name="T19" fmla="*/ 2147483647 h 200"/>
              <a:gd name="T20" fmla="*/ 2147483647 w 140"/>
              <a:gd name="T21" fmla="*/ 2147483647 h 200"/>
              <a:gd name="T22" fmla="*/ 2147483647 w 140"/>
              <a:gd name="T23" fmla="*/ 2147483647 h 200"/>
              <a:gd name="T24" fmla="*/ 2147483647 w 140"/>
              <a:gd name="T25" fmla="*/ 2147483647 h 200"/>
              <a:gd name="T26" fmla="*/ 2147483647 w 140"/>
              <a:gd name="T27" fmla="*/ 2147483647 h 200"/>
              <a:gd name="T28" fmla="*/ 2147483647 w 140"/>
              <a:gd name="T29" fmla="*/ 2147483647 h 200"/>
              <a:gd name="T30" fmla="*/ 2147483647 w 140"/>
              <a:gd name="T31" fmla="*/ 2147483647 h 200"/>
              <a:gd name="T32" fmla="*/ 2147483647 w 140"/>
              <a:gd name="T33" fmla="*/ 2147483647 h 200"/>
              <a:gd name="T34" fmla="*/ 2147483647 w 140"/>
              <a:gd name="T35" fmla="*/ 2147483647 h 200"/>
              <a:gd name="T36" fmla="*/ 2147483647 w 140"/>
              <a:gd name="T37" fmla="*/ 2147483647 h 200"/>
              <a:gd name="T38" fmla="*/ 2147483647 w 140"/>
              <a:gd name="T39" fmla="*/ 2147483647 h 200"/>
              <a:gd name="T40" fmla="*/ 2147483647 w 140"/>
              <a:gd name="T41" fmla="*/ 2147483647 h 200"/>
              <a:gd name="T42" fmla="*/ 2147483647 w 140"/>
              <a:gd name="T43" fmla="*/ 2147483647 h 200"/>
              <a:gd name="T44" fmla="*/ 2147483647 w 140"/>
              <a:gd name="T45" fmla="*/ 2147483647 h 200"/>
              <a:gd name="T46" fmla="*/ 2147483647 w 140"/>
              <a:gd name="T47" fmla="*/ 2147483647 h 200"/>
              <a:gd name="T48" fmla="*/ 2147483647 w 140"/>
              <a:gd name="T49" fmla="*/ 2147483647 h 200"/>
              <a:gd name="T50" fmla="*/ 2147483647 w 140"/>
              <a:gd name="T51" fmla="*/ 2147483647 h 200"/>
              <a:gd name="T52" fmla="*/ 2147483647 w 140"/>
              <a:gd name="T53" fmla="*/ 0 h 200"/>
              <a:gd name="T54" fmla="*/ 2147483647 w 140"/>
              <a:gd name="T55" fmla="*/ 2147483647 h 200"/>
              <a:gd name="T56" fmla="*/ 2147483647 w 140"/>
              <a:gd name="T57" fmla="*/ 2147483647 h 200"/>
              <a:gd name="T58" fmla="*/ 2147483647 w 140"/>
              <a:gd name="T59" fmla="*/ 2147483647 h 200"/>
              <a:gd name="T60" fmla="*/ 2147483647 w 140"/>
              <a:gd name="T61" fmla="*/ 2147483647 h 200"/>
              <a:gd name="T62" fmla="*/ 2147483647 w 140"/>
              <a:gd name="T63" fmla="*/ 2147483647 h 200"/>
              <a:gd name="T64" fmla="*/ 2147483647 w 140"/>
              <a:gd name="T65" fmla="*/ 2147483647 h 20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40"/>
              <a:gd name="T100" fmla="*/ 0 h 200"/>
              <a:gd name="T101" fmla="*/ 140 w 140"/>
              <a:gd name="T102" fmla="*/ 200 h 200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40" h="200">
                <a:moveTo>
                  <a:pt x="1" y="76"/>
                </a:moveTo>
                <a:lnTo>
                  <a:pt x="12" y="60"/>
                </a:lnTo>
                <a:lnTo>
                  <a:pt x="18" y="60"/>
                </a:lnTo>
                <a:lnTo>
                  <a:pt x="23" y="62"/>
                </a:lnTo>
                <a:lnTo>
                  <a:pt x="20" y="68"/>
                </a:lnTo>
                <a:lnTo>
                  <a:pt x="17" y="80"/>
                </a:lnTo>
                <a:lnTo>
                  <a:pt x="19" y="90"/>
                </a:lnTo>
                <a:lnTo>
                  <a:pt x="28" y="88"/>
                </a:lnTo>
                <a:lnTo>
                  <a:pt x="48" y="84"/>
                </a:lnTo>
                <a:lnTo>
                  <a:pt x="42" y="92"/>
                </a:lnTo>
                <a:lnTo>
                  <a:pt x="52" y="102"/>
                </a:lnTo>
                <a:lnTo>
                  <a:pt x="53" y="122"/>
                </a:lnTo>
                <a:lnTo>
                  <a:pt x="47" y="123"/>
                </a:lnTo>
                <a:lnTo>
                  <a:pt x="22" y="132"/>
                </a:lnTo>
                <a:lnTo>
                  <a:pt x="26" y="134"/>
                </a:lnTo>
                <a:lnTo>
                  <a:pt x="32" y="141"/>
                </a:lnTo>
                <a:lnTo>
                  <a:pt x="14" y="154"/>
                </a:lnTo>
                <a:lnTo>
                  <a:pt x="12" y="160"/>
                </a:lnTo>
                <a:lnTo>
                  <a:pt x="31" y="162"/>
                </a:lnTo>
                <a:lnTo>
                  <a:pt x="40" y="167"/>
                </a:lnTo>
                <a:lnTo>
                  <a:pt x="61" y="161"/>
                </a:lnTo>
                <a:lnTo>
                  <a:pt x="53" y="168"/>
                </a:lnTo>
                <a:lnTo>
                  <a:pt x="37" y="172"/>
                </a:lnTo>
                <a:lnTo>
                  <a:pt x="18" y="185"/>
                </a:lnTo>
                <a:lnTo>
                  <a:pt x="0" y="198"/>
                </a:lnTo>
                <a:lnTo>
                  <a:pt x="6" y="200"/>
                </a:lnTo>
                <a:lnTo>
                  <a:pt x="11" y="198"/>
                </a:lnTo>
                <a:lnTo>
                  <a:pt x="35" y="196"/>
                </a:lnTo>
                <a:lnTo>
                  <a:pt x="42" y="190"/>
                </a:lnTo>
                <a:lnTo>
                  <a:pt x="59" y="186"/>
                </a:lnTo>
                <a:lnTo>
                  <a:pt x="80" y="184"/>
                </a:lnTo>
                <a:lnTo>
                  <a:pt x="113" y="184"/>
                </a:lnTo>
                <a:lnTo>
                  <a:pt x="134" y="171"/>
                </a:lnTo>
                <a:lnTo>
                  <a:pt x="119" y="166"/>
                </a:lnTo>
                <a:lnTo>
                  <a:pt x="124" y="160"/>
                </a:lnTo>
                <a:lnTo>
                  <a:pt x="140" y="143"/>
                </a:lnTo>
                <a:lnTo>
                  <a:pt x="134" y="134"/>
                </a:lnTo>
                <a:lnTo>
                  <a:pt x="113" y="135"/>
                </a:lnTo>
                <a:lnTo>
                  <a:pt x="114" y="129"/>
                </a:lnTo>
                <a:lnTo>
                  <a:pt x="100" y="114"/>
                </a:lnTo>
                <a:lnTo>
                  <a:pt x="106" y="116"/>
                </a:lnTo>
                <a:lnTo>
                  <a:pt x="104" y="106"/>
                </a:lnTo>
                <a:lnTo>
                  <a:pt x="90" y="93"/>
                </a:lnTo>
                <a:lnTo>
                  <a:pt x="70" y="63"/>
                </a:lnTo>
                <a:lnTo>
                  <a:pt x="44" y="60"/>
                </a:lnTo>
                <a:lnTo>
                  <a:pt x="59" y="56"/>
                </a:lnTo>
                <a:lnTo>
                  <a:pt x="50" y="52"/>
                </a:lnTo>
                <a:lnTo>
                  <a:pt x="56" y="50"/>
                </a:lnTo>
                <a:lnTo>
                  <a:pt x="76" y="24"/>
                </a:lnTo>
                <a:lnTo>
                  <a:pt x="40" y="23"/>
                </a:lnTo>
                <a:lnTo>
                  <a:pt x="32" y="22"/>
                </a:lnTo>
                <a:lnTo>
                  <a:pt x="37" y="18"/>
                </a:lnTo>
                <a:lnTo>
                  <a:pt x="53" y="3"/>
                </a:lnTo>
                <a:lnTo>
                  <a:pt x="23" y="0"/>
                </a:lnTo>
                <a:lnTo>
                  <a:pt x="17" y="8"/>
                </a:lnTo>
                <a:lnTo>
                  <a:pt x="16" y="15"/>
                </a:lnTo>
                <a:lnTo>
                  <a:pt x="8" y="17"/>
                </a:lnTo>
                <a:lnTo>
                  <a:pt x="7" y="24"/>
                </a:lnTo>
                <a:lnTo>
                  <a:pt x="7" y="28"/>
                </a:lnTo>
                <a:lnTo>
                  <a:pt x="7" y="32"/>
                </a:lnTo>
                <a:lnTo>
                  <a:pt x="0" y="42"/>
                </a:lnTo>
                <a:lnTo>
                  <a:pt x="2" y="45"/>
                </a:lnTo>
                <a:lnTo>
                  <a:pt x="0" y="46"/>
                </a:lnTo>
                <a:lnTo>
                  <a:pt x="13" y="44"/>
                </a:lnTo>
                <a:lnTo>
                  <a:pt x="12" y="45"/>
                </a:lnTo>
                <a:lnTo>
                  <a:pt x="1" y="76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38" name="Freeform 245"/>
          <p:cNvSpPr>
            <a:spLocks/>
          </p:cNvSpPr>
          <p:nvPr/>
        </p:nvSpPr>
        <p:spPr bwMode="auto">
          <a:xfrm>
            <a:off x="4221163" y="2874963"/>
            <a:ext cx="57150" cy="36512"/>
          </a:xfrm>
          <a:custGeom>
            <a:avLst/>
            <a:gdLst>
              <a:gd name="T0" fmla="*/ 2147483647 w 43"/>
              <a:gd name="T1" fmla="*/ 2147483647 h 28"/>
              <a:gd name="T2" fmla="*/ 2147483647 w 43"/>
              <a:gd name="T3" fmla="*/ 2147483647 h 28"/>
              <a:gd name="T4" fmla="*/ 2147483647 w 43"/>
              <a:gd name="T5" fmla="*/ 0 h 28"/>
              <a:gd name="T6" fmla="*/ 2147483647 w 43"/>
              <a:gd name="T7" fmla="*/ 2147483647 h 28"/>
              <a:gd name="T8" fmla="*/ 0 w 43"/>
              <a:gd name="T9" fmla="*/ 2147483647 h 28"/>
              <a:gd name="T10" fmla="*/ 2147483647 w 43"/>
              <a:gd name="T11" fmla="*/ 2147483647 h 28"/>
              <a:gd name="T12" fmla="*/ 2147483647 w 43"/>
              <a:gd name="T13" fmla="*/ 2147483647 h 28"/>
              <a:gd name="T14" fmla="*/ 2147483647 w 43"/>
              <a:gd name="T15" fmla="*/ 2147483647 h 28"/>
              <a:gd name="T16" fmla="*/ 2147483647 w 43"/>
              <a:gd name="T17" fmla="*/ 2147483647 h 2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3"/>
              <a:gd name="T28" fmla="*/ 0 h 28"/>
              <a:gd name="T29" fmla="*/ 43 w 43"/>
              <a:gd name="T30" fmla="*/ 28 h 2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3" h="28">
                <a:moveTo>
                  <a:pt x="43" y="19"/>
                </a:moveTo>
                <a:lnTo>
                  <a:pt x="40" y="13"/>
                </a:lnTo>
                <a:lnTo>
                  <a:pt x="28" y="0"/>
                </a:lnTo>
                <a:lnTo>
                  <a:pt x="13" y="5"/>
                </a:lnTo>
                <a:lnTo>
                  <a:pt x="0" y="22"/>
                </a:lnTo>
                <a:lnTo>
                  <a:pt x="14" y="24"/>
                </a:lnTo>
                <a:lnTo>
                  <a:pt x="19" y="22"/>
                </a:lnTo>
                <a:lnTo>
                  <a:pt x="31" y="28"/>
                </a:lnTo>
                <a:lnTo>
                  <a:pt x="43" y="19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39" name="Freeform 246"/>
          <p:cNvSpPr>
            <a:spLocks/>
          </p:cNvSpPr>
          <p:nvPr/>
        </p:nvSpPr>
        <p:spPr bwMode="auto">
          <a:xfrm>
            <a:off x="4254500" y="2800350"/>
            <a:ext cx="23813" cy="14288"/>
          </a:xfrm>
          <a:custGeom>
            <a:avLst/>
            <a:gdLst>
              <a:gd name="T0" fmla="*/ 2147483647 w 18"/>
              <a:gd name="T1" fmla="*/ 2147483647 h 10"/>
              <a:gd name="T2" fmla="*/ 2147483647 w 18"/>
              <a:gd name="T3" fmla="*/ 0 h 10"/>
              <a:gd name="T4" fmla="*/ 0 w 18"/>
              <a:gd name="T5" fmla="*/ 2147483647 h 10"/>
              <a:gd name="T6" fmla="*/ 2147483647 w 18"/>
              <a:gd name="T7" fmla="*/ 2147483647 h 10"/>
              <a:gd name="T8" fmla="*/ 2147483647 w 18"/>
              <a:gd name="T9" fmla="*/ 2147483647 h 10"/>
              <a:gd name="T10" fmla="*/ 2147483647 w 18"/>
              <a:gd name="T11" fmla="*/ 2147483647 h 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8"/>
              <a:gd name="T19" fmla="*/ 0 h 10"/>
              <a:gd name="T20" fmla="*/ 18 w 18"/>
              <a:gd name="T21" fmla="*/ 10 h 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8" h="10">
                <a:moveTo>
                  <a:pt x="11" y="2"/>
                </a:moveTo>
                <a:lnTo>
                  <a:pt x="6" y="0"/>
                </a:lnTo>
                <a:lnTo>
                  <a:pt x="0" y="5"/>
                </a:lnTo>
                <a:lnTo>
                  <a:pt x="16" y="10"/>
                </a:lnTo>
                <a:lnTo>
                  <a:pt x="18" y="8"/>
                </a:lnTo>
                <a:lnTo>
                  <a:pt x="11" y="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40" name="Freeform 247"/>
          <p:cNvSpPr>
            <a:spLocks/>
          </p:cNvSpPr>
          <p:nvPr/>
        </p:nvSpPr>
        <p:spPr bwMode="auto">
          <a:xfrm>
            <a:off x="4251325" y="2776538"/>
            <a:ext cx="20638" cy="14287"/>
          </a:xfrm>
          <a:custGeom>
            <a:avLst/>
            <a:gdLst>
              <a:gd name="T0" fmla="*/ 2147483647 w 16"/>
              <a:gd name="T1" fmla="*/ 2147483647 h 11"/>
              <a:gd name="T2" fmla="*/ 2147483647 w 16"/>
              <a:gd name="T3" fmla="*/ 0 h 11"/>
              <a:gd name="T4" fmla="*/ 2147483647 w 16"/>
              <a:gd name="T5" fmla="*/ 2147483647 h 11"/>
              <a:gd name="T6" fmla="*/ 0 w 16"/>
              <a:gd name="T7" fmla="*/ 2147483647 h 11"/>
              <a:gd name="T8" fmla="*/ 2147483647 w 16"/>
              <a:gd name="T9" fmla="*/ 2147483647 h 1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"/>
              <a:gd name="T16" fmla="*/ 0 h 11"/>
              <a:gd name="T17" fmla="*/ 16 w 16"/>
              <a:gd name="T18" fmla="*/ 11 h 1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" h="11">
                <a:moveTo>
                  <a:pt x="16" y="4"/>
                </a:moveTo>
                <a:lnTo>
                  <a:pt x="15" y="0"/>
                </a:lnTo>
                <a:lnTo>
                  <a:pt x="4" y="5"/>
                </a:lnTo>
                <a:lnTo>
                  <a:pt x="0" y="11"/>
                </a:lnTo>
                <a:lnTo>
                  <a:pt x="16" y="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41" name="Freeform 248"/>
          <p:cNvSpPr>
            <a:spLocks/>
          </p:cNvSpPr>
          <p:nvPr/>
        </p:nvSpPr>
        <p:spPr bwMode="auto">
          <a:xfrm>
            <a:off x="4383088" y="2709863"/>
            <a:ext cx="7937" cy="14287"/>
          </a:xfrm>
          <a:custGeom>
            <a:avLst/>
            <a:gdLst>
              <a:gd name="T0" fmla="*/ 2147483647 w 7"/>
              <a:gd name="T1" fmla="*/ 0 h 11"/>
              <a:gd name="T2" fmla="*/ 2147483647 w 7"/>
              <a:gd name="T3" fmla="*/ 2147483647 h 11"/>
              <a:gd name="T4" fmla="*/ 0 w 7"/>
              <a:gd name="T5" fmla="*/ 2147483647 h 11"/>
              <a:gd name="T6" fmla="*/ 2147483647 w 7"/>
              <a:gd name="T7" fmla="*/ 2147483647 h 11"/>
              <a:gd name="T8" fmla="*/ 2147483647 w 7"/>
              <a:gd name="T9" fmla="*/ 0 h 11"/>
              <a:gd name="T10" fmla="*/ 2147483647 w 7"/>
              <a:gd name="T11" fmla="*/ 0 h 1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7"/>
              <a:gd name="T19" fmla="*/ 0 h 11"/>
              <a:gd name="T20" fmla="*/ 7 w 7"/>
              <a:gd name="T21" fmla="*/ 11 h 1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7" h="11">
                <a:moveTo>
                  <a:pt x="2" y="0"/>
                </a:moveTo>
                <a:lnTo>
                  <a:pt x="1" y="4"/>
                </a:lnTo>
                <a:lnTo>
                  <a:pt x="0" y="7"/>
                </a:lnTo>
                <a:lnTo>
                  <a:pt x="2" y="11"/>
                </a:lnTo>
                <a:lnTo>
                  <a:pt x="7" y="0"/>
                </a:lnTo>
                <a:lnTo>
                  <a:pt x="2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42" name="Freeform 249"/>
          <p:cNvSpPr>
            <a:spLocks/>
          </p:cNvSpPr>
          <p:nvPr/>
        </p:nvSpPr>
        <p:spPr bwMode="auto">
          <a:xfrm>
            <a:off x="4267200" y="2833688"/>
            <a:ext cx="11113" cy="7937"/>
          </a:xfrm>
          <a:custGeom>
            <a:avLst/>
            <a:gdLst>
              <a:gd name="T0" fmla="*/ 2147483647 w 10"/>
              <a:gd name="T1" fmla="*/ 2147483647 h 5"/>
              <a:gd name="T2" fmla="*/ 2147483647 w 10"/>
              <a:gd name="T3" fmla="*/ 2147483647 h 5"/>
              <a:gd name="T4" fmla="*/ 0 w 10"/>
              <a:gd name="T5" fmla="*/ 0 h 5"/>
              <a:gd name="T6" fmla="*/ 2147483647 w 10"/>
              <a:gd name="T7" fmla="*/ 2147483647 h 5"/>
              <a:gd name="T8" fmla="*/ 0 60000 65536"/>
              <a:gd name="T9" fmla="*/ 0 60000 65536"/>
              <a:gd name="T10" fmla="*/ 0 60000 65536"/>
              <a:gd name="T11" fmla="*/ 0 60000 65536"/>
              <a:gd name="T12" fmla="*/ 0 w 10"/>
              <a:gd name="T13" fmla="*/ 0 h 5"/>
              <a:gd name="T14" fmla="*/ 10 w 10"/>
              <a:gd name="T15" fmla="*/ 5 h 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0" h="5">
                <a:moveTo>
                  <a:pt x="2" y="5"/>
                </a:moveTo>
                <a:lnTo>
                  <a:pt x="10" y="2"/>
                </a:lnTo>
                <a:lnTo>
                  <a:pt x="0" y="0"/>
                </a:lnTo>
                <a:lnTo>
                  <a:pt x="2" y="5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43" name="Freeform 250"/>
          <p:cNvSpPr>
            <a:spLocks/>
          </p:cNvSpPr>
          <p:nvPr/>
        </p:nvSpPr>
        <p:spPr bwMode="auto">
          <a:xfrm>
            <a:off x="4305300" y="2933700"/>
            <a:ext cx="11113" cy="7938"/>
          </a:xfrm>
          <a:custGeom>
            <a:avLst/>
            <a:gdLst>
              <a:gd name="T0" fmla="*/ 2147483647 w 7"/>
              <a:gd name="T1" fmla="*/ 2147483647 h 6"/>
              <a:gd name="T2" fmla="*/ 2147483647 w 7"/>
              <a:gd name="T3" fmla="*/ 0 h 6"/>
              <a:gd name="T4" fmla="*/ 0 w 7"/>
              <a:gd name="T5" fmla="*/ 2147483647 h 6"/>
              <a:gd name="T6" fmla="*/ 2147483647 w 7"/>
              <a:gd name="T7" fmla="*/ 2147483647 h 6"/>
              <a:gd name="T8" fmla="*/ 0 60000 65536"/>
              <a:gd name="T9" fmla="*/ 0 60000 65536"/>
              <a:gd name="T10" fmla="*/ 0 60000 65536"/>
              <a:gd name="T11" fmla="*/ 0 60000 65536"/>
              <a:gd name="T12" fmla="*/ 0 w 7"/>
              <a:gd name="T13" fmla="*/ 0 h 6"/>
              <a:gd name="T14" fmla="*/ 7 w 7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" h="6">
                <a:moveTo>
                  <a:pt x="7" y="5"/>
                </a:moveTo>
                <a:lnTo>
                  <a:pt x="1" y="0"/>
                </a:lnTo>
                <a:lnTo>
                  <a:pt x="0" y="6"/>
                </a:lnTo>
                <a:lnTo>
                  <a:pt x="7" y="5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44" name="Freeform 251"/>
          <p:cNvSpPr>
            <a:spLocks/>
          </p:cNvSpPr>
          <p:nvPr/>
        </p:nvSpPr>
        <p:spPr bwMode="auto">
          <a:xfrm>
            <a:off x="4456113" y="3292475"/>
            <a:ext cx="7937" cy="1588"/>
          </a:xfrm>
          <a:custGeom>
            <a:avLst/>
            <a:gdLst>
              <a:gd name="T0" fmla="*/ 2147483647 w 6"/>
              <a:gd name="T1" fmla="*/ 0 h 2"/>
              <a:gd name="T2" fmla="*/ 0 w 6"/>
              <a:gd name="T3" fmla="*/ 0 h 2"/>
              <a:gd name="T4" fmla="*/ 0 w 6"/>
              <a:gd name="T5" fmla="*/ 2147483647 h 2"/>
              <a:gd name="T6" fmla="*/ 2147483647 w 6"/>
              <a:gd name="T7" fmla="*/ 2147483647 h 2"/>
              <a:gd name="T8" fmla="*/ 2147483647 w 6"/>
              <a:gd name="T9" fmla="*/ 0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2"/>
              <a:gd name="T17" fmla="*/ 6 w 6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2">
                <a:moveTo>
                  <a:pt x="6" y="0"/>
                </a:moveTo>
                <a:lnTo>
                  <a:pt x="0" y="0"/>
                </a:lnTo>
                <a:lnTo>
                  <a:pt x="0" y="2"/>
                </a:lnTo>
                <a:lnTo>
                  <a:pt x="5" y="2"/>
                </a:lnTo>
                <a:lnTo>
                  <a:pt x="6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45" name="Freeform 252"/>
          <p:cNvSpPr>
            <a:spLocks/>
          </p:cNvSpPr>
          <p:nvPr/>
        </p:nvSpPr>
        <p:spPr bwMode="auto">
          <a:xfrm>
            <a:off x="4160838" y="3313113"/>
            <a:ext cx="85725" cy="166687"/>
          </a:xfrm>
          <a:custGeom>
            <a:avLst/>
            <a:gdLst>
              <a:gd name="T0" fmla="*/ 2147483647 w 66"/>
              <a:gd name="T1" fmla="*/ 0 h 123"/>
              <a:gd name="T2" fmla="*/ 2147483647 w 66"/>
              <a:gd name="T3" fmla="*/ 2147483647 h 123"/>
              <a:gd name="T4" fmla="*/ 2147483647 w 66"/>
              <a:gd name="T5" fmla="*/ 2147483647 h 123"/>
              <a:gd name="T6" fmla="*/ 2147483647 w 66"/>
              <a:gd name="T7" fmla="*/ 2147483647 h 123"/>
              <a:gd name="T8" fmla="*/ 2147483647 w 66"/>
              <a:gd name="T9" fmla="*/ 2147483647 h 123"/>
              <a:gd name="T10" fmla="*/ 0 w 66"/>
              <a:gd name="T11" fmla="*/ 2147483647 h 123"/>
              <a:gd name="T12" fmla="*/ 2147483647 w 66"/>
              <a:gd name="T13" fmla="*/ 2147483647 h 123"/>
              <a:gd name="T14" fmla="*/ 2147483647 w 66"/>
              <a:gd name="T15" fmla="*/ 2147483647 h 123"/>
              <a:gd name="T16" fmla="*/ 2147483647 w 66"/>
              <a:gd name="T17" fmla="*/ 2147483647 h 123"/>
              <a:gd name="T18" fmla="*/ 2147483647 w 66"/>
              <a:gd name="T19" fmla="*/ 2147483647 h 123"/>
              <a:gd name="T20" fmla="*/ 2147483647 w 66"/>
              <a:gd name="T21" fmla="*/ 2147483647 h 123"/>
              <a:gd name="T22" fmla="*/ 2147483647 w 66"/>
              <a:gd name="T23" fmla="*/ 2147483647 h 123"/>
              <a:gd name="T24" fmla="*/ 2147483647 w 66"/>
              <a:gd name="T25" fmla="*/ 2147483647 h 123"/>
              <a:gd name="T26" fmla="*/ 2147483647 w 66"/>
              <a:gd name="T27" fmla="*/ 2147483647 h 123"/>
              <a:gd name="T28" fmla="*/ 2147483647 w 66"/>
              <a:gd name="T29" fmla="*/ 2147483647 h 123"/>
              <a:gd name="T30" fmla="*/ 2147483647 w 66"/>
              <a:gd name="T31" fmla="*/ 2147483647 h 123"/>
              <a:gd name="T32" fmla="*/ 2147483647 w 66"/>
              <a:gd name="T33" fmla="*/ 2147483647 h 123"/>
              <a:gd name="T34" fmla="*/ 2147483647 w 66"/>
              <a:gd name="T35" fmla="*/ 2147483647 h 123"/>
              <a:gd name="T36" fmla="*/ 2147483647 w 66"/>
              <a:gd name="T37" fmla="*/ 2147483647 h 123"/>
              <a:gd name="T38" fmla="*/ 2147483647 w 66"/>
              <a:gd name="T39" fmla="*/ 2147483647 h 123"/>
              <a:gd name="T40" fmla="*/ 2147483647 w 66"/>
              <a:gd name="T41" fmla="*/ 0 h 12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66"/>
              <a:gd name="T64" fmla="*/ 0 h 123"/>
              <a:gd name="T65" fmla="*/ 66 w 66"/>
              <a:gd name="T66" fmla="*/ 123 h 123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66" h="123">
                <a:moveTo>
                  <a:pt x="30" y="0"/>
                </a:moveTo>
                <a:lnTo>
                  <a:pt x="18" y="2"/>
                </a:lnTo>
                <a:lnTo>
                  <a:pt x="19" y="30"/>
                </a:lnTo>
                <a:lnTo>
                  <a:pt x="12" y="47"/>
                </a:lnTo>
                <a:lnTo>
                  <a:pt x="3" y="65"/>
                </a:lnTo>
                <a:lnTo>
                  <a:pt x="0" y="81"/>
                </a:lnTo>
                <a:lnTo>
                  <a:pt x="9" y="88"/>
                </a:lnTo>
                <a:lnTo>
                  <a:pt x="14" y="88"/>
                </a:lnTo>
                <a:lnTo>
                  <a:pt x="12" y="123"/>
                </a:lnTo>
                <a:lnTo>
                  <a:pt x="41" y="119"/>
                </a:lnTo>
                <a:lnTo>
                  <a:pt x="41" y="112"/>
                </a:lnTo>
                <a:lnTo>
                  <a:pt x="48" y="98"/>
                </a:lnTo>
                <a:lnTo>
                  <a:pt x="47" y="92"/>
                </a:lnTo>
                <a:lnTo>
                  <a:pt x="49" y="78"/>
                </a:lnTo>
                <a:lnTo>
                  <a:pt x="41" y="59"/>
                </a:lnTo>
                <a:lnTo>
                  <a:pt x="48" y="58"/>
                </a:lnTo>
                <a:lnTo>
                  <a:pt x="55" y="28"/>
                </a:lnTo>
                <a:lnTo>
                  <a:pt x="66" y="15"/>
                </a:lnTo>
                <a:lnTo>
                  <a:pt x="62" y="4"/>
                </a:lnTo>
                <a:lnTo>
                  <a:pt x="36" y="3"/>
                </a:lnTo>
                <a:lnTo>
                  <a:pt x="30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46" name="Freeform 253"/>
          <p:cNvSpPr>
            <a:spLocks/>
          </p:cNvSpPr>
          <p:nvPr/>
        </p:nvSpPr>
        <p:spPr bwMode="auto">
          <a:xfrm>
            <a:off x="4175125" y="3254375"/>
            <a:ext cx="325438" cy="255588"/>
          </a:xfrm>
          <a:custGeom>
            <a:avLst/>
            <a:gdLst>
              <a:gd name="T0" fmla="*/ 2147483647 w 244"/>
              <a:gd name="T1" fmla="*/ 2147483647 h 186"/>
              <a:gd name="T2" fmla="*/ 2147483647 w 244"/>
              <a:gd name="T3" fmla="*/ 2147483647 h 186"/>
              <a:gd name="T4" fmla="*/ 2147483647 w 244"/>
              <a:gd name="T5" fmla="*/ 2147483647 h 186"/>
              <a:gd name="T6" fmla="*/ 2147483647 w 244"/>
              <a:gd name="T7" fmla="*/ 2147483647 h 186"/>
              <a:gd name="T8" fmla="*/ 2147483647 w 244"/>
              <a:gd name="T9" fmla="*/ 2147483647 h 186"/>
              <a:gd name="T10" fmla="*/ 2147483647 w 244"/>
              <a:gd name="T11" fmla="*/ 2147483647 h 186"/>
              <a:gd name="T12" fmla="*/ 2147483647 w 244"/>
              <a:gd name="T13" fmla="*/ 2147483647 h 186"/>
              <a:gd name="T14" fmla="*/ 0 w 244"/>
              <a:gd name="T15" fmla="*/ 2147483647 h 186"/>
              <a:gd name="T16" fmla="*/ 0 w 244"/>
              <a:gd name="T17" fmla="*/ 2147483647 h 186"/>
              <a:gd name="T18" fmla="*/ 2147483647 w 244"/>
              <a:gd name="T19" fmla="*/ 0 h 186"/>
              <a:gd name="T20" fmla="*/ 2147483647 w 244"/>
              <a:gd name="T21" fmla="*/ 2147483647 h 186"/>
              <a:gd name="T22" fmla="*/ 2147483647 w 244"/>
              <a:gd name="T23" fmla="*/ 2147483647 h 186"/>
              <a:gd name="T24" fmla="*/ 2147483647 w 244"/>
              <a:gd name="T25" fmla="*/ 2147483647 h 186"/>
              <a:gd name="T26" fmla="*/ 2147483647 w 244"/>
              <a:gd name="T27" fmla="*/ 2147483647 h 186"/>
              <a:gd name="T28" fmla="*/ 2147483647 w 244"/>
              <a:gd name="T29" fmla="*/ 2147483647 h 186"/>
              <a:gd name="T30" fmla="*/ 2147483647 w 244"/>
              <a:gd name="T31" fmla="*/ 2147483647 h 186"/>
              <a:gd name="T32" fmla="*/ 2147483647 w 244"/>
              <a:gd name="T33" fmla="*/ 2147483647 h 186"/>
              <a:gd name="T34" fmla="*/ 2147483647 w 244"/>
              <a:gd name="T35" fmla="*/ 2147483647 h 186"/>
              <a:gd name="T36" fmla="*/ 2147483647 w 244"/>
              <a:gd name="T37" fmla="*/ 2147483647 h 186"/>
              <a:gd name="T38" fmla="*/ 2147483647 w 244"/>
              <a:gd name="T39" fmla="*/ 2147483647 h 186"/>
              <a:gd name="T40" fmla="*/ 2147483647 w 244"/>
              <a:gd name="T41" fmla="*/ 2147483647 h 186"/>
              <a:gd name="T42" fmla="*/ 2147483647 w 244"/>
              <a:gd name="T43" fmla="*/ 2147483647 h 186"/>
              <a:gd name="T44" fmla="*/ 2147483647 w 244"/>
              <a:gd name="T45" fmla="*/ 2147483647 h 186"/>
              <a:gd name="T46" fmla="*/ 2147483647 w 244"/>
              <a:gd name="T47" fmla="*/ 2147483647 h 186"/>
              <a:gd name="T48" fmla="*/ 2147483647 w 244"/>
              <a:gd name="T49" fmla="*/ 2147483647 h 186"/>
              <a:gd name="T50" fmla="*/ 2147483647 w 244"/>
              <a:gd name="T51" fmla="*/ 2147483647 h 186"/>
              <a:gd name="T52" fmla="*/ 2147483647 w 244"/>
              <a:gd name="T53" fmla="*/ 2147483647 h 186"/>
              <a:gd name="T54" fmla="*/ 2147483647 w 244"/>
              <a:gd name="T55" fmla="*/ 2147483647 h 186"/>
              <a:gd name="T56" fmla="*/ 2147483647 w 244"/>
              <a:gd name="T57" fmla="*/ 2147483647 h 186"/>
              <a:gd name="T58" fmla="*/ 2147483647 w 244"/>
              <a:gd name="T59" fmla="*/ 2147483647 h 186"/>
              <a:gd name="T60" fmla="*/ 2147483647 w 244"/>
              <a:gd name="T61" fmla="*/ 2147483647 h 186"/>
              <a:gd name="T62" fmla="*/ 2147483647 w 244"/>
              <a:gd name="T63" fmla="*/ 2147483647 h 186"/>
              <a:gd name="T64" fmla="*/ 2147483647 w 244"/>
              <a:gd name="T65" fmla="*/ 2147483647 h 186"/>
              <a:gd name="T66" fmla="*/ 2147483647 w 244"/>
              <a:gd name="T67" fmla="*/ 2147483647 h 186"/>
              <a:gd name="T68" fmla="*/ 2147483647 w 244"/>
              <a:gd name="T69" fmla="*/ 2147483647 h 186"/>
              <a:gd name="T70" fmla="*/ 2147483647 w 244"/>
              <a:gd name="T71" fmla="*/ 2147483647 h 186"/>
              <a:gd name="T72" fmla="*/ 2147483647 w 244"/>
              <a:gd name="T73" fmla="*/ 2147483647 h 186"/>
              <a:gd name="T74" fmla="*/ 2147483647 w 244"/>
              <a:gd name="T75" fmla="*/ 2147483647 h 186"/>
              <a:gd name="T76" fmla="*/ 2147483647 w 244"/>
              <a:gd name="T77" fmla="*/ 2147483647 h 186"/>
              <a:gd name="T78" fmla="*/ 2147483647 w 244"/>
              <a:gd name="T79" fmla="*/ 2147483647 h 186"/>
              <a:gd name="T80" fmla="*/ 2147483647 w 244"/>
              <a:gd name="T81" fmla="*/ 2147483647 h 186"/>
              <a:gd name="T82" fmla="*/ 2147483647 w 244"/>
              <a:gd name="T83" fmla="*/ 2147483647 h 186"/>
              <a:gd name="T84" fmla="*/ 2147483647 w 244"/>
              <a:gd name="T85" fmla="*/ 2147483647 h 186"/>
              <a:gd name="T86" fmla="*/ 2147483647 w 244"/>
              <a:gd name="T87" fmla="*/ 2147483647 h 186"/>
              <a:gd name="T88" fmla="*/ 2147483647 w 244"/>
              <a:gd name="T89" fmla="*/ 2147483647 h 186"/>
              <a:gd name="T90" fmla="*/ 2147483647 w 244"/>
              <a:gd name="T91" fmla="*/ 2147483647 h 18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244"/>
              <a:gd name="T139" fmla="*/ 0 h 186"/>
              <a:gd name="T140" fmla="*/ 244 w 244"/>
              <a:gd name="T141" fmla="*/ 186 h 18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244" h="186">
                <a:moveTo>
                  <a:pt x="49" y="46"/>
                </a:moveTo>
                <a:lnTo>
                  <a:pt x="23" y="45"/>
                </a:lnTo>
                <a:lnTo>
                  <a:pt x="17" y="42"/>
                </a:lnTo>
                <a:lnTo>
                  <a:pt x="5" y="44"/>
                </a:lnTo>
                <a:lnTo>
                  <a:pt x="5" y="36"/>
                </a:lnTo>
                <a:lnTo>
                  <a:pt x="2" y="30"/>
                </a:lnTo>
                <a:lnTo>
                  <a:pt x="2" y="28"/>
                </a:lnTo>
                <a:lnTo>
                  <a:pt x="0" y="23"/>
                </a:lnTo>
                <a:lnTo>
                  <a:pt x="0" y="12"/>
                </a:lnTo>
                <a:lnTo>
                  <a:pt x="30" y="0"/>
                </a:lnTo>
                <a:lnTo>
                  <a:pt x="55" y="4"/>
                </a:lnTo>
                <a:lnTo>
                  <a:pt x="78" y="5"/>
                </a:lnTo>
                <a:lnTo>
                  <a:pt x="100" y="5"/>
                </a:lnTo>
                <a:lnTo>
                  <a:pt x="122" y="6"/>
                </a:lnTo>
                <a:lnTo>
                  <a:pt x="145" y="8"/>
                </a:lnTo>
                <a:lnTo>
                  <a:pt x="155" y="16"/>
                </a:lnTo>
                <a:lnTo>
                  <a:pt x="210" y="28"/>
                </a:lnTo>
                <a:lnTo>
                  <a:pt x="210" y="30"/>
                </a:lnTo>
                <a:lnTo>
                  <a:pt x="215" y="30"/>
                </a:lnTo>
                <a:lnTo>
                  <a:pt x="244" y="32"/>
                </a:lnTo>
                <a:lnTo>
                  <a:pt x="240" y="48"/>
                </a:lnTo>
                <a:lnTo>
                  <a:pt x="218" y="60"/>
                </a:lnTo>
                <a:lnTo>
                  <a:pt x="196" y="72"/>
                </a:lnTo>
                <a:lnTo>
                  <a:pt x="185" y="89"/>
                </a:lnTo>
                <a:lnTo>
                  <a:pt x="173" y="107"/>
                </a:lnTo>
                <a:lnTo>
                  <a:pt x="181" y="125"/>
                </a:lnTo>
                <a:lnTo>
                  <a:pt x="164" y="146"/>
                </a:lnTo>
                <a:lnTo>
                  <a:pt x="160" y="152"/>
                </a:lnTo>
                <a:lnTo>
                  <a:pt x="143" y="161"/>
                </a:lnTo>
                <a:lnTo>
                  <a:pt x="133" y="171"/>
                </a:lnTo>
                <a:lnTo>
                  <a:pt x="109" y="173"/>
                </a:lnTo>
                <a:lnTo>
                  <a:pt x="85" y="177"/>
                </a:lnTo>
                <a:lnTo>
                  <a:pt x="70" y="186"/>
                </a:lnTo>
                <a:lnTo>
                  <a:pt x="55" y="186"/>
                </a:lnTo>
                <a:lnTo>
                  <a:pt x="50" y="168"/>
                </a:lnTo>
                <a:lnTo>
                  <a:pt x="35" y="161"/>
                </a:lnTo>
                <a:lnTo>
                  <a:pt x="28" y="161"/>
                </a:lnTo>
                <a:lnTo>
                  <a:pt x="28" y="154"/>
                </a:lnTo>
                <a:lnTo>
                  <a:pt x="35" y="140"/>
                </a:lnTo>
                <a:lnTo>
                  <a:pt x="34" y="134"/>
                </a:lnTo>
                <a:lnTo>
                  <a:pt x="36" y="120"/>
                </a:lnTo>
                <a:lnTo>
                  <a:pt x="28" y="101"/>
                </a:lnTo>
                <a:lnTo>
                  <a:pt x="35" y="100"/>
                </a:lnTo>
                <a:lnTo>
                  <a:pt x="43" y="70"/>
                </a:lnTo>
                <a:lnTo>
                  <a:pt x="53" y="57"/>
                </a:lnTo>
                <a:lnTo>
                  <a:pt x="49" y="46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47" name="Freeform 254"/>
          <p:cNvSpPr>
            <a:spLocks/>
          </p:cNvSpPr>
          <p:nvPr/>
        </p:nvSpPr>
        <p:spPr bwMode="auto">
          <a:xfrm>
            <a:off x="4483100" y="3386138"/>
            <a:ext cx="26988" cy="15875"/>
          </a:xfrm>
          <a:custGeom>
            <a:avLst/>
            <a:gdLst>
              <a:gd name="T0" fmla="*/ 2147483647 w 21"/>
              <a:gd name="T1" fmla="*/ 2147483647 h 12"/>
              <a:gd name="T2" fmla="*/ 2147483647 w 21"/>
              <a:gd name="T3" fmla="*/ 2147483647 h 12"/>
              <a:gd name="T4" fmla="*/ 0 w 21"/>
              <a:gd name="T5" fmla="*/ 2147483647 h 12"/>
              <a:gd name="T6" fmla="*/ 2147483647 w 21"/>
              <a:gd name="T7" fmla="*/ 0 h 12"/>
              <a:gd name="T8" fmla="*/ 2147483647 w 21"/>
              <a:gd name="T9" fmla="*/ 2147483647 h 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1"/>
              <a:gd name="T16" fmla="*/ 0 h 12"/>
              <a:gd name="T17" fmla="*/ 21 w 21"/>
              <a:gd name="T18" fmla="*/ 12 h 1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1" h="12">
                <a:moveTo>
                  <a:pt x="21" y="4"/>
                </a:moveTo>
                <a:lnTo>
                  <a:pt x="10" y="12"/>
                </a:lnTo>
                <a:lnTo>
                  <a:pt x="0" y="5"/>
                </a:lnTo>
                <a:lnTo>
                  <a:pt x="14" y="0"/>
                </a:lnTo>
                <a:lnTo>
                  <a:pt x="21" y="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48" name="Freeform 255"/>
          <p:cNvSpPr>
            <a:spLocks/>
          </p:cNvSpPr>
          <p:nvPr/>
        </p:nvSpPr>
        <p:spPr bwMode="auto">
          <a:xfrm>
            <a:off x="1389063" y="3068638"/>
            <a:ext cx="1587500" cy="814387"/>
          </a:xfrm>
          <a:custGeom>
            <a:avLst/>
            <a:gdLst>
              <a:gd name="T0" fmla="*/ 2147483647 w 1194"/>
              <a:gd name="T1" fmla="*/ 2147483647 h 594"/>
              <a:gd name="T2" fmla="*/ 2147483647 w 1194"/>
              <a:gd name="T3" fmla="*/ 2147483647 h 594"/>
              <a:gd name="T4" fmla="*/ 2147483647 w 1194"/>
              <a:gd name="T5" fmla="*/ 2147483647 h 594"/>
              <a:gd name="T6" fmla="*/ 2147483647 w 1194"/>
              <a:gd name="T7" fmla="*/ 2147483647 h 594"/>
              <a:gd name="T8" fmla="*/ 2147483647 w 1194"/>
              <a:gd name="T9" fmla="*/ 2147483647 h 594"/>
              <a:gd name="T10" fmla="*/ 2147483647 w 1194"/>
              <a:gd name="T11" fmla="*/ 2147483647 h 594"/>
              <a:gd name="T12" fmla="*/ 2147483647 w 1194"/>
              <a:gd name="T13" fmla="*/ 2147483647 h 594"/>
              <a:gd name="T14" fmla="*/ 2147483647 w 1194"/>
              <a:gd name="T15" fmla="*/ 2147483647 h 594"/>
              <a:gd name="T16" fmla="*/ 2147483647 w 1194"/>
              <a:gd name="T17" fmla="*/ 2147483647 h 594"/>
              <a:gd name="T18" fmla="*/ 2147483647 w 1194"/>
              <a:gd name="T19" fmla="*/ 2147483647 h 594"/>
              <a:gd name="T20" fmla="*/ 2147483647 w 1194"/>
              <a:gd name="T21" fmla="*/ 2147483647 h 594"/>
              <a:gd name="T22" fmla="*/ 2147483647 w 1194"/>
              <a:gd name="T23" fmla="*/ 2147483647 h 594"/>
              <a:gd name="T24" fmla="*/ 2147483647 w 1194"/>
              <a:gd name="T25" fmla="*/ 2147483647 h 594"/>
              <a:gd name="T26" fmla="*/ 2147483647 w 1194"/>
              <a:gd name="T27" fmla="*/ 2147483647 h 594"/>
              <a:gd name="T28" fmla="*/ 2147483647 w 1194"/>
              <a:gd name="T29" fmla="*/ 2147483647 h 594"/>
              <a:gd name="T30" fmla="*/ 2147483647 w 1194"/>
              <a:gd name="T31" fmla="*/ 2147483647 h 594"/>
              <a:gd name="T32" fmla="*/ 0 w 1194"/>
              <a:gd name="T33" fmla="*/ 2147483647 h 594"/>
              <a:gd name="T34" fmla="*/ 2147483647 w 1194"/>
              <a:gd name="T35" fmla="*/ 2147483647 h 594"/>
              <a:gd name="T36" fmla="*/ 2147483647 w 1194"/>
              <a:gd name="T37" fmla="*/ 2147483647 h 594"/>
              <a:gd name="T38" fmla="*/ 2147483647 w 1194"/>
              <a:gd name="T39" fmla="*/ 2147483647 h 594"/>
              <a:gd name="T40" fmla="*/ 2147483647 w 1194"/>
              <a:gd name="T41" fmla="*/ 2147483647 h 594"/>
              <a:gd name="T42" fmla="*/ 2147483647 w 1194"/>
              <a:gd name="T43" fmla="*/ 2147483647 h 594"/>
              <a:gd name="T44" fmla="*/ 2147483647 w 1194"/>
              <a:gd name="T45" fmla="*/ 2147483647 h 594"/>
              <a:gd name="T46" fmla="*/ 2147483647 w 1194"/>
              <a:gd name="T47" fmla="*/ 2147483647 h 594"/>
              <a:gd name="T48" fmla="*/ 2147483647 w 1194"/>
              <a:gd name="T49" fmla="*/ 2147483647 h 594"/>
              <a:gd name="T50" fmla="*/ 2147483647 w 1194"/>
              <a:gd name="T51" fmla="*/ 2147483647 h 594"/>
              <a:gd name="T52" fmla="*/ 2147483647 w 1194"/>
              <a:gd name="T53" fmla="*/ 2147483647 h 594"/>
              <a:gd name="T54" fmla="*/ 2147483647 w 1194"/>
              <a:gd name="T55" fmla="*/ 2147483647 h 594"/>
              <a:gd name="T56" fmla="*/ 2147483647 w 1194"/>
              <a:gd name="T57" fmla="*/ 2147483647 h 594"/>
              <a:gd name="T58" fmla="*/ 2147483647 w 1194"/>
              <a:gd name="T59" fmla="*/ 2147483647 h 594"/>
              <a:gd name="T60" fmla="*/ 2147483647 w 1194"/>
              <a:gd name="T61" fmla="*/ 2147483647 h 594"/>
              <a:gd name="T62" fmla="*/ 2147483647 w 1194"/>
              <a:gd name="T63" fmla="*/ 2147483647 h 594"/>
              <a:gd name="T64" fmla="*/ 2147483647 w 1194"/>
              <a:gd name="T65" fmla="*/ 2147483647 h 594"/>
              <a:gd name="T66" fmla="*/ 2147483647 w 1194"/>
              <a:gd name="T67" fmla="*/ 2147483647 h 594"/>
              <a:gd name="T68" fmla="*/ 2147483647 w 1194"/>
              <a:gd name="T69" fmla="*/ 2147483647 h 594"/>
              <a:gd name="T70" fmla="*/ 2147483647 w 1194"/>
              <a:gd name="T71" fmla="*/ 2147483647 h 594"/>
              <a:gd name="T72" fmla="*/ 2147483647 w 1194"/>
              <a:gd name="T73" fmla="*/ 2147483647 h 594"/>
              <a:gd name="T74" fmla="*/ 2147483647 w 1194"/>
              <a:gd name="T75" fmla="*/ 2147483647 h 594"/>
              <a:gd name="T76" fmla="*/ 2147483647 w 1194"/>
              <a:gd name="T77" fmla="*/ 2147483647 h 594"/>
              <a:gd name="T78" fmla="*/ 2147483647 w 1194"/>
              <a:gd name="T79" fmla="*/ 2147483647 h 594"/>
              <a:gd name="T80" fmla="*/ 2147483647 w 1194"/>
              <a:gd name="T81" fmla="*/ 2147483647 h 594"/>
              <a:gd name="T82" fmla="*/ 2147483647 w 1194"/>
              <a:gd name="T83" fmla="*/ 2147483647 h 594"/>
              <a:gd name="T84" fmla="*/ 2147483647 w 1194"/>
              <a:gd name="T85" fmla="*/ 2147483647 h 594"/>
              <a:gd name="T86" fmla="*/ 2147483647 w 1194"/>
              <a:gd name="T87" fmla="*/ 2147483647 h 594"/>
              <a:gd name="T88" fmla="*/ 2147483647 w 1194"/>
              <a:gd name="T89" fmla="*/ 2147483647 h 594"/>
              <a:gd name="T90" fmla="*/ 2147483647 w 1194"/>
              <a:gd name="T91" fmla="*/ 2147483647 h 594"/>
              <a:gd name="T92" fmla="*/ 2147483647 w 1194"/>
              <a:gd name="T93" fmla="*/ 2147483647 h 594"/>
              <a:gd name="T94" fmla="*/ 2147483647 w 1194"/>
              <a:gd name="T95" fmla="*/ 2147483647 h 594"/>
              <a:gd name="T96" fmla="*/ 2147483647 w 1194"/>
              <a:gd name="T97" fmla="*/ 2147483647 h 594"/>
              <a:gd name="T98" fmla="*/ 2147483647 w 1194"/>
              <a:gd name="T99" fmla="*/ 2147483647 h 594"/>
              <a:gd name="T100" fmla="*/ 2147483647 w 1194"/>
              <a:gd name="T101" fmla="*/ 2147483647 h 594"/>
              <a:gd name="T102" fmla="*/ 2147483647 w 1194"/>
              <a:gd name="T103" fmla="*/ 2147483647 h 594"/>
              <a:gd name="T104" fmla="*/ 2147483647 w 1194"/>
              <a:gd name="T105" fmla="*/ 2147483647 h 594"/>
              <a:gd name="T106" fmla="*/ 2147483647 w 1194"/>
              <a:gd name="T107" fmla="*/ 2147483647 h 594"/>
              <a:gd name="T108" fmla="*/ 2147483647 w 1194"/>
              <a:gd name="T109" fmla="*/ 2147483647 h 594"/>
              <a:gd name="T110" fmla="*/ 2147483647 w 1194"/>
              <a:gd name="T111" fmla="*/ 2147483647 h 59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194"/>
              <a:gd name="T169" fmla="*/ 0 h 594"/>
              <a:gd name="T170" fmla="*/ 1194 w 1194"/>
              <a:gd name="T171" fmla="*/ 594 h 594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194" h="594">
                <a:moveTo>
                  <a:pt x="1192" y="109"/>
                </a:moveTo>
                <a:lnTo>
                  <a:pt x="1191" y="100"/>
                </a:lnTo>
                <a:lnTo>
                  <a:pt x="1185" y="85"/>
                </a:lnTo>
                <a:lnTo>
                  <a:pt x="1194" y="55"/>
                </a:lnTo>
                <a:lnTo>
                  <a:pt x="1181" y="50"/>
                </a:lnTo>
                <a:lnTo>
                  <a:pt x="1172" y="50"/>
                </a:lnTo>
                <a:lnTo>
                  <a:pt x="1170" y="45"/>
                </a:lnTo>
                <a:lnTo>
                  <a:pt x="1154" y="63"/>
                </a:lnTo>
                <a:lnTo>
                  <a:pt x="1137" y="81"/>
                </a:lnTo>
                <a:lnTo>
                  <a:pt x="1118" y="97"/>
                </a:lnTo>
                <a:lnTo>
                  <a:pt x="1104" y="104"/>
                </a:lnTo>
                <a:lnTo>
                  <a:pt x="1066" y="106"/>
                </a:lnTo>
                <a:lnTo>
                  <a:pt x="1028" y="109"/>
                </a:lnTo>
                <a:lnTo>
                  <a:pt x="1008" y="123"/>
                </a:lnTo>
                <a:lnTo>
                  <a:pt x="988" y="139"/>
                </a:lnTo>
                <a:lnTo>
                  <a:pt x="964" y="140"/>
                </a:lnTo>
                <a:lnTo>
                  <a:pt x="940" y="142"/>
                </a:lnTo>
                <a:lnTo>
                  <a:pt x="938" y="158"/>
                </a:lnTo>
                <a:lnTo>
                  <a:pt x="917" y="165"/>
                </a:lnTo>
                <a:lnTo>
                  <a:pt x="896" y="172"/>
                </a:lnTo>
                <a:lnTo>
                  <a:pt x="875" y="180"/>
                </a:lnTo>
                <a:lnTo>
                  <a:pt x="854" y="187"/>
                </a:lnTo>
                <a:lnTo>
                  <a:pt x="848" y="177"/>
                </a:lnTo>
                <a:lnTo>
                  <a:pt x="872" y="153"/>
                </a:lnTo>
                <a:lnTo>
                  <a:pt x="882" y="140"/>
                </a:lnTo>
                <a:lnTo>
                  <a:pt x="886" y="118"/>
                </a:lnTo>
                <a:lnTo>
                  <a:pt x="891" y="97"/>
                </a:lnTo>
                <a:lnTo>
                  <a:pt x="875" y="85"/>
                </a:lnTo>
                <a:lnTo>
                  <a:pt x="878" y="78"/>
                </a:lnTo>
                <a:lnTo>
                  <a:pt x="870" y="79"/>
                </a:lnTo>
                <a:lnTo>
                  <a:pt x="869" y="68"/>
                </a:lnTo>
                <a:lnTo>
                  <a:pt x="852" y="58"/>
                </a:lnTo>
                <a:lnTo>
                  <a:pt x="836" y="48"/>
                </a:lnTo>
                <a:lnTo>
                  <a:pt x="819" y="37"/>
                </a:lnTo>
                <a:lnTo>
                  <a:pt x="802" y="26"/>
                </a:lnTo>
                <a:lnTo>
                  <a:pt x="776" y="33"/>
                </a:lnTo>
                <a:lnTo>
                  <a:pt x="760" y="26"/>
                </a:lnTo>
                <a:lnTo>
                  <a:pt x="743" y="30"/>
                </a:lnTo>
                <a:lnTo>
                  <a:pt x="714" y="18"/>
                </a:lnTo>
                <a:lnTo>
                  <a:pt x="693" y="13"/>
                </a:lnTo>
                <a:lnTo>
                  <a:pt x="695" y="0"/>
                </a:lnTo>
                <a:lnTo>
                  <a:pt x="687" y="8"/>
                </a:lnTo>
                <a:lnTo>
                  <a:pt x="653" y="8"/>
                </a:lnTo>
                <a:lnTo>
                  <a:pt x="621" y="8"/>
                </a:lnTo>
                <a:lnTo>
                  <a:pt x="587" y="8"/>
                </a:lnTo>
                <a:lnTo>
                  <a:pt x="555" y="8"/>
                </a:lnTo>
                <a:lnTo>
                  <a:pt x="521" y="8"/>
                </a:lnTo>
                <a:lnTo>
                  <a:pt x="489" y="8"/>
                </a:lnTo>
                <a:lnTo>
                  <a:pt x="455" y="8"/>
                </a:lnTo>
                <a:lnTo>
                  <a:pt x="423" y="8"/>
                </a:lnTo>
                <a:lnTo>
                  <a:pt x="389" y="8"/>
                </a:lnTo>
                <a:lnTo>
                  <a:pt x="357" y="8"/>
                </a:lnTo>
                <a:lnTo>
                  <a:pt x="323" y="8"/>
                </a:lnTo>
                <a:lnTo>
                  <a:pt x="289" y="8"/>
                </a:lnTo>
                <a:lnTo>
                  <a:pt x="257" y="8"/>
                </a:lnTo>
                <a:lnTo>
                  <a:pt x="223" y="8"/>
                </a:lnTo>
                <a:lnTo>
                  <a:pt x="191" y="8"/>
                </a:lnTo>
                <a:lnTo>
                  <a:pt x="157" y="8"/>
                </a:lnTo>
                <a:lnTo>
                  <a:pt x="150" y="28"/>
                </a:lnTo>
                <a:lnTo>
                  <a:pt x="142" y="48"/>
                </a:lnTo>
                <a:lnTo>
                  <a:pt x="125" y="55"/>
                </a:lnTo>
                <a:lnTo>
                  <a:pt x="129" y="49"/>
                </a:lnTo>
                <a:lnTo>
                  <a:pt x="130" y="52"/>
                </a:lnTo>
                <a:lnTo>
                  <a:pt x="145" y="34"/>
                </a:lnTo>
                <a:lnTo>
                  <a:pt x="129" y="48"/>
                </a:lnTo>
                <a:lnTo>
                  <a:pt x="126" y="48"/>
                </a:lnTo>
                <a:lnTo>
                  <a:pt x="137" y="38"/>
                </a:lnTo>
                <a:lnTo>
                  <a:pt x="144" y="30"/>
                </a:lnTo>
                <a:lnTo>
                  <a:pt x="113" y="22"/>
                </a:lnTo>
                <a:lnTo>
                  <a:pt x="103" y="55"/>
                </a:lnTo>
                <a:lnTo>
                  <a:pt x="101" y="60"/>
                </a:lnTo>
                <a:lnTo>
                  <a:pt x="100" y="63"/>
                </a:lnTo>
                <a:lnTo>
                  <a:pt x="99" y="68"/>
                </a:lnTo>
                <a:lnTo>
                  <a:pt x="97" y="64"/>
                </a:lnTo>
                <a:lnTo>
                  <a:pt x="91" y="74"/>
                </a:lnTo>
                <a:lnTo>
                  <a:pt x="105" y="76"/>
                </a:lnTo>
                <a:lnTo>
                  <a:pt x="94" y="76"/>
                </a:lnTo>
                <a:lnTo>
                  <a:pt x="84" y="88"/>
                </a:lnTo>
                <a:lnTo>
                  <a:pt x="60" y="121"/>
                </a:lnTo>
                <a:lnTo>
                  <a:pt x="36" y="153"/>
                </a:lnTo>
                <a:lnTo>
                  <a:pt x="29" y="174"/>
                </a:lnTo>
                <a:lnTo>
                  <a:pt x="22" y="193"/>
                </a:lnTo>
                <a:lnTo>
                  <a:pt x="1" y="217"/>
                </a:lnTo>
                <a:lnTo>
                  <a:pt x="4" y="225"/>
                </a:lnTo>
                <a:lnTo>
                  <a:pt x="0" y="243"/>
                </a:lnTo>
                <a:lnTo>
                  <a:pt x="3" y="259"/>
                </a:lnTo>
                <a:lnTo>
                  <a:pt x="6" y="276"/>
                </a:lnTo>
                <a:lnTo>
                  <a:pt x="4" y="271"/>
                </a:lnTo>
                <a:lnTo>
                  <a:pt x="3" y="276"/>
                </a:lnTo>
                <a:lnTo>
                  <a:pt x="12" y="277"/>
                </a:lnTo>
                <a:lnTo>
                  <a:pt x="17" y="277"/>
                </a:lnTo>
                <a:lnTo>
                  <a:pt x="15" y="289"/>
                </a:lnTo>
                <a:lnTo>
                  <a:pt x="10" y="285"/>
                </a:lnTo>
                <a:lnTo>
                  <a:pt x="6" y="289"/>
                </a:lnTo>
                <a:lnTo>
                  <a:pt x="12" y="303"/>
                </a:lnTo>
                <a:lnTo>
                  <a:pt x="6" y="312"/>
                </a:lnTo>
                <a:lnTo>
                  <a:pt x="11" y="326"/>
                </a:lnTo>
                <a:lnTo>
                  <a:pt x="16" y="340"/>
                </a:lnTo>
                <a:lnTo>
                  <a:pt x="12" y="362"/>
                </a:lnTo>
                <a:lnTo>
                  <a:pt x="24" y="364"/>
                </a:lnTo>
                <a:lnTo>
                  <a:pt x="45" y="375"/>
                </a:lnTo>
                <a:lnTo>
                  <a:pt x="66" y="392"/>
                </a:lnTo>
                <a:lnTo>
                  <a:pt x="66" y="412"/>
                </a:lnTo>
                <a:lnTo>
                  <a:pt x="91" y="411"/>
                </a:lnTo>
                <a:lnTo>
                  <a:pt x="117" y="410"/>
                </a:lnTo>
                <a:lnTo>
                  <a:pt x="133" y="418"/>
                </a:lnTo>
                <a:lnTo>
                  <a:pt x="150" y="426"/>
                </a:lnTo>
                <a:lnTo>
                  <a:pt x="166" y="434"/>
                </a:lnTo>
                <a:lnTo>
                  <a:pt x="183" y="442"/>
                </a:lnTo>
                <a:lnTo>
                  <a:pt x="213" y="442"/>
                </a:lnTo>
                <a:lnTo>
                  <a:pt x="243" y="442"/>
                </a:lnTo>
                <a:lnTo>
                  <a:pt x="246" y="432"/>
                </a:lnTo>
                <a:lnTo>
                  <a:pt x="281" y="432"/>
                </a:lnTo>
                <a:lnTo>
                  <a:pt x="299" y="456"/>
                </a:lnTo>
                <a:lnTo>
                  <a:pt x="306" y="480"/>
                </a:lnTo>
                <a:lnTo>
                  <a:pt x="319" y="490"/>
                </a:lnTo>
                <a:lnTo>
                  <a:pt x="331" y="501"/>
                </a:lnTo>
                <a:lnTo>
                  <a:pt x="347" y="482"/>
                </a:lnTo>
                <a:lnTo>
                  <a:pt x="376" y="484"/>
                </a:lnTo>
                <a:lnTo>
                  <a:pt x="385" y="507"/>
                </a:lnTo>
                <a:lnTo>
                  <a:pt x="395" y="530"/>
                </a:lnTo>
                <a:lnTo>
                  <a:pt x="402" y="559"/>
                </a:lnTo>
                <a:lnTo>
                  <a:pt x="417" y="571"/>
                </a:lnTo>
                <a:lnTo>
                  <a:pt x="442" y="576"/>
                </a:lnTo>
                <a:lnTo>
                  <a:pt x="441" y="547"/>
                </a:lnTo>
                <a:lnTo>
                  <a:pt x="438" y="543"/>
                </a:lnTo>
                <a:lnTo>
                  <a:pt x="437" y="538"/>
                </a:lnTo>
                <a:lnTo>
                  <a:pt x="444" y="542"/>
                </a:lnTo>
                <a:lnTo>
                  <a:pt x="448" y="529"/>
                </a:lnTo>
                <a:lnTo>
                  <a:pt x="453" y="525"/>
                </a:lnTo>
                <a:lnTo>
                  <a:pt x="465" y="517"/>
                </a:lnTo>
                <a:lnTo>
                  <a:pt x="471" y="512"/>
                </a:lnTo>
                <a:lnTo>
                  <a:pt x="471" y="508"/>
                </a:lnTo>
                <a:lnTo>
                  <a:pt x="482" y="510"/>
                </a:lnTo>
                <a:lnTo>
                  <a:pt x="476" y="513"/>
                </a:lnTo>
                <a:lnTo>
                  <a:pt x="488" y="507"/>
                </a:lnTo>
                <a:lnTo>
                  <a:pt x="483" y="507"/>
                </a:lnTo>
                <a:lnTo>
                  <a:pt x="508" y="490"/>
                </a:lnTo>
                <a:lnTo>
                  <a:pt x="510" y="483"/>
                </a:lnTo>
                <a:lnTo>
                  <a:pt x="516" y="487"/>
                </a:lnTo>
                <a:lnTo>
                  <a:pt x="514" y="489"/>
                </a:lnTo>
                <a:lnTo>
                  <a:pt x="531" y="480"/>
                </a:lnTo>
                <a:lnTo>
                  <a:pt x="534" y="480"/>
                </a:lnTo>
                <a:lnTo>
                  <a:pt x="551" y="482"/>
                </a:lnTo>
                <a:lnTo>
                  <a:pt x="568" y="483"/>
                </a:lnTo>
                <a:lnTo>
                  <a:pt x="580" y="482"/>
                </a:lnTo>
                <a:lnTo>
                  <a:pt x="586" y="490"/>
                </a:lnTo>
                <a:lnTo>
                  <a:pt x="598" y="494"/>
                </a:lnTo>
                <a:lnTo>
                  <a:pt x="610" y="495"/>
                </a:lnTo>
                <a:lnTo>
                  <a:pt x="609" y="486"/>
                </a:lnTo>
                <a:lnTo>
                  <a:pt x="626" y="496"/>
                </a:lnTo>
                <a:lnTo>
                  <a:pt x="622" y="502"/>
                </a:lnTo>
                <a:lnTo>
                  <a:pt x="629" y="494"/>
                </a:lnTo>
                <a:lnTo>
                  <a:pt x="620" y="483"/>
                </a:lnTo>
                <a:lnTo>
                  <a:pt x="627" y="478"/>
                </a:lnTo>
                <a:lnTo>
                  <a:pt x="624" y="476"/>
                </a:lnTo>
                <a:lnTo>
                  <a:pt x="622" y="474"/>
                </a:lnTo>
                <a:lnTo>
                  <a:pt x="608" y="470"/>
                </a:lnTo>
                <a:lnTo>
                  <a:pt x="622" y="470"/>
                </a:lnTo>
                <a:lnTo>
                  <a:pt x="657" y="468"/>
                </a:lnTo>
                <a:lnTo>
                  <a:pt x="662" y="457"/>
                </a:lnTo>
                <a:lnTo>
                  <a:pt x="660" y="469"/>
                </a:lnTo>
                <a:lnTo>
                  <a:pt x="671" y="468"/>
                </a:lnTo>
                <a:lnTo>
                  <a:pt x="681" y="463"/>
                </a:lnTo>
                <a:lnTo>
                  <a:pt x="676" y="466"/>
                </a:lnTo>
                <a:lnTo>
                  <a:pt x="696" y="465"/>
                </a:lnTo>
                <a:lnTo>
                  <a:pt x="690" y="465"/>
                </a:lnTo>
                <a:lnTo>
                  <a:pt x="704" y="469"/>
                </a:lnTo>
                <a:lnTo>
                  <a:pt x="707" y="469"/>
                </a:lnTo>
                <a:lnTo>
                  <a:pt x="711" y="475"/>
                </a:lnTo>
                <a:lnTo>
                  <a:pt x="707" y="472"/>
                </a:lnTo>
                <a:lnTo>
                  <a:pt x="711" y="483"/>
                </a:lnTo>
                <a:lnTo>
                  <a:pt x="742" y="472"/>
                </a:lnTo>
                <a:lnTo>
                  <a:pt x="753" y="489"/>
                </a:lnTo>
                <a:lnTo>
                  <a:pt x="764" y="505"/>
                </a:lnTo>
                <a:lnTo>
                  <a:pt x="758" y="534"/>
                </a:lnTo>
                <a:lnTo>
                  <a:pt x="756" y="529"/>
                </a:lnTo>
                <a:lnTo>
                  <a:pt x="759" y="532"/>
                </a:lnTo>
                <a:lnTo>
                  <a:pt x="762" y="526"/>
                </a:lnTo>
                <a:lnTo>
                  <a:pt x="759" y="542"/>
                </a:lnTo>
                <a:lnTo>
                  <a:pt x="765" y="552"/>
                </a:lnTo>
                <a:lnTo>
                  <a:pt x="767" y="553"/>
                </a:lnTo>
                <a:lnTo>
                  <a:pt x="768" y="561"/>
                </a:lnTo>
                <a:lnTo>
                  <a:pt x="772" y="556"/>
                </a:lnTo>
                <a:lnTo>
                  <a:pt x="770" y="562"/>
                </a:lnTo>
                <a:lnTo>
                  <a:pt x="773" y="577"/>
                </a:lnTo>
                <a:lnTo>
                  <a:pt x="783" y="594"/>
                </a:lnTo>
                <a:lnTo>
                  <a:pt x="796" y="591"/>
                </a:lnTo>
                <a:lnTo>
                  <a:pt x="803" y="571"/>
                </a:lnTo>
                <a:lnTo>
                  <a:pt x="810" y="552"/>
                </a:lnTo>
                <a:lnTo>
                  <a:pt x="807" y="530"/>
                </a:lnTo>
                <a:lnTo>
                  <a:pt x="803" y="508"/>
                </a:lnTo>
                <a:lnTo>
                  <a:pt x="806" y="529"/>
                </a:lnTo>
                <a:lnTo>
                  <a:pt x="804" y="508"/>
                </a:lnTo>
                <a:lnTo>
                  <a:pt x="802" y="488"/>
                </a:lnTo>
                <a:lnTo>
                  <a:pt x="801" y="469"/>
                </a:lnTo>
                <a:lnTo>
                  <a:pt x="800" y="448"/>
                </a:lnTo>
                <a:lnTo>
                  <a:pt x="807" y="444"/>
                </a:lnTo>
                <a:lnTo>
                  <a:pt x="807" y="441"/>
                </a:lnTo>
                <a:lnTo>
                  <a:pt x="816" y="429"/>
                </a:lnTo>
                <a:lnTo>
                  <a:pt x="822" y="418"/>
                </a:lnTo>
                <a:lnTo>
                  <a:pt x="824" y="416"/>
                </a:lnTo>
                <a:lnTo>
                  <a:pt x="831" y="414"/>
                </a:lnTo>
                <a:lnTo>
                  <a:pt x="860" y="394"/>
                </a:lnTo>
                <a:lnTo>
                  <a:pt x="862" y="393"/>
                </a:lnTo>
                <a:lnTo>
                  <a:pt x="884" y="379"/>
                </a:lnTo>
                <a:lnTo>
                  <a:pt x="892" y="375"/>
                </a:lnTo>
                <a:lnTo>
                  <a:pt x="908" y="362"/>
                </a:lnTo>
                <a:lnTo>
                  <a:pt x="933" y="352"/>
                </a:lnTo>
                <a:lnTo>
                  <a:pt x="917" y="348"/>
                </a:lnTo>
                <a:lnTo>
                  <a:pt x="927" y="349"/>
                </a:lnTo>
                <a:lnTo>
                  <a:pt x="930" y="344"/>
                </a:lnTo>
                <a:lnTo>
                  <a:pt x="921" y="338"/>
                </a:lnTo>
                <a:lnTo>
                  <a:pt x="942" y="339"/>
                </a:lnTo>
                <a:lnTo>
                  <a:pt x="948" y="328"/>
                </a:lnTo>
                <a:lnTo>
                  <a:pt x="942" y="332"/>
                </a:lnTo>
                <a:lnTo>
                  <a:pt x="938" y="327"/>
                </a:lnTo>
                <a:lnTo>
                  <a:pt x="930" y="324"/>
                </a:lnTo>
                <a:lnTo>
                  <a:pt x="932" y="322"/>
                </a:lnTo>
                <a:lnTo>
                  <a:pt x="940" y="324"/>
                </a:lnTo>
                <a:lnTo>
                  <a:pt x="946" y="322"/>
                </a:lnTo>
                <a:lnTo>
                  <a:pt x="951" y="325"/>
                </a:lnTo>
                <a:lnTo>
                  <a:pt x="952" y="309"/>
                </a:lnTo>
                <a:lnTo>
                  <a:pt x="954" y="332"/>
                </a:lnTo>
                <a:lnTo>
                  <a:pt x="947" y="303"/>
                </a:lnTo>
                <a:lnTo>
                  <a:pt x="940" y="301"/>
                </a:lnTo>
                <a:lnTo>
                  <a:pt x="933" y="294"/>
                </a:lnTo>
                <a:lnTo>
                  <a:pt x="946" y="300"/>
                </a:lnTo>
                <a:lnTo>
                  <a:pt x="941" y="289"/>
                </a:lnTo>
                <a:lnTo>
                  <a:pt x="950" y="294"/>
                </a:lnTo>
                <a:lnTo>
                  <a:pt x="939" y="274"/>
                </a:lnTo>
                <a:lnTo>
                  <a:pt x="952" y="283"/>
                </a:lnTo>
                <a:lnTo>
                  <a:pt x="941" y="267"/>
                </a:lnTo>
                <a:lnTo>
                  <a:pt x="936" y="267"/>
                </a:lnTo>
                <a:lnTo>
                  <a:pt x="945" y="258"/>
                </a:lnTo>
                <a:lnTo>
                  <a:pt x="941" y="266"/>
                </a:lnTo>
                <a:lnTo>
                  <a:pt x="954" y="273"/>
                </a:lnTo>
                <a:lnTo>
                  <a:pt x="951" y="260"/>
                </a:lnTo>
                <a:lnTo>
                  <a:pt x="954" y="268"/>
                </a:lnTo>
                <a:lnTo>
                  <a:pt x="958" y="247"/>
                </a:lnTo>
                <a:lnTo>
                  <a:pt x="971" y="241"/>
                </a:lnTo>
                <a:lnTo>
                  <a:pt x="963" y="254"/>
                </a:lnTo>
                <a:lnTo>
                  <a:pt x="962" y="261"/>
                </a:lnTo>
                <a:lnTo>
                  <a:pt x="958" y="267"/>
                </a:lnTo>
                <a:lnTo>
                  <a:pt x="965" y="271"/>
                </a:lnTo>
                <a:lnTo>
                  <a:pt x="962" y="278"/>
                </a:lnTo>
                <a:lnTo>
                  <a:pt x="963" y="283"/>
                </a:lnTo>
                <a:lnTo>
                  <a:pt x="959" y="286"/>
                </a:lnTo>
                <a:lnTo>
                  <a:pt x="954" y="295"/>
                </a:lnTo>
                <a:lnTo>
                  <a:pt x="981" y="267"/>
                </a:lnTo>
                <a:lnTo>
                  <a:pt x="978" y="241"/>
                </a:lnTo>
                <a:lnTo>
                  <a:pt x="990" y="230"/>
                </a:lnTo>
                <a:lnTo>
                  <a:pt x="980" y="237"/>
                </a:lnTo>
                <a:lnTo>
                  <a:pt x="988" y="247"/>
                </a:lnTo>
                <a:lnTo>
                  <a:pt x="987" y="254"/>
                </a:lnTo>
                <a:lnTo>
                  <a:pt x="1012" y="230"/>
                </a:lnTo>
                <a:lnTo>
                  <a:pt x="1011" y="232"/>
                </a:lnTo>
                <a:lnTo>
                  <a:pt x="1016" y="217"/>
                </a:lnTo>
                <a:lnTo>
                  <a:pt x="1025" y="199"/>
                </a:lnTo>
                <a:lnTo>
                  <a:pt x="1023" y="206"/>
                </a:lnTo>
                <a:lnTo>
                  <a:pt x="1030" y="202"/>
                </a:lnTo>
                <a:lnTo>
                  <a:pt x="1053" y="198"/>
                </a:lnTo>
                <a:lnTo>
                  <a:pt x="1074" y="194"/>
                </a:lnTo>
                <a:lnTo>
                  <a:pt x="1079" y="187"/>
                </a:lnTo>
                <a:lnTo>
                  <a:pt x="1083" y="187"/>
                </a:lnTo>
                <a:lnTo>
                  <a:pt x="1084" y="188"/>
                </a:lnTo>
                <a:lnTo>
                  <a:pt x="1092" y="192"/>
                </a:lnTo>
                <a:lnTo>
                  <a:pt x="1096" y="193"/>
                </a:lnTo>
                <a:lnTo>
                  <a:pt x="1109" y="187"/>
                </a:lnTo>
                <a:lnTo>
                  <a:pt x="1109" y="177"/>
                </a:lnTo>
                <a:lnTo>
                  <a:pt x="1109" y="183"/>
                </a:lnTo>
                <a:lnTo>
                  <a:pt x="1097" y="178"/>
                </a:lnTo>
                <a:lnTo>
                  <a:pt x="1100" y="165"/>
                </a:lnTo>
                <a:lnTo>
                  <a:pt x="1101" y="160"/>
                </a:lnTo>
                <a:lnTo>
                  <a:pt x="1124" y="135"/>
                </a:lnTo>
                <a:lnTo>
                  <a:pt x="1131" y="132"/>
                </a:lnTo>
                <a:lnTo>
                  <a:pt x="1134" y="133"/>
                </a:lnTo>
                <a:lnTo>
                  <a:pt x="1152" y="117"/>
                </a:lnTo>
                <a:lnTo>
                  <a:pt x="1152" y="120"/>
                </a:lnTo>
                <a:lnTo>
                  <a:pt x="1157" y="118"/>
                </a:lnTo>
                <a:lnTo>
                  <a:pt x="1167" y="121"/>
                </a:lnTo>
                <a:lnTo>
                  <a:pt x="1192" y="109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49" name="Freeform 256"/>
          <p:cNvSpPr>
            <a:spLocks/>
          </p:cNvSpPr>
          <p:nvPr/>
        </p:nvSpPr>
        <p:spPr bwMode="auto">
          <a:xfrm>
            <a:off x="749300" y="2387600"/>
            <a:ext cx="1009650" cy="500063"/>
          </a:xfrm>
          <a:custGeom>
            <a:avLst/>
            <a:gdLst>
              <a:gd name="T0" fmla="*/ 2147483647 w 760"/>
              <a:gd name="T1" fmla="*/ 2147483647 h 365"/>
              <a:gd name="T2" fmla="*/ 2147483647 w 760"/>
              <a:gd name="T3" fmla="*/ 2147483647 h 365"/>
              <a:gd name="T4" fmla="*/ 2147483647 w 760"/>
              <a:gd name="T5" fmla="*/ 2147483647 h 365"/>
              <a:gd name="T6" fmla="*/ 2147483647 w 760"/>
              <a:gd name="T7" fmla="*/ 2147483647 h 365"/>
              <a:gd name="T8" fmla="*/ 2147483647 w 760"/>
              <a:gd name="T9" fmla="*/ 2147483647 h 365"/>
              <a:gd name="T10" fmla="*/ 2147483647 w 760"/>
              <a:gd name="T11" fmla="*/ 2147483647 h 365"/>
              <a:gd name="T12" fmla="*/ 2147483647 w 760"/>
              <a:gd name="T13" fmla="*/ 2147483647 h 365"/>
              <a:gd name="T14" fmla="*/ 2147483647 w 760"/>
              <a:gd name="T15" fmla="*/ 2147483647 h 365"/>
              <a:gd name="T16" fmla="*/ 2147483647 w 760"/>
              <a:gd name="T17" fmla="*/ 2147483647 h 365"/>
              <a:gd name="T18" fmla="*/ 2147483647 w 760"/>
              <a:gd name="T19" fmla="*/ 2147483647 h 365"/>
              <a:gd name="T20" fmla="*/ 2147483647 w 760"/>
              <a:gd name="T21" fmla="*/ 2147483647 h 365"/>
              <a:gd name="T22" fmla="*/ 2147483647 w 760"/>
              <a:gd name="T23" fmla="*/ 2147483647 h 365"/>
              <a:gd name="T24" fmla="*/ 2147483647 w 760"/>
              <a:gd name="T25" fmla="*/ 2147483647 h 365"/>
              <a:gd name="T26" fmla="*/ 2147483647 w 760"/>
              <a:gd name="T27" fmla="*/ 2147483647 h 365"/>
              <a:gd name="T28" fmla="*/ 2147483647 w 760"/>
              <a:gd name="T29" fmla="*/ 2147483647 h 365"/>
              <a:gd name="T30" fmla="*/ 2147483647 w 760"/>
              <a:gd name="T31" fmla="*/ 2147483647 h 365"/>
              <a:gd name="T32" fmla="*/ 2147483647 w 760"/>
              <a:gd name="T33" fmla="*/ 2147483647 h 365"/>
              <a:gd name="T34" fmla="*/ 2147483647 w 760"/>
              <a:gd name="T35" fmla="*/ 2147483647 h 365"/>
              <a:gd name="T36" fmla="*/ 2147483647 w 760"/>
              <a:gd name="T37" fmla="*/ 2147483647 h 365"/>
              <a:gd name="T38" fmla="*/ 2147483647 w 760"/>
              <a:gd name="T39" fmla="*/ 2147483647 h 365"/>
              <a:gd name="T40" fmla="*/ 2147483647 w 760"/>
              <a:gd name="T41" fmla="*/ 2147483647 h 365"/>
              <a:gd name="T42" fmla="*/ 2147483647 w 760"/>
              <a:gd name="T43" fmla="*/ 2147483647 h 365"/>
              <a:gd name="T44" fmla="*/ 2147483647 w 760"/>
              <a:gd name="T45" fmla="*/ 2147483647 h 365"/>
              <a:gd name="T46" fmla="*/ 2147483647 w 760"/>
              <a:gd name="T47" fmla="*/ 2147483647 h 365"/>
              <a:gd name="T48" fmla="*/ 2147483647 w 760"/>
              <a:gd name="T49" fmla="*/ 2147483647 h 365"/>
              <a:gd name="T50" fmla="*/ 2147483647 w 760"/>
              <a:gd name="T51" fmla="*/ 2147483647 h 365"/>
              <a:gd name="T52" fmla="*/ 2147483647 w 760"/>
              <a:gd name="T53" fmla="*/ 2147483647 h 365"/>
              <a:gd name="T54" fmla="*/ 2147483647 w 760"/>
              <a:gd name="T55" fmla="*/ 2147483647 h 365"/>
              <a:gd name="T56" fmla="*/ 2147483647 w 760"/>
              <a:gd name="T57" fmla="*/ 2147483647 h 365"/>
              <a:gd name="T58" fmla="*/ 2147483647 w 760"/>
              <a:gd name="T59" fmla="*/ 2147483647 h 365"/>
              <a:gd name="T60" fmla="*/ 2147483647 w 760"/>
              <a:gd name="T61" fmla="*/ 2147483647 h 365"/>
              <a:gd name="T62" fmla="*/ 2147483647 w 760"/>
              <a:gd name="T63" fmla="*/ 2147483647 h 365"/>
              <a:gd name="T64" fmla="*/ 2147483647 w 760"/>
              <a:gd name="T65" fmla="*/ 2147483647 h 365"/>
              <a:gd name="T66" fmla="*/ 2147483647 w 760"/>
              <a:gd name="T67" fmla="*/ 2147483647 h 365"/>
              <a:gd name="T68" fmla="*/ 2147483647 w 760"/>
              <a:gd name="T69" fmla="*/ 2147483647 h 365"/>
              <a:gd name="T70" fmla="*/ 2147483647 w 760"/>
              <a:gd name="T71" fmla="*/ 2147483647 h 365"/>
              <a:gd name="T72" fmla="*/ 2147483647 w 760"/>
              <a:gd name="T73" fmla="*/ 2147483647 h 365"/>
              <a:gd name="T74" fmla="*/ 2147483647 w 760"/>
              <a:gd name="T75" fmla="*/ 2147483647 h 365"/>
              <a:gd name="T76" fmla="*/ 2147483647 w 760"/>
              <a:gd name="T77" fmla="*/ 2147483647 h 365"/>
              <a:gd name="T78" fmla="*/ 2147483647 w 760"/>
              <a:gd name="T79" fmla="*/ 2147483647 h 365"/>
              <a:gd name="T80" fmla="*/ 2147483647 w 760"/>
              <a:gd name="T81" fmla="*/ 2147483647 h 365"/>
              <a:gd name="T82" fmla="*/ 2147483647 w 760"/>
              <a:gd name="T83" fmla="*/ 2147483647 h 365"/>
              <a:gd name="T84" fmla="*/ 2147483647 w 760"/>
              <a:gd name="T85" fmla="*/ 2147483647 h 365"/>
              <a:gd name="T86" fmla="*/ 2147483647 w 760"/>
              <a:gd name="T87" fmla="*/ 2147483647 h 365"/>
              <a:gd name="T88" fmla="*/ 2147483647 w 760"/>
              <a:gd name="T89" fmla="*/ 2147483647 h 365"/>
              <a:gd name="T90" fmla="*/ 2147483647 w 760"/>
              <a:gd name="T91" fmla="*/ 2147483647 h 365"/>
              <a:gd name="T92" fmla="*/ 2147483647 w 760"/>
              <a:gd name="T93" fmla="*/ 2147483647 h 365"/>
              <a:gd name="T94" fmla="*/ 2147483647 w 760"/>
              <a:gd name="T95" fmla="*/ 2147483647 h 365"/>
              <a:gd name="T96" fmla="*/ 2147483647 w 760"/>
              <a:gd name="T97" fmla="*/ 2147483647 h 365"/>
              <a:gd name="T98" fmla="*/ 2147483647 w 760"/>
              <a:gd name="T99" fmla="*/ 2147483647 h 365"/>
              <a:gd name="T100" fmla="*/ 2147483647 w 760"/>
              <a:gd name="T101" fmla="*/ 2147483647 h 365"/>
              <a:gd name="T102" fmla="*/ 2147483647 w 760"/>
              <a:gd name="T103" fmla="*/ 2147483647 h 365"/>
              <a:gd name="T104" fmla="*/ 2147483647 w 760"/>
              <a:gd name="T105" fmla="*/ 2147483647 h 365"/>
              <a:gd name="T106" fmla="*/ 2147483647 w 760"/>
              <a:gd name="T107" fmla="*/ 2147483647 h 36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760"/>
              <a:gd name="T163" fmla="*/ 0 h 365"/>
              <a:gd name="T164" fmla="*/ 760 w 760"/>
              <a:gd name="T165" fmla="*/ 365 h 365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760" h="365">
                <a:moveTo>
                  <a:pt x="616" y="353"/>
                </a:moveTo>
                <a:lnTo>
                  <a:pt x="629" y="339"/>
                </a:lnTo>
                <a:lnTo>
                  <a:pt x="620" y="328"/>
                </a:lnTo>
                <a:lnTo>
                  <a:pt x="611" y="317"/>
                </a:lnTo>
                <a:lnTo>
                  <a:pt x="616" y="295"/>
                </a:lnTo>
                <a:lnTo>
                  <a:pt x="619" y="274"/>
                </a:lnTo>
                <a:lnTo>
                  <a:pt x="613" y="250"/>
                </a:lnTo>
                <a:lnTo>
                  <a:pt x="589" y="257"/>
                </a:lnTo>
                <a:lnTo>
                  <a:pt x="576" y="264"/>
                </a:lnTo>
                <a:lnTo>
                  <a:pt x="559" y="270"/>
                </a:lnTo>
                <a:lnTo>
                  <a:pt x="559" y="247"/>
                </a:lnTo>
                <a:lnTo>
                  <a:pt x="554" y="243"/>
                </a:lnTo>
                <a:lnTo>
                  <a:pt x="563" y="237"/>
                </a:lnTo>
                <a:lnTo>
                  <a:pt x="528" y="238"/>
                </a:lnTo>
                <a:lnTo>
                  <a:pt x="557" y="211"/>
                </a:lnTo>
                <a:lnTo>
                  <a:pt x="584" y="186"/>
                </a:lnTo>
                <a:lnTo>
                  <a:pt x="613" y="160"/>
                </a:lnTo>
                <a:lnTo>
                  <a:pt x="641" y="133"/>
                </a:lnTo>
                <a:lnTo>
                  <a:pt x="671" y="108"/>
                </a:lnTo>
                <a:lnTo>
                  <a:pt x="700" y="84"/>
                </a:lnTo>
                <a:lnTo>
                  <a:pt x="730" y="59"/>
                </a:lnTo>
                <a:lnTo>
                  <a:pt x="760" y="34"/>
                </a:lnTo>
                <a:lnTo>
                  <a:pt x="722" y="25"/>
                </a:lnTo>
                <a:lnTo>
                  <a:pt x="689" y="22"/>
                </a:lnTo>
                <a:lnTo>
                  <a:pt x="655" y="18"/>
                </a:lnTo>
                <a:lnTo>
                  <a:pt x="611" y="16"/>
                </a:lnTo>
                <a:lnTo>
                  <a:pt x="608" y="12"/>
                </a:lnTo>
                <a:lnTo>
                  <a:pt x="592" y="9"/>
                </a:lnTo>
                <a:lnTo>
                  <a:pt x="582" y="9"/>
                </a:lnTo>
                <a:lnTo>
                  <a:pt x="577" y="6"/>
                </a:lnTo>
                <a:lnTo>
                  <a:pt x="560" y="9"/>
                </a:lnTo>
                <a:lnTo>
                  <a:pt x="571" y="3"/>
                </a:lnTo>
                <a:lnTo>
                  <a:pt x="559" y="0"/>
                </a:lnTo>
                <a:lnTo>
                  <a:pt x="515" y="11"/>
                </a:lnTo>
                <a:lnTo>
                  <a:pt x="506" y="10"/>
                </a:lnTo>
                <a:lnTo>
                  <a:pt x="491" y="13"/>
                </a:lnTo>
                <a:lnTo>
                  <a:pt x="488" y="17"/>
                </a:lnTo>
                <a:lnTo>
                  <a:pt x="479" y="23"/>
                </a:lnTo>
                <a:lnTo>
                  <a:pt x="485" y="15"/>
                </a:lnTo>
                <a:lnTo>
                  <a:pt x="448" y="22"/>
                </a:lnTo>
                <a:lnTo>
                  <a:pt x="408" y="36"/>
                </a:lnTo>
                <a:lnTo>
                  <a:pt x="370" y="49"/>
                </a:lnTo>
                <a:lnTo>
                  <a:pt x="337" y="51"/>
                </a:lnTo>
                <a:lnTo>
                  <a:pt x="317" y="61"/>
                </a:lnTo>
                <a:lnTo>
                  <a:pt x="331" y="83"/>
                </a:lnTo>
                <a:lnTo>
                  <a:pt x="325" y="88"/>
                </a:lnTo>
                <a:lnTo>
                  <a:pt x="352" y="93"/>
                </a:lnTo>
                <a:lnTo>
                  <a:pt x="344" y="101"/>
                </a:lnTo>
                <a:lnTo>
                  <a:pt x="365" y="101"/>
                </a:lnTo>
                <a:lnTo>
                  <a:pt x="338" y="101"/>
                </a:lnTo>
                <a:lnTo>
                  <a:pt x="337" y="93"/>
                </a:lnTo>
                <a:lnTo>
                  <a:pt x="332" y="105"/>
                </a:lnTo>
                <a:lnTo>
                  <a:pt x="341" y="109"/>
                </a:lnTo>
                <a:lnTo>
                  <a:pt x="328" y="111"/>
                </a:lnTo>
                <a:lnTo>
                  <a:pt x="290" y="107"/>
                </a:lnTo>
                <a:lnTo>
                  <a:pt x="306" y="99"/>
                </a:lnTo>
                <a:lnTo>
                  <a:pt x="263" y="107"/>
                </a:lnTo>
                <a:lnTo>
                  <a:pt x="208" y="120"/>
                </a:lnTo>
                <a:lnTo>
                  <a:pt x="227" y="127"/>
                </a:lnTo>
                <a:lnTo>
                  <a:pt x="215" y="130"/>
                </a:lnTo>
                <a:lnTo>
                  <a:pt x="211" y="143"/>
                </a:lnTo>
                <a:lnTo>
                  <a:pt x="258" y="143"/>
                </a:lnTo>
                <a:lnTo>
                  <a:pt x="264" y="147"/>
                </a:lnTo>
                <a:lnTo>
                  <a:pt x="304" y="135"/>
                </a:lnTo>
                <a:lnTo>
                  <a:pt x="295" y="144"/>
                </a:lnTo>
                <a:lnTo>
                  <a:pt x="288" y="147"/>
                </a:lnTo>
                <a:lnTo>
                  <a:pt x="278" y="160"/>
                </a:lnTo>
                <a:lnTo>
                  <a:pt x="250" y="167"/>
                </a:lnTo>
                <a:lnTo>
                  <a:pt x="206" y="178"/>
                </a:lnTo>
                <a:lnTo>
                  <a:pt x="214" y="173"/>
                </a:lnTo>
                <a:lnTo>
                  <a:pt x="198" y="177"/>
                </a:lnTo>
                <a:lnTo>
                  <a:pt x="178" y="186"/>
                </a:lnTo>
                <a:lnTo>
                  <a:pt x="181" y="186"/>
                </a:lnTo>
                <a:lnTo>
                  <a:pt x="173" y="190"/>
                </a:lnTo>
                <a:lnTo>
                  <a:pt x="143" y="202"/>
                </a:lnTo>
                <a:lnTo>
                  <a:pt x="133" y="204"/>
                </a:lnTo>
                <a:lnTo>
                  <a:pt x="134" y="207"/>
                </a:lnTo>
                <a:lnTo>
                  <a:pt x="124" y="210"/>
                </a:lnTo>
                <a:lnTo>
                  <a:pt x="127" y="217"/>
                </a:lnTo>
                <a:lnTo>
                  <a:pt x="149" y="210"/>
                </a:lnTo>
                <a:lnTo>
                  <a:pt x="130" y="220"/>
                </a:lnTo>
                <a:lnTo>
                  <a:pt x="130" y="222"/>
                </a:lnTo>
                <a:lnTo>
                  <a:pt x="151" y="225"/>
                </a:lnTo>
                <a:lnTo>
                  <a:pt x="143" y="226"/>
                </a:lnTo>
                <a:lnTo>
                  <a:pt x="148" y="229"/>
                </a:lnTo>
                <a:lnTo>
                  <a:pt x="133" y="229"/>
                </a:lnTo>
                <a:lnTo>
                  <a:pt x="126" y="226"/>
                </a:lnTo>
                <a:lnTo>
                  <a:pt x="112" y="233"/>
                </a:lnTo>
                <a:lnTo>
                  <a:pt x="119" y="250"/>
                </a:lnTo>
                <a:lnTo>
                  <a:pt x="150" y="240"/>
                </a:lnTo>
                <a:lnTo>
                  <a:pt x="170" y="231"/>
                </a:lnTo>
                <a:lnTo>
                  <a:pt x="150" y="245"/>
                </a:lnTo>
                <a:lnTo>
                  <a:pt x="138" y="259"/>
                </a:lnTo>
                <a:lnTo>
                  <a:pt x="132" y="265"/>
                </a:lnTo>
                <a:lnTo>
                  <a:pt x="132" y="267"/>
                </a:lnTo>
                <a:lnTo>
                  <a:pt x="120" y="276"/>
                </a:lnTo>
                <a:lnTo>
                  <a:pt x="157" y="270"/>
                </a:lnTo>
                <a:lnTo>
                  <a:pt x="167" y="271"/>
                </a:lnTo>
                <a:lnTo>
                  <a:pt x="167" y="281"/>
                </a:lnTo>
                <a:lnTo>
                  <a:pt x="190" y="267"/>
                </a:lnTo>
                <a:lnTo>
                  <a:pt x="196" y="268"/>
                </a:lnTo>
                <a:lnTo>
                  <a:pt x="184" y="273"/>
                </a:lnTo>
                <a:lnTo>
                  <a:pt x="185" y="277"/>
                </a:lnTo>
                <a:lnTo>
                  <a:pt x="218" y="268"/>
                </a:lnTo>
                <a:lnTo>
                  <a:pt x="188" y="286"/>
                </a:lnTo>
                <a:lnTo>
                  <a:pt x="193" y="286"/>
                </a:lnTo>
                <a:lnTo>
                  <a:pt x="188" y="286"/>
                </a:lnTo>
                <a:lnTo>
                  <a:pt x="170" y="300"/>
                </a:lnTo>
                <a:lnTo>
                  <a:pt x="161" y="303"/>
                </a:lnTo>
                <a:lnTo>
                  <a:pt x="131" y="319"/>
                </a:lnTo>
                <a:lnTo>
                  <a:pt x="83" y="333"/>
                </a:lnTo>
                <a:lnTo>
                  <a:pt x="78" y="341"/>
                </a:lnTo>
                <a:lnTo>
                  <a:pt x="71" y="341"/>
                </a:lnTo>
                <a:lnTo>
                  <a:pt x="66" y="343"/>
                </a:lnTo>
                <a:lnTo>
                  <a:pt x="66" y="340"/>
                </a:lnTo>
                <a:lnTo>
                  <a:pt x="50" y="340"/>
                </a:lnTo>
                <a:lnTo>
                  <a:pt x="0" y="361"/>
                </a:lnTo>
                <a:lnTo>
                  <a:pt x="2" y="359"/>
                </a:lnTo>
                <a:lnTo>
                  <a:pt x="6" y="361"/>
                </a:lnTo>
                <a:lnTo>
                  <a:pt x="17" y="357"/>
                </a:lnTo>
                <a:lnTo>
                  <a:pt x="20" y="359"/>
                </a:lnTo>
                <a:lnTo>
                  <a:pt x="42" y="348"/>
                </a:lnTo>
                <a:lnTo>
                  <a:pt x="54" y="348"/>
                </a:lnTo>
                <a:lnTo>
                  <a:pt x="45" y="349"/>
                </a:lnTo>
                <a:lnTo>
                  <a:pt x="70" y="345"/>
                </a:lnTo>
                <a:lnTo>
                  <a:pt x="85" y="343"/>
                </a:lnTo>
                <a:lnTo>
                  <a:pt x="89" y="342"/>
                </a:lnTo>
                <a:lnTo>
                  <a:pt x="112" y="336"/>
                </a:lnTo>
                <a:lnTo>
                  <a:pt x="118" y="335"/>
                </a:lnTo>
                <a:lnTo>
                  <a:pt x="122" y="330"/>
                </a:lnTo>
                <a:lnTo>
                  <a:pt x="181" y="309"/>
                </a:lnTo>
                <a:lnTo>
                  <a:pt x="232" y="291"/>
                </a:lnTo>
                <a:lnTo>
                  <a:pt x="277" y="271"/>
                </a:lnTo>
                <a:lnTo>
                  <a:pt x="268" y="265"/>
                </a:lnTo>
                <a:lnTo>
                  <a:pt x="306" y="249"/>
                </a:lnTo>
                <a:lnTo>
                  <a:pt x="314" y="246"/>
                </a:lnTo>
                <a:lnTo>
                  <a:pt x="320" y="239"/>
                </a:lnTo>
                <a:lnTo>
                  <a:pt x="354" y="226"/>
                </a:lnTo>
                <a:lnTo>
                  <a:pt x="386" y="216"/>
                </a:lnTo>
                <a:lnTo>
                  <a:pt x="410" y="211"/>
                </a:lnTo>
                <a:lnTo>
                  <a:pt x="395" y="217"/>
                </a:lnTo>
                <a:lnTo>
                  <a:pt x="398" y="223"/>
                </a:lnTo>
                <a:lnTo>
                  <a:pt x="391" y="223"/>
                </a:lnTo>
                <a:lnTo>
                  <a:pt x="358" y="228"/>
                </a:lnTo>
                <a:lnTo>
                  <a:pt x="325" y="252"/>
                </a:lnTo>
                <a:lnTo>
                  <a:pt x="341" y="250"/>
                </a:lnTo>
                <a:lnTo>
                  <a:pt x="316" y="259"/>
                </a:lnTo>
                <a:lnTo>
                  <a:pt x="329" y="262"/>
                </a:lnTo>
                <a:lnTo>
                  <a:pt x="353" y="251"/>
                </a:lnTo>
                <a:lnTo>
                  <a:pt x="346" y="256"/>
                </a:lnTo>
                <a:lnTo>
                  <a:pt x="354" y="251"/>
                </a:lnTo>
                <a:lnTo>
                  <a:pt x="360" y="252"/>
                </a:lnTo>
                <a:lnTo>
                  <a:pt x="362" y="249"/>
                </a:lnTo>
                <a:lnTo>
                  <a:pt x="364" y="251"/>
                </a:lnTo>
                <a:lnTo>
                  <a:pt x="376" y="244"/>
                </a:lnTo>
                <a:lnTo>
                  <a:pt x="385" y="246"/>
                </a:lnTo>
                <a:lnTo>
                  <a:pt x="408" y="235"/>
                </a:lnTo>
                <a:lnTo>
                  <a:pt x="404" y="233"/>
                </a:lnTo>
                <a:lnTo>
                  <a:pt x="412" y="231"/>
                </a:lnTo>
                <a:lnTo>
                  <a:pt x="407" y="228"/>
                </a:lnTo>
                <a:lnTo>
                  <a:pt x="418" y="225"/>
                </a:lnTo>
                <a:lnTo>
                  <a:pt x="436" y="216"/>
                </a:lnTo>
                <a:lnTo>
                  <a:pt x="421" y="223"/>
                </a:lnTo>
                <a:lnTo>
                  <a:pt x="431" y="222"/>
                </a:lnTo>
                <a:lnTo>
                  <a:pt x="430" y="225"/>
                </a:lnTo>
                <a:lnTo>
                  <a:pt x="456" y="220"/>
                </a:lnTo>
                <a:lnTo>
                  <a:pt x="449" y="221"/>
                </a:lnTo>
                <a:lnTo>
                  <a:pt x="448" y="226"/>
                </a:lnTo>
                <a:lnTo>
                  <a:pt x="443" y="227"/>
                </a:lnTo>
                <a:lnTo>
                  <a:pt x="451" y="228"/>
                </a:lnTo>
                <a:lnTo>
                  <a:pt x="452" y="229"/>
                </a:lnTo>
                <a:lnTo>
                  <a:pt x="446" y="234"/>
                </a:lnTo>
                <a:lnTo>
                  <a:pt x="454" y="237"/>
                </a:lnTo>
                <a:lnTo>
                  <a:pt x="470" y="231"/>
                </a:lnTo>
                <a:lnTo>
                  <a:pt x="464" y="235"/>
                </a:lnTo>
                <a:lnTo>
                  <a:pt x="469" y="241"/>
                </a:lnTo>
                <a:lnTo>
                  <a:pt x="493" y="243"/>
                </a:lnTo>
                <a:lnTo>
                  <a:pt x="517" y="244"/>
                </a:lnTo>
                <a:lnTo>
                  <a:pt x="518" y="251"/>
                </a:lnTo>
                <a:lnTo>
                  <a:pt x="542" y="246"/>
                </a:lnTo>
                <a:lnTo>
                  <a:pt x="553" y="249"/>
                </a:lnTo>
                <a:lnTo>
                  <a:pt x="544" y="252"/>
                </a:lnTo>
                <a:lnTo>
                  <a:pt x="548" y="246"/>
                </a:lnTo>
                <a:lnTo>
                  <a:pt x="538" y="253"/>
                </a:lnTo>
                <a:lnTo>
                  <a:pt x="550" y="269"/>
                </a:lnTo>
                <a:lnTo>
                  <a:pt x="562" y="285"/>
                </a:lnTo>
                <a:lnTo>
                  <a:pt x="571" y="283"/>
                </a:lnTo>
                <a:lnTo>
                  <a:pt x="566" y="270"/>
                </a:lnTo>
                <a:lnTo>
                  <a:pt x="575" y="271"/>
                </a:lnTo>
                <a:lnTo>
                  <a:pt x="583" y="269"/>
                </a:lnTo>
                <a:lnTo>
                  <a:pt x="586" y="270"/>
                </a:lnTo>
                <a:lnTo>
                  <a:pt x="580" y="277"/>
                </a:lnTo>
                <a:lnTo>
                  <a:pt x="581" y="281"/>
                </a:lnTo>
                <a:lnTo>
                  <a:pt x="582" y="285"/>
                </a:lnTo>
                <a:lnTo>
                  <a:pt x="601" y="263"/>
                </a:lnTo>
                <a:lnTo>
                  <a:pt x="599" y="276"/>
                </a:lnTo>
                <a:lnTo>
                  <a:pt x="602" y="286"/>
                </a:lnTo>
                <a:lnTo>
                  <a:pt x="607" y="285"/>
                </a:lnTo>
                <a:lnTo>
                  <a:pt x="607" y="288"/>
                </a:lnTo>
                <a:lnTo>
                  <a:pt x="602" y="292"/>
                </a:lnTo>
                <a:lnTo>
                  <a:pt x="613" y="293"/>
                </a:lnTo>
                <a:lnTo>
                  <a:pt x="607" y="293"/>
                </a:lnTo>
                <a:lnTo>
                  <a:pt x="607" y="300"/>
                </a:lnTo>
                <a:lnTo>
                  <a:pt x="601" y="298"/>
                </a:lnTo>
                <a:lnTo>
                  <a:pt x="602" y="306"/>
                </a:lnTo>
                <a:lnTo>
                  <a:pt x="595" y="307"/>
                </a:lnTo>
                <a:lnTo>
                  <a:pt x="598" y="310"/>
                </a:lnTo>
                <a:lnTo>
                  <a:pt x="600" y="321"/>
                </a:lnTo>
                <a:lnTo>
                  <a:pt x="608" y="333"/>
                </a:lnTo>
                <a:lnTo>
                  <a:pt x="601" y="333"/>
                </a:lnTo>
                <a:lnTo>
                  <a:pt x="582" y="347"/>
                </a:lnTo>
                <a:lnTo>
                  <a:pt x="590" y="343"/>
                </a:lnTo>
                <a:lnTo>
                  <a:pt x="614" y="335"/>
                </a:lnTo>
                <a:lnTo>
                  <a:pt x="600" y="353"/>
                </a:lnTo>
                <a:lnTo>
                  <a:pt x="594" y="355"/>
                </a:lnTo>
                <a:lnTo>
                  <a:pt x="608" y="353"/>
                </a:lnTo>
                <a:lnTo>
                  <a:pt x="599" y="358"/>
                </a:lnTo>
                <a:lnTo>
                  <a:pt x="594" y="365"/>
                </a:lnTo>
                <a:lnTo>
                  <a:pt x="616" y="35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50" name="Freeform 257"/>
          <p:cNvSpPr>
            <a:spLocks/>
          </p:cNvSpPr>
          <p:nvPr/>
        </p:nvSpPr>
        <p:spPr bwMode="auto">
          <a:xfrm>
            <a:off x="2741613" y="3346450"/>
            <a:ext cx="65087" cy="12700"/>
          </a:xfrm>
          <a:custGeom>
            <a:avLst/>
            <a:gdLst>
              <a:gd name="T0" fmla="*/ 2147483647 w 47"/>
              <a:gd name="T1" fmla="*/ 0 h 11"/>
              <a:gd name="T2" fmla="*/ 2147483647 w 47"/>
              <a:gd name="T3" fmla="*/ 2147483647 h 11"/>
              <a:gd name="T4" fmla="*/ 2147483647 w 47"/>
              <a:gd name="T5" fmla="*/ 0 h 11"/>
              <a:gd name="T6" fmla="*/ 0 w 47"/>
              <a:gd name="T7" fmla="*/ 2147483647 h 11"/>
              <a:gd name="T8" fmla="*/ 2147483647 w 47"/>
              <a:gd name="T9" fmla="*/ 2147483647 h 11"/>
              <a:gd name="T10" fmla="*/ 2147483647 w 47"/>
              <a:gd name="T11" fmla="*/ 0 h 1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7"/>
              <a:gd name="T19" fmla="*/ 0 h 11"/>
              <a:gd name="T20" fmla="*/ 47 w 47"/>
              <a:gd name="T21" fmla="*/ 11 h 1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7" h="11">
                <a:moveTo>
                  <a:pt x="47" y="0"/>
                </a:moveTo>
                <a:lnTo>
                  <a:pt x="34" y="4"/>
                </a:lnTo>
                <a:lnTo>
                  <a:pt x="36" y="0"/>
                </a:lnTo>
                <a:lnTo>
                  <a:pt x="0" y="11"/>
                </a:lnTo>
                <a:lnTo>
                  <a:pt x="23" y="6"/>
                </a:lnTo>
                <a:lnTo>
                  <a:pt x="47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51" name="Freeform 258"/>
          <p:cNvSpPr>
            <a:spLocks/>
          </p:cNvSpPr>
          <p:nvPr/>
        </p:nvSpPr>
        <p:spPr bwMode="auto">
          <a:xfrm>
            <a:off x="3927475" y="3800475"/>
            <a:ext cx="246063" cy="234950"/>
          </a:xfrm>
          <a:custGeom>
            <a:avLst/>
            <a:gdLst>
              <a:gd name="T0" fmla="*/ 2147483647 w 183"/>
              <a:gd name="T1" fmla="*/ 2147483647 h 170"/>
              <a:gd name="T2" fmla="*/ 0 w 183"/>
              <a:gd name="T3" fmla="*/ 2147483647 h 170"/>
              <a:gd name="T4" fmla="*/ 2147483647 w 183"/>
              <a:gd name="T5" fmla="*/ 2147483647 h 170"/>
              <a:gd name="T6" fmla="*/ 2147483647 w 183"/>
              <a:gd name="T7" fmla="*/ 2147483647 h 170"/>
              <a:gd name="T8" fmla="*/ 2147483647 w 183"/>
              <a:gd name="T9" fmla="*/ 2147483647 h 170"/>
              <a:gd name="T10" fmla="*/ 2147483647 w 183"/>
              <a:gd name="T11" fmla="*/ 2147483647 h 170"/>
              <a:gd name="T12" fmla="*/ 2147483647 w 183"/>
              <a:gd name="T13" fmla="*/ 2147483647 h 170"/>
              <a:gd name="T14" fmla="*/ 2147483647 w 183"/>
              <a:gd name="T15" fmla="*/ 2147483647 h 170"/>
              <a:gd name="T16" fmla="*/ 2147483647 w 183"/>
              <a:gd name="T17" fmla="*/ 2147483647 h 170"/>
              <a:gd name="T18" fmla="*/ 2147483647 w 183"/>
              <a:gd name="T19" fmla="*/ 2147483647 h 170"/>
              <a:gd name="T20" fmla="*/ 2147483647 w 183"/>
              <a:gd name="T21" fmla="*/ 0 h 170"/>
              <a:gd name="T22" fmla="*/ 2147483647 w 183"/>
              <a:gd name="T23" fmla="*/ 0 h 170"/>
              <a:gd name="T24" fmla="*/ 2147483647 w 183"/>
              <a:gd name="T25" fmla="*/ 0 h 170"/>
              <a:gd name="T26" fmla="*/ 2147483647 w 183"/>
              <a:gd name="T27" fmla="*/ 0 h 170"/>
              <a:gd name="T28" fmla="*/ 2147483647 w 183"/>
              <a:gd name="T29" fmla="*/ 0 h 170"/>
              <a:gd name="T30" fmla="*/ 2147483647 w 183"/>
              <a:gd name="T31" fmla="*/ 2147483647 h 170"/>
              <a:gd name="T32" fmla="*/ 2147483647 w 183"/>
              <a:gd name="T33" fmla="*/ 2147483647 h 170"/>
              <a:gd name="T34" fmla="*/ 2147483647 w 183"/>
              <a:gd name="T35" fmla="*/ 2147483647 h 170"/>
              <a:gd name="T36" fmla="*/ 2147483647 w 183"/>
              <a:gd name="T37" fmla="*/ 2147483647 h 170"/>
              <a:gd name="T38" fmla="*/ 2147483647 w 183"/>
              <a:gd name="T39" fmla="*/ 2147483647 h 170"/>
              <a:gd name="T40" fmla="*/ 2147483647 w 183"/>
              <a:gd name="T41" fmla="*/ 2147483647 h 170"/>
              <a:gd name="T42" fmla="*/ 2147483647 w 183"/>
              <a:gd name="T43" fmla="*/ 2147483647 h 170"/>
              <a:gd name="T44" fmla="*/ 2147483647 w 183"/>
              <a:gd name="T45" fmla="*/ 2147483647 h 170"/>
              <a:gd name="T46" fmla="*/ 2147483647 w 183"/>
              <a:gd name="T47" fmla="*/ 2147483647 h 170"/>
              <a:gd name="T48" fmla="*/ 2147483647 w 183"/>
              <a:gd name="T49" fmla="*/ 2147483647 h 170"/>
              <a:gd name="T50" fmla="*/ 2147483647 w 183"/>
              <a:gd name="T51" fmla="*/ 2147483647 h 170"/>
              <a:gd name="T52" fmla="*/ 2147483647 w 183"/>
              <a:gd name="T53" fmla="*/ 2147483647 h 170"/>
              <a:gd name="T54" fmla="*/ 2147483647 w 183"/>
              <a:gd name="T55" fmla="*/ 2147483647 h 170"/>
              <a:gd name="T56" fmla="*/ 2147483647 w 183"/>
              <a:gd name="T57" fmla="*/ 2147483647 h 170"/>
              <a:gd name="T58" fmla="*/ 2147483647 w 183"/>
              <a:gd name="T59" fmla="*/ 2147483647 h 170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83"/>
              <a:gd name="T91" fmla="*/ 0 h 170"/>
              <a:gd name="T92" fmla="*/ 183 w 183"/>
              <a:gd name="T93" fmla="*/ 170 h 170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83" h="170">
                <a:moveTo>
                  <a:pt x="3" y="157"/>
                </a:moveTo>
                <a:lnTo>
                  <a:pt x="0" y="170"/>
                </a:lnTo>
                <a:lnTo>
                  <a:pt x="1" y="157"/>
                </a:lnTo>
                <a:lnTo>
                  <a:pt x="15" y="126"/>
                </a:lnTo>
                <a:lnTo>
                  <a:pt x="30" y="96"/>
                </a:lnTo>
                <a:lnTo>
                  <a:pt x="26" y="98"/>
                </a:lnTo>
                <a:lnTo>
                  <a:pt x="43" y="79"/>
                </a:lnTo>
                <a:lnTo>
                  <a:pt x="50" y="60"/>
                </a:lnTo>
                <a:lnTo>
                  <a:pt x="59" y="40"/>
                </a:lnTo>
                <a:lnTo>
                  <a:pt x="75" y="25"/>
                </a:lnTo>
                <a:lnTo>
                  <a:pt x="87" y="0"/>
                </a:lnTo>
                <a:lnTo>
                  <a:pt x="111" y="0"/>
                </a:lnTo>
                <a:lnTo>
                  <a:pt x="135" y="0"/>
                </a:lnTo>
                <a:lnTo>
                  <a:pt x="159" y="0"/>
                </a:lnTo>
                <a:lnTo>
                  <a:pt x="183" y="0"/>
                </a:lnTo>
                <a:lnTo>
                  <a:pt x="183" y="9"/>
                </a:lnTo>
                <a:lnTo>
                  <a:pt x="182" y="40"/>
                </a:lnTo>
                <a:lnTo>
                  <a:pt x="165" y="40"/>
                </a:lnTo>
                <a:lnTo>
                  <a:pt x="147" y="40"/>
                </a:lnTo>
                <a:lnTo>
                  <a:pt x="129" y="40"/>
                </a:lnTo>
                <a:lnTo>
                  <a:pt x="111" y="40"/>
                </a:lnTo>
                <a:lnTo>
                  <a:pt x="110" y="73"/>
                </a:lnTo>
                <a:lnTo>
                  <a:pt x="110" y="104"/>
                </a:lnTo>
                <a:lnTo>
                  <a:pt x="89" y="115"/>
                </a:lnTo>
                <a:lnTo>
                  <a:pt x="89" y="135"/>
                </a:lnTo>
                <a:lnTo>
                  <a:pt x="87" y="157"/>
                </a:lnTo>
                <a:lnTo>
                  <a:pt x="67" y="157"/>
                </a:lnTo>
                <a:lnTo>
                  <a:pt x="45" y="157"/>
                </a:lnTo>
                <a:lnTo>
                  <a:pt x="24" y="157"/>
                </a:lnTo>
                <a:lnTo>
                  <a:pt x="3" y="15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52" name="Freeform 266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5553075" y="5349875"/>
            <a:ext cx="2625725" cy="919163"/>
          </a:xfrm>
          <a:custGeom>
            <a:avLst/>
            <a:gdLst>
              <a:gd name="T0" fmla="*/ 2147483647 w 1654"/>
              <a:gd name="T1" fmla="*/ 2147483647 h 579"/>
              <a:gd name="T2" fmla="*/ 2147483647 w 1654"/>
              <a:gd name="T3" fmla="*/ 2147483647 h 579"/>
              <a:gd name="T4" fmla="*/ 2147483647 w 1654"/>
              <a:gd name="T5" fmla="*/ 2147483647 h 579"/>
              <a:gd name="T6" fmla="*/ 2147483647 w 1654"/>
              <a:gd name="T7" fmla="*/ 2147483647 h 579"/>
              <a:gd name="T8" fmla="*/ 2147483647 w 1654"/>
              <a:gd name="T9" fmla="*/ 2147483647 h 579"/>
              <a:gd name="T10" fmla="*/ 2147483647 w 1654"/>
              <a:gd name="T11" fmla="*/ 2147483647 h 579"/>
              <a:gd name="T12" fmla="*/ 2147483647 w 1654"/>
              <a:gd name="T13" fmla="*/ 2147483647 h 579"/>
              <a:gd name="T14" fmla="*/ 2147483647 w 1654"/>
              <a:gd name="T15" fmla="*/ 2147483647 h 579"/>
              <a:gd name="T16" fmla="*/ 2147483647 w 1654"/>
              <a:gd name="T17" fmla="*/ 2147483647 h 579"/>
              <a:gd name="T18" fmla="*/ 2147483647 w 1654"/>
              <a:gd name="T19" fmla="*/ 2147483647 h 579"/>
              <a:gd name="T20" fmla="*/ 2147483647 w 1654"/>
              <a:gd name="T21" fmla="*/ 0 h 579"/>
              <a:gd name="T22" fmla="*/ 2147483647 w 1654"/>
              <a:gd name="T23" fmla="*/ 0 h 579"/>
              <a:gd name="T24" fmla="*/ 2147483647 w 1654"/>
              <a:gd name="T25" fmla="*/ 0 h 579"/>
              <a:gd name="T26" fmla="*/ 2147483647 w 1654"/>
              <a:gd name="T27" fmla="*/ 0 h 579"/>
              <a:gd name="T28" fmla="*/ 2147483647 w 1654"/>
              <a:gd name="T29" fmla="*/ 2147483647 h 579"/>
              <a:gd name="T30" fmla="*/ 2147483647 w 1654"/>
              <a:gd name="T31" fmla="*/ 2147483647 h 579"/>
              <a:gd name="T32" fmla="*/ 2147483647 w 1654"/>
              <a:gd name="T33" fmla="*/ 2147483647 h 579"/>
              <a:gd name="T34" fmla="*/ 2147483647 w 1654"/>
              <a:gd name="T35" fmla="*/ 2147483647 h 579"/>
              <a:gd name="T36" fmla="*/ 2147483647 w 1654"/>
              <a:gd name="T37" fmla="*/ 2147483647 h 579"/>
              <a:gd name="T38" fmla="*/ 2147483647 w 1654"/>
              <a:gd name="T39" fmla="*/ 2147483647 h 579"/>
              <a:gd name="T40" fmla="*/ 2147483647 w 1654"/>
              <a:gd name="T41" fmla="*/ 2147483647 h 579"/>
              <a:gd name="T42" fmla="*/ 2147483647 w 1654"/>
              <a:gd name="T43" fmla="*/ 2147483647 h 579"/>
              <a:gd name="T44" fmla="*/ 2147483647 w 1654"/>
              <a:gd name="T45" fmla="*/ 2147483647 h 579"/>
              <a:gd name="T46" fmla="*/ 2147483647 w 1654"/>
              <a:gd name="T47" fmla="*/ 2147483647 h 579"/>
              <a:gd name="T48" fmla="*/ 2147483647 w 1654"/>
              <a:gd name="T49" fmla="*/ 2147483647 h 579"/>
              <a:gd name="T50" fmla="*/ 2147483647 w 1654"/>
              <a:gd name="T51" fmla="*/ 2147483647 h 579"/>
              <a:gd name="T52" fmla="*/ 2147483647 w 1654"/>
              <a:gd name="T53" fmla="*/ 2147483647 h 579"/>
              <a:gd name="T54" fmla="*/ 2147483647 w 1654"/>
              <a:gd name="T55" fmla="*/ 2147483647 h 579"/>
              <a:gd name="T56" fmla="*/ 2147483647 w 1654"/>
              <a:gd name="T57" fmla="*/ 2147483647 h 579"/>
              <a:gd name="T58" fmla="*/ 2147483647 w 1654"/>
              <a:gd name="T59" fmla="*/ 2147483647 h 579"/>
              <a:gd name="T60" fmla="*/ 2147483647 w 1654"/>
              <a:gd name="T61" fmla="*/ 2147483647 h 579"/>
              <a:gd name="T62" fmla="*/ 2147483647 w 1654"/>
              <a:gd name="T63" fmla="*/ 2147483647 h 57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654"/>
              <a:gd name="T97" fmla="*/ 0 h 579"/>
              <a:gd name="T98" fmla="*/ 1654 w 1654"/>
              <a:gd name="T99" fmla="*/ 579 h 579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654" h="579">
                <a:moveTo>
                  <a:pt x="1627" y="561"/>
                </a:moveTo>
                <a:lnTo>
                  <a:pt x="1639" y="550"/>
                </a:lnTo>
                <a:lnTo>
                  <a:pt x="1646" y="537"/>
                </a:lnTo>
                <a:lnTo>
                  <a:pt x="1654" y="514"/>
                </a:lnTo>
                <a:lnTo>
                  <a:pt x="1653" y="461"/>
                </a:lnTo>
                <a:lnTo>
                  <a:pt x="1654" y="430"/>
                </a:lnTo>
                <a:lnTo>
                  <a:pt x="1653" y="398"/>
                </a:lnTo>
                <a:lnTo>
                  <a:pt x="1653" y="334"/>
                </a:lnTo>
                <a:lnTo>
                  <a:pt x="1653" y="288"/>
                </a:lnTo>
                <a:lnTo>
                  <a:pt x="1653" y="240"/>
                </a:lnTo>
                <a:lnTo>
                  <a:pt x="1653" y="188"/>
                </a:lnTo>
                <a:lnTo>
                  <a:pt x="1653" y="153"/>
                </a:lnTo>
                <a:lnTo>
                  <a:pt x="1653" y="116"/>
                </a:lnTo>
                <a:lnTo>
                  <a:pt x="1653" y="62"/>
                </a:lnTo>
                <a:lnTo>
                  <a:pt x="1647" y="42"/>
                </a:lnTo>
                <a:lnTo>
                  <a:pt x="1640" y="27"/>
                </a:lnTo>
                <a:lnTo>
                  <a:pt x="1627" y="18"/>
                </a:lnTo>
                <a:lnTo>
                  <a:pt x="1609" y="8"/>
                </a:lnTo>
                <a:lnTo>
                  <a:pt x="1583" y="5"/>
                </a:lnTo>
                <a:lnTo>
                  <a:pt x="1555" y="2"/>
                </a:lnTo>
                <a:lnTo>
                  <a:pt x="1519" y="0"/>
                </a:lnTo>
                <a:lnTo>
                  <a:pt x="1383" y="0"/>
                </a:lnTo>
                <a:lnTo>
                  <a:pt x="1330" y="0"/>
                </a:lnTo>
                <a:lnTo>
                  <a:pt x="1271" y="0"/>
                </a:lnTo>
                <a:lnTo>
                  <a:pt x="1080" y="0"/>
                </a:lnTo>
                <a:lnTo>
                  <a:pt x="996" y="0"/>
                </a:lnTo>
                <a:lnTo>
                  <a:pt x="915" y="0"/>
                </a:lnTo>
                <a:lnTo>
                  <a:pt x="714" y="0"/>
                </a:lnTo>
                <a:lnTo>
                  <a:pt x="570" y="0"/>
                </a:lnTo>
                <a:lnTo>
                  <a:pt x="446" y="1"/>
                </a:lnTo>
                <a:lnTo>
                  <a:pt x="418" y="1"/>
                </a:lnTo>
                <a:lnTo>
                  <a:pt x="392" y="5"/>
                </a:lnTo>
                <a:lnTo>
                  <a:pt x="371" y="13"/>
                </a:lnTo>
                <a:lnTo>
                  <a:pt x="358" y="24"/>
                </a:lnTo>
                <a:lnTo>
                  <a:pt x="349" y="39"/>
                </a:lnTo>
                <a:lnTo>
                  <a:pt x="347" y="63"/>
                </a:lnTo>
                <a:lnTo>
                  <a:pt x="347" y="112"/>
                </a:lnTo>
                <a:lnTo>
                  <a:pt x="347" y="142"/>
                </a:lnTo>
                <a:lnTo>
                  <a:pt x="0" y="26"/>
                </a:lnTo>
                <a:lnTo>
                  <a:pt x="347" y="285"/>
                </a:lnTo>
                <a:lnTo>
                  <a:pt x="347" y="336"/>
                </a:lnTo>
                <a:lnTo>
                  <a:pt x="347" y="389"/>
                </a:lnTo>
                <a:lnTo>
                  <a:pt x="347" y="430"/>
                </a:lnTo>
                <a:lnTo>
                  <a:pt x="347" y="470"/>
                </a:lnTo>
                <a:lnTo>
                  <a:pt x="347" y="513"/>
                </a:lnTo>
                <a:lnTo>
                  <a:pt x="347" y="535"/>
                </a:lnTo>
                <a:lnTo>
                  <a:pt x="353" y="551"/>
                </a:lnTo>
                <a:lnTo>
                  <a:pt x="367" y="565"/>
                </a:lnTo>
                <a:lnTo>
                  <a:pt x="390" y="574"/>
                </a:lnTo>
                <a:lnTo>
                  <a:pt x="417" y="578"/>
                </a:lnTo>
                <a:lnTo>
                  <a:pt x="445" y="579"/>
                </a:lnTo>
                <a:lnTo>
                  <a:pt x="588" y="579"/>
                </a:lnTo>
                <a:lnTo>
                  <a:pt x="648" y="579"/>
                </a:lnTo>
                <a:lnTo>
                  <a:pt x="713" y="579"/>
                </a:lnTo>
                <a:lnTo>
                  <a:pt x="906" y="579"/>
                </a:lnTo>
                <a:lnTo>
                  <a:pt x="996" y="579"/>
                </a:lnTo>
                <a:lnTo>
                  <a:pt x="1086" y="579"/>
                </a:lnTo>
                <a:lnTo>
                  <a:pt x="1288" y="579"/>
                </a:lnTo>
                <a:lnTo>
                  <a:pt x="1356" y="579"/>
                </a:lnTo>
                <a:lnTo>
                  <a:pt x="1424" y="579"/>
                </a:lnTo>
                <a:lnTo>
                  <a:pt x="1556" y="579"/>
                </a:lnTo>
                <a:lnTo>
                  <a:pt x="1588" y="575"/>
                </a:lnTo>
                <a:lnTo>
                  <a:pt x="1610" y="570"/>
                </a:lnTo>
                <a:lnTo>
                  <a:pt x="1627" y="561"/>
                </a:lnTo>
                <a:close/>
              </a:path>
            </a:pathLst>
          </a:custGeom>
          <a:solidFill>
            <a:schemeClr val="bg1">
              <a:alpha val="79999"/>
            </a:schemeClr>
          </a:solidFill>
          <a:ln w="12700">
            <a:solidFill>
              <a:schemeClr val="hlink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endParaRPr lang="en-US"/>
          </a:p>
        </p:txBody>
      </p:sp>
      <p:sp>
        <p:nvSpPr>
          <p:cNvPr id="8453" name="TextBox 1"/>
          <p:cNvSpPr txBox="1">
            <a:spLocks noChangeArrowheads="1"/>
          </p:cNvSpPr>
          <p:nvPr/>
        </p:nvSpPr>
        <p:spPr bwMode="auto">
          <a:xfrm>
            <a:off x="6438900" y="5422900"/>
            <a:ext cx="1485900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1200"/>
              <a:t>Follow up of Central America effort began in 2003 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Freeform 117"/>
          <p:cNvSpPr>
            <a:spLocks/>
          </p:cNvSpPr>
          <p:nvPr/>
        </p:nvSpPr>
        <p:spPr bwMode="auto">
          <a:xfrm>
            <a:off x="2574925" y="4565650"/>
            <a:ext cx="1135063" cy="1330325"/>
          </a:xfrm>
          <a:custGeom>
            <a:avLst/>
            <a:gdLst>
              <a:gd name="T0" fmla="*/ 2147483647 w 856"/>
              <a:gd name="T1" fmla="*/ 2147483647 h 968"/>
              <a:gd name="T2" fmla="*/ 2147483647 w 856"/>
              <a:gd name="T3" fmla="*/ 2147483647 h 968"/>
              <a:gd name="T4" fmla="*/ 2147483647 w 856"/>
              <a:gd name="T5" fmla="*/ 2147483647 h 968"/>
              <a:gd name="T6" fmla="*/ 2147483647 w 856"/>
              <a:gd name="T7" fmla="*/ 2147483647 h 968"/>
              <a:gd name="T8" fmla="*/ 2147483647 w 856"/>
              <a:gd name="T9" fmla="*/ 2147483647 h 968"/>
              <a:gd name="T10" fmla="*/ 2147483647 w 856"/>
              <a:gd name="T11" fmla="*/ 2147483647 h 968"/>
              <a:gd name="T12" fmla="*/ 2147483647 w 856"/>
              <a:gd name="T13" fmla="*/ 2147483647 h 968"/>
              <a:gd name="T14" fmla="*/ 2147483647 w 856"/>
              <a:gd name="T15" fmla="*/ 2147483647 h 968"/>
              <a:gd name="T16" fmla="*/ 2147483647 w 856"/>
              <a:gd name="T17" fmla="*/ 2147483647 h 968"/>
              <a:gd name="T18" fmla="*/ 2147483647 w 856"/>
              <a:gd name="T19" fmla="*/ 2147483647 h 968"/>
              <a:gd name="T20" fmla="*/ 2147483647 w 856"/>
              <a:gd name="T21" fmla="*/ 2147483647 h 968"/>
              <a:gd name="T22" fmla="*/ 2147483647 w 856"/>
              <a:gd name="T23" fmla="*/ 2147483647 h 968"/>
              <a:gd name="T24" fmla="*/ 2147483647 w 856"/>
              <a:gd name="T25" fmla="*/ 2147483647 h 968"/>
              <a:gd name="T26" fmla="*/ 2147483647 w 856"/>
              <a:gd name="T27" fmla="*/ 2147483647 h 968"/>
              <a:gd name="T28" fmla="*/ 2147483647 w 856"/>
              <a:gd name="T29" fmla="*/ 2147483647 h 968"/>
              <a:gd name="T30" fmla="*/ 2147483647 w 856"/>
              <a:gd name="T31" fmla="*/ 2147483647 h 968"/>
              <a:gd name="T32" fmla="*/ 2147483647 w 856"/>
              <a:gd name="T33" fmla="*/ 2147483647 h 968"/>
              <a:gd name="T34" fmla="*/ 2147483647 w 856"/>
              <a:gd name="T35" fmla="*/ 2147483647 h 968"/>
              <a:gd name="T36" fmla="*/ 2147483647 w 856"/>
              <a:gd name="T37" fmla="*/ 2147483647 h 968"/>
              <a:gd name="T38" fmla="*/ 2147483647 w 856"/>
              <a:gd name="T39" fmla="*/ 2147483647 h 968"/>
              <a:gd name="T40" fmla="*/ 2147483647 w 856"/>
              <a:gd name="T41" fmla="*/ 2147483647 h 968"/>
              <a:gd name="T42" fmla="*/ 2147483647 w 856"/>
              <a:gd name="T43" fmla="*/ 2147483647 h 968"/>
              <a:gd name="T44" fmla="*/ 2147483647 w 856"/>
              <a:gd name="T45" fmla="*/ 2147483647 h 968"/>
              <a:gd name="T46" fmla="*/ 2147483647 w 856"/>
              <a:gd name="T47" fmla="*/ 2147483647 h 968"/>
              <a:gd name="T48" fmla="*/ 2147483647 w 856"/>
              <a:gd name="T49" fmla="*/ 2147483647 h 968"/>
              <a:gd name="T50" fmla="*/ 2147483647 w 856"/>
              <a:gd name="T51" fmla="*/ 2147483647 h 968"/>
              <a:gd name="T52" fmla="*/ 2147483647 w 856"/>
              <a:gd name="T53" fmla="*/ 2147483647 h 968"/>
              <a:gd name="T54" fmla="*/ 2147483647 w 856"/>
              <a:gd name="T55" fmla="*/ 2147483647 h 968"/>
              <a:gd name="T56" fmla="*/ 2147483647 w 856"/>
              <a:gd name="T57" fmla="*/ 2147483647 h 968"/>
              <a:gd name="T58" fmla="*/ 2147483647 w 856"/>
              <a:gd name="T59" fmla="*/ 2147483647 h 968"/>
              <a:gd name="T60" fmla="*/ 2147483647 w 856"/>
              <a:gd name="T61" fmla="*/ 2147483647 h 968"/>
              <a:gd name="T62" fmla="*/ 2147483647 w 856"/>
              <a:gd name="T63" fmla="*/ 2147483647 h 968"/>
              <a:gd name="T64" fmla="*/ 2147483647 w 856"/>
              <a:gd name="T65" fmla="*/ 2147483647 h 968"/>
              <a:gd name="T66" fmla="*/ 2147483647 w 856"/>
              <a:gd name="T67" fmla="*/ 2147483647 h 968"/>
              <a:gd name="T68" fmla="*/ 2147483647 w 856"/>
              <a:gd name="T69" fmla="*/ 2147483647 h 968"/>
              <a:gd name="T70" fmla="*/ 2147483647 w 856"/>
              <a:gd name="T71" fmla="*/ 2147483647 h 968"/>
              <a:gd name="T72" fmla="*/ 2147483647 w 856"/>
              <a:gd name="T73" fmla="*/ 2147483647 h 968"/>
              <a:gd name="T74" fmla="*/ 2147483647 w 856"/>
              <a:gd name="T75" fmla="*/ 2147483647 h 968"/>
              <a:gd name="T76" fmla="*/ 2147483647 w 856"/>
              <a:gd name="T77" fmla="*/ 2147483647 h 968"/>
              <a:gd name="T78" fmla="*/ 2147483647 w 856"/>
              <a:gd name="T79" fmla="*/ 2147483647 h 968"/>
              <a:gd name="T80" fmla="*/ 2147483647 w 856"/>
              <a:gd name="T81" fmla="*/ 2147483647 h 968"/>
              <a:gd name="T82" fmla="*/ 2147483647 w 856"/>
              <a:gd name="T83" fmla="*/ 2147483647 h 968"/>
              <a:gd name="T84" fmla="*/ 2147483647 w 856"/>
              <a:gd name="T85" fmla="*/ 2147483647 h 968"/>
              <a:gd name="T86" fmla="*/ 2147483647 w 856"/>
              <a:gd name="T87" fmla="*/ 2147483647 h 968"/>
              <a:gd name="T88" fmla="*/ 2147483647 w 856"/>
              <a:gd name="T89" fmla="*/ 2147483647 h 968"/>
              <a:gd name="T90" fmla="*/ 2147483647 w 856"/>
              <a:gd name="T91" fmla="*/ 2147483647 h 968"/>
              <a:gd name="T92" fmla="*/ 2147483647 w 856"/>
              <a:gd name="T93" fmla="*/ 2147483647 h 968"/>
              <a:gd name="T94" fmla="*/ 2147483647 w 856"/>
              <a:gd name="T95" fmla="*/ 2147483647 h 968"/>
              <a:gd name="T96" fmla="*/ 2147483647 w 856"/>
              <a:gd name="T97" fmla="*/ 2147483647 h 968"/>
              <a:gd name="T98" fmla="*/ 2147483647 w 856"/>
              <a:gd name="T99" fmla="*/ 2147483647 h 968"/>
              <a:gd name="T100" fmla="*/ 2147483647 w 856"/>
              <a:gd name="T101" fmla="*/ 2147483647 h 968"/>
              <a:gd name="T102" fmla="*/ 2147483647 w 856"/>
              <a:gd name="T103" fmla="*/ 2147483647 h 968"/>
              <a:gd name="T104" fmla="*/ 2147483647 w 856"/>
              <a:gd name="T105" fmla="*/ 2147483647 h 968"/>
              <a:gd name="T106" fmla="*/ 2147483647 w 856"/>
              <a:gd name="T107" fmla="*/ 2147483647 h 968"/>
              <a:gd name="T108" fmla="*/ 2147483647 w 856"/>
              <a:gd name="T109" fmla="*/ 2147483647 h 968"/>
              <a:gd name="T110" fmla="*/ 2147483647 w 856"/>
              <a:gd name="T111" fmla="*/ 2147483647 h 968"/>
              <a:gd name="T112" fmla="*/ 2147483647 w 856"/>
              <a:gd name="T113" fmla="*/ 2147483647 h 96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856"/>
              <a:gd name="T172" fmla="*/ 0 h 968"/>
              <a:gd name="T173" fmla="*/ 856 w 856"/>
              <a:gd name="T174" fmla="*/ 968 h 968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856" h="968">
                <a:moveTo>
                  <a:pt x="650" y="190"/>
                </a:moveTo>
                <a:lnTo>
                  <a:pt x="646" y="192"/>
                </a:lnTo>
                <a:lnTo>
                  <a:pt x="638" y="209"/>
                </a:lnTo>
                <a:lnTo>
                  <a:pt x="644" y="190"/>
                </a:lnTo>
                <a:lnTo>
                  <a:pt x="640" y="185"/>
                </a:lnTo>
                <a:lnTo>
                  <a:pt x="638" y="188"/>
                </a:lnTo>
                <a:lnTo>
                  <a:pt x="639" y="176"/>
                </a:lnTo>
                <a:lnTo>
                  <a:pt x="632" y="168"/>
                </a:lnTo>
                <a:lnTo>
                  <a:pt x="623" y="168"/>
                </a:lnTo>
                <a:lnTo>
                  <a:pt x="621" y="166"/>
                </a:lnTo>
                <a:lnTo>
                  <a:pt x="612" y="161"/>
                </a:lnTo>
                <a:lnTo>
                  <a:pt x="604" y="156"/>
                </a:lnTo>
                <a:lnTo>
                  <a:pt x="594" y="153"/>
                </a:lnTo>
                <a:lnTo>
                  <a:pt x="587" y="152"/>
                </a:lnTo>
                <a:lnTo>
                  <a:pt x="576" y="146"/>
                </a:lnTo>
                <a:lnTo>
                  <a:pt x="575" y="148"/>
                </a:lnTo>
                <a:lnTo>
                  <a:pt x="562" y="152"/>
                </a:lnTo>
                <a:lnTo>
                  <a:pt x="554" y="166"/>
                </a:lnTo>
                <a:lnTo>
                  <a:pt x="552" y="170"/>
                </a:lnTo>
                <a:lnTo>
                  <a:pt x="544" y="173"/>
                </a:lnTo>
                <a:lnTo>
                  <a:pt x="530" y="195"/>
                </a:lnTo>
                <a:lnTo>
                  <a:pt x="531" y="177"/>
                </a:lnTo>
                <a:lnTo>
                  <a:pt x="525" y="182"/>
                </a:lnTo>
                <a:lnTo>
                  <a:pt x="518" y="178"/>
                </a:lnTo>
                <a:lnTo>
                  <a:pt x="509" y="178"/>
                </a:lnTo>
                <a:lnTo>
                  <a:pt x="502" y="154"/>
                </a:lnTo>
                <a:lnTo>
                  <a:pt x="488" y="162"/>
                </a:lnTo>
                <a:lnTo>
                  <a:pt x="472" y="170"/>
                </a:lnTo>
                <a:lnTo>
                  <a:pt x="465" y="168"/>
                </a:lnTo>
                <a:lnTo>
                  <a:pt x="480" y="158"/>
                </a:lnTo>
                <a:lnTo>
                  <a:pt x="494" y="131"/>
                </a:lnTo>
                <a:lnTo>
                  <a:pt x="508" y="116"/>
                </a:lnTo>
                <a:lnTo>
                  <a:pt x="522" y="99"/>
                </a:lnTo>
                <a:lnTo>
                  <a:pt x="516" y="86"/>
                </a:lnTo>
                <a:lnTo>
                  <a:pt x="506" y="77"/>
                </a:lnTo>
                <a:lnTo>
                  <a:pt x="501" y="56"/>
                </a:lnTo>
                <a:lnTo>
                  <a:pt x="497" y="34"/>
                </a:lnTo>
                <a:lnTo>
                  <a:pt x="496" y="36"/>
                </a:lnTo>
                <a:lnTo>
                  <a:pt x="488" y="23"/>
                </a:lnTo>
                <a:lnTo>
                  <a:pt x="489" y="29"/>
                </a:lnTo>
                <a:lnTo>
                  <a:pt x="486" y="29"/>
                </a:lnTo>
                <a:lnTo>
                  <a:pt x="485" y="30"/>
                </a:lnTo>
                <a:lnTo>
                  <a:pt x="471" y="53"/>
                </a:lnTo>
                <a:lnTo>
                  <a:pt x="456" y="76"/>
                </a:lnTo>
                <a:lnTo>
                  <a:pt x="435" y="75"/>
                </a:lnTo>
                <a:lnTo>
                  <a:pt x="420" y="72"/>
                </a:lnTo>
                <a:lnTo>
                  <a:pt x="407" y="68"/>
                </a:lnTo>
                <a:lnTo>
                  <a:pt x="388" y="71"/>
                </a:lnTo>
                <a:lnTo>
                  <a:pt x="389" y="84"/>
                </a:lnTo>
                <a:lnTo>
                  <a:pt x="380" y="82"/>
                </a:lnTo>
                <a:lnTo>
                  <a:pt x="357" y="86"/>
                </a:lnTo>
                <a:lnTo>
                  <a:pt x="335" y="96"/>
                </a:lnTo>
                <a:lnTo>
                  <a:pt x="322" y="96"/>
                </a:lnTo>
                <a:lnTo>
                  <a:pt x="307" y="78"/>
                </a:lnTo>
                <a:lnTo>
                  <a:pt x="305" y="50"/>
                </a:lnTo>
                <a:lnTo>
                  <a:pt x="310" y="27"/>
                </a:lnTo>
                <a:lnTo>
                  <a:pt x="301" y="14"/>
                </a:lnTo>
                <a:lnTo>
                  <a:pt x="299" y="0"/>
                </a:lnTo>
                <a:lnTo>
                  <a:pt x="287" y="0"/>
                </a:lnTo>
                <a:lnTo>
                  <a:pt x="288" y="2"/>
                </a:lnTo>
                <a:lnTo>
                  <a:pt x="282" y="15"/>
                </a:lnTo>
                <a:lnTo>
                  <a:pt x="264" y="22"/>
                </a:lnTo>
                <a:lnTo>
                  <a:pt x="246" y="30"/>
                </a:lnTo>
                <a:lnTo>
                  <a:pt x="243" y="39"/>
                </a:lnTo>
                <a:lnTo>
                  <a:pt x="222" y="32"/>
                </a:lnTo>
                <a:lnTo>
                  <a:pt x="201" y="24"/>
                </a:lnTo>
                <a:lnTo>
                  <a:pt x="208" y="38"/>
                </a:lnTo>
                <a:lnTo>
                  <a:pt x="214" y="65"/>
                </a:lnTo>
                <a:lnTo>
                  <a:pt x="228" y="70"/>
                </a:lnTo>
                <a:lnTo>
                  <a:pt x="225" y="77"/>
                </a:lnTo>
                <a:lnTo>
                  <a:pt x="205" y="94"/>
                </a:lnTo>
                <a:lnTo>
                  <a:pt x="183" y="111"/>
                </a:lnTo>
                <a:lnTo>
                  <a:pt x="180" y="110"/>
                </a:lnTo>
                <a:lnTo>
                  <a:pt x="168" y="111"/>
                </a:lnTo>
                <a:lnTo>
                  <a:pt x="150" y="100"/>
                </a:lnTo>
                <a:lnTo>
                  <a:pt x="147" y="98"/>
                </a:lnTo>
                <a:lnTo>
                  <a:pt x="138" y="77"/>
                </a:lnTo>
                <a:lnTo>
                  <a:pt x="126" y="86"/>
                </a:lnTo>
                <a:lnTo>
                  <a:pt x="120" y="83"/>
                </a:lnTo>
                <a:lnTo>
                  <a:pt x="123" y="87"/>
                </a:lnTo>
                <a:lnTo>
                  <a:pt x="105" y="87"/>
                </a:lnTo>
                <a:lnTo>
                  <a:pt x="85" y="87"/>
                </a:lnTo>
                <a:lnTo>
                  <a:pt x="88" y="104"/>
                </a:lnTo>
                <a:lnTo>
                  <a:pt x="100" y="108"/>
                </a:lnTo>
                <a:lnTo>
                  <a:pt x="96" y="114"/>
                </a:lnTo>
                <a:lnTo>
                  <a:pt x="81" y="116"/>
                </a:lnTo>
                <a:lnTo>
                  <a:pt x="85" y="140"/>
                </a:lnTo>
                <a:lnTo>
                  <a:pt x="95" y="165"/>
                </a:lnTo>
                <a:lnTo>
                  <a:pt x="89" y="200"/>
                </a:lnTo>
                <a:lnTo>
                  <a:pt x="84" y="234"/>
                </a:lnTo>
                <a:lnTo>
                  <a:pt x="77" y="234"/>
                </a:lnTo>
                <a:lnTo>
                  <a:pt x="58" y="239"/>
                </a:lnTo>
                <a:lnTo>
                  <a:pt x="41" y="248"/>
                </a:lnTo>
                <a:lnTo>
                  <a:pt x="23" y="255"/>
                </a:lnTo>
                <a:lnTo>
                  <a:pt x="18" y="274"/>
                </a:lnTo>
                <a:lnTo>
                  <a:pt x="12" y="293"/>
                </a:lnTo>
                <a:lnTo>
                  <a:pt x="0" y="314"/>
                </a:lnTo>
                <a:lnTo>
                  <a:pt x="11" y="332"/>
                </a:lnTo>
                <a:lnTo>
                  <a:pt x="21" y="351"/>
                </a:lnTo>
                <a:lnTo>
                  <a:pt x="19" y="362"/>
                </a:lnTo>
                <a:lnTo>
                  <a:pt x="28" y="364"/>
                </a:lnTo>
                <a:lnTo>
                  <a:pt x="41" y="374"/>
                </a:lnTo>
                <a:lnTo>
                  <a:pt x="59" y="378"/>
                </a:lnTo>
                <a:lnTo>
                  <a:pt x="73" y="366"/>
                </a:lnTo>
                <a:lnTo>
                  <a:pt x="75" y="384"/>
                </a:lnTo>
                <a:lnTo>
                  <a:pt x="77" y="404"/>
                </a:lnTo>
                <a:lnTo>
                  <a:pt x="100" y="401"/>
                </a:lnTo>
                <a:lnTo>
                  <a:pt x="127" y="402"/>
                </a:lnTo>
                <a:lnTo>
                  <a:pt x="138" y="395"/>
                </a:lnTo>
                <a:lnTo>
                  <a:pt x="156" y="384"/>
                </a:lnTo>
                <a:lnTo>
                  <a:pt x="174" y="372"/>
                </a:lnTo>
                <a:lnTo>
                  <a:pt x="191" y="375"/>
                </a:lnTo>
                <a:lnTo>
                  <a:pt x="193" y="395"/>
                </a:lnTo>
                <a:lnTo>
                  <a:pt x="195" y="416"/>
                </a:lnTo>
                <a:lnTo>
                  <a:pt x="211" y="434"/>
                </a:lnTo>
                <a:lnTo>
                  <a:pt x="228" y="440"/>
                </a:lnTo>
                <a:lnTo>
                  <a:pt x="247" y="449"/>
                </a:lnTo>
                <a:lnTo>
                  <a:pt x="271" y="466"/>
                </a:lnTo>
                <a:lnTo>
                  <a:pt x="297" y="470"/>
                </a:lnTo>
                <a:lnTo>
                  <a:pt x="303" y="480"/>
                </a:lnTo>
                <a:lnTo>
                  <a:pt x="306" y="504"/>
                </a:lnTo>
                <a:lnTo>
                  <a:pt x="301" y="504"/>
                </a:lnTo>
                <a:lnTo>
                  <a:pt x="310" y="514"/>
                </a:lnTo>
                <a:lnTo>
                  <a:pt x="313" y="533"/>
                </a:lnTo>
                <a:lnTo>
                  <a:pt x="333" y="536"/>
                </a:lnTo>
                <a:lnTo>
                  <a:pt x="353" y="538"/>
                </a:lnTo>
                <a:lnTo>
                  <a:pt x="355" y="560"/>
                </a:lnTo>
                <a:lnTo>
                  <a:pt x="369" y="573"/>
                </a:lnTo>
                <a:lnTo>
                  <a:pt x="374" y="582"/>
                </a:lnTo>
                <a:lnTo>
                  <a:pt x="369" y="602"/>
                </a:lnTo>
                <a:lnTo>
                  <a:pt x="364" y="620"/>
                </a:lnTo>
                <a:lnTo>
                  <a:pt x="368" y="628"/>
                </a:lnTo>
                <a:lnTo>
                  <a:pt x="364" y="630"/>
                </a:lnTo>
                <a:lnTo>
                  <a:pt x="369" y="641"/>
                </a:lnTo>
                <a:lnTo>
                  <a:pt x="372" y="676"/>
                </a:lnTo>
                <a:lnTo>
                  <a:pt x="404" y="681"/>
                </a:lnTo>
                <a:lnTo>
                  <a:pt x="419" y="683"/>
                </a:lnTo>
                <a:lnTo>
                  <a:pt x="425" y="704"/>
                </a:lnTo>
                <a:lnTo>
                  <a:pt x="432" y="724"/>
                </a:lnTo>
                <a:lnTo>
                  <a:pt x="443" y="724"/>
                </a:lnTo>
                <a:lnTo>
                  <a:pt x="455" y="725"/>
                </a:lnTo>
                <a:lnTo>
                  <a:pt x="454" y="744"/>
                </a:lnTo>
                <a:lnTo>
                  <a:pt x="454" y="765"/>
                </a:lnTo>
                <a:lnTo>
                  <a:pt x="467" y="765"/>
                </a:lnTo>
                <a:lnTo>
                  <a:pt x="477" y="797"/>
                </a:lnTo>
                <a:lnTo>
                  <a:pt x="464" y="809"/>
                </a:lnTo>
                <a:lnTo>
                  <a:pt x="450" y="821"/>
                </a:lnTo>
                <a:lnTo>
                  <a:pt x="438" y="836"/>
                </a:lnTo>
                <a:lnTo>
                  <a:pt x="426" y="850"/>
                </a:lnTo>
                <a:lnTo>
                  <a:pt x="416" y="864"/>
                </a:lnTo>
                <a:lnTo>
                  <a:pt x="405" y="879"/>
                </a:lnTo>
                <a:lnTo>
                  <a:pt x="405" y="880"/>
                </a:lnTo>
                <a:lnTo>
                  <a:pt x="416" y="878"/>
                </a:lnTo>
                <a:lnTo>
                  <a:pt x="442" y="898"/>
                </a:lnTo>
                <a:lnTo>
                  <a:pt x="448" y="898"/>
                </a:lnTo>
                <a:lnTo>
                  <a:pt x="461" y="906"/>
                </a:lnTo>
                <a:lnTo>
                  <a:pt x="484" y="922"/>
                </a:lnTo>
                <a:lnTo>
                  <a:pt x="506" y="939"/>
                </a:lnTo>
                <a:lnTo>
                  <a:pt x="503" y="951"/>
                </a:lnTo>
                <a:lnTo>
                  <a:pt x="508" y="968"/>
                </a:lnTo>
                <a:lnTo>
                  <a:pt x="516" y="952"/>
                </a:lnTo>
                <a:lnTo>
                  <a:pt x="525" y="936"/>
                </a:lnTo>
                <a:lnTo>
                  <a:pt x="525" y="921"/>
                </a:lnTo>
                <a:lnTo>
                  <a:pt x="531" y="906"/>
                </a:lnTo>
                <a:lnTo>
                  <a:pt x="540" y="894"/>
                </a:lnTo>
                <a:lnTo>
                  <a:pt x="538" y="880"/>
                </a:lnTo>
                <a:lnTo>
                  <a:pt x="539" y="879"/>
                </a:lnTo>
                <a:lnTo>
                  <a:pt x="549" y="882"/>
                </a:lnTo>
                <a:lnTo>
                  <a:pt x="554" y="884"/>
                </a:lnTo>
                <a:lnTo>
                  <a:pt x="545" y="902"/>
                </a:lnTo>
                <a:lnTo>
                  <a:pt x="536" y="920"/>
                </a:lnTo>
                <a:lnTo>
                  <a:pt x="528" y="924"/>
                </a:lnTo>
                <a:lnTo>
                  <a:pt x="531" y="927"/>
                </a:lnTo>
                <a:lnTo>
                  <a:pt x="545" y="906"/>
                </a:lnTo>
                <a:lnTo>
                  <a:pt x="560" y="886"/>
                </a:lnTo>
                <a:lnTo>
                  <a:pt x="568" y="866"/>
                </a:lnTo>
                <a:lnTo>
                  <a:pt x="578" y="845"/>
                </a:lnTo>
                <a:lnTo>
                  <a:pt x="584" y="834"/>
                </a:lnTo>
                <a:lnTo>
                  <a:pt x="585" y="834"/>
                </a:lnTo>
                <a:lnTo>
                  <a:pt x="585" y="814"/>
                </a:lnTo>
                <a:lnTo>
                  <a:pt x="585" y="795"/>
                </a:lnTo>
                <a:lnTo>
                  <a:pt x="580" y="780"/>
                </a:lnTo>
                <a:lnTo>
                  <a:pt x="580" y="772"/>
                </a:lnTo>
                <a:lnTo>
                  <a:pt x="584" y="764"/>
                </a:lnTo>
                <a:lnTo>
                  <a:pt x="580" y="761"/>
                </a:lnTo>
                <a:lnTo>
                  <a:pt x="588" y="760"/>
                </a:lnTo>
                <a:lnTo>
                  <a:pt x="608" y="742"/>
                </a:lnTo>
                <a:lnTo>
                  <a:pt x="627" y="724"/>
                </a:lnTo>
                <a:lnTo>
                  <a:pt x="645" y="718"/>
                </a:lnTo>
                <a:lnTo>
                  <a:pt x="662" y="707"/>
                </a:lnTo>
                <a:lnTo>
                  <a:pt x="669" y="701"/>
                </a:lnTo>
                <a:lnTo>
                  <a:pt x="683" y="701"/>
                </a:lnTo>
                <a:lnTo>
                  <a:pt x="676" y="702"/>
                </a:lnTo>
                <a:lnTo>
                  <a:pt x="690" y="698"/>
                </a:lnTo>
                <a:lnTo>
                  <a:pt x="694" y="696"/>
                </a:lnTo>
                <a:lnTo>
                  <a:pt x="718" y="696"/>
                </a:lnTo>
                <a:lnTo>
                  <a:pt x="724" y="682"/>
                </a:lnTo>
                <a:lnTo>
                  <a:pt x="737" y="675"/>
                </a:lnTo>
                <a:lnTo>
                  <a:pt x="740" y="647"/>
                </a:lnTo>
                <a:lnTo>
                  <a:pt x="750" y="628"/>
                </a:lnTo>
                <a:lnTo>
                  <a:pt x="761" y="609"/>
                </a:lnTo>
                <a:lnTo>
                  <a:pt x="765" y="575"/>
                </a:lnTo>
                <a:lnTo>
                  <a:pt x="770" y="563"/>
                </a:lnTo>
                <a:lnTo>
                  <a:pt x="771" y="539"/>
                </a:lnTo>
                <a:lnTo>
                  <a:pt x="772" y="515"/>
                </a:lnTo>
                <a:lnTo>
                  <a:pt x="771" y="497"/>
                </a:lnTo>
                <a:lnTo>
                  <a:pt x="771" y="479"/>
                </a:lnTo>
                <a:lnTo>
                  <a:pt x="767" y="471"/>
                </a:lnTo>
                <a:lnTo>
                  <a:pt x="771" y="448"/>
                </a:lnTo>
                <a:lnTo>
                  <a:pt x="778" y="446"/>
                </a:lnTo>
                <a:lnTo>
                  <a:pt x="779" y="453"/>
                </a:lnTo>
                <a:lnTo>
                  <a:pt x="791" y="434"/>
                </a:lnTo>
                <a:lnTo>
                  <a:pt x="802" y="414"/>
                </a:lnTo>
                <a:lnTo>
                  <a:pt x="802" y="412"/>
                </a:lnTo>
                <a:lnTo>
                  <a:pt x="807" y="406"/>
                </a:lnTo>
                <a:lnTo>
                  <a:pt x="820" y="388"/>
                </a:lnTo>
                <a:lnTo>
                  <a:pt x="833" y="370"/>
                </a:lnTo>
                <a:lnTo>
                  <a:pt x="852" y="342"/>
                </a:lnTo>
                <a:lnTo>
                  <a:pt x="856" y="308"/>
                </a:lnTo>
                <a:lnTo>
                  <a:pt x="846" y="282"/>
                </a:lnTo>
                <a:lnTo>
                  <a:pt x="837" y="257"/>
                </a:lnTo>
                <a:lnTo>
                  <a:pt x="820" y="254"/>
                </a:lnTo>
                <a:lnTo>
                  <a:pt x="802" y="251"/>
                </a:lnTo>
                <a:lnTo>
                  <a:pt x="778" y="230"/>
                </a:lnTo>
                <a:lnTo>
                  <a:pt x="755" y="209"/>
                </a:lnTo>
                <a:lnTo>
                  <a:pt x="724" y="201"/>
                </a:lnTo>
                <a:lnTo>
                  <a:pt x="704" y="201"/>
                </a:lnTo>
                <a:lnTo>
                  <a:pt x="684" y="197"/>
                </a:lnTo>
                <a:lnTo>
                  <a:pt x="665" y="192"/>
                </a:lnTo>
                <a:lnTo>
                  <a:pt x="648" y="197"/>
                </a:lnTo>
                <a:lnTo>
                  <a:pt x="650" y="19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aphicFrame>
        <p:nvGraphicFramePr>
          <p:cNvPr id="9219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82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20" name="4 Marcador de número de diapositiva"/>
          <p:cNvSpPr txBox="1"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8153400" y="6648450"/>
            <a:ext cx="885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DEE0AFA6-67E9-45B7-9B6D-9147741DAA75}" type="slidenum">
              <a:rPr lang="en-US" sz="900">
                <a:solidFill>
                  <a:srgbClr val="7F329A"/>
                </a:solidFill>
                <a:cs typeface="Arial" pitchFamily="34" charset="0"/>
              </a:rPr>
              <a:pPr algn="r" eaLnBrk="1" hangingPunct="1"/>
              <a:t>5</a:t>
            </a:fld>
            <a:endParaRPr lang="en-US" sz="900">
              <a:solidFill>
                <a:srgbClr val="7F329A"/>
              </a:solidFill>
              <a:cs typeface="Arial" pitchFamily="34" charset="0"/>
            </a:endParaRPr>
          </a:p>
        </p:txBody>
      </p:sp>
      <p:sp>
        <p:nvSpPr>
          <p:cNvPr id="9221" name="Rectangle 5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smtClean="0">
                <a:ea typeface="ＭＳ Ｐゴシック" pitchFamily="34" charset="-128"/>
                <a:cs typeface="Arial" pitchFamily="34" charset="0"/>
              </a:rPr>
              <a:t>From BPC we evolved to SME Promotion, and then to Business Accelerator</a:t>
            </a:r>
          </a:p>
        </p:txBody>
      </p:sp>
      <p:sp>
        <p:nvSpPr>
          <p:cNvPr id="9222" name="Freeform 4"/>
          <p:cNvSpPr>
            <a:spLocks/>
          </p:cNvSpPr>
          <p:nvPr/>
        </p:nvSpPr>
        <p:spPr bwMode="auto">
          <a:xfrm>
            <a:off x="7434263" y="4699000"/>
            <a:ext cx="9525" cy="1588"/>
          </a:xfrm>
          <a:custGeom>
            <a:avLst/>
            <a:gdLst>
              <a:gd name="T0" fmla="*/ 2147483647 w 9"/>
              <a:gd name="T1" fmla="*/ 0 h 3"/>
              <a:gd name="T2" fmla="*/ 0 w 9"/>
              <a:gd name="T3" fmla="*/ 0 h 3"/>
              <a:gd name="T4" fmla="*/ 2147483647 w 9"/>
              <a:gd name="T5" fmla="*/ 0 h 3"/>
              <a:gd name="T6" fmla="*/ 2147483647 w 9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9"/>
              <a:gd name="T13" fmla="*/ 0 h 3"/>
              <a:gd name="T14" fmla="*/ 9 w 9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9" h="3">
                <a:moveTo>
                  <a:pt x="9" y="1"/>
                </a:moveTo>
                <a:lnTo>
                  <a:pt x="0" y="3"/>
                </a:lnTo>
                <a:lnTo>
                  <a:pt x="1" y="0"/>
                </a:lnTo>
                <a:lnTo>
                  <a:pt x="9" y="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23" name="Freeform 5"/>
          <p:cNvSpPr>
            <a:spLocks/>
          </p:cNvSpPr>
          <p:nvPr/>
        </p:nvSpPr>
        <p:spPr bwMode="auto">
          <a:xfrm>
            <a:off x="7185025" y="4557713"/>
            <a:ext cx="317500" cy="387350"/>
          </a:xfrm>
          <a:custGeom>
            <a:avLst/>
            <a:gdLst>
              <a:gd name="T0" fmla="*/ 2147483647 w 240"/>
              <a:gd name="T1" fmla="*/ 2147483647 h 282"/>
              <a:gd name="T2" fmla="*/ 2147483647 w 240"/>
              <a:gd name="T3" fmla="*/ 2147483647 h 282"/>
              <a:gd name="T4" fmla="*/ 2147483647 w 240"/>
              <a:gd name="T5" fmla="*/ 2147483647 h 282"/>
              <a:gd name="T6" fmla="*/ 2147483647 w 240"/>
              <a:gd name="T7" fmla="*/ 2147483647 h 282"/>
              <a:gd name="T8" fmla="*/ 2147483647 w 240"/>
              <a:gd name="T9" fmla="*/ 2147483647 h 282"/>
              <a:gd name="T10" fmla="*/ 2147483647 w 240"/>
              <a:gd name="T11" fmla="*/ 2147483647 h 282"/>
              <a:gd name="T12" fmla="*/ 2147483647 w 240"/>
              <a:gd name="T13" fmla="*/ 2147483647 h 282"/>
              <a:gd name="T14" fmla="*/ 2147483647 w 240"/>
              <a:gd name="T15" fmla="*/ 2147483647 h 282"/>
              <a:gd name="T16" fmla="*/ 2147483647 w 240"/>
              <a:gd name="T17" fmla="*/ 2147483647 h 282"/>
              <a:gd name="T18" fmla="*/ 2147483647 w 240"/>
              <a:gd name="T19" fmla="*/ 2147483647 h 282"/>
              <a:gd name="T20" fmla="*/ 2147483647 w 240"/>
              <a:gd name="T21" fmla="*/ 2147483647 h 282"/>
              <a:gd name="T22" fmla="*/ 2147483647 w 240"/>
              <a:gd name="T23" fmla="*/ 2147483647 h 282"/>
              <a:gd name="T24" fmla="*/ 2147483647 w 240"/>
              <a:gd name="T25" fmla="*/ 2147483647 h 282"/>
              <a:gd name="T26" fmla="*/ 2147483647 w 240"/>
              <a:gd name="T27" fmla="*/ 2147483647 h 282"/>
              <a:gd name="T28" fmla="*/ 2147483647 w 240"/>
              <a:gd name="T29" fmla="*/ 2147483647 h 282"/>
              <a:gd name="T30" fmla="*/ 2147483647 w 240"/>
              <a:gd name="T31" fmla="*/ 2147483647 h 282"/>
              <a:gd name="T32" fmla="*/ 2147483647 w 240"/>
              <a:gd name="T33" fmla="*/ 2147483647 h 282"/>
              <a:gd name="T34" fmla="*/ 2147483647 w 240"/>
              <a:gd name="T35" fmla="*/ 2147483647 h 282"/>
              <a:gd name="T36" fmla="*/ 2147483647 w 240"/>
              <a:gd name="T37" fmla="*/ 2147483647 h 282"/>
              <a:gd name="T38" fmla="*/ 2147483647 w 240"/>
              <a:gd name="T39" fmla="*/ 2147483647 h 282"/>
              <a:gd name="T40" fmla="*/ 2147483647 w 240"/>
              <a:gd name="T41" fmla="*/ 2147483647 h 282"/>
              <a:gd name="T42" fmla="*/ 2147483647 w 240"/>
              <a:gd name="T43" fmla="*/ 2147483647 h 282"/>
              <a:gd name="T44" fmla="*/ 2147483647 w 240"/>
              <a:gd name="T45" fmla="*/ 2147483647 h 282"/>
              <a:gd name="T46" fmla="*/ 2147483647 w 240"/>
              <a:gd name="T47" fmla="*/ 2147483647 h 282"/>
              <a:gd name="T48" fmla="*/ 0 w 240"/>
              <a:gd name="T49" fmla="*/ 0 h 282"/>
              <a:gd name="T50" fmla="*/ 2147483647 w 240"/>
              <a:gd name="T51" fmla="*/ 2147483647 h 282"/>
              <a:gd name="T52" fmla="*/ 2147483647 w 240"/>
              <a:gd name="T53" fmla="*/ 2147483647 h 282"/>
              <a:gd name="T54" fmla="*/ 2147483647 w 240"/>
              <a:gd name="T55" fmla="*/ 2147483647 h 282"/>
              <a:gd name="T56" fmla="*/ 2147483647 w 240"/>
              <a:gd name="T57" fmla="*/ 2147483647 h 282"/>
              <a:gd name="T58" fmla="*/ 2147483647 w 240"/>
              <a:gd name="T59" fmla="*/ 2147483647 h 282"/>
              <a:gd name="T60" fmla="*/ 2147483647 w 240"/>
              <a:gd name="T61" fmla="*/ 2147483647 h 282"/>
              <a:gd name="T62" fmla="*/ 2147483647 w 240"/>
              <a:gd name="T63" fmla="*/ 2147483647 h 282"/>
              <a:gd name="T64" fmla="*/ 2147483647 w 240"/>
              <a:gd name="T65" fmla="*/ 2147483647 h 282"/>
              <a:gd name="T66" fmla="*/ 2147483647 w 240"/>
              <a:gd name="T67" fmla="*/ 2147483647 h 282"/>
              <a:gd name="T68" fmla="*/ 2147483647 w 240"/>
              <a:gd name="T69" fmla="*/ 2147483647 h 282"/>
              <a:gd name="T70" fmla="*/ 2147483647 w 240"/>
              <a:gd name="T71" fmla="*/ 2147483647 h 282"/>
              <a:gd name="T72" fmla="*/ 2147483647 w 240"/>
              <a:gd name="T73" fmla="*/ 2147483647 h 282"/>
              <a:gd name="T74" fmla="*/ 2147483647 w 240"/>
              <a:gd name="T75" fmla="*/ 2147483647 h 282"/>
              <a:gd name="T76" fmla="*/ 2147483647 w 240"/>
              <a:gd name="T77" fmla="*/ 2147483647 h 282"/>
              <a:gd name="T78" fmla="*/ 2147483647 w 240"/>
              <a:gd name="T79" fmla="*/ 2147483647 h 282"/>
              <a:gd name="T80" fmla="*/ 2147483647 w 240"/>
              <a:gd name="T81" fmla="*/ 2147483647 h 282"/>
              <a:gd name="T82" fmla="*/ 2147483647 w 240"/>
              <a:gd name="T83" fmla="*/ 2147483647 h 282"/>
              <a:gd name="T84" fmla="*/ 2147483647 w 240"/>
              <a:gd name="T85" fmla="*/ 2147483647 h 282"/>
              <a:gd name="T86" fmla="*/ 2147483647 w 240"/>
              <a:gd name="T87" fmla="*/ 2147483647 h 282"/>
              <a:gd name="T88" fmla="*/ 2147483647 w 240"/>
              <a:gd name="T89" fmla="*/ 2147483647 h 282"/>
              <a:gd name="T90" fmla="*/ 2147483647 w 240"/>
              <a:gd name="T91" fmla="*/ 2147483647 h 282"/>
              <a:gd name="T92" fmla="*/ 2147483647 w 240"/>
              <a:gd name="T93" fmla="*/ 2147483647 h 282"/>
              <a:gd name="T94" fmla="*/ 2147483647 w 240"/>
              <a:gd name="T95" fmla="*/ 2147483647 h 282"/>
              <a:gd name="T96" fmla="*/ 2147483647 w 240"/>
              <a:gd name="T97" fmla="*/ 2147483647 h 282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240"/>
              <a:gd name="T148" fmla="*/ 0 h 282"/>
              <a:gd name="T149" fmla="*/ 240 w 240"/>
              <a:gd name="T150" fmla="*/ 282 h 282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240" h="282">
                <a:moveTo>
                  <a:pt x="240" y="217"/>
                </a:moveTo>
                <a:lnTo>
                  <a:pt x="238" y="220"/>
                </a:lnTo>
                <a:lnTo>
                  <a:pt x="234" y="251"/>
                </a:lnTo>
                <a:lnTo>
                  <a:pt x="230" y="282"/>
                </a:lnTo>
                <a:lnTo>
                  <a:pt x="221" y="273"/>
                </a:lnTo>
                <a:lnTo>
                  <a:pt x="218" y="279"/>
                </a:lnTo>
                <a:lnTo>
                  <a:pt x="208" y="274"/>
                </a:lnTo>
                <a:lnTo>
                  <a:pt x="208" y="282"/>
                </a:lnTo>
                <a:lnTo>
                  <a:pt x="186" y="261"/>
                </a:lnTo>
                <a:lnTo>
                  <a:pt x="174" y="249"/>
                </a:lnTo>
                <a:lnTo>
                  <a:pt x="162" y="237"/>
                </a:lnTo>
                <a:lnTo>
                  <a:pt x="150" y="225"/>
                </a:lnTo>
                <a:lnTo>
                  <a:pt x="139" y="213"/>
                </a:lnTo>
                <a:lnTo>
                  <a:pt x="130" y="192"/>
                </a:lnTo>
                <a:lnTo>
                  <a:pt x="120" y="172"/>
                </a:lnTo>
                <a:lnTo>
                  <a:pt x="116" y="168"/>
                </a:lnTo>
                <a:lnTo>
                  <a:pt x="106" y="150"/>
                </a:lnTo>
                <a:lnTo>
                  <a:pt x="94" y="131"/>
                </a:lnTo>
                <a:lnTo>
                  <a:pt x="86" y="114"/>
                </a:lnTo>
                <a:lnTo>
                  <a:pt x="80" y="99"/>
                </a:lnTo>
                <a:lnTo>
                  <a:pt x="62" y="81"/>
                </a:lnTo>
                <a:lnTo>
                  <a:pt x="48" y="61"/>
                </a:lnTo>
                <a:lnTo>
                  <a:pt x="31" y="45"/>
                </a:lnTo>
                <a:lnTo>
                  <a:pt x="14" y="28"/>
                </a:lnTo>
                <a:lnTo>
                  <a:pt x="0" y="0"/>
                </a:lnTo>
                <a:lnTo>
                  <a:pt x="16" y="1"/>
                </a:lnTo>
                <a:lnTo>
                  <a:pt x="31" y="5"/>
                </a:lnTo>
                <a:lnTo>
                  <a:pt x="48" y="7"/>
                </a:lnTo>
                <a:lnTo>
                  <a:pt x="68" y="30"/>
                </a:lnTo>
                <a:lnTo>
                  <a:pt x="71" y="36"/>
                </a:lnTo>
                <a:lnTo>
                  <a:pt x="90" y="53"/>
                </a:lnTo>
                <a:lnTo>
                  <a:pt x="109" y="71"/>
                </a:lnTo>
                <a:lnTo>
                  <a:pt x="126" y="89"/>
                </a:lnTo>
                <a:lnTo>
                  <a:pt x="125" y="81"/>
                </a:lnTo>
                <a:lnTo>
                  <a:pt x="144" y="96"/>
                </a:lnTo>
                <a:lnTo>
                  <a:pt x="156" y="109"/>
                </a:lnTo>
                <a:lnTo>
                  <a:pt x="176" y="124"/>
                </a:lnTo>
                <a:lnTo>
                  <a:pt x="179" y="125"/>
                </a:lnTo>
                <a:lnTo>
                  <a:pt x="192" y="137"/>
                </a:lnTo>
                <a:lnTo>
                  <a:pt x="184" y="142"/>
                </a:lnTo>
                <a:lnTo>
                  <a:pt x="185" y="147"/>
                </a:lnTo>
                <a:lnTo>
                  <a:pt x="184" y="150"/>
                </a:lnTo>
                <a:lnTo>
                  <a:pt x="186" y="159"/>
                </a:lnTo>
                <a:lnTo>
                  <a:pt x="203" y="162"/>
                </a:lnTo>
                <a:lnTo>
                  <a:pt x="206" y="181"/>
                </a:lnTo>
                <a:lnTo>
                  <a:pt x="211" y="186"/>
                </a:lnTo>
                <a:lnTo>
                  <a:pt x="211" y="197"/>
                </a:lnTo>
                <a:lnTo>
                  <a:pt x="229" y="197"/>
                </a:lnTo>
                <a:lnTo>
                  <a:pt x="240" y="21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24" name="Freeform 6"/>
          <p:cNvSpPr>
            <a:spLocks/>
          </p:cNvSpPr>
          <p:nvPr/>
        </p:nvSpPr>
        <p:spPr bwMode="auto">
          <a:xfrm>
            <a:off x="7477125" y="4948238"/>
            <a:ext cx="265113" cy="96837"/>
          </a:xfrm>
          <a:custGeom>
            <a:avLst/>
            <a:gdLst>
              <a:gd name="T0" fmla="*/ 2147483647 w 200"/>
              <a:gd name="T1" fmla="*/ 2147483647 h 68"/>
              <a:gd name="T2" fmla="*/ 2147483647 w 200"/>
              <a:gd name="T3" fmla="*/ 2147483647 h 68"/>
              <a:gd name="T4" fmla="*/ 2147483647 w 200"/>
              <a:gd name="T5" fmla="*/ 2147483647 h 68"/>
              <a:gd name="T6" fmla="*/ 2147483647 w 200"/>
              <a:gd name="T7" fmla="*/ 2147483647 h 68"/>
              <a:gd name="T8" fmla="*/ 2147483647 w 200"/>
              <a:gd name="T9" fmla="*/ 2147483647 h 68"/>
              <a:gd name="T10" fmla="*/ 2147483647 w 200"/>
              <a:gd name="T11" fmla="*/ 2147483647 h 68"/>
              <a:gd name="T12" fmla="*/ 2147483647 w 200"/>
              <a:gd name="T13" fmla="*/ 2147483647 h 68"/>
              <a:gd name="T14" fmla="*/ 2147483647 w 200"/>
              <a:gd name="T15" fmla="*/ 2147483647 h 68"/>
              <a:gd name="T16" fmla="*/ 2147483647 w 200"/>
              <a:gd name="T17" fmla="*/ 2147483647 h 68"/>
              <a:gd name="T18" fmla="*/ 2147483647 w 200"/>
              <a:gd name="T19" fmla="*/ 2147483647 h 68"/>
              <a:gd name="T20" fmla="*/ 2147483647 w 200"/>
              <a:gd name="T21" fmla="*/ 2147483647 h 68"/>
              <a:gd name="T22" fmla="*/ 2147483647 w 200"/>
              <a:gd name="T23" fmla="*/ 2147483647 h 68"/>
              <a:gd name="T24" fmla="*/ 2147483647 w 200"/>
              <a:gd name="T25" fmla="*/ 0 h 68"/>
              <a:gd name="T26" fmla="*/ 2147483647 w 200"/>
              <a:gd name="T27" fmla="*/ 0 h 68"/>
              <a:gd name="T28" fmla="*/ 2147483647 w 200"/>
              <a:gd name="T29" fmla="*/ 2147483647 h 68"/>
              <a:gd name="T30" fmla="*/ 0 w 200"/>
              <a:gd name="T31" fmla="*/ 2147483647 h 68"/>
              <a:gd name="T32" fmla="*/ 2147483647 w 200"/>
              <a:gd name="T33" fmla="*/ 2147483647 h 68"/>
              <a:gd name="T34" fmla="*/ 2147483647 w 200"/>
              <a:gd name="T35" fmla="*/ 2147483647 h 68"/>
              <a:gd name="T36" fmla="*/ 2147483647 w 200"/>
              <a:gd name="T37" fmla="*/ 2147483647 h 68"/>
              <a:gd name="T38" fmla="*/ 2147483647 w 200"/>
              <a:gd name="T39" fmla="*/ 2147483647 h 68"/>
              <a:gd name="T40" fmla="*/ 2147483647 w 200"/>
              <a:gd name="T41" fmla="*/ 2147483647 h 68"/>
              <a:gd name="T42" fmla="*/ 2147483647 w 200"/>
              <a:gd name="T43" fmla="*/ 2147483647 h 68"/>
              <a:gd name="T44" fmla="*/ 2147483647 w 200"/>
              <a:gd name="T45" fmla="*/ 2147483647 h 68"/>
              <a:gd name="T46" fmla="*/ 2147483647 w 200"/>
              <a:gd name="T47" fmla="*/ 2147483647 h 68"/>
              <a:gd name="T48" fmla="*/ 2147483647 w 200"/>
              <a:gd name="T49" fmla="*/ 2147483647 h 68"/>
              <a:gd name="T50" fmla="*/ 2147483647 w 200"/>
              <a:gd name="T51" fmla="*/ 2147483647 h 6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200"/>
              <a:gd name="T79" fmla="*/ 0 h 68"/>
              <a:gd name="T80" fmla="*/ 200 w 200"/>
              <a:gd name="T81" fmla="*/ 68 h 68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200" h="68">
                <a:moveTo>
                  <a:pt x="200" y="68"/>
                </a:moveTo>
                <a:lnTo>
                  <a:pt x="198" y="65"/>
                </a:lnTo>
                <a:lnTo>
                  <a:pt x="198" y="45"/>
                </a:lnTo>
                <a:lnTo>
                  <a:pt x="182" y="43"/>
                </a:lnTo>
                <a:lnTo>
                  <a:pt x="165" y="41"/>
                </a:lnTo>
                <a:lnTo>
                  <a:pt x="159" y="26"/>
                </a:lnTo>
                <a:lnTo>
                  <a:pt x="133" y="18"/>
                </a:lnTo>
                <a:lnTo>
                  <a:pt x="123" y="11"/>
                </a:lnTo>
                <a:lnTo>
                  <a:pt x="114" y="21"/>
                </a:lnTo>
                <a:lnTo>
                  <a:pt x="97" y="21"/>
                </a:lnTo>
                <a:lnTo>
                  <a:pt x="79" y="21"/>
                </a:lnTo>
                <a:lnTo>
                  <a:pt x="70" y="12"/>
                </a:lnTo>
                <a:lnTo>
                  <a:pt x="45" y="0"/>
                </a:lnTo>
                <a:lnTo>
                  <a:pt x="18" y="0"/>
                </a:lnTo>
                <a:lnTo>
                  <a:pt x="7" y="15"/>
                </a:lnTo>
                <a:lnTo>
                  <a:pt x="0" y="18"/>
                </a:lnTo>
                <a:lnTo>
                  <a:pt x="22" y="25"/>
                </a:lnTo>
                <a:lnTo>
                  <a:pt x="22" y="31"/>
                </a:lnTo>
                <a:lnTo>
                  <a:pt x="45" y="37"/>
                </a:lnTo>
                <a:lnTo>
                  <a:pt x="68" y="43"/>
                </a:lnTo>
                <a:lnTo>
                  <a:pt x="87" y="47"/>
                </a:lnTo>
                <a:lnTo>
                  <a:pt x="108" y="51"/>
                </a:lnTo>
                <a:lnTo>
                  <a:pt x="136" y="55"/>
                </a:lnTo>
                <a:lnTo>
                  <a:pt x="164" y="57"/>
                </a:lnTo>
                <a:lnTo>
                  <a:pt x="182" y="63"/>
                </a:lnTo>
                <a:lnTo>
                  <a:pt x="200" y="6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25" name="Freeform 7"/>
          <p:cNvSpPr>
            <a:spLocks/>
          </p:cNvSpPr>
          <p:nvPr/>
        </p:nvSpPr>
        <p:spPr bwMode="auto">
          <a:xfrm>
            <a:off x="7477125" y="4795838"/>
            <a:ext cx="47625" cy="52387"/>
          </a:xfrm>
          <a:custGeom>
            <a:avLst/>
            <a:gdLst>
              <a:gd name="T0" fmla="*/ 2147483647 w 36"/>
              <a:gd name="T1" fmla="*/ 2147483647 h 38"/>
              <a:gd name="T2" fmla="*/ 2147483647 w 36"/>
              <a:gd name="T3" fmla="*/ 2147483647 h 38"/>
              <a:gd name="T4" fmla="*/ 2147483647 w 36"/>
              <a:gd name="T5" fmla="*/ 2147483647 h 38"/>
              <a:gd name="T6" fmla="*/ 2147483647 w 36"/>
              <a:gd name="T7" fmla="*/ 2147483647 h 38"/>
              <a:gd name="T8" fmla="*/ 0 w 36"/>
              <a:gd name="T9" fmla="*/ 2147483647 h 38"/>
              <a:gd name="T10" fmla="*/ 2147483647 w 36"/>
              <a:gd name="T11" fmla="*/ 2147483647 h 38"/>
              <a:gd name="T12" fmla="*/ 2147483647 w 36"/>
              <a:gd name="T13" fmla="*/ 0 h 38"/>
              <a:gd name="T14" fmla="*/ 2147483647 w 36"/>
              <a:gd name="T15" fmla="*/ 2147483647 h 38"/>
              <a:gd name="T16" fmla="*/ 2147483647 w 36"/>
              <a:gd name="T17" fmla="*/ 2147483647 h 3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6"/>
              <a:gd name="T28" fmla="*/ 0 h 38"/>
              <a:gd name="T29" fmla="*/ 36 w 36"/>
              <a:gd name="T30" fmla="*/ 38 h 3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6" h="38">
                <a:moveTo>
                  <a:pt x="36" y="26"/>
                </a:moveTo>
                <a:lnTo>
                  <a:pt x="33" y="38"/>
                </a:lnTo>
                <a:lnTo>
                  <a:pt x="15" y="27"/>
                </a:lnTo>
                <a:lnTo>
                  <a:pt x="8" y="14"/>
                </a:lnTo>
                <a:lnTo>
                  <a:pt x="0" y="10"/>
                </a:lnTo>
                <a:lnTo>
                  <a:pt x="11" y="3"/>
                </a:lnTo>
                <a:lnTo>
                  <a:pt x="14" y="0"/>
                </a:lnTo>
                <a:lnTo>
                  <a:pt x="23" y="21"/>
                </a:lnTo>
                <a:lnTo>
                  <a:pt x="36" y="26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26" name="Freeform 8"/>
          <p:cNvSpPr>
            <a:spLocks/>
          </p:cNvSpPr>
          <p:nvPr/>
        </p:nvSpPr>
        <p:spPr bwMode="auto">
          <a:xfrm>
            <a:off x="7324725" y="4518025"/>
            <a:ext cx="128588" cy="180975"/>
          </a:xfrm>
          <a:custGeom>
            <a:avLst/>
            <a:gdLst>
              <a:gd name="T0" fmla="*/ 2147483647 w 95"/>
              <a:gd name="T1" fmla="*/ 2147483647 h 128"/>
              <a:gd name="T2" fmla="*/ 2147483647 w 95"/>
              <a:gd name="T3" fmla="*/ 2147483647 h 128"/>
              <a:gd name="T4" fmla="*/ 2147483647 w 95"/>
              <a:gd name="T5" fmla="*/ 2147483647 h 128"/>
              <a:gd name="T6" fmla="*/ 2147483647 w 95"/>
              <a:gd name="T7" fmla="*/ 2147483647 h 128"/>
              <a:gd name="T8" fmla="*/ 2147483647 w 95"/>
              <a:gd name="T9" fmla="*/ 2147483647 h 128"/>
              <a:gd name="T10" fmla="*/ 0 w 95"/>
              <a:gd name="T11" fmla="*/ 2147483647 h 128"/>
              <a:gd name="T12" fmla="*/ 2147483647 w 95"/>
              <a:gd name="T13" fmla="*/ 0 h 128"/>
              <a:gd name="T14" fmla="*/ 2147483647 w 95"/>
              <a:gd name="T15" fmla="*/ 2147483647 h 128"/>
              <a:gd name="T16" fmla="*/ 2147483647 w 95"/>
              <a:gd name="T17" fmla="*/ 2147483647 h 128"/>
              <a:gd name="T18" fmla="*/ 2147483647 w 95"/>
              <a:gd name="T19" fmla="*/ 2147483647 h 128"/>
              <a:gd name="T20" fmla="*/ 2147483647 w 95"/>
              <a:gd name="T21" fmla="*/ 2147483647 h 128"/>
              <a:gd name="T22" fmla="*/ 2147483647 w 95"/>
              <a:gd name="T23" fmla="*/ 2147483647 h 128"/>
              <a:gd name="T24" fmla="*/ 2147483647 w 95"/>
              <a:gd name="T25" fmla="*/ 2147483647 h 128"/>
              <a:gd name="T26" fmla="*/ 2147483647 w 95"/>
              <a:gd name="T27" fmla="*/ 2147483647 h 128"/>
              <a:gd name="T28" fmla="*/ 2147483647 w 95"/>
              <a:gd name="T29" fmla="*/ 2147483647 h 128"/>
              <a:gd name="T30" fmla="*/ 2147483647 w 95"/>
              <a:gd name="T31" fmla="*/ 2147483647 h 128"/>
              <a:gd name="T32" fmla="*/ 2147483647 w 95"/>
              <a:gd name="T33" fmla="*/ 2147483647 h 128"/>
              <a:gd name="T34" fmla="*/ 2147483647 w 95"/>
              <a:gd name="T35" fmla="*/ 2147483647 h 128"/>
              <a:gd name="T36" fmla="*/ 2147483647 w 95"/>
              <a:gd name="T37" fmla="*/ 2147483647 h 128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95"/>
              <a:gd name="T58" fmla="*/ 0 h 128"/>
              <a:gd name="T59" fmla="*/ 95 w 95"/>
              <a:gd name="T60" fmla="*/ 128 h 128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95" h="128">
                <a:moveTo>
                  <a:pt x="80" y="128"/>
                </a:moveTo>
                <a:lnTo>
                  <a:pt x="54" y="110"/>
                </a:lnTo>
                <a:lnTo>
                  <a:pt x="29" y="91"/>
                </a:lnTo>
                <a:lnTo>
                  <a:pt x="17" y="63"/>
                </a:lnTo>
                <a:lnTo>
                  <a:pt x="8" y="33"/>
                </a:lnTo>
                <a:lnTo>
                  <a:pt x="0" y="3"/>
                </a:lnTo>
                <a:lnTo>
                  <a:pt x="1" y="0"/>
                </a:lnTo>
                <a:lnTo>
                  <a:pt x="18" y="8"/>
                </a:lnTo>
                <a:lnTo>
                  <a:pt x="19" y="19"/>
                </a:lnTo>
                <a:lnTo>
                  <a:pt x="33" y="19"/>
                </a:lnTo>
                <a:lnTo>
                  <a:pt x="43" y="8"/>
                </a:lnTo>
                <a:lnTo>
                  <a:pt x="56" y="23"/>
                </a:lnTo>
                <a:lnTo>
                  <a:pt x="71" y="37"/>
                </a:lnTo>
                <a:lnTo>
                  <a:pt x="73" y="61"/>
                </a:lnTo>
                <a:lnTo>
                  <a:pt x="75" y="84"/>
                </a:lnTo>
                <a:lnTo>
                  <a:pt x="85" y="105"/>
                </a:lnTo>
                <a:lnTo>
                  <a:pt x="95" y="127"/>
                </a:lnTo>
                <a:lnTo>
                  <a:pt x="87" y="123"/>
                </a:lnTo>
                <a:lnTo>
                  <a:pt x="80" y="12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27" name="Freeform 9"/>
          <p:cNvSpPr>
            <a:spLocks/>
          </p:cNvSpPr>
          <p:nvPr/>
        </p:nvSpPr>
        <p:spPr bwMode="auto">
          <a:xfrm>
            <a:off x="6911975" y="3840163"/>
            <a:ext cx="144463" cy="192087"/>
          </a:xfrm>
          <a:custGeom>
            <a:avLst/>
            <a:gdLst>
              <a:gd name="T0" fmla="*/ 2147483647 w 109"/>
              <a:gd name="T1" fmla="*/ 2147483647 h 141"/>
              <a:gd name="T2" fmla="*/ 2147483647 w 109"/>
              <a:gd name="T3" fmla="*/ 2147483647 h 141"/>
              <a:gd name="T4" fmla="*/ 2147483647 w 109"/>
              <a:gd name="T5" fmla="*/ 2147483647 h 141"/>
              <a:gd name="T6" fmla="*/ 2147483647 w 109"/>
              <a:gd name="T7" fmla="*/ 2147483647 h 141"/>
              <a:gd name="T8" fmla="*/ 2147483647 w 109"/>
              <a:gd name="T9" fmla="*/ 2147483647 h 141"/>
              <a:gd name="T10" fmla="*/ 2147483647 w 109"/>
              <a:gd name="T11" fmla="*/ 2147483647 h 141"/>
              <a:gd name="T12" fmla="*/ 2147483647 w 109"/>
              <a:gd name="T13" fmla="*/ 2147483647 h 141"/>
              <a:gd name="T14" fmla="*/ 2147483647 w 109"/>
              <a:gd name="T15" fmla="*/ 2147483647 h 141"/>
              <a:gd name="T16" fmla="*/ 2147483647 w 109"/>
              <a:gd name="T17" fmla="*/ 2147483647 h 141"/>
              <a:gd name="T18" fmla="*/ 2147483647 w 109"/>
              <a:gd name="T19" fmla="*/ 2147483647 h 141"/>
              <a:gd name="T20" fmla="*/ 0 w 109"/>
              <a:gd name="T21" fmla="*/ 2147483647 h 141"/>
              <a:gd name="T22" fmla="*/ 0 w 109"/>
              <a:gd name="T23" fmla="*/ 0 h 141"/>
              <a:gd name="T24" fmla="*/ 2147483647 w 109"/>
              <a:gd name="T25" fmla="*/ 2147483647 h 141"/>
              <a:gd name="T26" fmla="*/ 2147483647 w 109"/>
              <a:gd name="T27" fmla="*/ 2147483647 h 141"/>
              <a:gd name="T28" fmla="*/ 2147483647 w 109"/>
              <a:gd name="T29" fmla="*/ 2147483647 h 141"/>
              <a:gd name="T30" fmla="*/ 2147483647 w 109"/>
              <a:gd name="T31" fmla="*/ 2147483647 h 141"/>
              <a:gd name="T32" fmla="*/ 2147483647 w 109"/>
              <a:gd name="T33" fmla="*/ 2147483647 h 141"/>
              <a:gd name="T34" fmla="*/ 2147483647 w 109"/>
              <a:gd name="T35" fmla="*/ 2147483647 h 141"/>
              <a:gd name="T36" fmla="*/ 2147483647 w 109"/>
              <a:gd name="T37" fmla="*/ 2147483647 h 141"/>
              <a:gd name="T38" fmla="*/ 2147483647 w 109"/>
              <a:gd name="T39" fmla="*/ 2147483647 h 141"/>
              <a:gd name="T40" fmla="*/ 2147483647 w 109"/>
              <a:gd name="T41" fmla="*/ 2147483647 h 141"/>
              <a:gd name="T42" fmla="*/ 2147483647 w 109"/>
              <a:gd name="T43" fmla="*/ 2147483647 h 141"/>
              <a:gd name="T44" fmla="*/ 2147483647 w 109"/>
              <a:gd name="T45" fmla="*/ 2147483647 h 141"/>
              <a:gd name="T46" fmla="*/ 2147483647 w 109"/>
              <a:gd name="T47" fmla="*/ 2147483647 h 141"/>
              <a:gd name="T48" fmla="*/ 2147483647 w 109"/>
              <a:gd name="T49" fmla="*/ 2147483647 h 141"/>
              <a:gd name="T50" fmla="*/ 2147483647 w 109"/>
              <a:gd name="T51" fmla="*/ 2147483647 h 141"/>
              <a:gd name="T52" fmla="*/ 2147483647 w 109"/>
              <a:gd name="T53" fmla="*/ 2147483647 h 141"/>
              <a:gd name="T54" fmla="*/ 2147483647 w 109"/>
              <a:gd name="T55" fmla="*/ 2147483647 h 141"/>
              <a:gd name="T56" fmla="*/ 2147483647 w 109"/>
              <a:gd name="T57" fmla="*/ 2147483647 h 141"/>
              <a:gd name="T58" fmla="*/ 2147483647 w 109"/>
              <a:gd name="T59" fmla="*/ 2147483647 h 141"/>
              <a:gd name="T60" fmla="*/ 2147483647 w 109"/>
              <a:gd name="T61" fmla="*/ 2147483647 h 141"/>
              <a:gd name="T62" fmla="*/ 2147483647 w 109"/>
              <a:gd name="T63" fmla="*/ 2147483647 h 141"/>
              <a:gd name="T64" fmla="*/ 2147483647 w 109"/>
              <a:gd name="T65" fmla="*/ 2147483647 h 141"/>
              <a:gd name="T66" fmla="*/ 2147483647 w 109"/>
              <a:gd name="T67" fmla="*/ 2147483647 h 141"/>
              <a:gd name="T68" fmla="*/ 2147483647 w 109"/>
              <a:gd name="T69" fmla="*/ 2147483647 h 141"/>
              <a:gd name="T70" fmla="*/ 2147483647 w 109"/>
              <a:gd name="T71" fmla="*/ 2147483647 h 141"/>
              <a:gd name="T72" fmla="*/ 2147483647 w 109"/>
              <a:gd name="T73" fmla="*/ 2147483647 h 141"/>
              <a:gd name="T74" fmla="*/ 2147483647 w 109"/>
              <a:gd name="T75" fmla="*/ 2147483647 h 141"/>
              <a:gd name="T76" fmla="*/ 2147483647 w 109"/>
              <a:gd name="T77" fmla="*/ 2147483647 h 141"/>
              <a:gd name="T78" fmla="*/ 2147483647 w 109"/>
              <a:gd name="T79" fmla="*/ 2147483647 h 141"/>
              <a:gd name="T80" fmla="*/ 2147483647 w 109"/>
              <a:gd name="T81" fmla="*/ 2147483647 h 141"/>
              <a:gd name="T82" fmla="*/ 2147483647 w 109"/>
              <a:gd name="T83" fmla="*/ 2147483647 h 141"/>
              <a:gd name="T84" fmla="*/ 2147483647 w 109"/>
              <a:gd name="T85" fmla="*/ 2147483647 h 14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09"/>
              <a:gd name="T130" fmla="*/ 0 h 141"/>
              <a:gd name="T131" fmla="*/ 109 w 109"/>
              <a:gd name="T132" fmla="*/ 141 h 141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09" h="141">
                <a:moveTo>
                  <a:pt x="39" y="117"/>
                </a:moveTo>
                <a:lnTo>
                  <a:pt x="38" y="119"/>
                </a:lnTo>
                <a:lnTo>
                  <a:pt x="32" y="113"/>
                </a:lnTo>
                <a:lnTo>
                  <a:pt x="32" y="114"/>
                </a:lnTo>
                <a:lnTo>
                  <a:pt x="26" y="95"/>
                </a:lnTo>
                <a:lnTo>
                  <a:pt x="20" y="77"/>
                </a:lnTo>
                <a:lnTo>
                  <a:pt x="18" y="63"/>
                </a:lnTo>
                <a:lnTo>
                  <a:pt x="2" y="48"/>
                </a:lnTo>
                <a:lnTo>
                  <a:pt x="7" y="39"/>
                </a:lnTo>
                <a:lnTo>
                  <a:pt x="16" y="34"/>
                </a:lnTo>
                <a:lnTo>
                  <a:pt x="0" y="18"/>
                </a:lnTo>
                <a:lnTo>
                  <a:pt x="0" y="0"/>
                </a:lnTo>
                <a:lnTo>
                  <a:pt x="14" y="6"/>
                </a:lnTo>
                <a:lnTo>
                  <a:pt x="21" y="13"/>
                </a:lnTo>
                <a:lnTo>
                  <a:pt x="26" y="9"/>
                </a:lnTo>
                <a:lnTo>
                  <a:pt x="34" y="29"/>
                </a:lnTo>
                <a:lnTo>
                  <a:pt x="58" y="31"/>
                </a:lnTo>
                <a:lnTo>
                  <a:pt x="81" y="34"/>
                </a:lnTo>
                <a:lnTo>
                  <a:pt x="92" y="42"/>
                </a:lnTo>
                <a:lnTo>
                  <a:pt x="88" y="53"/>
                </a:lnTo>
                <a:lnTo>
                  <a:pt x="73" y="64"/>
                </a:lnTo>
                <a:lnTo>
                  <a:pt x="76" y="83"/>
                </a:lnTo>
                <a:lnTo>
                  <a:pt x="81" y="88"/>
                </a:lnTo>
                <a:lnTo>
                  <a:pt x="91" y="70"/>
                </a:lnTo>
                <a:lnTo>
                  <a:pt x="99" y="91"/>
                </a:lnTo>
                <a:lnTo>
                  <a:pt x="108" y="113"/>
                </a:lnTo>
                <a:lnTo>
                  <a:pt x="109" y="129"/>
                </a:lnTo>
                <a:lnTo>
                  <a:pt x="102" y="133"/>
                </a:lnTo>
                <a:lnTo>
                  <a:pt x="105" y="141"/>
                </a:lnTo>
                <a:lnTo>
                  <a:pt x="92" y="117"/>
                </a:lnTo>
                <a:lnTo>
                  <a:pt x="80" y="94"/>
                </a:lnTo>
                <a:lnTo>
                  <a:pt x="67" y="91"/>
                </a:lnTo>
                <a:lnTo>
                  <a:pt x="58" y="77"/>
                </a:lnTo>
                <a:lnTo>
                  <a:pt x="38" y="64"/>
                </a:lnTo>
                <a:lnTo>
                  <a:pt x="31" y="65"/>
                </a:lnTo>
                <a:lnTo>
                  <a:pt x="54" y="78"/>
                </a:lnTo>
                <a:lnTo>
                  <a:pt x="61" y="93"/>
                </a:lnTo>
                <a:lnTo>
                  <a:pt x="62" y="100"/>
                </a:lnTo>
                <a:lnTo>
                  <a:pt x="57" y="118"/>
                </a:lnTo>
                <a:lnTo>
                  <a:pt x="54" y="112"/>
                </a:lnTo>
                <a:lnTo>
                  <a:pt x="49" y="112"/>
                </a:lnTo>
                <a:lnTo>
                  <a:pt x="44" y="117"/>
                </a:lnTo>
                <a:lnTo>
                  <a:pt x="39" y="11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28" name="Freeform 10"/>
          <p:cNvSpPr>
            <a:spLocks/>
          </p:cNvSpPr>
          <p:nvPr/>
        </p:nvSpPr>
        <p:spPr bwMode="auto">
          <a:xfrm>
            <a:off x="6919913" y="3781425"/>
            <a:ext cx="92075" cy="47625"/>
          </a:xfrm>
          <a:custGeom>
            <a:avLst/>
            <a:gdLst>
              <a:gd name="T0" fmla="*/ 2147483647 w 69"/>
              <a:gd name="T1" fmla="*/ 2147483647 h 34"/>
              <a:gd name="T2" fmla="*/ 2147483647 w 69"/>
              <a:gd name="T3" fmla="*/ 0 h 34"/>
              <a:gd name="T4" fmla="*/ 0 w 69"/>
              <a:gd name="T5" fmla="*/ 2147483647 h 34"/>
              <a:gd name="T6" fmla="*/ 2147483647 w 69"/>
              <a:gd name="T7" fmla="*/ 2147483647 h 34"/>
              <a:gd name="T8" fmla="*/ 2147483647 w 69"/>
              <a:gd name="T9" fmla="*/ 2147483647 h 34"/>
              <a:gd name="T10" fmla="*/ 2147483647 w 69"/>
              <a:gd name="T11" fmla="*/ 2147483647 h 34"/>
              <a:gd name="T12" fmla="*/ 2147483647 w 69"/>
              <a:gd name="T13" fmla="*/ 2147483647 h 34"/>
              <a:gd name="T14" fmla="*/ 2147483647 w 69"/>
              <a:gd name="T15" fmla="*/ 2147483647 h 34"/>
              <a:gd name="T16" fmla="*/ 2147483647 w 69"/>
              <a:gd name="T17" fmla="*/ 2147483647 h 34"/>
              <a:gd name="T18" fmla="*/ 2147483647 w 69"/>
              <a:gd name="T19" fmla="*/ 2147483647 h 34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69"/>
              <a:gd name="T31" fmla="*/ 0 h 34"/>
              <a:gd name="T32" fmla="*/ 69 w 69"/>
              <a:gd name="T33" fmla="*/ 34 h 34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69" h="34">
                <a:moveTo>
                  <a:pt x="45" y="3"/>
                </a:moveTo>
                <a:lnTo>
                  <a:pt x="14" y="0"/>
                </a:lnTo>
                <a:lnTo>
                  <a:pt x="0" y="22"/>
                </a:lnTo>
                <a:lnTo>
                  <a:pt x="3" y="32"/>
                </a:lnTo>
                <a:lnTo>
                  <a:pt x="30" y="34"/>
                </a:lnTo>
                <a:lnTo>
                  <a:pt x="50" y="33"/>
                </a:lnTo>
                <a:lnTo>
                  <a:pt x="69" y="32"/>
                </a:lnTo>
                <a:lnTo>
                  <a:pt x="62" y="18"/>
                </a:lnTo>
                <a:lnTo>
                  <a:pt x="56" y="11"/>
                </a:lnTo>
                <a:lnTo>
                  <a:pt x="45" y="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29" name="Freeform 11"/>
          <p:cNvSpPr>
            <a:spLocks/>
          </p:cNvSpPr>
          <p:nvPr/>
        </p:nvSpPr>
        <p:spPr bwMode="auto">
          <a:xfrm>
            <a:off x="7372350" y="4244975"/>
            <a:ext cx="149225" cy="144463"/>
          </a:xfrm>
          <a:custGeom>
            <a:avLst/>
            <a:gdLst>
              <a:gd name="T0" fmla="*/ 2147483647 w 112"/>
              <a:gd name="T1" fmla="*/ 2147483647 h 107"/>
              <a:gd name="T2" fmla="*/ 2147483647 w 112"/>
              <a:gd name="T3" fmla="*/ 2147483647 h 107"/>
              <a:gd name="T4" fmla="*/ 2147483647 w 112"/>
              <a:gd name="T5" fmla="*/ 2147483647 h 107"/>
              <a:gd name="T6" fmla="*/ 2147483647 w 112"/>
              <a:gd name="T7" fmla="*/ 2147483647 h 107"/>
              <a:gd name="T8" fmla="*/ 2147483647 w 112"/>
              <a:gd name="T9" fmla="*/ 2147483647 h 107"/>
              <a:gd name="T10" fmla="*/ 2147483647 w 112"/>
              <a:gd name="T11" fmla="*/ 2147483647 h 107"/>
              <a:gd name="T12" fmla="*/ 2147483647 w 112"/>
              <a:gd name="T13" fmla="*/ 2147483647 h 107"/>
              <a:gd name="T14" fmla="*/ 2147483647 w 112"/>
              <a:gd name="T15" fmla="*/ 2147483647 h 107"/>
              <a:gd name="T16" fmla="*/ 2147483647 w 112"/>
              <a:gd name="T17" fmla="*/ 2147483647 h 107"/>
              <a:gd name="T18" fmla="*/ 2147483647 w 112"/>
              <a:gd name="T19" fmla="*/ 2147483647 h 107"/>
              <a:gd name="T20" fmla="*/ 2147483647 w 112"/>
              <a:gd name="T21" fmla="*/ 2147483647 h 107"/>
              <a:gd name="T22" fmla="*/ 2147483647 w 112"/>
              <a:gd name="T23" fmla="*/ 2147483647 h 107"/>
              <a:gd name="T24" fmla="*/ 0 w 112"/>
              <a:gd name="T25" fmla="*/ 2147483647 h 107"/>
              <a:gd name="T26" fmla="*/ 2147483647 w 112"/>
              <a:gd name="T27" fmla="*/ 2147483647 h 107"/>
              <a:gd name="T28" fmla="*/ 2147483647 w 112"/>
              <a:gd name="T29" fmla="*/ 2147483647 h 107"/>
              <a:gd name="T30" fmla="*/ 2147483647 w 112"/>
              <a:gd name="T31" fmla="*/ 2147483647 h 107"/>
              <a:gd name="T32" fmla="*/ 2147483647 w 112"/>
              <a:gd name="T33" fmla="*/ 2147483647 h 107"/>
              <a:gd name="T34" fmla="*/ 2147483647 w 112"/>
              <a:gd name="T35" fmla="*/ 2147483647 h 107"/>
              <a:gd name="T36" fmla="*/ 2147483647 w 112"/>
              <a:gd name="T37" fmla="*/ 2147483647 h 107"/>
              <a:gd name="T38" fmla="*/ 2147483647 w 112"/>
              <a:gd name="T39" fmla="*/ 2147483647 h 107"/>
              <a:gd name="T40" fmla="*/ 2147483647 w 112"/>
              <a:gd name="T41" fmla="*/ 0 h 107"/>
              <a:gd name="T42" fmla="*/ 2147483647 w 112"/>
              <a:gd name="T43" fmla="*/ 2147483647 h 107"/>
              <a:gd name="T44" fmla="*/ 2147483647 w 112"/>
              <a:gd name="T45" fmla="*/ 2147483647 h 107"/>
              <a:gd name="T46" fmla="*/ 2147483647 w 112"/>
              <a:gd name="T47" fmla="*/ 2147483647 h 107"/>
              <a:gd name="T48" fmla="*/ 2147483647 w 112"/>
              <a:gd name="T49" fmla="*/ 2147483647 h 107"/>
              <a:gd name="T50" fmla="*/ 2147483647 w 112"/>
              <a:gd name="T51" fmla="*/ 2147483647 h 10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12"/>
              <a:gd name="T79" fmla="*/ 0 h 107"/>
              <a:gd name="T80" fmla="*/ 112 w 112"/>
              <a:gd name="T81" fmla="*/ 107 h 107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12" h="107">
                <a:moveTo>
                  <a:pt x="81" y="78"/>
                </a:moveTo>
                <a:lnTo>
                  <a:pt x="87" y="97"/>
                </a:lnTo>
                <a:lnTo>
                  <a:pt x="72" y="95"/>
                </a:lnTo>
                <a:lnTo>
                  <a:pt x="66" y="97"/>
                </a:lnTo>
                <a:lnTo>
                  <a:pt x="52" y="107"/>
                </a:lnTo>
                <a:lnTo>
                  <a:pt x="39" y="103"/>
                </a:lnTo>
                <a:lnTo>
                  <a:pt x="32" y="99"/>
                </a:lnTo>
                <a:lnTo>
                  <a:pt x="30" y="89"/>
                </a:lnTo>
                <a:lnTo>
                  <a:pt x="22" y="95"/>
                </a:lnTo>
                <a:lnTo>
                  <a:pt x="18" y="78"/>
                </a:lnTo>
                <a:lnTo>
                  <a:pt x="16" y="76"/>
                </a:lnTo>
                <a:lnTo>
                  <a:pt x="8" y="55"/>
                </a:lnTo>
                <a:lnTo>
                  <a:pt x="0" y="35"/>
                </a:lnTo>
                <a:lnTo>
                  <a:pt x="14" y="10"/>
                </a:lnTo>
                <a:lnTo>
                  <a:pt x="37" y="10"/>
                </a:lnTo>
                <a:lnTo>
                  <a:pt x="60" y="9"/>
                </a:lnTo>
                <a:lnTo>
                  <a:pt x="78" y="19"/>
                </a:lnTo>
                <a:lnTo>
                  <a:pt x="78" y="12"/>
                </a:lnTo>
                <a:lnTo>
                  <a:pt x="86" y="5"/>
                </a:lnTo>
                <a:lnTo>
                  <a:pt x="94" y="9"/>
                </a:lnTo>
                <a:lnTo>
                  <a:pt x="109" y="0"/>
                </a:lnTo>
                <a:lnTo>
                  <a:pt x="110" y="23"/>
                </a:lnTo>
                <a:lnTo>
                  <a:pt x="111" y="42"/>
                </a:lnTo>
                <a:lnTo>
                  <a:pt x="112" y="61"/>
                </a:lnTo>
                <a:lnTo>
                  <a:pt x="93" y="72"/>
                </a:lnTo>
                <a:lnTo>
                  <a:pt x="81" y="7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30" name="Freeform 12"/>
          <p:cNvSpPr>
            <a:spLocks/>
          </p:cNvSpPr>
          <p:nvPr/>
        </p:nvSpPr>
        <p:spPr bwMode="auto">
          <a:xfrm>
            <a:off x="7278688" y="3981450"/>
            <a:ext cx="238125" cy="287338"/>
          </a:xfrm>
          <a:custGeom>
            <a:avLst/>
            <a:gdLst>
              <a:gd name="T0" fmla="*/ 2147483647 w 181"/>
              <a:gd name="T1" fmla="*/ 2147483647 h 210"/>
              <a:gd name="T2" fmla="*/ 2147483647 w 181"/>
              <a:gd name="T3" fmla="*/ 2147483647 h 210"/>
              <a:gd name="T4" fmla="*/ 2147483647 w 181"/>
              <a:gd name="T5" fmla="*/ 2147483647 h 210"/>
              <a:gd name="T6" fmla="*/ 2147483647 w 181"/>
              <a:gd name="T7" fmla="*/ 2147483647 h 210"/>
              <a:gd name="T8" fmla="*/ 2147483647 w 181"/>
              <a:gd name="T9" fmla="*/ 2147483647 h 210"/>
              <a:gd name="T10" fmla="*/ 2147483647 w 181"/>
              <a:gd name="T11" fmla="*/ 2147483647 h 210"/>
              <a:gd name="T12" fmla="*/ 2147483647 w 181"/>
              <a:gd name="T13" fmla="*/ 0 h 210"/>
              <a:gd name="T14" fmla="*/ 2147483647 w 181"/>
              <a:gd name="T15" fmla="*/ 0 h 210"/>
              <a:gd name="T16" fmla="*/ 2147483647 w 181"/>
              <a:gd name="T17" fmla="*/ 2147483647 h 210"/>
              <a:gd name="T18" fmla="*/ 2147483647 w 181"/>
              <a:gd name="T19" fmla="*/ 2147483647 h 210"/>
              <a:gd name="T20" fmla="*/ 2147483647 w 181"/>
              <a:gd name="T21" fmla="*/ 2147483647 h 210"/>
              <a:gd name="T22" fmla="*/ 2147483647 w 181"/>
              <a:gd name="T23" fmla="*/ 2147483647 h 210"/>
              <a:gd name="T24" fmla="*/ 0 w 181"/>
              <a:gd name="T25" fmla="*/ 2147483647 h 210"/>
              <a:gd name="T26" fmla="*/ 2147483647 w 181"/>
              <a:gd name="T27" fmla="*/ 2147483647 h 210"/>
              <a:gd name="T28" fmla="*/ 2147483647 w 181"/>
              <a:gd name="T29" fmla="*/ 2147483647 h 210"/>
              <a:gd name="T30" fmla="*/ 2147483647 w 181"/>
              <a:gd name="T31" fmla="*/ 2147483647 h 210"/>
              <a:gd name="T32" fmla="*/ 2147483647 w 181"/>
              <a:gd name="T33" fmla="*/ 2147483647 h 210"/>
              <a:gd name="T34" fmla="*/ 2147483647 w 181"/>
              <a:gd name="T35" fmla="*/ 2147483647 h 210"/>
              <a:gd name="T36" fmla="*/ 2147483647 w 181"/>
              <a:gd name="T37" fmla="*/ 2147483647 h 210"/>
              <a:gd name="T38" fmla="*/ 2147483647 w 181"/>
              <a:gd name="T39" fmla="*/ 2147483647 h 210"/>
              <a:gd name="T40" fmla="*/ 2147483647 w 181"/>
              <a:gd name="T41" fmla="*/ 2147483647 h 210"/>
              <a:gd name="T42" fmla="*/ 2147483647 w 181"/>
              <a:gd name="T43" fmla="*/ 2147483647 h 210"/>
              <a:gd name="T44" fmla="*/ 2147483647 w 181"/>
              <a:gd name="T45" fmla="*/ 2147483647 h 210"/>
              <a:gd name="T46" fmla="*/ 2147483647 w 181"/>
              <a:gd name="T47" fmla="*/ 2147483647 h 210"/>
              <a:gd name="T48" fmla="*/ 2147483647 w 181"/>
              <a:gd name="T49" fmla="*/ 2147483647 h 210"/>
              <a:gd name="T50" fmla="*/ 2147483647 w 181"/>
              <a:gd name="T51" fmla="*/ 2147483647 h 210"/>
              <a:gd name="T52" fmla="*/ 2147483647 w 181"/>
              <a:gd name="T53" fmla="*/ 2147483647 h 210"/>
              <a:gd name="T54" fmla="*/ 2147483647 w 181"/>
              <a:gd name="T55" fmla="*/ 2147483647 h 210"/>
              <a:gd name="T56" fmla="*/ 2147483647 w 181"/>
              <a:gd name="T57" fmla="*/ 2147483647 h 210"/>
              <a:gd name="T58" fmla="*/ 2147483647 w 181"/>
              <a:gd name="T59" fmla="*/ 2147483647 h 210"/>
              <a:gd name="T60" fmla="*/ 2147483647 w 181"/>
              <a:gd name="T61" fmla="*/ 2147483647 h 210"/>
              <a:gd name="T62" fmla="*/ 2147483647 w 181"/>
              <a:gd name="T63" fmla="*/ 2147483647 h 210"/>
              <a:gd name="T64" fmla="*/ 2147483647 w 181"/>
              <a:gd name="T65" fmla="*/ 2147483647 h 210"/>
              <a:gd name="T66" fmla="*/ 2147483647 w 181"/>
              <a:gd name="T67" fmla="*/ 2147483647 h 210"/>
              <a:gd name="T68" fmla="*/ 2147483647 w 181"/>
              <a:gd name="T69" fmla="*/ 2147483647 h 210"/>
              <a:gd name="T70" fmla="*/ 2147483647 w 181"/>
              <a:gd name="T71" fmla="*/ 2147483647 h 210"/>
              <a:gd name="T72" fmla="*/ 2147483647 w 181"/>
              <a:gd name="T73" fmla="*/ 2147483647 h 210"/>
              <a:gd name="T74" fmla="*/ 2147483647 w 181"/>
              <a:gd name="T75" fmla="*/ 2147483647 h 210"/>
              <a:gd name="T76" fmla="*/ 2147483647 w 181"/>
              <a:gd name="T77" fmla="*/ 2147483647 h 210"/>
              <a:gd name="T78" fmla="*/ 2147483647 w 181"/>
              <a:gd name="T79" fmla="*/ 2147483647 h 210"/>
              <a:gd name="T80" fmla="*/ 2147483647 w 181"/>
              <a:gd name="T81" fmla="*/ 2147483647 h 210"/>
              <a:gd name="T82" fmla="*/ 2147483647 w 181"/>
              <a:gd name="T83" fmla="*/ 2147483647 h 210"/>
              <a:gd name="T84" fmla="*/ 2147483647 w 181"/>
              <a:gd name="T85" fmla="*/ 2147483647 h 21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81"/>
              <a:gd name="T130" fmla="*/ 0 h 210"/>
              <a:gd name="T131" fmla="*/ 181 w 181"/>
              <a:gd name="T132" fmla="*/ 210 h 210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81" h="210">
                <a:moveTo>
                  <a:pt x="102" y="54"/>
                </a:moveTo>
                <a:lnTo>
                  <a:pt x="96" y="47"/>
                </a:lnTo>
                <a:lnTo>
                  <a:pt x="84" y="36"/>
                </a:lnTo>
                <a:lnTo>
                  <a:pt x="72" y="41"/>
                </a:lnTo>
                <a:lnTo>
                  <a:pt x="56" y="27"/>
                </a:lnTo>
                <a:lnTo>
                  <a:pt x="52" y="16"/>
                </a:lnTo>
                <a:lnTo>
                  <a:pt x="36" y="0"/>
                </a:lnTo>
                <a:lnTo>
                  <a:pt x="25" y="0"/>
                </a:lnTo>
                <a:lnTo>
                  <a:pt x="31" y="30"/>
                </a:lnTo>
                <a:lnTo>
                  <a:pt x="21" y="26"/>
                </a:lnTo>
                <a:lnTo>
                  <a:pt x="18" y="21"/>
                </a:lnTo>
                <a:lnTo>
                  <a:pt x="8" y="38"/>
                </a:lnTo>
                <a:lnTo>
                  <a:pt x="0" y="51"/>
                </a:lnTo>
                <a:lnTo>
                  <a:pt x="8" y="54"/>
                </a:lnTo>
                <a:lnTo>
                  <a:pt x="10" y="69"/>
                </a:lnTo>
                <a:lnTo>
                  <a:pt x="27" y="70"/>
                </a:lnTo>
                <a:lnTo>
                  <a:pt x="28" y="95"/>
                </a:lnTo>
                <a:lnTo>
                  <a:pt x="31" y="120"/>
                </a:lnTo>
                <a:lnTo>
                  <a:pt x="49" y="106"/>
                </a:lnTo>
                <a:lnTo>
                  <a:pt x="63" y="111"/>
                </a:lnTo>
                <a:lnTo>
                  <a:pt x="73" y="106"/>
                </a:lnTo>
                <a:lnTo>
                  <a:pt x="82" y="99"/>
                </a:lnTo>
                <a:lnTo>
                  <a:pt x="109" y="120"/>
                </a:lnTo>
                <a:lnTo>
                  <a:pt x="114" y="140"/>
                </a:lnTo>
                <a:lnTo>
                  <a:pt x="133" y="165"/>
                </a:lnTo>
                <a:lnTo>
                  <a:pt x="138" y="186"/>
                </a:lnTo>
                <a:lnTo>
                  <a:pt x="132" y="200"/>
                </a:lnTo>
                <a:lnTo>
                  <a:pt x="150" y="210"/>
                </a:lnTo>
                <a:lnTo>
                  <a:pt x="150" y="203"/>
                </a:lnTo>
                <a:lnTo>
                  <a:pt x="158" y="196"/>
                </a:lnTo>
                <a:lnTo>
                  <a:pt x="166" y="200"/>
                </a:lnTo>
                <a:lnTo>
                  <a:pt x="181" y="191"/>
                </a:lnTo>
                <a:lnTo>
                  <a:pt x="178" y="171"/>
                </a:lnTo>
                <a:lnTo>
                  <a:pt x="171" y="162"/>
                </a:lnTo>
                <a:lnTo>
                  <a:pt x="172" y="158"/>
                </a:lnTo>
                <a:lnTo>
                  <a:pt x="153" y="142"/>
                </a:lnTo>
                <a:lnTo>
                  <a:pt x="144" y="128"/>
                </a:lnTo>
                <a:lnTo>
                  <a:pt x="129" y="111"/>
                </a:lnTo>
                <a:lnTo>
                  <a:pt x="116" y="94"/>
                </a:lnTo>
                <a:lnTo>
                  <a:pt x="88" y="74"/>
                </a:lnTo>
                <a:lnTo>
                  <a:pt x="92" y="68"/>
                </a:lnTo>
                <a:lnTo>
                  <a:pt x="104" y="63"/>
                </a:lnTo>
                <a:lnTo>
                  <a:pt x="102" y="5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31" name="Freeform 13"/>
          <p:cNvSpPr>
            <a:spLocks/>
          </p:cNvSpPr>
          <p:nvPr/>
        </p:nvSpPr>
        <p:spPr bwMode="auto">
          <a:xfrm>
            <a:off x="7045325" y="3767138"/>
            <a:ext cx="255588" cy="630237"/>
          </a:xfrm>
          <a:custGeom>
            <a:avLst/>
            <a:gdLst>
              <a:gd name="T0" fmla="*/ 2147483647 w 191"/>
              <a:gd name="T1" fmla="*/ 2147483647 h 457"/>
              <a:gd name="T2" fmla="*/ 2147483647 w 191"/>
              <a:gd name="T3" fmla="*/ 2147483647 h 457"/>
              <a:gd name="T4" fmla="*/ 2147483647 w 191"/>
              <a:gd name="T5" fmla="*/ 2147483647 h 457"/>
              <a:gd name="T6" fmla="*/ 2147483647 w 191"/>
              <a:gd name="T7" fmla="*/ 2147483647 h 457"/>
              <a:gd name="T8" fmla="*/ 2147483647 w 191"/>
              <a:gd name="T9" fmla="*/ 0 h 457"/>
              <a:gd name="T10" fmla="*/ 2147483647 w 191"/>
              <a:gd name="T11" fmla="*/ 2147483647 h 457"/>
              <a:gd name="T12" fmla="*/ 2147483647 w 191"/>
              <a:gd name="T13" fmla="*/ 2147483647 h 457"/>
              <a:gd name="T14" fmla="*/ 2147483647 w 191"/>
              <a:gd name="T15" fmla="*/ 2147483647 h 457"/>
              <a:gd name="T16" fmla="*/ 2147483647 w 191"/>
              <a:gd name="T17" fmla="*/ 2147483647 h 457"/>
              <a:gd name="T18" fmla="*/ 2147483647 w 191"/>
              <a:gd name="T19" fmla="*/ 2147483647 h 457"/>
              <a:gd name="T20" fmla="*/ 2147483647 w 191"/>
              <a:gd name="T21" fmla="*/ 2147483647 h 457"/>
              <a:gd name="T22" fmla="*/ 2147483647 w 191"/>
              <a:gd name="T23" fmla="*/ 2147483647 h 457"/>
              <a:gd name="T24" fmla="*/ 0 w 191"/>
              <a:gd name="T25" fmla="*/ 2147483647 h 457"/>
              <a:gd name="T26" fmla="*/ 2147483647 w 191"/>
              <a:gd name="T27" fmla="*/ 2147483647 h 457"/>
              <a:gd name="T28" fmla="*/ 2147483647 w 191"/>
              <a:gd name="T29" fmla="*/ 2147483647 h 457"/>
              <a:gd name="T30" fmla="*/ 2147483647 w 191"/>
              <a:gd name="T31" fmla="*/ 2147483647 h 457"/>
              <a:gd name="T32" fmla="*/ 2147483647 w 191"/>
              <a:gd name="T33" fmla="*/ 2147483647 h 457"/>
              <a:gd name="T34" fmla="*/ 2147483647 w 191"/>
              <a:gd name="T35" fmla="*/ 2147483647 h 457"/>
              <a:gd name="T36" fmla="*/ 2147483647 w 191"/>
              <a:gd name="T37" fmla="*/ 2147483647 h 457"/>
              <a:gd name="T38" fmla="*/ 2147483647 w 191"/>
              <a:gd name="T39" fmla="*/ 2147483647 h 457"/>
              <a:gd name="T40" fmla="*/ 2147483647 w 191"/>
              <a:gd name="T41" fmla="*/ 2147483647 h 457"/>
              <a:gd name="T42" fmla="*/ 2147483647 w 191"/>
              <a:gd name="T43" fmla="*/ 2147483647 h 457"/>
              <a:gd name="T44" fmla="*/ 2147483647 w 191"/>
              <a:gd name="T45" fmla="*/ 2147483647 h 457"/>
              <a:gd name="T46" fmla="*/ 2147483647 w 191"/>
              <a:gd name="T47" fmla="*/ 2147483647 h 457"/>
              <a:gd name="T48" fmla="*/ 2147483647 w 191"/>
              <a:gd name="T49" fmla="*/ 2147483647 h 457"/>
              <a:gd name="T50" fmla="*/ 2147483647 w 191"/>
              <a:gd name="T51" fmla="*/ 2147483647 h 457"/>
              <a:gd name="T52" fmla="*/ 2147483647 w 191"/>
              <a:gd name="T53" fmla="*/ 2147483647 h 457"/>
              <a:gd name="T54" fmla="*/ 2147483647 w 191"/>
              <a:gd name="T55" fmla="*/ 2147483647 h 457"/>
              <a:gd name="T56" fmla="*/ 2147483647 w 191"/>
              <a:gd name="T57" fmla="*/ 2147483647 h 457"/>
              <a:gd name="T58" fmla="*/ 2147483647 w 191"/>
              <a:gd name="T59" fmla="*/ 2147483647 h 457"/>
              <a:gd name="T60" fmla="*/ 2147483647 w 191"/>
              <a:gd name="T61" fmla="*/ 2147483647 h 457"/>
              <a:gd name="T62" fmla="*/ 2147483647 w 191"/>
              <a:gd name="T63" fmla="*/ 2147483647 h 457"/>
              <a:gd name="T64" fmla="*/ 2147483647 w 191"/>
              <a:gd name="T65" fmla="*/ 2147483647 h 457"/>
              <a:gd name="T66" fmla="*/ 2147483647 w 191"/>
              <a:gd name="T67" fmla="*/ 2147483647 h 457"/>
              <a:gd name="T68" fmla="*/ 2147483647 w 191"/>
              <a:gd name="T69" fmla="*/ 2147483647 h 457"/>
              <a:gd name="T70" fmla="*/ 2147483647 w 191"/>
              <a:gd name="T71" fmla="*/ 2147483647 h 457"/>
              <a:gd name="T72" fmla="*/ 2147483647 w 191"/>
              <a:gd name="T73" fmla="*/ 2147483647 h 457"/>
              <a:gd name="T74" fmla="*/ 2147483647 w 191"/>
              <a:gd name="T75" fmla="*/ 2147483647 h 457"/>
              <a:gd name="T76" fmla="*/ 2147483647 w 191"/>
              <a:gd name="T77" fmla="*/ 2147483647 h 457"/>
              <a:gd name="T78" fmla="*/ 2147483647 w 191"/>
              <a:gd name="T79" fmla="*/ 2147483647 h 457"/>
              <a:gd name="T80" fmla="*/ 2147483647 w 191"/>
              <a:gd name="T81" fmla="*/ 2147483647 h 457"/>
              <a:gd name="T82" fmla="*/ 2147483647 w 191"/>
              <a:gd name="T83" fmla="*/ 2147483647 h 457"/>
              <a:gd name="T84" fmla="*/ 2147483647 w 191"/>
              <a:gd name="T85" fmla="*/ 2147483647 h 457"/>
              <a:gd name="T86" fmla="*/ 2147483647 w 191"/>
              <a:gd name="T87" fmla="*/ 2147483647 h 45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91"/>
              <a:gd name="T133" fmla="*/ 0 h 457"/>
              <a:gd name="T134" fmla="*/ 191 w 191"/>
              <a:gd name="T135" fmla="*/ 457 h 457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91" h="457">
                <a:moveTo>
                  <a:pt x="128" y="110"/>
                </a:moveTo>
                <a:lnTo>
                  <a:pt x="105" y="114"/>
                </a:lnTo>
                <a:lnTo>
                  <a:pt x="104" y="103"/>
                </a:lnTo>
                <a:lnTo>
                  <a:pt x="103" y="92"/>
                </a:lnTo>
                <a:lnTo>
                  <a:pt x="114" y="75"/>
                </a:lnTo>
                <a:lnTo>
                  <a:pt x="117" y="63"/>
                </a:lnTo>
                <a:lnTo>
                  <a:pt x="113" y="44"/>
                </a:lnTo>
                <a:lnTo>
                  <a:pt x="108" y="24"/>
                </a:lnTo>
                <a:lnTo>
                  <a:pt x="98" y="19"/>
                </a:lnTo>
                <a:lnTo>
                  <a:pt x="80" y="0"/>
                </a:lnTo>
                <a:lnTo>
                  <a:pt x="78" y="8"/>
                </a:lnTo>
                <a:lnTo>
                  <a:pt x="75" y="20"/>
                </a:lnTo>
                <a:lnTo>
                  <a:pt x="73" y="27"/>
                </a:lnTo>
                <a:lnTo>
                  <a:pt x="76" y="36"/>
                </a:lnTo>
                <a:lnTo>
                  <a:pt x="61" y="32"/>
                </a:lnTo>
                <a:lnTo>
                  <a:pt x="40" y="54"/>
                </a:lnTo>
                <a:lnTo>
                  <a:pt x="39" y="74"/>
                </a:lnTo>
                <a:lnTo>
                  <a:pt x="39" y="85"/>
                </a:lnTo>
                <a:lnTo>
                  <a:pt x="28" y="115"/>
                </a:lnTo>
                <a:lnTo>
                  <a:pt x="15" y="115"/>
                </a:lnTo>
                <a:lnTo>
                  <a:pt x="14" y="137"/>
                </a:lnTo>
                <a:lnTo>
                  <a:pt x="14" y="163"/>
                </a:lnTo>
                <a:lnTo>
                  <a:pt x="7" y="163"/>
                </a:lnTo>
                <a:lnTo>
                  <a:pt x="6" y="163"/>
                </a:lnTo>
                <a:lnTo>
                  <a:pt x="7" y="179"/>
                </a:lnTo>
                <a:lnTo>
                  <a:pt x="0" y="183"/>
                </a:lnTo>
                <a:lnTo>
                  <a:pt x="14" y="205"/>
                </a:lnTo>
                <a:lnTo>
                  <a:pt x="15" y="207"/>
                </a:lnTo>
                <a:lnTo>
                  <a:pt x="20" y="201"/>
                </a:lnTo>
                <a:lnTo>
                  <a:pt x="25" y="216"/>
                </a:lnTo>
                <a:lnTo>
                  <a:pt x="27" y="217"/>
                </a:lnTo>
                <a:lnTo>
                  <a:pt x="36" y="216"/>
                </a:lnTo>
                <a:lnTo>
                  <a:pt x="43" y="225"/>
                </a:lnTo>
                <a:lnTo>
                  <a:pt x="37" y="229"/>
                </a:lnTo>
                <a:lnTo>
                  <a:pt x="43" y="239"/>
                </a:lnTo>
                <a:lnTo>
                  <a:pt x="46" y="230"/>
                </a:lnTo>
                <a:lnTo>
                  <a:pt x="55" y="249"/>
                </a:lnTo>
                <a:lnTo>
                  <a:pt x="62" y="269"/>
                </a:lnTo>
                <a:lnTo>
                  <a:pt x="61" y="290"/>
                </a:lnTo>
                <a:lnTo>
                  <a:pt x="60" y="311"/>
                </a:lnTo>
                <a:lnTo>
                  <a:pt x="69" y="299"/>
                </a:lnTo>
                <a:lnTo>
                  <a:pt x="72" y="312"/>
                </a:lnTo>
                <a:lnTo>
                  <a:pt x="75" y="315"/>
                </a:lnTo>
                <a:lnTo>
                  <a:pt x="80" y="314"/>
                </a:lnTo>
                <a:lnTo>
                  <a:pt x="85" y="312"/>
                </a:lnTo>
                <a:lnTo>
                  <a:pt x="85" y="315"/>
                </a:lnTo>
                <a:lnTo>
                  <a:pt x="100" y="303"/>
                </a:lnTo>
                <a:lnTo>
                  <a:pt x="103" y="296"/>
                </a:lnTo>
                <a:lnTo>
                  <a:pt x="109" y="300"/>
                </a:lnTo>
                <a:lnTo>
                  <a:pt x="115" y="279"/>
                </a:lnTo>
                <a:lnTo>
                  <a:pt x="123" y="291"/>
                </a:lnTo>
                <a:lnTo>
                  <a:pt x="133" y="300"/>
                </a:lnTo>
                <a:lnTo>
                  <a:pt x="143" y="335"/>
                </a:lnTo>
                <a:lnTo>
                  <a:pt x="152" y="369"/>
                </a:lnTo>
                <a:lnTo>
                  <a:pt x="152" y="363"/>
                </a:lnTo>
                <a:lnTo>
                  <a:pt x="159" y="381"/>
                </a:lnTo>
                <a:lnTo>
                  <a:pt x="165" y="399"/>
                </a:lnTo>
                <a:lnTo>
                  <a:pt x="169" y="417"/>
                </a:lnTo>
                <a:lnTo>
                  <a:pt x="169" y="438"/>
                </a:lnTo>
                <a:lnTo>
                  <a:pt x="169" y="457"/>
                </a:lnTo>
                <a:lnTo>
                  <a:pt x="174" y="452"/>
                </a:lnTo>
                <a:lnTo>
                  <a:pt x="181" y="437"/>
                </a:lnTo>
                <a:lnTo>
                  <a:pt x="188" y="420"/>
                </a:lnTo>
                <a:lnTo>
                  <a:pt x="182" y="396"/>
                </a:lnTo>
                <a:lnTo>
                  <a:pt x="176" y="374"/>
                </a:lnTo>
                <a:lnTo>
                  <a:pt x="165" y="360"/>
                </a:lnTo>
                <a:lnTo>
                  <a:pt x="153" y="344"/>
                </a:lnTo>
                <a:lnTo>
                  <a:pt x="153" y="330"/>
                </a:lnTo>
                <a:lnTo>
                  <a:pt x="156" y="319"/>
                </a:lnTo>
                <a:lnTo>
                  <a:pt x="162" y="305"/>
                </a:lnTo>
                <a:lnTo>
                  <a:pt x="156" y="302"/>
                </a:lnTo>
                <a:lnTo>
                  <a:pt x="138" y="276"/>
                </a:lnTo>
                <a:lnTo>
                  <a:pt x="120" y="248"/>
                </a:lnTo>
                <a:lnTo>
                  <a:pt x="126" y="249"/>
                </a:lnTo>
                <a:lnTo>
                  <a:pt x="131" y="222"/>
                </a:lnTo>
                <a:lnTo>
                  <a:pt x="152" y="217"/>
                </a:lnTo>
                <a:lnTo>
                  <a:pt x="161" y="206"/>
                </a:lnTo>
                <a:lnTo>
                  <a:pt x="173" y="204"/>
                </a:lnTo>
                <a:lnTo>
                  <a:pt x="181" y="191"/>
                </a:lnTo>
                <a:lnTo>
                  <a:pt x="191" y="174"/>
                </a:lnTo>
                <a:lnTo>
                  <a:pt x="185" y="171"/>
                </a:lnTo>
                <a:lnTo>
                  <a:pt x="169" y="175"/>
                </a:lnTo>
                <a:lnTo>
                  <a:pt x="159" y="162"/>
                </a:lnTo>
                <a:lnTo>
                  <a:pt x="147" y="156"/>
                </a:lnTo>
                <a:lnTo>
                  <a:pt x="150" y="137"/>
                </a:lnTo>
                <a:lnTo>
                  <a:pt x="135" y="129"/>
                </a:lnTo>
                <a:lnTo>
                  <a:pt x="129" y="114"/>
                </a:lnTo>
                <a:lnTo>
                  <a:pt x="128" y="11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32" name="Freeform 14"/>
          <p:cNvSpPr>
            <a:spLocks/>
          </p:cNvSpPr>
          <p:nvPr/>
        </p:nvSpPr>
        <p:spPr bwMode="auto">
          <a:xfrm>
            <a:off x="7205663" y="4049713"/>
            <a:ext cx="255587" cy="496887"/>
          </a:xfrm>
          <a:custGeom>
            <a:avLst/>
            <a:gdLst>
              <a:gd name="T0" fmla="*/ 2147483647 w 191"/>
              <a:gd name="T1" fmla="*/ 2147483647 h 361"/>
              <a:gd name="T2" fmla="*/ 2147483647 w 191"/>
              <a:gd name="T3" fmla="*/ 2147483647 h 361"/>
              <a:gd name="T4" fmla="*/ 2147483647 w 191"/>
              <a:gd name="T5" fmla="*/ 2147483647 h 361"/>
              <a:gd name="T6" fmla="*/ 2147483647 w 191"/>
              <a:gd name="T7" fmla="*/ 2147483647 h 361"/>
              <a:gd name="T8" fmla="*/ 2147483647 w 191"/>
              <a:gd name="T9" fmla="*/ 2147483647 h 361"/>
              <a:gd name="T10" fmla="*/ 2147483647 w 191"/>
              <a:gd name="T11" fmla="*/ 2147483647 h 361"/>
              <a:gd name="T12" fmla="*/ 2147483647 w 191"/>
              <a:gd name="T13" fmla="*/ 2147483647 h 361"/>
              <a:gd name="T14" fmla="*/ 2147483647 w 191"/>
              <a:gd name="T15" fmla="*/ 2147483647 h 361"/>
              <a:gd name="T16" fmla="*/ 2147483647 w 191"/>
              <a:gd name="T17" fmla="*/ 2147483647 h 361"/>
              <a:gd name="T18" fmla="*/ 2147483647 w 191"/>
              <a:gd name="T19" fmla="*/ 2147483647 h 361"/>
              <a:gd name="T20" fmla="*/ 2147483647 w 191"/>
              <a:gd name="T21" fmla="*/ 2147483647 h 361"/>
              <a:gd name="T22" fmla="*/ 2147483647 w 191"/>
              <a:gd name="T23" fmla="*/ 2147483647 h 361"/>
              <a:gd name="T24" fmla="*/ 2147483647 w 191"/>
              <a:gd name="T25" fmla="*/ 2147483647 h 361"/>
              <a:gd name="T26" fmla="*/ 2147483647 w 191"/>
              <a:gd name="T27" fmla="*/ 2147483647 h 361"/>
              <a:gd name="T28" fmla="*/ 2147483647 w 191"/>
              <a:gd name="T29" fmla="*/ 0 h 361"/>
              <a:gd name="T30" fmla="*/ 2147483647 w 191"/>
              <a:gd name="T31" fmla="*/ 2147483647 h 361"/>
              <a:gd name="T32" fmla="*/ 2147483647 w 191"/>
              <a:gd name="T33" fmla="*/ 2147483647 h 361"/>
              <a:gd name="T34" fmla="*/ 2147483647 w 191"/>
              <a:gd name="T35" fmla="*/ 2147483647 h 361"/>
              <a:gd name="T36" fmla="*/ 2147483647 w 191"/>
              <a:gd name="T37" fmla="*/ 2147483647 h 361"/>
              <a:gd name="T38" fmla="*/ 2147483647 w 191"/>
              <a:gd name="T39" fmla="*/ 2147483647 h 361"/>
              <a:gd name="T40" fmla="*/ 2147483647 w 191"/>
              <a:gd name="T41" fmla="*/ 2147483647 h 361"/>
              <a:gd name="T42" fmla="*/ 2147483647 w 191"/>
              <a:gd name="T43" fmla="*/ 2147483647 h 361"/>
              <a:gd name="T44" fmla="*/ 2147483647 w 191"/>
              <a:gd name="T45" fmla="*/ 2147483647 h 361"/>
              <a:gd name="T46" fmla="*/ 2147483647 w 191"/>
              <a:gd name="T47" fmla="*/ 2147483647 h 361"/>
              <a:gd name="T48" fmla="*/ 2147483647 w 191"/>
              <a:gd name="T49" fmla="*/ 2147483647 h 361"/>
              <a:gd name="T50" fmla="*/ 2147483647 w 191"/>
              <a:gd name="T51" fmla="*/ 2147483647 h 361"/>
              <a:gd name="T52" fmla="*/ 2147483647 w 191"/>
              <a:gd name="T53" fmla="*/ 2147483647 h 361"/>
              <a:gd name="T54" fmla="*/ 2147483647 w 191"/>
              <a:gd name="T55" fmla="*/ 2147483647 h 361"/>
              <a:gd name="T56" fmla="*/ 2147483647 w 191"/>
              <a:gd name="T57" fmla="*/ 2147483647 h 361"/>
              <a:gd name="T58" fmla="*/ 2147483647 w 191"/>
              <a:gd name="T59" fmla="*/ 2147483647 h 361"/>
              <a:gd name="T60" fmla="*/ 2147483647 w 191"/>
              <a:gd name="T61" fmla="*/ 2147483647 h 361"/>
              <a:gd name="T62" fmla="*/ 2147483647 w 191"/>
              <a:gd name="T63" fmla="*/ 2147483647 h 361"/>
              <a:gd name="T64" fmla="*/ 2147483647 w 191"/>
              <a:gd name="T65" fmla="*/ 2147483647 h 36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91"/>
              <a:gd name="T100" fmla="*/ 0 h 361"/>
              <a:gd name="T101" fmla="*/ 191 w 191"/>
              <a:gd name="T102" fmla="*/ 361 h 361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91" h="361">
                <a:moveTo>
                  <a:pt x="68" y="277"/>
                </a:moveTo>
                <a:lnTo>
                  <a:pt x="63" y="258"/>
                </a:lnTo>
                <a:lnTo>
                  <a:pt x="68" y="235"/>
                </a:lnTo>
                <a:lnTo>
                  <a:pt x="73" y="213"/>
                </a:lnTo>
                <a:lnTo>
                  <a:pt x="73" y="194"/>
                </a:lnTo>
                <a:lnTo>
                  <a:pt x="74" y="174"/>
                </a:lnTo>
                <a:lnTo>
                  <a:pt x="93" y="170"/>
                </a:lnTo>
                <a:lnTo>
                  <a:pt x="95" y="188"/>
                </a:lnTo>
                <a:lnTo>
                  <a:pt x="111" y="191"/>
                </a:lnTo>
                <a:lnTo>
                  <a:pt x="133" y="206"/>
                </a:lnTo>
                <a:lnTo>
                  <a:pt x="141" y="216"/>
                </a:lnTo>
                <a:lnTo>
                  <a:pt x="133" y="195"/>
                </a:lnTo>
                <a:lnTo>
                  <a:pt x="125" y="175"/>
                </a:lnTo>
                <a:lnTo>
                  <a:pt x="139" y="150"/>
                </a:lnTo>
                <a:lnTo>
                  <a:pt x="162" y="150"/>
                </a:lnTo>
                <a:lnTo>
                  <a:pt x="185" y="149"/>
                </a:lnTo>
                <a:lnTo>
                  <a:pt x="191" y="135"/>
                </a:lnTo>
                <a:lnTo>
                  <a:pt x="186" y="114"/>
                </a:lnTo>
                <a:lnTo>
                  <a:pt x="167" y="89"/>
                </a:lnTo>
                <a:lnTo>
                  <a:pt x="162" y="69"/>
                </a:lnTo>
                <a:lnTo>
                  <a:pt x="135" y="48"/>
                </a:lnTo>
                <a:lnTo>
                  <a:pt x="126" y="55"/>
                </a:lnTo>
                <a:lnTo>
                  <a:pt x="116" y="60"/>
                </a:lnTo>
                <a:lnTo>
                  <a:pt x="102" y="55"/>
                </a:lnTo>
                <a:lnTo>
                  <a:pt x="84" y="69"/>
                </a:lnTo>
                <a:lnTo>
                  <a:pt x="81" y="44"/>
                </a:lnTo>
                <a:lnTo>
                  <a:pt x="80" y="19"/>
                </a:lnTo>
                <a:lnTo>
                  <a:pt x="63" y="18"/>
                </a:lnTo>
                <a:lnTo>
                  <a:pt x="61" y="3"/>
                </a:lnTo>
                <a:lnTo>
                  <a:pt x="53" y="0"/>
                </a:lnTo>
                <a:lnTo>
                  <a:pt x="41" y="2"/>
                </a:lnTo>
                <a:lnTo>
                  <a:pt x="32" y="13"/>
                </a:lnTo>
                <a:lnTo>
                  <a:pt x="11" y="18"/>
                </a:lnTo>
                <a:lnTo>
                  <a:pt x="6" y="45"/>
                </a:lnTo>
                <a:lnTo>
                  <a:pt x="0" y="44"/>
                </a:lnTo>
                <a:lnTo>
                  <a:pt x="18" y="72"/>
                </a:lnTo>
                <a:lnTo>
                  <a:pt x="36" y="98"/>
                </a:lnTo>
                <a:lnTo>
                  <a:pt x="42" y="101"/>
                </a:lnTo>
                <a:lnTo>
                  <a:pt x="36" y="115"/>
                </a:lnTo>
                <a:lnTo>
                  <a:pt x="33" y="126"/>
                </a:lnTo>
                <a:lnTo>
                  <a:pt x="33" y="140"/>
                </a:lnTo>
                <a:lnTo>
                  <a:pt x="45" y="156"/>
                </a:lnTo>
                <a:lnTo>
                  <a:pt x="56" y="170"/>
                </a:lnTo>
                <a:lnTo>
                  <a:pt x="62" y="192"/>
                </a:lnTo>
                <a:lnTo>
                  <a:pt x="68" y="216"/>
                </a:lnTo>
                <a:lnTo>
                  <a:pt x="61" y="233"/>
                </a:lnTo>
                <a:lnTo>
                  <a:pt x="54" y="248"/>
                </a:lnTo>
                <a:lnTo>
                  <a:pt x="53" y="253"/>
                </a:lnTo>
                <a:lnTo>
                  <a:pt x="50" y="277"/>
                </a:lnTo>
                <a:lnTo>
                  <a:pt x="47" y="301"/>
                </a:lnTo>
                <a:lnTo>
                  <a:pt x="50" y="299"/>
                </a:lnTo>
                <a:lnTo>
                  <a:pt x="62" y="312"/>
                </a:lnTo>
                <a:lnTo>
                  <a:pt x="74" y="325"/>
                </a:lnTo>
                <a:lnTo>
                  <a:pt x="79" y="331"/>
                </a:lnTo>
                <a:lnTo>
                  <a:pt x="90" y="345"/>
                </a:lnTo>
                <a:lnTo>
                  <a:pt x="91" y="342"/>
                </a:lnTo>
                <a:lnTo>
                  <a:pt x="108" y="350"/>
                </a:lnTo>
                <a:lnTo>
                  <a:pt x="109" y="361"/>
                </a:lnTo>
                <a:lnTo>
                  <a:pt x="123" y="361"/>
                </a:lnTo>
                <a:lnTo>
                  <a:pt x="133" y="350"/>
                </a:lnTo>
                <a:lnTo>
                  <a:pt x="120" y="336"/>
                </a:lnTo>
                <a:lnTo>
                  <a:pt x="104" y="332"/>
                </a:lnTo>
                <a:lnTo>
                  <a:pt x="92" y="319"/>
                </a:lnTo>
                <a:lnTo>
                  <a:pt x="87" y="301"/>
                </a:lnTo>
                <a:lnTo>
                  <a:pt x="80" y="278"/>
                </a:lnTo>
                <a:lnTo>
                  <a:pt x="68" y="27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33" name="Freeform 15"/>
          <p:cNvSpPr>
            <a:spLocks/>
          </p:cNvSpPr>
          <p:nvPr/>
        </p:nvSpPr>
        <p:spPr bwMode="auto">
          <a:xfrm>
            <a:off x="7324725" y="3949700"/>
            <a:ext cx="254000" cy="498475"/>
          </a:xfrm>
          <a:custGeom>
            <a:avLst/>
            <a:gdLst>
              <a:gd name="T0" fmla="*/ 2147483647 w 190"/>
              <a:gd name="T1" fmla="*/ 2147483647 h 361"/>
              <a:gd name="T2" fmla="*/ 2147483647 w 190"/>
              <a:gd name="T3" fmla="*/ 2147483647 h 361"/>
              <a:gd name="T4" fmla="*/ 2147483647 w 190"/>
              <a:gd name="T5" fmla="*/ 2147483647 h 361"/>
              <a:gd name="T6" fmla="*/ 2147483647 w 190"/>
              <a:gd name="T7" fmla="*/ 2147483647 h 361"/>
              <a:gd name="T8" fmla="*/ 2147483647 w 190"/>
              <a:gd name="T9" fmla="*/ 2147483647 h 361"/>
              <a:gd name="T10" fmla="*/ 2147483647 w 190"/>
              <a:gd name="T11" fmla="*/ 2147483647 h 361"/>
              <a:gd name="T12" fmla="*/ 2147483647 w 190"/>
              <a:gd name="T13" fmla="*/ 2147483647 h 361"/>
              <a:gd name="T14" fmla="*/ 2147483647 w 190"/>
              <a:gd name="T15" fmla="*/ 2147483647 h 361"/>
              <a:gd name="T16" fmla="*/ 2147483647 w 190"/>
              <a:gd name="T17" fmla="*/ 2147483647 h 361"/>
              <a:gd name="T18" fmla="*/ 2147483647 w 190"/>
              <a:gd name="T19" fmla="*/ 2147483647 h 361"/>
              <a:gd name="T20" fmla="*/ 2147483647 w 190"/>
              <a:gd name="T21" fmla="*/ 2147483647 h 361"/>
              <a:gd name="T22" fmla="*/ 2147483647 w 190"/>
              <a:gd name="T23" fmla="*/ 2147483647 h 361"/>
              <a:gd name="T24" fmla="*/ 2147483647 w 190"/>
              <a:gd name="T25" fmla="*/ 2147483647 h 361"/>
              <a:gd name="T26" fmla="*/ 2147483647 w 190"/>
              <a:gd name="T27" fmla="*/ 2147483647 h 361"/>
              <a:gd name="T28" fmla="*/ 2147483647 w 190"/>
              <a:gd name="T29" fmla="*/ 2147483647 h 361"/>
              <a:gd name="T30" fmla="*/ 2147483647 w 190"/>
              <a:gd name="T31" fmla="*/ 2147483647 h 361"/>
              <a:gd name="T32" fmla="*/ 2147483647 w 190"/>
              <a:gd name="T33" fmla="*/ 2147483647 h 361"/>
              <a:gd name="T34" fmla="*/ 2147483647 w 190"/>
              <a:gd name="T35" fmla="*/ 2147483647 h 361"/>
              <a:gd name="T36" fmla="*/ 2147483647 w 190"/>
              <a:gd name="T37" fmla="*/ 2147483647 h 361"/>
              <a:gd name="T38" fmla="*/ 2147483647 w 190"/>
              <a:gd name="T39" fmla="*/ 2147483647 h 361"/>
              <a:gd name="T40" fmla="*/ 2147483647 w 190"/>
              <a:gd name="T41" fmla="*/ 2147483647 h 361"/>
              <a:gd name="T42" fmla="*/ 2147483647 w 190"/>
              <a:gd name="T43" fmla="*/ 2147483647 h 361"/>
              <a:gd name="T44" fmla="*/ 2147483647 w 190"/>
              <a:gd name="T45" fmla="*/ 2147483647 h 361"/>
              <a:gd name="T46" fmla="*/ 2147483647 w 190"/>
              <a:gd name="T47" fmla="*/ 2147483647 h 361"/>
              <a:gd name="T48" fmla="*/ 2147483647 w 190"/>
              <a:gd name="T49" fmla="*/ 2147483647 h 361"/>
              <a:gd name="T50" fmla="*/ 2147483647 w 190"/>
              <a:gd name="T51" fmla="*/ 2147483647 h 361"/>
              <a:gd name="T52" fmla="*/ 2147483647 w 190"/>
              <a:gd name="T53" fmla="*/ 2147483647 h 361"/>
              <a:gd name="T54" fmla="*/ 2147483647 w 190"/>
              <a:gd name="T55" fmla="*/ 2147483647 h 361"/>
              <a:gd name="T56" fmla="*/ 2147483647 w 190"/>
              <a:gd name="T57" fmla="*/ 2147483647 h 361"/>
              <a:gd name="T58" fmla="*/ 2147483647 w 190"/>
              <a:gd name="T59" fmla="*/ 2147483647 h 361"/>
              <a:gd name="T60" fmla="*/ 2147483647 w 190"/>
              <a:gd name="T61" fmla="*/ 2147483647 h 361"/>
              <a:gd name="T62" fmla="*/ 2147483647 w 190"/>
              <a:gd name="T63" fmla="*/ 2147483647 h 361"/>
              <a:gd name="T64" fmla="*/ 2147483647 w 190"/>
              <a:gd name="T65" fmla="*/ 2147483647 h 361"/>
              <a:gd name="T66" fmla="*/ 2147483647 w 190"/>
              <a:gd name="T67" fmla="*/ 2147483647 h 361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90"/>
              <a:gd name="T103" fmla="*/ 0 h 361"/>
              <a:gd name="T104" fmla="*/ 190 w 190"/>
              <a:gd name="T105" fmla="*/ 361 h 361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90" h="361">
                <a:moveTo>
                  <a:pt x="66" y="75"/>
                </a:moveTo>
                <a:lnTo>
                  <a:pt x="60" y="68"/>
                </a:lnTo>
                <a:lnTo>
                  <a:pt x="48" y="57"/>
                </a:lnTo>
                <a:lnTo>
                  <a:pt x="36" y="62"/>
                </a:lnTo>
                <a:lnTo>
                  <a:pt x="20" y="48"/>
                </a:lnTo>
                <a:lnTo>
                  <a:pt x="16" y="37"/>
                </a:lnTo>
                <a:lnTo>
                  <a:pt x="0" y="21"/>
                </a:lnTo>
                <a:lnTo>
                  <a:pt x="4" y="15"/>
                </a:lnTo>
                <a:lnTo>
                  <a:pt x="16" y="19"/>
                </a:lnTo>
                <a:lnTo>
                  <a:pt x="21" y="15"/>
                </a:lnTo>
                <a:lnTo>
                  <a:pt x="30" y="15"/>
                </a:lnTo>
                <a:lnTo>
                  <a:pt x="36" y="17"/>
                </a:lnTo>
                <a:lnTo>
                  <a:pt x="39" y="14"/>
                </a:lnTo>
                <a:lnTo>
                  <a:pt x="46" y="14"/>
                </a:lnTo>
                <a:lnTo>
                  <a:pt x="60" y="0"/>
                </a:lnTo>
                <a:lnTo>
                  <a:pt x="68" y="1"/>
                </a:lnTo>
                <a:lnTo>
                  <a:pt x="94" y="9"/>
                </a:lnTo>
                <a:lnTo>
                  <a:pt x="98" y="26"/>
                </a:lnTo>
                <a:lnTo>
                  <a:pt x="108" y="33"/>
                </a:lnTo>
                <a:lnTo>
                  <a:pt x="129" y="42"/>
                </a:lnTo>
                <a:lnTo>
                  <a:pt x="117" y="51"/>
                </a:lnTo>
                <a:lnTo>
                  <a:pt x="105" y="57"/>
                </a:lnTo>
                <a:lnTo>
                  <a:pt x="105" y="60"/>
                </a:lnTo>
                <a:lnTo>
                  <a:pt x="97" y="80"/>
                </a:lnTo>
                <a:lnTo>
                  <a:pt x="88" y="103"/>
                </a:lnTo>
                <a:lnTo>
                  <a:pt x="104" y="125"/>
                </a:lnTo>
                <a:lnTo>
                  <a:pt x="110" y="137"/>
                </a:lnTo>
                <a:lnTo>
                  <a:pt x="123" y="151"/>
                </a:lnTo>
                <a:lnTo>
                  <a:pt x="138" y="164"/>
                </a:lnTo>
                <a:lnTo>
                  <a:pt x="156" y="179"/>
                </a:lnTo>
                <a:lnTo>
                  <a:pt x="170" y="194"/>
                </a:lnTo>
                <a:lnTo>
                  <a:pt x="181" y="229"/>
                </a:lnTo>
                <a:lnTo>
                  <a:pt x="190" y="263"/>
                </a:lnTo>
                <a:lnTo>
                  <a:pt x="189" y="271"/>
                </a:lnTo>
                <a:lnTo>
                  <a:pt x="189" y="279"/>
                </a:lnTo>
                <a:lnTo>
                  <a:pt x="186" y="289"/>
                </a:lnTo>
                <a:lnTo>
                  <a:pt x="171" y="303"/>
                </a:lnTo>
                <a:lnTo>
                  <a:pt x="156" y="317"/>
                </a:lnTo>
                <a:lnTo>
                  <a:pt x="140" y="313"/>
                </a:lnTo>
                <a:lnTo>
                  <a:pt x="140" y="319"/>
                </a:lnTo>
                <a:lnTo>
                  <a:pt x="140" y="326"/>
                </a:lnTo>
                <a:lnTo>
                  <a:pt x="136" y="330"/>
                </a:lnTo>
                <a:lnTo>
                  <a:pt x="136" y="339"/>
                </a:lnTo>
                <a:lnTo>
                  <a:pt x="128" y="339"/>
                </a:lnTo>
                <a:lnTo>
                  <a:pt x="111" y="357"/>
                </a:lnTo>
                <a:lnTo>
                  <a:pt x="100" y="361"/>
                </a:lnTo>
                <a:lnTo>
                  <a:pt x="103" y="331"/>
                </a:lnTo>
                <a:lnTo>
                  <a:pt x="88" y="319"/>
                </a:lnTo>
                <a:lnTo>
                  <a:pt x="102" y="309"/>
                </a:lnTo>
                <a:lnTo>
                  <a:pt x="108" y="307"/>
                </a:lnTo>
                <a:lnTo>
                  <a:pt x="123" y="309"/>
                </a:lnTo>
                <a:lnTo>
                  <a:pt x="117" y="290"/>
                </a:lnTo>
                <a:lnTo>
                  <a:pt x="129" y="284"/>
                </a:lnTo>
                <a:lnTo>
                  <a:pt x="148" y="273"/>
                </a:lnTo>
                <a:lnTo>
                  <a:pt x="147" y="254"/>
                </a:lnTo>
                <a:lnTo>
                  <a:pt x="146" y="235"/>
                </a:lnTo>
                <a:lnTo>
                  <a:pt x="145" y="212"/>
                </a:lnTo>
                <a:lnTo>
                  <a:pt x="142" y="192"/>
                </a:lnTo>
                <a:lnTo>
                  <a:pt x="135" y="183"/>
                </a:lnTo>
                <a:lnTo>
                  <a:pt x="136" y="179"/>
                </a:lnTo>
                <a:lnTo>
                  <a:pt x="117" y="163"/>
                </a:lnTo>
                <a:lnTo>
                  <a:pt x="108" y="149"/>
                </a:lnTo>
                <a:lnTo>
                  <a:pt x="93" y="132"/>
                </a:lnTo>
                <a:lnTo>
                  <a:pt x="80" y="115"/>
                </a:lnTo>
                <a:lnTo>
                  <a:pt x="52" y="95"/>
                </a:lnTo>
                <a:lnTo>
                  <a:pt x="56" y="89"/>
                </a:lnTo>
                <a:lnTo>
                  <a:pt x="68" y="84"/>
                </a:lnTo>
                <a:lnTo>
                  <a:pt x="66" y="75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34" name="Freeform 16"/>
          <p:cNvSpPr>
            <a:spLocks/>
          </p:cNvSpPr>
          <p:nvPr/>
        </p:nvSpPr>
        <p:spPr bwMode="auto">
          <a:xfrm>
            <a:off x="5856288" y="3854450"/>
            <a:ext cx="22225" cy="52388"/>
          </a:xfrm>
          <a:custGeom>
            <a:avLst/>
            <a:gdLst>
              <a:gd name="T0" fmla="*/ 2147483647 w 16"/>
              <a:gd name="T1" fmla="*/ 2147483647 h 38"/>
              <a:gd name="T2" fmla="*/ 2147483647 w 16"/>
              <a:gd name="T3" fmla="*/ 2147483647 h 38"/>
              <a:gd name="T4" fmla="*/ 0 w 16"/>
              <a:gd name="T5" fmla="*/ 2147483647 h 38"/>
              <a:gd name="T6" fmla="*/ 0 w 16"/>
              <a:gd name="T7" fmla="*/ 2147483647 h 38"/>
              <a:gd name="T8" fmla="*/ 2147483647 w 16"/>
              <a:gd name="T9" fmla="*/ 0 h 38"/>
              <a:gd name="T10" fmla="*/ 2147483647 w 16"/>
              <a:gd name="T11" fmla="*/ 2147483647 h 38"/>
              <a:gd name="T12" fmla="*/ 2147483647 w 16"/>
              <a:gd name="T13" fmla="*/ 2147483647 h 3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6"/>
              <a:gd name="T22" fmla="*/ 0 h 38"/>
              <a:gd name="T23" fmla="*/ 16 w 16"/>
              <a:gd name="T24" fmla="*/ 38 h 3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6" h="38">
                <a:moveTo>
                  <a:pt x="8" y="37"/>
                </a:moveTo>
                <a:lnTo>
                  <a:pt x="7" y="38"/>
                </a:lnTo>
                <a:lnTo>
                  <a:pt x="0" y="34"/>
                </a:lnTo>
                <a:lnTo>
                  <a:pt x="0" y="12"/>
                </a:lnTo>
                <a:lnTo>
                  <a:pt x="7" y="0"/>
                </a:lnTo>
                <a:lnTo>
                  <a:pt x="16" y="20"/>
                </a:lnTo>
                <a:lnTo>
                  <a:pt x="8" y="3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35" name="Freeform 17"/>
          <p:cNvSpPr>
            <a:spLocks/>
          </p:cNvSpPr>
          <p:nvPr/>
        </p:nvSpPr>
        <p:spPr bwMode="auto">
          <a:xfrm>
            <a:off x="5607050" y="3389313"/>
            <a:ext cx="592138" cy="493712"/>
          </a:xfrm>
          <a:custGeom>
            <a:avLst/>
            <a:gdLst>
              <a:gd name="T0" fmla="*/ 2147483647 w 446"/>
              <a:gd name="T1" fmla="*/ 2147483647 h 360"/>
              <a:gd name="T2" fmla="*/ 2147483647 w 446"/>
              <a:gd name="T3" fmla="*/ 2147483647 h 360"/>
              <a:gd name="T4" fmla="*/ 2147483647 w 446"/>
              <a:gd name="T5" fmla="*/ 2147483647 h 360"/>
              <a:gd name="T6" fmla="*/ 2147483647 w 446"/>
              <a:gd name="T7" fmla="*/ 2147483647 h 360"/>
              <a:gd name="T8" fmla="*/ 0 w 446"/>
              <a:gd name="T9" fmla="*/ 2147483647 h 360"/>
              <a:gd name="T10" fmla="*/ 2147483647 w 446"/>
              <a:gd name="T11" fmla="*/ 2147483647 h 360"/>
              <a:gd name="T12" fmla="*/ 2147483647 w 446"/>
              <a:gd name="T13" fmla="*/ 2147483647 h 360"/>
              <a:gd name="T14" fmla="*/ 2147483647 w 446"/>
              <a:gd name="T15" fmla="*/ 2147483647 h 360"/>
              <a:gd name="T16" fmla="*/ 2147483647 w 446"/>
              <a:gd name="T17" fmla="*/ 2147483647 h 360"/>
              <a:gd name="T18" fmla="*/ 2147483647 w 446"/>
              <a:gd name="T19" fmla="*/ 2147483647 h 360"/>
              <a:gd name="T20" fmla="*/ 2147483647 w 446"/>
              <a:gd name="T21" fmla="*/ 2147483647 h 360"/>
              <a:gd name="T22" fmla="*/ 2147483647 w 446"/>
              <a:gd name="T23" fmla="*/ 2147483647 h 360"/>
              <a:gd name="T24" fmla="*/ 2147483647 w 446"/>
              <a:gd name="T25" fmla="*/ 2147483647 h 360"/>
              <a:gd name="T26" fmla="*/ 2147483647 w 446"/>
              <a:gd name="T27" fmla="*/ 2147483647 h 360"/>
              <a:gd name="T28" fmla="*/ 2147483647 w 446"/>
              <a:gd name="T29" fmla="*/ 2147483647 h 360"/>
              <a:gd name="T30" fmla="*/ 2147483647 w 446"/>
              <a:gd name="T31" fmla="*/ 2147483647 h 360"/>
              <a:gd name="T32" fmla="*/ 2147483647 w 446"/>
              <a:gd name="T33" fmla="*/ 2147483647 h 360"/>
              <a:gd name="T34" fmla="*/ 2147483647 w 446"/>
              <a:gd name="T35" fmla="*/ 2147483647 h 360"/>
              <a:gd name="T36" fmla="*/ 2147483647 w 446"/>
              <a:gd name="T37" fmla="*/ 2147483647 h 360"/>
              <a:gd name="T38" fmla="*/ 2147483647 w 446"/>
              <a:gd name="T39" fmla="*/ 2147483647 h 360"/>
              <a:gd name="T40" fmla="*/ 2147483647 w 446"/>
              <a:gd name="T41" fmla="*/ 2147483647 h 360"/>
              <a:gd name="T42" fmla="*/ 2147483647 w 446"/>
              <a:gd name="T43" fmla="*/ 2147483647 h 360"/>
              <a:gd name="T44" fmla="*/ 2147483647 w 446"/>
              <a:gd name="T45" fmla="*/ 2147483647 h 360"/>
              <a:gd name="T46" fmla="*/ 2147483647 w 446"/>
              <a:gd name="T47" fmla="*/ 2147483647 h 360"/>
              <a:gd name="T48" fmla="*/ 2147483647 w 446"/>
              <a:gd name="T49" fmla="*/ 2147483647 h 360"/>
              <a:gd name="T50" fmla="*/ 2147483647 w 446"/>
              <a:gd name="T51" fmla="*/ 2147483647 h 360"/>
              <a:gd name="T52" fmla="*/ 2147483647 w 446"/>
              <a:gd name="T53" fmla="*/ 2147483647 h 360"/>
              <a:gd name="T54" fmla="*/ 2147483647 w 446"/>
              <a:gd name="T55" fmla="*/ 2147483647 h 360"/>
              <a:gd name="T56" fmla="*/ 2147483647 w 446"/>
              <a:gd name="T57" fmla="*/ 2147483647 h 360"/>
              <a:gd name="T58" fmla="*/ 2147483647 w 446"/>
              <a:gd name="T59" fmla="*/ 2147483647 h 360"/>
              <a:gd name="T60" fmla="*/ 2147483647 w 446"/>
              <a:gd name="T61" fmla="*/ 2147483647 h 360"/>
              <a:gd name="T62" fmla="*/ 2147483647 w 446"/>
              <a:gd name="T63" fmla="*/ 2147483647 h 360"/>
              <a:gd name="T64" fmla="*/ 2147483647 w 446"/>
              <a:gd name="T65" fmla="*/ 2147483647 h 360"/>
              <a:gd name="T66" fmla="*/ 2147483647 w 446"/>
              <a:gd name="T67" fmla="*/ 2147483647 h 360"/>
              <a:gd name="T68" fmla="*/ 2147483647 w 446"/>
              <a:gd name="T69" fmla="*/ 2147483647 h 360"/>
              <a:gd name="T70" fmla="*/ 2147483647 w 446"/>
              <a:gd name="T71" fmla="*/ 2147483647 h 360"/>
              <a:gd name="T72" fmla="*/ 2147483647 w 446"/>
              <a:gd name="T73" fmla="*/ 2147483647 h 360"/>
              <a:gd name="T74" fmla="*/ 2147483647 w 446"/>
              <a:gd name="T75" fmla="*/ 2147483647 h 360"/>
              <a:gd name="T76" fmla="*/ 2147483647 w 446"/>
              <a:gd name="T77" fmla="*/ 2147483647 h 360"/>
              <a:gd name="T78" fmla="*/ 2147483647 w 446"/>
              <a:gd name="T79" fmla="*/ 2147483647 h 36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446"/>
              <a:gd name="T121" fmla="*/ 0 h 360"/>
              <a:gd name="T122" fmla="*/ 446 w 446"/>
              <a:gd name="T123" fmla="*/ 360 h 360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446" h="360">
                <a:moveTo>
                  <a:pt x="62" y="163"/>
                </a:moveTo>
                <a:lnTo>
                  <a:pt x="50" y="146"/>
                </a:lnTo>
                <a:lnTo>
                  <a:pt x="48" y="133"/>
                </a:lnTo>
                <a:lnTo>
                  <a:pt x="56" y="110"/>
                </a:lnTo>
                <a:lnTo>
                  <a:pt x="55" y="98"/>
                </a:lnTo>
                <a:lnTo>
                  <a:pt x="40" y="91"/>
                </a:lnTo>
                <a:lnTo>
                  <a:pt x="20" y="62"/>
                </a:lnTo>
                <a:lnTo>
                  <a:pt x="7" y="45"/>
                </a:lnTo>
                <a:lnTo>
                  <a:pt x="2" y="20"/>
                </a:lnTo>
                <a:lnTo>
                  <a:pt x="0" y="7"/>
                </a:lnTo>
                <a:lnTo>
                  <a:pt x="8" y="0"/>
                </a:lnTo>
                <a:lnTo>
                  <a:pt x="10" y="2"/>
                </a:lnTo>
                <a:lnTo>
                  <a:pt x="14" y="6"/>
                </a:lnTo>
                <a:lnTo>
                  <a:pt x="39" y="20"/>
                </a:lnTo>
                <a:lnTo>
                  <a:pt x="55" y="13"/>
                </a:lnTo>
                <a:lnTo>
                  <a:pt x="75" y="1"/>
                </a:lnTo>
                <a:lnTo>
                  <a:pt x="81" y="14"/>
                </a:lnTo>
                <a:lnTo>
                  <a:pt x="79" y="19"/>
                </a:lnTo>
                <a:lnTo>
                  <a:pt x="98" y="31"/>
                </a:lnTo>
                <a:lnTo>
                  <a:pt x="110" y="54"/>
                </a:lnTo>
                <a:lnTo>
                  <a:pt x="133" y="63"/>
                </a:lnTo>
                <a:lnTo>
                  <a:pt x="153" y="69"/>
                </a:lnTo>
                <a:lnTo>
                  <a:pt x="172" y="77"/>
                </a:lnTo>
                <a:lnTo>
                  <a:pt x="192" y="73"/>
                </a:lnTo>
                <a:lnTo>
                  <a:pt x="205" y="71"/>
                </a:lnTo>
                <a:lnTo>
                  <a:pt x="210" y="67"/>
                </a:lnTo>
                <a:lnTo>
                  <a:pt x="206" y="59"/>
                </a:lnTo>
                <a:lnTo>
                  <a:pt x="213" y="59"/>
                </a:lnTo>
                <a:lnTo>
                  <a:pt x="228" y="43"/>
                </a:lnTo>
                <a:lnTo>
                  <a:pt x="252" y="41"/>
                </a:lnTo>
                <a:lnTo>
                  <a:pt x="271" y="38"/>
                </a:lnTo>
                <a:lnTo>
                  <a:pt x="304" y="50"/>
                </a:lnTo>
                <a:lnTo>
                  <a:pt x="322" y="62"/>
                </a:lnTo>
                <a:lnTo>
                  <a:pt x="339" y="73"/>
                </a:lnTo>
                <a:lnTo>
                  <a:pt x="358" y="75"/>
                </a:lnTo>
                <a:lnTo>
                  <a:pt x="367" y="102"/>
                </a:lnTo>
                <a:lnTo>
                  <a:pt x="362" y="129"/>
                </a:lnTo>
                <a:lnTo>
                  <a:pt x="361" y="133"/>
                </a:lnTo>
                <a:lnTo>
                  <a:pt x="361" y="146"/>
                </a:lnTo>
                <a:lnTo>
                  <a:pt x="369" y="152"/>
                </a:lnTo>
                <a:lnTo>
                  <a:pt x="367" y="157"/>
                </a:lnTo>
                <a:lnTo>
                  <a:pt x="372" y="177"/>
                </a:lnTo>
                <a:lnTo>
                  <a:pt x="377" y="199"/>
                </a:lnTo>
                <a:lnTo>
                  <a:pt x="396" y="206"/>
                </a:lnTo>
                <a:lnTo>
                  <a:pt x="401" y="215"/>
                </a:lnTo>
                <a:lnTo>
                  <a:pt x="385" y="243"/>
                </a:lnTo>
                <a:lnTo>
                  <a:pt x="401" y="260"/>
                </a:lnTo>
                <a:lnTo>
                  <a:pt x="415" y="277"/>
                </a:lnTo>
                <a:lnTo>
                  <a:pt x="432" y="284"/>
                </a:lnTo>
                <a:lnTo>
                  <a:pt x="439" y="309"/>
                </a:lnTo>
                <a:lnTo>
                  <a:pt x="445" y="313"/>
                </a:lnTo>
                <a:lnTo>
                  <a:pt x="446" y="324"/>
                </a:lnTo>
                <a:lnTo>
                  <a:pt x="427" y="331"/>
                </a:lnTo>
                <a:lnTo>
                  <a:pt x="419" y="341"/>
                </a:lnTo>
                <a:lnTo>
                  <a:pt x="417" y="360"/>
                </a:lnTo>
                <a:lnTo>
                  <a:pt x="395" y="356"/>
                </a:lnTo>
                <a:lnTo>
                  <a:pt x="371" y="353"/>
                </a:lnTo>
                <a:lnTo>
                  <a:pt x="346" y="349"/>
                </a:lnTo>
                <a:lnTo>
                  <a:pt x="324" y="345"/>
                </a:lnTo>
                <a:lnTo>
                  <a:pt x="315" y="329"/>
                </a:lnTo>
                <a:lnTo>
                  <a:pt x="306" y="311"/>
                </a:lnTo>
                <a:lnTo>
                  <a:pt x="289" y="318"/>
                </a:lnTo>
                <a:lnTo>
                  <a:pt x="271" y="325"/>
                </a:lnTo>
                <a:lnTo>
                  <a:pt x="238" y="318"/>
                </a:lnTo>
                <a:lnTo>
                  <a:pt x="219" y="306"/>
                </a:lnTo>
                <a:lnTo>
                  <a:pt x="200" y="294"/>
                </a:lnTo>
                <a:lnTo>
                  <a:pt x="183" y="278"/>
                </a:lnTo>
                <a:lnTo>
                  <a:pt x="172" y="263"/>
                </a:lnTo>
                <a:lnTo>
                  <a:pt x="153" y="235"/>
                </a:lnTo>
                <a:lnTo>
                  <a:pt x="145" y="236"/>
                </a:lnTo>
                <a:lnTo>
                  <a:pt x="135" y="230"/>
                </a:lnTo>
                <a:lnTo>
                  <a:pt x="134" y="228"/>
                </a:lnTo>
                <a:lnTo>
                  <a:pt x="128" y="240"/>
                </a:lnTo>
                <a:lnTo>
                  <a:pt x="126" y="241"/>
                </a:lnTo>
                <a:lnTo>
                  <a:pt x="118" y="233"/>
                </a:lnTo>
                <a:lnTo>
                  <a:pt x="111" y="216"/>
                </a:lnTo>
                <a:lnTo>
                  <a:pt x="104" y="216"/>
                </a:lnTo>
                <a:lnTo>
                  <a:pt x="104" y="195"/>
                </a:lnTo>
                <a:lnTo>
                  <a:pt x="96" y="185"/>
                </a:lnTo>
                <a:lnTo>
                  <a:pt x="79" y="174"/>
                </a:lnTo>
                <a:lnTo>
                  <a:pt x="62" y="16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36" name="Freeform 18"/>
          <p:cNvSpPr>
            <a:spLocks/>
          </p:cNvSpPr>
          <p:nvPr/>
        </p:nvSpPr>
        <p:spPr bwMode="auto">
          <a:xfrm>
            <a:off x="5487988" y="3470275"/>
            <a:ext cx="287337" cy="282575"/>
          </a:xfrm>
          <a:custGeom>
            <a:avLst/>
            <a:gdLst>
              <a:gd name="T0" fmla="*/ 2147483647 w 216"/>
              <a:gd name="T1" fmla="*/ 2147483647 h 203"/>
              <a:gd name="T2" fmla="*/ 2147483647 w 216"/>
              <a:gd name="T3" fmla="*/ 2147483647 h 203"/>
              <a:gd name="T4" fmla="*/ 2147483647 w 216"/>
              <a:gd name="T5" fmla="*/ 2147483647 h 203"/>
              <a:gd name="T6" fmla="*/ 2147483647 w 216"/>
              <a:gd name="T7" fmla="*/ 2147483647 h 203"/>
              <a:gd name="T8" fmla="*/ 2147483647 w 216"/>
              <a:gd name="T9" fmla="*/ 2147483647 h 203"/>
              <a:gd name="T10" fmla="*/ 2147483647 w 216"/>
              <a:gd name="T11" fmla="*/ 2147483647 h 203"/>
              <a:gd name="T12" fmla="*/ 2147483647 w 216"/>
              <a:gd name="T13" fmla="*/ 2147483647 h 203"/>
              <a:gd name="T14" fmla="*/ 2147483647 w 216"/>
              <a:gd name="T15" fmla="*/ 0 h 203"/>
              <a:gd name="T16" fmla="*/ 2147483647 w 216"/>
              <a:gd name="T17" fmla="*/ 0 h 203"/>
              <a:gd name="T18" fmla="*/ 2147483647 w 216"/>
              <a:gd name="T19" fmla="*/ 2147483647 h 203"/>
              <a:gd name="T20" fmla="*/ 2147483647 w 216"/>
              <a:gd name="T21" fmla="*/ 2147483647 h 203"/>
              <a:gd name="T22" fmla="*/ 2147483647 w 216"/>
              <a:gd name="T23" fmla="*/ 2147483647 h 203"/>
              <a:gd name="T24" fmla="*/ 2147483647 w 216"/>
              <a:gd name="T25" fmla="*/ 2147483647 h 203"/>
              <a:gd name="T26" fmla="*/ 2147483647 w 216"/>
              <a:gd name="T27" fmla="*/ 2147483647 h 203"/>
              <a:gd name="T28" fmla="*/ 0 w 216"/>
              <a:gd name="T29" fmla="*/ 2147483647 h 203"/>
              <a:gd name="T30" fmla="*/ 2147483647 w 216"/>
              <a:gd name="T31" fmla="*/ 2147483647 h 203"/>
              <a:gd name="T32" fmla="*/ 2147483647 w 216"/>
              <a:gd name="T33" fmla="*/ 2147483647 h 203"/>
              <a:gd name="T34" fmla="*/ 2147483647 w 216"/>
              <a:gd name="T35" fmla="*/ 2147483647 h 203"/>
              <a:gd name="T36" fmla="*/ 2147483647 w 216"/>
              <a:gd name="T37" fmla="*/ 2147483647 h 203"/>
              <a:gd name="T38" fmla="*/ 2147483647 w 216"/>
              <a:gd name="T39" fmla="*/ 2147483647 h 203"/>
              <a:gd name="T40" fmla="*/ 2147483647 w 216"/>
              <a:gd name="T41" fmla="*/ 2147483647 h 203"/>
              <a:gd name="T42" fmla="*/ 2147483647 w 216"/>
              <a:gd name="T43" fmla="*/ 2147483647 h 203"/>
              <a:gd name="T44" fmla="*/ 2147483647 w 216"/>
              <a:gd name="T45" fmla="*/ 2147483647 h 203"/>
              <a:gd name="T46" fmla="*/ 2147483647 w 216"/>
              <a:gd name="T47" fmla="*/ 2147483647 h 203"/>
              <a:gd name="T48" fmla="*/ 2147483647 w 216"/>
              <a:gd name="T49" fmla="*/ 2147483647 h 203"/>
              <a:gd name="T50" fmla="*/ 2147483647 w 216"/>
              <a:gd name="T51" fmla="*/ 2147483647 h 203"/>
              <a:gd name="T52" fmla="*/ 2147483647 w 216"/>
              <a:gd name="T53" fmla="*/ 2147483647 h 203"/>
              <a:gd name="T54" fmla="*/ 2147483647 w 216"/>
              <a:gd name="T55" fmla="*/ 2147483647 h 203"/>
              <a:gd name="T56" fmla="*/ 2147483647 w 216"/>
              <a:gd name="T57" fmla="*/ 2147483647 h 203"/>
              <a:gd name="T58" fmla="*/ 2147483647 w 216"/>
              <a:gd name="T59" fmla="*/ 2147483647 h 203"/>
              <a:gd name="T60" fmla="*/ 2147483647 w 216"/>
              <a:gd name="T61" fmla="*/ 2147483647 h 203"/>
              <a:gd name="T62" fmla="*/ 2147483647 w 216"/>
              <a:gd name="T63" fmla="*/ 2147483647 h 203"/>
              <a:gd name="T64" fmla="*/ 2147483647 w 216"/>
              <a:gd name="T65" fmla="*/ 2147483647 h 203"/>
              <a:gd name="T66" fmla="*/ 2147483647 w 216"/>
              <a:gd name="T67" fmla="*/ 2147483647 h 20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16"/>
              <a:gd name="T103" fmla="*/ 0 h 203"/>
              <a:gd name="T104" fmla="*/ 216 w 216"/>
              <a:gd name="T105" fmla="*/ 203 h 203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16" h="203">
                <a:moveTo>
                  <a:pt x="140" y="86"/>
                </a:moveTo>
                <a:lnTo>
                  <a:pt x="138" y="73"/>
                </a:lnTo>
                <a:lnTo>
                  <a:pt x="146" y="50"/>
                </a:lnTo>
                <a:lnTo>
                  <a:pt x="145" y="38"/>
                </a:lnTo>
                <a:lnTo>
                  <a:pt x="130" y="31"/>
                </a:lnTo>
                <a:lnTo>
                  <a:pt x="110" y="2"/>
                </a:lnTo>
                <a:lnTo>
                  <a:pt x="98" y="5"/>
                </a:lnTo>
                <a:lnTo>
                  <a:pt x="93" y="0"/>
                </a:lnTo>
                <a:lnTo>
                  <a:pt x="66" y="0"/>
                </a:lnTo>
                <a:lnTo>
                  <a:pt x="61" y="5"/>
                </a:lnTo>
                <a:lnTo>
                  <a:pt x="42" y="23"/>
                </a:lnTo>
                <a:lnTo>
                  <a:pt x="43" y="47"/>
                </a:lnTo>
                <a:lnTo>
                  <a:pt x="43" y="71"/>
                </a:lnTo>
                <a:lnTo>
                  <a:pt x="21" y="84"/>
                </a:lnTo>
                <a:lnTo>
                  <a:pt x="0" y="97"/>
                </a:lnTo>
                <a:lnTo>
                  <a:pt x="14" y="125"/>
                </a:lnTo>
                <a:lnTo>
                  <a:pt x="34" y="134"/>
                </a:lnTo>
                <a:lnTo>
                  <a:pt x="55" y="144"/>
                </a:lnTo>
                <a:lnTo>
                  <a:pt x="75" y="153"/>
                </a:lnTo>
                <a:lnTo>
                  <a:pt x="96" y="162"/>
                </a:lnTo>
                <a:lnTo>
                  <a:pt x="115" y="181"/>
                </a:lnTo>
                <a:lnTo>
                  <a:pt x="136" y="200"/>
                </a:lnTo>
                <a:lnTo>
                  <a:pt x="176" y="203"/>
                </a:lnTo>
                <a:lnTo>
                  <a:pt x="186" y="182"/>
                </a:lnTo>
                <a:lnTo>
                  <a:pt x="202" y="180"/>
                </a:lnTo>
                <a:lnTo>
                  <a:pt x="216" y="181"/>
                </a:lnTo>
                <a:lnTo>
                  <a:pt x="208" y="173"/>
                </a:lnTo>
                <a:lnTo>
                  <a:pt x="201" y="156"/>
                </a:lnTo>
                <a:lnTo>
                  <a:pt x="194" y="156"/>
                </a:lnTo>
                <a:lnTo>
                  <a:pt x="194" y="135"/>
                </a:lnTo>
                <a:lnTo>
                  <a:pt x="186" y="125"/>
                </a:lnTo>
                <a:lnTo>
                  <a:pt x="169" y="114"/>
                </a:lnTo>
                <a:lnTo>
                  <a:pt x="152" y="103"/>
                </a:lnTo>
                <a:lnTo>
                  <a:pt x="140" y="86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37" name="Freeform 19"/>
          <p:cNvSpPr>
            <a:spLocks/>
          </p:cNvSpPr>
          <p:nvPr/>
        </p:nvSpPr>
        <p:spPr bwMode="auto">
          <a:xfrm>
            <a:off x="5721350" y="3719513"/>
            <a:ext cx="53975" cy="47625"/>
          </a:xfrm>
          <a:custGeom>
            <a:avLst/>
            <a:gdLst>
              <a:gd name="T0" fmla="*/ 2147483647 w 41"/>
              <a:gd name="T1" fmla="*/ 2147483647 h 36"/>
              <a:gd name="T2" fmla="*/ 2147483647 w 41"/>
              <a:gd name="T3" fmla="*/ 2147483647 h 36"/>
              <a:gd name="T4" fmla="*/ 2147483647 w 41"/>
              <a:gd name="T5" fmla="*/ 2147483647 h 36"/>
              <a:gd name="T6" fmla="*/ 2147483647 w 41"/>
              <a:gd name="T7" fmla="*/ 2147483647 h 36"/>
              <a:gd name="T8" fmla="*/ 2147483647 w 41"/>
              <a:gd name="T9" fmla="*/ 2147483647 h 36"/>
              <a:gd name="T10" fmla="*/ 2147483647 w 41"/>
              <a:gd name="T11" fmla="*/ 2147483647 h 36"/>
              <a:gd name="T12" fmla="*/ 0 w 41"/>
              <a:gd name="T13" fmla="*/ 2147483647 h 36"/>
              <a:gd name="T14" fmla="*/ 2147483647 w 41"/>
              <a:gd name="T15" fmla="*/ 2147483647 h 36"/>
              <a:gd name="T16" fmla="*/ 2147483647 w 41"/>
              <a:gd name="T17" fmla="*/ 0 h 36"/>
              <a:gd name="T18" fmla="*/ 2147483647 w 41"/>
              <a:gd name="T19" fmla="*/ 2147483647 h 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1"/>
              <a:gd name="T31" fmla="*/ 0 h 36"/>
              <a:gd name="T32" fmla="*/ 41 w 41"/>
              <a:gd name="T33" fmla="*/ 36 h 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1" h="36">
                <a:moveTo>
                  <a:pt x="32" y="11"/>
                </a:moveTo>
                <a:lnTo>
                  <a:pt x="26" y="12"/>
                </a:lnTo>
                <a:lnTo>
                  <a:pt x="28" y="17"/>
                </a:lnTo>
                <a:lnTo>
                  <a:pt x="41" y="36"/>
                </a:lnTo>
                <a:lnTo>
                  <a:pt x="23" y="32"/>
                </a:lnTo>
                <a:lnTo>
                  <a:pt x="19" y="25"/>
                </a:lnTo>
                <a:lnTo>
                  <a:pt x="0" y="23"/>
                </a:lnTo>
                <a:lnTo>
                  <a:pt x="10" y="2"/>
                </a:lnTo>
                <a:lnTo>
                  <a:pt x="26" y="0"/>
                </a:lnTo>
                <a:lnTo>
                  <a:pt x="32" y="1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38" name="Freeform 20"/>
          <p:cNvSpPr>
            <a:spLocks/>
          </p:cNvSpPr>
          <p:nvPr/>
        </p:nvSpPr>
        <p:spPr bwMode="auto">
          <a:xfrm>
            <a:off x="6664325" y="3705225"/>
            <a:ext cx="238125" cy="134938"/>
          </a:xfrm>
          <a:custGeom>
            <a:avLst/>
            <a:gdLst>
              <a:gd name="T0" fmla="*/ 2147483647 w 180"/>
              <a:gd name="T1" fmla="*/ 2147483647 h 98"/>
              <a:gd name="T2" fmla="*/ 2147483647 w 180"/>
              <a:gd name="T3" fmla="*/ 2147483647 h 98"/>
              <a:gd name="T4" fmla="*/ 2147483647 w 180"/>
              <a:gd name="T5" fmla="*/ 2147483647 h 98"/>
              <a:gd name="T6" fmla="*/ 2147483647 w 180"/>
              <a:gd name="T7" fmla="*/ 2147483647 h 98"/>
              <a:gd name="T8" fmla="*/ 0 w 180"/>
              <a:gd name="T9" fmla="*/ 2147483647 h 98"/>
              <a:gd name="T10" fmla="*/ 0 w 180"/>
              <a:gd name="T11" fmla="*/ 2147483647 h 98"/>
              <a:gd name="T12" fmla="*/ 2147483647 w 180"/>
              <a:gd name="T13" fmla="*/ 2147483647 h 98"/>
              <a:gd name="T14" fmla="*/ 2147483647 w 180"/>
              <a:gd name="T15" fmla="*/ 2147483647 h 98"/>
              <a:gd name="T16" fmla="*/ 2147483647 w 180"/>
              <a:gd name="T17" fmla="*/ 0 h 98"/>
              <a:gd name="T18" fmla="*/ 2147483647 w 180"/>
              <a:gd name="T19" fmla="*/ 2147483647 h 98"/>
              <a:gd name="T20" fmla="*/ 2147483647 w 180"/>
              <a:gd name="T21" fmla="*/ 2147483647 h 98"/>
              <a:gd name="T22" fmla="*/ 2147483647 w 180"/>
              <a:gd name="T23" fmla="*/ 2147483647 h 98"/>
              <a:gd name="T24" fmla="*/ 2147483647 w 180"/>
              <a:gd name="T25" fmla="*/ 2147483647 h 98"/>
              <a:gd name="T26" fmla="*/ 2147483647 w 180"/>
              <a:gd name="T27" fmla="*/ 2147483647 h 98"/>
              <a:gd name="T28" fmla="*/ 2147483647 w 180"/>
              <a:gd name="T29" fmla="*/ 2147483647 h 98"/>
              <a:gd name="T30" fmla="*/ 2147483647 w 180"/>
              <a:gd name="T31" fmla="*/ 2147483647 h 98"/>
              <a:gd name="T32" fmla="*/ 2147483647 w 180"/>
              <a:gd name="T33" fmla="*/ 2147483647 h 98"/>
              <a:gd name="T34" fmla="*/ 2147483647 w 180"/>
              <a:gd name="T35" fmla="*/ 2147483647 h 98"/>
              <a:gd name="T36" fmla="*/ 2147483647 w 180"/>
              <a:gd name="T37" fmla="*/ 2147483647 h 98"/>
              <a:gd name="T38" fmla="*/ 2147483647 w 180"/>
              <a:gd name="T39" fmla="*/ 2147483647 h 98"/>
              <a:gd name="T40" fmla="*/ 2147483647 w 180"/>
              <a:gd name="T41" fmla="*/ 2147483647 h 98"/>
              <a:gd name="T42" fmla="*/ 2147483647 w 180"/>
              <a:gd name="T43" fmla="*/ 2147483647 h 98"/>
              <a:gd name="T44" fmla="*/ 2147483647 w 180"/>
              <a:gd name="T45" fmla="*/ 2147483647 h 9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80"/>
              <a:gd name="T70" fmla="*/ 0 h 98"/>
              <a:gd name="T71" fmla="*/ 180 w 180"/>
              <a:gd name="T72" fmla="*/ 98 h 98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80" h="98">
                <a:moveTo>
                  <a:pt x="102" y="78"/>
                </a:moveTo>
                <a:lnTo>
                  <a:pt x="74" y="74"/>
                </a:lnTo>
                <a:lnTo>
                  <a:pt x="54" y="70"/>
                </a:lnTo>
                <a:lnTo>
                  <a:pt x="26" y="55"/>
                </a:lnTo>
                <a:lnTo>
                  <a:pt x="0" y="42"/>
                </a:lnTo>
                <a:lnTo>
                  <a:pt x="0" y="26"/>
                </a:lnTo>
                <a:lnTo>
                  <a:pt x="12" y="6"/>
                </a:lnTo>
                <a:lnTo>
                  <a:pt x="13" y="8"/>
                </a:lnTo>
                <a:lnTo>
                  <a:pt x="22" y="0"/>
                </a:lnTo>
                <a:lnTo>
                  <a:pt x="39" y="11"/>
                </a:lnTo>
                <a:lnTo>
                  <a:pt x="67" y="32"/>
                </a:lnTo>
                <a:lnTo>
                  <a:pt x="75" y="29"/>
                </a:lnTo>
                <a:lnTo>
                  <a:pt x="82" y="37"/>
                </a:lnTo>
                <a:lnTo>
                  <a:pt x="103" y="46"/>
                </a:lnTo>
                <a:lnTo>
                  <a:pt x="105" y="50"/>
                </a:lnTo>
                <a:lnTo>
                  <a:pt x="128" y="59"/>
                </a:lnTo>
                <a:lnTo>
                  <a:pt x="146" y="62"/>
                </a:lnTo>
                <a:lnTo>
                  <a:pt x="172" y="65"/>
                </a:lnTo>
                <a:lnTo>
                  <a:pt x="180" y="98"/>
                </a:lnTo>
                <a:lnTo>
                  <a:pt x="156" y="97"/>
                </a:lnTo>
                <a:lnTo>
                  <a:pt x="128" y="94"/>
                </a:lnTo>
                <a:lnTo>
                  <a:pt x="111" y="90"/>
                </a:lnTo>
                <a:lnTo>
                  <a:pt x="102" y="7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39" name="Freeform 21"/>
          <p:cNvSpPr>
            <a:spLocks/>
          </p:cNvSpPr>
          <p:nvPr/>
        </p:nvSpPr>
        <p:spPr bwMode="auto">
          <a:xfrm>
            <a:off x="6116638" y="3479800"/>
            <a:ext cx="430212" cy="454025"/>
          </a:xfrm>
          <a:custGeom>
            <a:avLst/>
            <a:gdLst>
              <a:gd name="T0" fmla="*/ 2147483647 w 324"/>
              <a:gd name="T1" fmla="*/ 2147483647 h 329"/>
              <a:gd name="T2" fmla="*/ 2147483647 w 324"/>
              <a:gd name="T3" fmla="*/ 2147483647 h 329"/>
              <a:gd name="T4" fmla="*/ 2147483647 w 324"/>
              <a:gd name="T5" fmla="*/ 2147483647 h 329"/>
              <a:gd name="T6" fmla="*/ 2147483647 w 324"/>
              <a:gd name="T7" fmla="*/ 2147483647 h 329"/>
              <a:gd name="T8" fmla="*/ 2147483647 w 324"/>
              <a:gd name="T9" fmla="*/ 2147483647 h 329"/>
              <a:gd name="T10" fmla="*/ 2147483647 w 324"/>
              <a:gd name="T11" fmla="*/ 2147483647 h 329"/>
              <a:gd name="T12" fmla="*/ 2147483647 w 324"/>
              <a:gd name="T13" fmla="*/ 2147483647 h 329"/>
              <a:gd name="T14" fmla="*/ 2147483647 w 324"/>
              <a:gd name="T15" fmla="*/ 2147483647 h 329"/>
              <a:gd name="T16" fmla="*/ 2147483647 w 324"/>
              <a:gd name="T17" fmla="*/ 2147483647 h 329"/>
              <a:gd name="T18" fmla="*/ 2147483647 w 324"/>
              <a:gd name="T19" fmla="*/ 2147483647 h 329"/>
              <a:gd name="T20" fmla="*/ 2147483647 w 324"/>
              <a:gd name="T21" fmla="*/ 2147483647 h 329"/>
              <a:gd name="T22" fmla="*/ 2147483647 w 324"/>
              <a:gd name="T23" fmla="*/ 2147483647 h 329"/>
              <a:gd name="T24" fmla="*/ 2147483647 w 324"/>
              <a:gd name="T25" fmla="*/ 2147483647 h 329"/>
              <a:gd name="T26" fmla="*/ 2147483647 w 324"/>
              <a:gd name="T27" fmla="*/ 2147483647 h 329"/>
              <a:gd name="T28" fmla="*/ 2147483647 w 324"/>
              <a:gd name="T29" fmla="*/ 2147483647 h 329"/>
              <a:gd name="T30" fmla="*/ 2147483647 w 324"/>
              <a:gd name="T31" fmla="*/ 2147483647 h 329"/>
              <a:gd name="T32" fmla="*/ 2147483647 w 324"/>
              <a:gd name="T33" fmla="*/ 2147483647 h 329"/>
              <a:gd name="T34" fmla="*/ 2147483647 w 324"/>
              <a:gd name="T35" fmla="*/ 2147483647 h 329"/>
              <a:gd name="T36" fmla="*/ 2147483647 w 324"/>
              <a:gd name="T37" fmla="*/ 2147483647 h 329"/>
              <a:gd name="T38" fmla="*/ 2147483647 w 324"/>
              <a:gd name="T39" fmla="*/ 2147483647 h 329"/>
              <a:gd name="T40" fmla="*/ 2147483647 w 324"/>
              <a:gd name="T41" fmla="*/ 2147483647 h 329"/>
              <a:gd name="T42" fmla="*/ 2147483647 w 324"/>
              <a:gd name="T43" fmla="*/ 2147483647 h 329"/>
              <a:gd name="T44" fmla="*/ 2147483647 w 324"/>
              <a:gd name="T45" fmla="*/ 2147483647 h 329"/>
              <a:gd name="T46" fmla="*/ 2147483647 w 324"/>
              <a:gd name="T47" fmla="*/ 2147483647 h 329"/>
              <a:gd name="T48" fmla="*/ 2147483647 w 324"/>
              <a:gd name="T49" fmla="*/ 2147483647 h 329"/>
              <a:gd name="T50" fmla="*/ 2147483647 w 324"/>
              <a:gd name="T51" fmla="*/ 2147483647 h 329"/>
              <a:gd name="T52" fmla="*/ 2147483647 w 324"/>
              <a:gd name="T53" fmla="*/ 2147483647 h 329"/>
              <a:gd name="T54" fmla="*/ 2147483647 w 324"/>
              <a:gd name="T55" fmla="*/ 2147483647 h 329"/>
              <a:gd name="T56" fmla="*/ 2147483647 w 324"/>
              <a:gd name="T57" fmla="*/ 2147483647 h 329"/>
              <a:gd name="T58" fmla="*/ 2147483647 w 324"/>
              <a:gd name="T59" fmla="*/ 2147483647 h 329"/>
              <a:gd name="T60" fmla="*/ 2147483647 w 324"/>
              <a:gd name="T61" fmla="*/ 2147483647 h 329"/>
              <a:gd name="T62" fmla="*/ 2147483647 w 324"/>
              <a:gd name="T63" fmla="*/ 2147483647 h 329"/>
              <a:gd name="T64" fmla="*/ 2147483647 w 324"/>
              <a:gd name="T65" fmla="*/ 2147483647 h 329"/>
              <a:gd name="T66" fmla="*/ 2147483647 w 324"/>
              <a:gd name="T67" fmla="*/ 2147483647 h 329"/>
              <a:gd name="T68" fmla="*/ 2147483647 w 324"/>
              <a:gd name="T69" fmla="*/ 2147483647 h 329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24"/>
              <a:gd name="T106" fmla="*/ 0 h 329"/>
              <a:gd name="T107" fmla="*/ 324 w 324"/>
              <a:gd name="T108" fmla="*/ 329 h 329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24" h="329">
                <a:moveTo>
                  <a:pt x="133" y="288"/>
                </a:moveTo>
                <a:lnTo>
                  <a:pt x="142" y="300"/>
                </a:lnTo>
                <a:lnTo>
                  <a:pt x="149" y="303"/>
                </a:lnTo>
                <a:lnTo>
                  <a:pt x="161" y="323"/>
                </a:lnTo>
                <a:lnTo>
                  <a:pt x="176" y="329"/>
                </a:lnTo>
                <a:lnTo>
                  <a:pt x="188" y="324"/>
                </a:lnTo>
                <a:lnTo>
                  <a:pt x="187" y="315"/>
                </a:lnTo>
                <a:lnTo>
                  <a:pt x="205" y="317"/>
                </a:lnTo>
                <a:lnTo>
                  <a:pt x="227" y="313"/>
                </a:lnTo>
                <a:lnTo>
                  <a:pt x="234" y="314"/>
                </a:lnTo>
                <a:lnTo>
                  <a:pt x="223" y="282"/>
                </a:lnTo>
                <a:lnTo>
                  <a:pt x="215" y="281"/>
                </a:lnTo>
                <a:lnTo>
                  <a:pt x="210" y="264"/>
                </a:lnTo>
                <a:lnTo>
                  <a:pt x="194" y="255"/>
                </a:lnTo>
                <a:lnTo>
                  <a:pt x="206" y="225"/>
                </a:lnTo>
                <a:lnTo>
                  <a:pt x="215" y="228"/>
                </a:lnTo>
                <a:lnTo>
                  <a:pt x="235" y="227"/>
                </a:lnTo>
                <a:lnTo>
                  <a:pt x="248" y="206"/>
                </a:lnTo>
                <a:lnTo>
                  <a:pt x="263" y="185"/>
                </a:lnTo>
                <a:lnTo>
                  <a:pt x="274" y="167"/>
                </a:lnTo>
                <a:lnTo>
                  <a:pt x="282" y="150"/>
                </a:lnTo>
                <a:lnTo>
                  <a:pt x="277" y="132"/>
                </a:lnTo>
                <a:lnTo>
                  <a:pt x="292" y="121"/>
                </a:lnTo>
                <a:lnTo>
                  <a:pt x="282" y="114"/>
                </a:lnTo>
                <a:lnTo>
                  <a:pt x="274" y="104"/>
                </a:lnTo>
                <a:lnTo>
                  <a:pt x="264" y="98"/>
                </a:lnTo>
                <a:lnTo>
                  <a:pt x="259" y="85"/>
                </a:lnTo>
                <a:lnTo>
                  <a:pt x="259" y="78"/>
                </a:lnTo>
                <a:lnTo>
                  <a:pt x="250" y="67"/>
                </a:lnTo>
                <a:lnTo>
                  <a:pt x="250" y="59"/>
                </a:lnTo>
                <a:lnTo>
                  <a:pt x="280" y="62"/>
                </a:lnTo>
                <a:lnTo>
                  <a:pt x="304" y="56"/>
                </a:lnTo>
                <a:lnTo>
                  <a:pt x="324" y="38"/>
                </a:lnTo>
                <a:lnTo>
                  <a:pt x="295" y="30"/>
                </a:lnTo>
                <a:lnTo>
                  <a:pt x="280" y="23"/>
                </a:lnTo>
                <a:lnTo>
                  <a:pt x="270" y="7"/>
                </a:lnTo>
                <a:lnTo>
                  <a:pt x="246" y="0"/>
                </a:lnTo>
                <a:lnTo>
                  <a:pt x="221" y="6"/>
                </a:lnTo>
                <a:lnTo>
                  <a:pt x="197" y="11"/>
                </a:lnTo>
                <a:lnTo>
                  <a:pt x="186" y="26"/>
                </a:lnTo>
                <a:lnTo>
                  <a:pt x="197" y="48"/>
                </a:lnTo>
                <a:lnTo>
                  <a:pt x="191" y="66"/>
                </a:lnTo>
                <a:lnTo>
                  <a:pt x="187" y="77"/>
                </a:lnTo>
                <a:lnTo>
                  <a:pt x="169" y="78"/>
                </a:lnTo>
                <a:lnTo>
                  <a:pt x="181" y="92"/>
                </a:lnTo>
                <a:lnTo>
                  <a:pt x="164" y="105"/>
                </a:lnTo>
                <a:lnTo>
                  <a:pt x="163" y="133"/>
                </a:lnTo>
                <a:lnTo>
                  <a:pt x="143" y="132"/>
                </a:lnTo>
                <a:lnTo>
                  <a:pt x="137" y="139"/>
                </a:lnTo>
                <a:lnTo>
                  <a:pt x="116" y="147"/>
                </a:lnTo>
                <a:lnTo>
                  <a:pt x="113" y="167"/>
                </a:lnTo>
                <a:lnTo>
                  <a:pt x="114" y="179"/>
                </a:lnTo>
                <a:lnTo>
                  <a:pt x="91" y="183"/>
                </a:lnTo>
                <a:lnTo>
                  <a:pt x="68" y="188"/>
                </a:lnTo>
                <a:lnTo>
                  <a:pt x="36" y="189"/>
                </a:lnTo>
                <a:lnTo>
                  <a:pt x="18" y="183"/>
                </a:lnTo>
                <a:lnTo>
                  <a:pt x="0" y="177"/>
                </a:lnTo>
                <a:lnTo>
                  <a:pt x="16" y="194"/>
                </a:lnTo>
                <a:lnTo>
                  <a:pt x="30" y="211"/>
                </a:lnTo>
                <a:lnTo>
                  <a:pt x="47" y="218"/>
                </a:lnTo>
                <a:lnTo>
                  <a:pt x="54" y="243"/>
                </a:lnTo>
                <a:lnTo>
                  <a:pt x="60" y="247"/>
                </a:lnTo>
                <a:lnTo>
                  <a:pt x="61" y="258"/>
                </a:lnTo>
                <a:lnTo>
                  <a:pt x="42" y="265"/>
                </a:lnTo>
                <a:lnTo>
                  <a:pt x="34" y="275"/>
                </a:lnTo>
                <a:lnTo>
                  <a:pt x="32" y="294"/>
                </a:lnTo>
                <a:lnTo>
                  <a:pt x="53" y="293"/>
                </a:lnTo>
                <a:lnTo>
                  <a:pt x="72" y="293"/>
                </a:lnTo>
                <a:lnTo>
                  <a:pt x="89" y="291"/>
                </a:lnTo>
                <a:lnTo>
                  <a:pt x="110" y="289"/>
                </a:lnTo>
                <a:lnTo>
                  <a:pt x="133" y="28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40" name="Freeform 22"/>
          <p:cNvSpPr>
            <a:spLocks/>
          </p:cNvSpPr>
          <p:nvPr/>
        </p:nvSpPr>
        <p:spPr bwMode="auto">
          <a:xfrm>
            <a:off x="5110163" y="3663950"/>
            <a:ext cx="320675" cy="338138"/>
          </a:xfrm>
          <a:custGeom>
            <a:avLst/>
            <a:gdLst>
              <a:gd name="T0" fmla="*/ 2147483647 w 242"/>
              <a:gd name="T1" fmla="*/ 2147483647 h 246"/>
              <a:gd name="T2" fmla="*/ 2147483647 w 242"/>
              <a:gd name="T3" fmla="*/ 2147483647 h 246"/>
              <a:gd name="T4" fmla="*/ 2147483647 w 242"/>
              <a:gd name="T5" fmla="*/ 2147483647 h 246"/>
              <a:gd name="T6" fmla="*/ 2147483647 w 242"/>
              <a:gd name="T7" fmla="*/ 2147483647 h 246"/>
              <a:gd name="T8" fmla="*/ 2147483647 w 242"/>
              <a:gd name="T9" fmla="*/ 2147483647 h 246"/>
              <a:gd name="T10" fmla="*/ 2147483647 w 242"/>
              <a:gd name="T11" fmla="*/ 2147483647 h 246"/>
              <a:gd name="T12" fmla="*/ 2147483647 w 242"/>
              <a:gd name="T13" fmla="*/ 2147483647 h 246"/>
              <a:gd name="T14" fmla="*/ 2147483647 w 242"/>
              <a:gd name="T15" fmla="*/ 2147483647 h 246"/>
              <a:gd name="T16" fmla="*/ 2147483647 w 242"/>
              <a:gd name="T17" fmla="*/ 2147483647 h 246"/>
              <a:gd name="T18" fmla="*/ 2147483647 w 242"/>
              <a:gd name="T19" fmla="*/ 2147483647 h 246"/>
              <a:gd name="T20" fmla="*/ 2147483647 w 242"/>
              <a:gd name="T21" fmla="*/ 2147483647 h 246"/>
              <a:gd name="T22" fmla="*/ 2147483647 w 242"/>
              <a:gd name="T23" fmla="*/ 2147483647 h 246"/>
              <a:gd name="T24" fmla="*/ 2147483647 w 242"/>
              <a:gd name="T25" fmla="*/ 2147483647 h 246"/>
              <a:gd name="T26" fmla="*/ 2147483647 w 242"/>
              <a:gd name="T27" fmla="*/ 2147483647 h 246"/>
              <a:gd name="T28" fmla="*/ 2147483647 w 242"/>
              <a:gd name="T29" fmla="*/ 2147483647 h 246"/>
              <a:gd name="T30" fmla="*/ 2147483647 w 242"/>
              <a:gd name="T31" fmla="*/ 2147483647 h 246"/>
              <a:gd name="T32" fmla="*/ 2147483647 w 242"/>
              <a:gd name="T33" fmla="*/ 2147483647 h 246"/>
              <a:gd name="T34" fmla="*/ 2147483647 w 242"/>
              <a:gd name="T35" fmla="*/ 2147483647 h 246"/>
              <a:gd name="T36" fmla="*/ 2147483647 w 242"/>
              <a:gd name="T37" fmla="*/ 2147483647 h 246"/>
              <a:gd name="T38" fmla="*/ 2147483647 w 242"/>
              <a:gd name="T39" fmla="*/ 2147483647 h 246"/>
              <a:gd name="T40" fmla="*/ 2147483647 w 242"/>
              <a:gd name="T41" fmla="*/ 2147483647 h 246"/>
              <a:gd name="T42" fmla="*/ 2147483647 w 242"/>
              <a:gd name="T43" fmla="*/ 2147483647 h 246"/>
              <a:gd name="T44" fmla="*/ 2147483647 w 242"/>
              <a:gd name="T45" fmla="*/ 2147483647 h 246"/>
              <a:gd name="T46" fmla="*/ 2147483647 w 242"/>
              <a:gd name="T47" fmla="*/ 2147483647 h 246"/>
              <a:gd name="T48" fmla="*/ 2147483647 w 242"/>
              <a:gd name="T49" fmla="*/ 2147483647 h 246"/>
              <a:gd name="T50" fmla="*/ 2147483647 w 242"/>
              <a:gd name="T51" fmla="*/ 2147483647 h 246"/>
              <a:gd name="T52" fmla="*/ 2147483647 w 242"/>
              <a:gd name="T53" fmla="*/ 2147483647 h 246"/>
              <a:gd name="T54" fmla="*/ 2147483647 w 242"/>
              <a:gd name="T55" fmla="*/ 2147483647 h 246"/>
              <a:gd name="T56" fmla="*/ 2147483647 w 242"/>
              <a:gd name="T57" fmla="*/ 2147483647 h 246"/>
              <a:gd name="T58" fmla="*/ 2147483647 w 242"/>
              <a:gd name="T59" fmla="*/ 2147483647 h 246"/>
              <a:gd name="T60" fmla="*/ 2147483647 w 242"/>
              <a:gd name="T61" fmla="*/ 2147483647 h 246"/>
              <a:gd name="T62" fmla="*/ 2147483647 w 242"/>
              <a:gd name="T63" fmla="*/ 2147483647 h 246"/>
              <a:gd name="T64" fmla="*/ 2147483647 w 242"/>
              <a:gd name="T65" fmla="*/ 2147483647 h 246"/>
              <a:gd name="T66" fmla="*/ 2147483647 w 242"/>
              <a:gd name="T67" fmla="*/ 2147483647 h 246"/>
              <a:gd name="T68" fmla="*/ 2147483647 w 242"/>
              <a:gd name="T69" fmla="*/ 2147483647 h 246"/>
              <a:gd name="T70" fmla="*/ 2147483647 w 242"/>
              <a:gd name="T71" fmla="*/ 2147483647 h 246"/>
              <a:gd name="T72" fmla="*/ 2147483647 w 242"/>
              <a:gd name="T73" fmla="*/ 2147483647 h 246"/>
              <a:gd name="T74" fmla="*/ 2147483647 w 242"/>
              <a:gd name="T75" fmla="*/ 2147483647 h 246"/>
              <a:gd name="T76" fmla="*/ 2147483647 w 242"/>
              <a:gd name="T77" fmla="*/ 2147483647 h 246"/>
              <a:gd name="T78" fmla="*/ 0 w 242"/>
              <a:gd name="T79" fmla="*/ 2147483647 h 246"/>
              <a:gd name="T80" fmla="*/ 0 w 242"/>
              <a:gd name="T81" fmla="*/ 2147483647 h 246"/>
              <a:gd name="T82" fmla="*/ 2147483647 w 242"/>
              <a:gd name="T83" fmla="*/ 0 h 246"/>
              <a:gd name="T84" fmla="*/ 2147483647 w 242"/>
              <a:gd name="T85" fmla="*/ 2147483647 h 246"/>
              <a:gd name="T86" fmla="*/ 2147483647 w 242"/>
              <a:gd name="T87" fmla="*/ 2147483647 h 246"/>
              <a:gd name="T88" fmla="*/ 2147483647 w 242"/>
              <a:gd name="T89" fmla="*/ 2147483647 h 246"/>
              <a:gd name="T90" fmla="*/ 2147483647 w 242"/>
              <a:gd name="T91" fmla="*/ 2147483647 h 246"/>
              <a:gd name="T92" fmla="*/ 2147483647 w 242"/>
              <a:gd name="T93" fmla="*/ 2147483647 h 246"/>
              <a:gd name="T94" fmla="*/ 2147483647 w 242"/>
              <a:gd name="T95" fmla="*/ 2147483647 h 246"/>
              <a:gd name="T96" fmla="*/ 2147483647 w 242"/>
              <a:gd name="T97" fmla="*/ 2147483647 h 246"/>
              <a:gd name="T98" fmla="*/ 2147483647 w 242"/>
              <a:gd name="T99" fmla="*/ 2147483647 h 246"/>
              <a:gd name="T100" fmla="*/ 2147483647 w 242"/>
              <a:gd name="T101" fmla="*/ 2147483647 h 246"/>
              <a:gd name="T102" fmla="*/ 2147483647 w 242"/>
              <a:gd name="T103" fmla="*/ 2147483647 h 246"/>
              <a:gd name="T104" fmla="*/ 2147483647 w 242"/>
              <a:gd name="T105" fmla="*/ 2147483647 h 246"/>
              <a:gd name="T106" fmla="*/ 2147483647 w 242"/>
              <a:gd name="T107" fmla="*/ 2147483647 h 246"/>
              <a:gd name="T108" fmla="*/ 2147483647 w 242"/>
              <a:gd name="T109" fmla="*/ 2147483647 h 246"/>
              <a:gd name="T110" fmla="*/ 2147483647 w 242"/>
              <a:gd name="T111" fmla="*/ 2147483647 h 246"/>
              <a:gd name="T112" fmla="*/ 2147483647 w 242"/>
              <a:gd name="T113" fmla="*/ 2147483647 h 246"/>
              <a:gd name="T114" fmla="*/ 2147483647 w 242"/>
              <a:gd name="T115" fmla="*/ 2147483647 h 24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242"/>
              <a:gd name="T175" fmla="*/ 0 h 246"/>
              <a:gd name="T176" fmla="*/ 242 w 242"/>
              <a:gd name="T177" fmla="*/ 246 h 24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242" h="246">
                <a:moveTo>
                  <a:pt x="192" y="91"/>
                </a:moveTo>
                <a:lnTo>
                  <a:pt x="178" y="67"/>
                </a:lnTo>
                <a:lnTo>
                  <a:pt x="165" y="44"/>
                </a:lnTo>
                <a:lnTo>
                  <a:pt x="160" y="47"/>
                </a:lnTo>
                <a:lnTo>
                  <a:pt x="170" y="66"/>
                </a:lnTo>
                <a:lnTo>
                  <a:pt x="178" y="84"/>
                </a:lnTo>
                <a:lnTo>
                  <a:pt x="188" y="102"/>
                </a:lnTo>
                <a:lnTo>
                  <a:pt x="197" y="120"/>
                </a:lnTo>
                <a:lnTo>
                  <a:pt x="207" y="138"/>
                </a:lnTo>
                <a:lnTo>
                  <a:pt x="216" y="156"/>
                </a:lnTo>
                <a:lnTo>
                  <a:pt x="230" y="173"/>
                </a:lnTo>
                <a:lnTo>
                  <a:pt x="242" y="191"/>
                </a:lnTo>
                <a:lnTo>
                  <a:pt x="239" y="192"/>
                </a:lnTo>
                <a:lnTo>
                  <a:pt x="240" y="212"/>
                </a:lnTo>
                <a:lnTo>
                  <a:pt x="232" y="221"/>
                </a:lnTo>
                <a:lnTo>
                  <a:pt x="226" y="218"/>
                </a:lnTo>
                <a:lnTo>
                  <a:pt x="221" y="233"/>
                </a:lnTo>
                <a:lnTo>
                  <a:pt x="210" y="235"/>
                </a:lnTo>
                <a:lnTo>
                  <a:pt x="206" y="246"/>
                </a:lnTo>
                <a:lnTo>
                  <a:pt x="179" y="244"/>
                </a:lnTo>
                <a:lnTo>
                  <a:pt x="152" y="240"/>
                </a:lnTo>
                <a:lnTo>
                  <a:pt x="150" y="234"/>
                </a:lnTo>
                <a:lnTo>
                  <a:pt x="148" y="240"/>
                </a:lnTo>
                <a:lnTo>
                  <a:pt x="131" y="240"/>
                </a:lnTo>
                <a:lnTo>
                  <a:pt x="114" y="240"/>
                </a:lnTo>
                <a:lnTo>
                  <a:pt x="98" y="240"/>
                </a:lnTo>
                <a:lnTo>
                  <a:pt x="81" y="240"/>
                </a:lnTo>
                <a:lnTo>
                  <a:pt x="64" y="240"/>
                </a:lnTo>
                <a:lnTo>
                  <a:pt x="47" y="240"/>
                </a:lnTo>
                <a:lnTo>
                  <a:pt x="30" y="240"/>
                </a:lnTo>
                <a:lnTo>
                  <a:pt x="14" y="240"/>
                </a:lnTo>
                <a:lnTo>
                  <a:pt x="12" y="217"/>
                </a:lnTo>
                <a:lnTo>
                  <a:pt x="11" y="193"/>
                </a:lnTo>
                <a:lnTo>
                  <a:pt x="10" y="170"/>
                </a:lnTo>
                <a:lnTo>
                  <a:pt x="9" y="146"/>
                </a:lnTo>
                <a:lnTo>
                  <a:pt x="6" y="124"/>
                </a:lnTo>
                <a:lnTo>
                  <a:pt x="5" y="101"/>
                </a:lnTo>
                <a:lnTo>
                  <a:pt x="4" y="77"/>
                </a:lnTo>
                <a:lnTo>
                  <a:pt x="2" y="54"/>
                </a:lnTo>
                <a:lnTo>
                  <a:pt x="0" y="35"/>
                </a:lnTo>
                <a:lnTo>
                  <a:pt x="0" y="16"/>
                </a:lnTo>
                <a:lnTo>
                  <a:pt x="4" y="0"/>
                </a:lnTo>
                <a:lnTo>
                  <a:pt x="17" y="1"/>
                </a:lnTo>
                <a:lnTo>
                  <a:pt x="50" y="10"/>
                </a:lnTo>
                <a:lnTo>
                  <a:pt x="82" y="19"/>
                </a:lnTo>
                <a:lnTo>
                  <a:pt x="112" y="10"/>
                </a:lnTo>
                <a:lnTo>
                  <a:pt x="125" y="2"/>
                </a:lnTo>
                <a:lnTo>
                  <a:pt x="119" y="6"/>
                </a:lnTo>
                <a:lnTo>
                  <a:pt x="129" y="2"/>
                </a:lnTo>
                <a:lnTo>
                  <a:pt x="148" y="8"/>
                </a:lnTo>
                <a:lnTo>
                  <a:pt x="154" y="13"/>
                </a:lnTo>
                <a:lnTo>
                  <a:pt x="165" y="14"/>
                </a:lnTo>
                <a:lnTo>
                  <a:pt x="194" y="8"/>
                </a:lnTo>
                <a:lnTo>
                  <a:pt x="203" y="31"/>
                </a:lnTo>
                <a:lnTo>
                  <a:pt x="213" y="54"/>
                </a:lnTo>
                <a:lnTo>
                  <a:pt x="208" y="74"/>
                </a:lnTo>
                <a:lnTo>
                  <a:pt x="204" y="95"/>
                </a:lnTo>
                <a:lnTo>
                  <a:pt x="192" y="9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41" name="Freeform 23"/>
          <p:cNvSpPr>
            <a:spLocks/>
          </p:cNvSpPr>
          <p:nvPr/>
        </p:nvSpPr>
        <p:spPr bwMode="auto">
          <a:xfrm>
            <a:off x="6353175" y="3535363"/>
            <a:ext cx="796925" cy="931862"/>
          </a:xfrm>
          <a:custGeom>
            <a:avLst/>
            <a:gdLst>
              <a:gd name="T0" fmla="*/ 2147483647 w 602"/>
              <a:gd name="T1" fmla="*/ 2147483647 h 679"/>
              <a:gd name="T2" fmla="*/ 2147483647 w 602"/>
              <a:gd name="T3" fmla="*/ 2147483647 h 679"/>
              <a:gd name="T4" fmla="*/ 2147483647 w 602"/>
              <a:gd name="T5" fmla="*/ 2147483647 h 679"/>
              <a:gd name="T6" fmla="*/ 2147483647 w 602"/>
              <a:gd name="T7" fmla="*/ 2147483647 h 679"/>
              <a:gd name="T8" fmla="*/ 2147483647 w 602"/>
              <a:gd name="T9" fmla="*/ 2147483647 h 679"/>
              <a:gd name="T10" fmla="*/ 2147483647 w 602"/>
              <a:gd name="T11" fmla="*/ 2147483647 h 679"/>
              <a:gd name="T12" fmla="*/ 2147483647 w 602"/>
              <a:gd name="T13" fmla="*/ 2147483647 h 679"/>
              <a:gd name="T14" fmla="*/ 2147483647 w 602"/>
              <a:gd name="T15" fmla="*/ 2147483647 h 679"/>
              <a:gd name="T16" fmla="*/ 2147483647 w 602"/>
              <a:gd name="T17" fmla="*/ 2147483647 h 679"/>
              <a:gd name="T18" fmla="*/ 2147483647 w 602"/>
              <a:gd name="T19" fmla="*/ 2147483647 h 679"/>
              <a:gd name="T20" fmla="*/ 2147483647 w 602"/>
              <a:gd name="T21" fmla="*/ 2147483647 h 679"/>
              <a:gd name="T22" fmla="*/ 2147483647 w 602"/>
              <a:gd name="T23" fmla="*/ 2147483647 h 679"/>
              <a:gd name="T24" fmla="*/ 2147483647 w 602"/>
              <a:gd name="T25" fmla="*/ 2147483647 h 679"/>
              <a:gd name="T26" fmla="*/ 2147483647 w 602"/>
              <a:gd name="T27" fmla="*/ 2147483647 h 679"/>
              <a:gd name="T28" fmla="*/ 2147483647 w 602"/>
              <a:gd name="T29" fmla="*/ 2147483647 h 679"/>
              <a:gd name="T30" fmla="*/ 2147483647 w 602"/>
              <a:gd name="T31" fmla="*/ 2147483647 h 679"/>
              <a:gd name="T32" fmla="*/ 2147483647 w 602"/>
              <a:gd name="T33" fmla="*/ 2147483647 h 679"/>
              <a:gd name="T34" fmla="*/ 2147483647 w 602"/>
              <a:gd name="T35" fmla="*/ 2147483647 h 679"/>
              <a:gd name="T36" fmla="*/ 2147483647 w 602"/>
              <a:gd name="T37" fmla="*/ 2147483647 h 679"/>
              <a:gd name="T38" fmla="*/ 2147483647 w 602"/>
              <a:gd name="T39" fmla="*/ 2147483647 h 679"/>
              <a:gd name="T40" fmla="*/ 2147483647 w 602"/>
              <a:gd name="T41" fmla="*/ 2147483647 h 679"/>
              <a:gd name="T42" fmla="*/ 2147483647 w 602"/>
              <a:gd name="T43" fmla="*/ 2147483647 h 679"/>
              <a:gd name="T44" fmla="*/ 2147483647 w 602"/>
              <a:gd name="T45" fmla="*/ 2147483647 h 679"/>
              <a:gd name="T46" fmla="*/ 2147483647 w 602"/>
              <a:gd name="T47" fmla="*/ 2147483647 h 679"/>
              <a:gd name="T48" fmla="*/ 2147483647 w 602"/>
              <a:gd name="T49" fmla="*/ 2147483647 h 679"/>
              <a:gd name="T50" fmla="*/ 2147483647 w 602"/>
              <a:gd name="T51" fmla="*/ 2147483647 h 679"/>
              <a:gd name="T52" fmla="*/ 2147483647 w 602"/>
              <a:gd name="T53" fmla="*/ 2147483647 h 679"/>
              <a:gd name="T54" fmla="*/ 2147483647 w 602"/>
              <a:gd name="T55" fmla="*/ 2147483647 h 679"/>
              <a:gd name="T56" fmla="*/ 2147483647 w 602"/>
              <a:gd name="T57" fmla="*/ 2147483647 h 679"/>
              <a:gd name="T58" fmla="*/ 2147483647 w 602"/>
              <a:gd name="T59" fmla="*/ 2147483647 h 679"/>
              <a:gd name="T60" fmla="*/ 2147483647 w 602"/>
              <a:gd name="T61" fmla="*/ 2147483647 h 679"/>
              <a:gd name="T62" fmla="*/ 2147483647 w 602"/>
              <a:gd name="T63" fmla="*/ 2147483647 h 679"/>
              <a:gd name="T64" fmla="*/ 2147483647 w 602"/>
              <a:gd name="T65" fmla="*/ 2147483647 h 679"/>
              <a:gd name="T66" fmla="*/ 2147483647 w 602"/>
              <a:gd name="T67" fmla="*/ 2147483647 h 679"/>
              <a:gd name="T68" fmla="*/ 2147483647 w 602"/>
              <a:gd name="T69" fmla="*/ 2147483647 h 679"/>
              <a:gd name="T70" fmla="*/ 2147483647 w 602"/>
              <a:gd name="T71" fmla="*/ 2147483647 h 679"/>
              <a:gd name="T72" fmla="*/ 2147483647 w 602"/>
              <a:gd name="T73" fmla="*/ 2147483647 h 679"/>
              <a:gd name="T74" fmla="*/ 2147483647 w 602"/>
              <a:gd name="T75" fmla="*/ 2147483647 h 679"/>
              <a:gd name="T76" fmla="*/ 2147483647 w 602"/>
              <a:gd name="T77" fmla="*/ 2147483647 h 679"/>
              <a:gd name="T78" fmla="*/ 2147483647 w 602"/>
              <a:gd name="T79" fmla="*/ 2147483647 h 679"/>
              <a:gd name="T80" fmla="*/ 2147483647 w 602"/>
              <a:gd name="T81" fmla="*/ 2147483647 h 679"/>
              <a:gd name="T82" fmla="*/ 2147483647 w 602"/>
              <a:gd name="T83" fmla="*/ 2147483647 h 679"/>
              <a:gd name="T84" fmla="*/ 2147483647 w 602"/>
              <a:gd name="T85" fmla="*/ 2147483647 h 679"/>
              <a:gd name="T86" fmla="*/ 2147483647 w 602"/>
              <a:gd name="T87" fmla="*/ 2147483647 h 679"/>
              <a:gd name="T88" fmla="*/ 2147483647 w 602"/>
              <a:gd name="T89" fmla="*/ 2147483647 h 679"/>
              <a:gd name="T90" fmla="*/ 2147483647 w 602"/>
              <a:gd name="T91" fmla="*/ 2147483647 h 679"/>
              <a:gd name="T92" fmla="*/ 2147483647 w 602"/>
              <a:gd name="T93" fmla="*/ 2147483647 h 679"/>
              <a:gd name="T94" fmla="*/ 2147483647 w 602"/>
              <a:gd name="T95" fmla="*/ 2147483647 h 679"/>
              <a:gd name="T96" fmla="*/ 2147483647 w 602"/>
              <a:gd name="T97" fmla="*/ 2147483647 h 679"/>
              <a:gd name="T98" fmla="*/ 2147483647 w 602"/>
              <a:gd name="T99" fmla="*/ 2147483647 h 679"/>
              <a:gd name="T100" fmla="*/ 2147483647 w 602"/>
              <a:gd name="T101" fmla="*/ 2147483647 h 679"/>
              <a:gd name="T102" fmla="*/ 2147483647 w 602"/>
              <a:gd name="T103" fmla="*/ 2147483647 h 679"/>
              <a:gd name="T104" fmla="*/ 2147483647 w 602"/>
              <a:gd name="T105" fmla="*/ 2147483647 h 679"/>
              <a:gd name="T106" fmla="*/ 2147483647 w 602"/>
              <a:gd name="T107" fmla="*/ 2147483647 h 679"/>
              <a:gd name="T108" fmla="*/ 2147483647 w 602"/>
              <a:gd name="T109" fmla="*/ 2147483647 h 679"/>
              <a:gd name="T110" fmla="*/ 2147483647 w 602"/>
              <a:gd name="T111" fmla="*/ 2147483647 h 679"/>
              <a:gd name="T112" fmla="*/ 2147483647 w 602"/>
              <a:gd name="T113" fmla="*/ 2147483647 h 679"/>
              <a:gd name="T114" fmla="*/ 2147483647 w 602"/>
              <a:gd name="T115" fmla="*/ 2147483647 h 679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602"/>
              <a:gd name="T175" fmla="*/ 0 h 679"/>
              <a:gd name="T176" fmla="*/ 602 w 602"/>
              <a:gd name="T177" fmla="*/ 679 h 679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602" h="679">
                <a:moveTo>
                  <a:pt x="148" y="0"/>
                </a:moveTo>
                <a:lnTo>
                  <a:pt x="128" y="18"/>
                </a:lnTo>
                <a:lnTo>
                  <a:pt x="104" y="24"/>
                </a:lnTo>
                <a:lnTo>
                  <a:pt x="74" y="21"/>
                </a:lnTo>
                <a:lnTo>
                  <a:pt x="74" y="29"/>
                </a:lnTo>
                <a:lnTo>
                  <a:pt x="83" y="40"/>
                </a:lnTo>
                <a:lnTo>
                  <a:pt x="83" y="47"/>
                </a:lnTo>
                <a:lnTo>
                  <a:pt x="88" y="60"/>
                </a:lnTo>
                <a:lnTo>
                  <a:pt x="98" y="66"/>
                </a:lnTo>
                <a:lnTo>
                  <a:pt x="106" y="76"/>
                </a:lnTo>
                <a:lnTo>
                  <a:pt x="116" y="83"/>
                </a:lnTo>
                <a:lnTo>
                  <a:pt x="101" y="94"/>
                </a:lnTo>
                <a:lnTo>
                  <a:pt x="106" y="112"/>
                </a:lnTo>
                <a:lnTo>
                  <a:pt x="98" y="129"/>
                </a:lnTo>
                <a:lnTo>
                  <a:pt x="87" y="147"/>
                </a:lnTo>
                <a:lnTo>
                  <a:pt x="72" y="168"/>
                </a:lnTo>
                <a:lnTo>
                  <a:pt x="59" y="189"/>
                </a:lnTo>
                <a:lnTo>
                  <a:pt x="39" y="190"/>
                </a:lnTo>
                <a:lnTo>
                  <a:pt x="30" y="187"/>
                </a:lnTo>
                <a:lnTo>
                  <a:pt x="18" y="217"/>
                </a:lnTo>
                <a:lnTo>
                  <a:pt x="34" y="226"/>
                </a:lnTo>
                <a:lnTo>
                  <a:pt x="39" y="243"/>
                </a:lnTo>
                <a:lnTo>
                  <a:pt x="47" y="244"/>
                </a:lnTo>
                <a:lnTo>
                  <a:pt x="58" y="276"/>
                </a:lnTo>
                <a:lnTo>
                  <a:pt x="51" y="275"/>
                </a:lnTo>
                <a:lnTo>
                  <a:pt x="29" y="279"/>
                </a:lnTo>
                <a:lnTo>
                  <a:pt x="11" y="277"/>
                </a:lnTo>
                <a:lnTo>
                  <a:pt x="12" y="286"/>
                </a:lnTo>
                <a:lnTo>
                  <a:pt x="0" y="291"/>
                </a:lnTo>
                <a:lnTo>
                  <a:pt x="2" y="292"/>
                </a:lnTo>
                <a:lnTo>
                  <a:pt x="10" y="289"/>
                </a:lnTo>
                <a:lnTo>
                  <a:pt x="6" y="295"/>
                </a:lnTo>
                <a:lnTo>
                  <a:pt x="26" y="315"/>
                </a:lnTo>
                <a:lnTo>
                  <a:pt x="51" y="310"/>
                </a:lnTo>
                <a:lnTo>
                  <a:pt x="48" y="315"/>
                </a:lnTo>
                <a:lnTo>
                  <a:pt x="33" y="325"/>
                </a:lnTo>
                <a:lnTo>
                  <a:pt x="22" y="324"/>
                </a:lnTo>
                <a:lnTo>
                  <a:pt x="41" y="345"/>
                </a:lnTo>
                <a:lnTo>
                  <a:pt x="60" y="365"/>
                </a:lnTo>
                <a:lnTo>
                  <a:pt x="90" y="357"/>
                </a:lnTo>
                <a:lnTo>
                  <a:pt x="92" y="340"/>
                </a:lnTo>
                <a:lnTo>
                  <a:pt x="93" y="329"/>
                </a:lnTo>
                <a:lnTo>
                  <a:pt x="105" y="329"/>
                </a:lnTo>
                <a:lnTo>
                  <a:pt x="101" y="336"/>
                </a:lnTo>
                <a:lnTo>
                  <a:pt x="100" y="341"/>
                </a:lnTo>
                <a:lnTo>
                  <a:pt x="112" y="341"/>
                </a:lnTo>
                <a:lnTo>
                  <a:pt x="104" y="348"/>
                </a:lnTo>
                <a:lnTo>
                  <a:pt x="107" y="360"/>
                </a:lnTo>
                <a:lnTo>
                  <a:pt x="108" y="377"/>
                </a:lnTo>
                <a:lnTo>
                  <a:pt x="114" y="402"/>
                </a:lnTo>
                <a:lnTo>
                  <a:pt x="116" y="409"/>
                </a:lnTo>
                <a:lnTo>
                  <a:pt x="118" y="414"/>
                </a:lnTo>
                <a:lnTo>
                  <a:pt x="124" y="445"/>
                </a:lnTo>
                <a:lnTo>
                  <a:pt x="132" y="469"/>
                </a:lnTo>
                <a:lnTo>
                  <a:pt x="141" y="493"/>
                </a:lnTo>
                <a:lnTo>
                  <a:pt x="146" y="498"/>
                </a:lnTo>
                <a:lnTo>
                  <a:pt x="158" y="527"/>
                </a:lnTo>
                <a:lnTo>
                  <a:pt x="170" y="556"/>
                </a:lnTo>
                <a:lnTo>
                  <a:pt x="179" y="576"/>
                </a:lnTo>
                <a:lnTo>
                  <a:pt x="190" y="597"/>
                </a:lnTo>
                <a:lnTo>
                  <a:pt x="200" y="617"/>
                </a:lnTo>
                <a:lnTo>
                  <a:pt x="207" y="634"/>
                </a:lnTo>
                <a:lnTo>
                  <a:pt x="215" y="653"/>
                </a:lnTo>
                <a:lnTo>
                  <a:pt x="225" y="672"/>
                </a:lnTo>
                <a:lnTo>
                  <a:pt x="238" y="679"/>
                </a:lnTo>
                <a:lnTo>
                  <a:pt x="249" y="666"/>
                </a:lnTo>
                <a:lnTo>
                  <a:pt x="262" y="653"/>
                </a:lnTo>
                <a:lnTo>
                  <a:pt x="275" y="652"/>
                </a:lnTo>
                <a:lnTo>
                  <a:pt x="267" y="642"/>
                </a:lnTo>
                <a:lnTo>
                  <a:pt x="279" y="624"/>
                </a:lnTo>
                <a:lnTo>
                  <a:pt x="285" y="623"/>
                </a:lnTo>
                <a:lnTo>
                  <a:pt x="282" y="605"/>
                </a:lnTo>
                <a:lnTo>
                  <a:pt x="281" y="587"/>
                </a:lnTo>
                <a:lnTo>
                  <a:pt x="285" y="568"/>
                </a:lnTo>
                <a:lnTo>
                  <a:pt x="290" y="547"/>
                </a:lnTo>
                <a:lnTo>
                  <a:pt x="285" y="525"/>
                </a:lnTo>
                <a:lnTo>
                  <a:pt x="282" y="496"/>
                </a:lnTo>
                <a:lnTo>
                  <a:pt x="294" y="489"/>
                </a:lnTo>
                <a:lnTo>
                  <a:pt x="297" y="485"/>
                </a:lnTo>
                <a:lnTo>
                  <a:pt x="302" y="485"/>
                </a:lnTo>
                <a:lnTo>
                  <a:pt x="308" y="475"/>
                </a:lnTo>
                <a:lnTo>
                  <a:pt x="324" y="468"/>
                </a:lnTo>
                <a:lnTo>
                  <a:pt x="328" y="453"/>
                </a:lnTo>
                <a:lnTo>
                  <a:pt x="348" y="431"/>
                </a:lnTo>
                <a:lnTo>
                  <a:pt x="370" y="409"/>
                </a:lnTo>
                <a:lnTo>
                  <a:pt x="387" y="393"/>
                </a:lnTo>
                <a:lnTo>
                  <a:pt x="400" y="384"/>
                </a:lnTo>
                <a:lnTo>
                  <a:pt x="412" y="366"/>
                </a:lnTo>
                <a:lnTo>
                  <a:pt x="412" y="348"/>
                </a:lnTo>
                <a:lnTo>
                  <a:pt x="432" y="334"/>
                </a:lnTo>
                <a:lnTo>
                  <a:pt x="438" y="343"/>
                </a:lnTo>
                <a:lnTo>
                  <a:pt x="444" y="345"/>
                </a:lnTo>
                <a:lnTo>
                  <a:pt x="449" y="343"/>
                </a:lnTo>
                <a:lnTo>
                  <a:pt x="455" y="343"/>
                </a:lnTo>
                <a:lnTo>
                  <a:pt x="454" y="336"/>
                </a:lnTo>
                <a:lnTo>
                  <a:pt x="448" y="317"/>
                </a:lnTo>
                <a:lnTo>
                  <a:pt x="442" y="299"/>
                </a:lnTo>
                <a:lnTo>
                  <a:pt x="440" y="285"/>
                </a:lnTo>
                <a:lnTo>
                  <a:pt x="424" y="270"/>
                </a:lnTo>
                <a:lnTo>
                  <a:pt x="429" y="261"/>
                </a:lnTo>
                <a:lnTo>
                  <a:pt x="438" y="256"/>
                </a:lnTo>
                <a:lnTo>
                  <a:pt x="422" y="240"/>
                </a:lnTo>
                <a:lnTo>
                  <a:pt x="422" y="222"/>
                </a:lnTo>
                <a:lnTo>
                  <a:pt x="436" y="228"/>
                </a:lnTo>
                <a:lnTo>
                  <a:pt x="443" y="235"/>
                </a:lnTo>
                <a:lnTo>
                  <a:pt x="448" y="231"/>
                </a:lnTo>
                <a:lnTo>
                  <a:pt x="456" y="251"/>
                </a:lnTo>
                <a:lnTo>
                  <a:pt x="480" y="253"/>
                </a:lnTo>
                <a:lnTo>
                  <a:pt x="503" y="256"/>
                </a:lnTo>
                <a:lnTo>
                  <a:pt x="514" y="264"/>
                </a:lnTo>
                <a:lnTo>
                  <a:pt x="510" y="275"/>
                </a:lnTo>
                <a:lnTo>
                  <a:pt x="495" y="286"/>
                </a:lnTo>
                <a:lnTo>
                  <a:pt x="498" y="305"/>
                </a:lnTo>
                <a:lnTo>
                  <a:pt x="503" y="310"/>
                </a:lnTo>
                <a:lnTo>
                  <a:pt x="513" y="292"/>
                </a:lnTo>
                <a:lnTo>
                  <a:pt x="521" y="313"/>
                </a:lnTo>
                <a:lnTo>
                  <a:pt x="530" y="335"/>
                </a:lnTo>
                <a:lnTo>
                  <a:pt x="531" y="335"/>
                </a:lnTo>
                <a:lnTo>
                  <a:pt x="538" y="335"/>
                </a:lnTo>
                <a:lnTo>
                  <a:pt x="538" y="309"/>
                </a:lnTo>
                <a:lnTo>
                  <a:pt x="539" y="287"/>
                </a:lnTo>
                <a:lnTo>
                  <a:pt x="552" y="287"/>
                </a:lnTo>
                <a:lnTo>
                  <a:pt x="563" y="257"/>
                </a:lnTo>
                <a:lnTo>
                  <a:pt x="563" y="246"/>
                </a:lnTo>
                <a:lnTo>
                  <a:pt x="564" y="226"/>
                </a:lnTo>
                <a:lnTo>
                  <a:pt x="585" y="204"/>
                </a:lnTo>
                <a:lnTo>
                  <a:pt x="600" y="208"/>
                </a:lnTo>
                <a:lnTo>
                  <a:pt x="597" y="199"/>
                </a:lnTo>
                <a:lnTo>
                  <a:pt x="599" y="192"/>
                </a:lnTo>
                <a:lnTo>
                  <a:pt x="602" y="180"/>
                </a:lnTo>
                <a:lnTo>
                  <a:pt x="579" y="172"/>
                </a:lnTo>
                <a:lnTo>
                  <a:pt x="579" y="162"/>
                </a:lnTo>
                <a:lnTo>
                  <a:pt x="570" y="159"/>
                </a:lnTo>
                <a:lnTo>
                  <a:pt x="573" y="155"/>
                </a:lnTo>
                <a:lnTo>
                  <a:pt x="563" y="153"/>
                </a:lnTo>
                <a:lnTo>
                  <a:pt x="551" y="159"/>
                </a:lnTo>
                <a:lnTo>
                  <a:pt x="534" y="156"/>
                </a:lnTo>
                <a:lnTo>
                  <a:pt x="519" y="171"/>
                </a:lnTo>
                <a:lnTo>
                  <a:pt x="503" y="184"/>
                </a:lnTo>
                <a:lnTo>
                  <a:pt x="484" y="192"/>
                </a:lnTo>
                <a:lnTo>
                  <a:pt x="490" y="199"/>
                </a:lnTo>
                <a:lnTo>
                  <a:pt x="497" y="213"/>
                </a:lnTo>
                <a:lnTo>
                  <a:pt x="478" y="214"/>
                </a:lnTo>
                <a:lnTo>
                  <a:pt x="458" y="215"/>
                </a:lnTo>
                <a:lnTo>
                  <a:pt x="431" y="213"/>
                </a:lnTo>
                <a:lnTo>
                  <a:pt x="428" y="203"/>
                </a:lnTo>
                <a:lnTo>
                  <a:pt x="418" y="183"/>
                </a:lnTo>
                <a:lnTo>
                  <a:pt x="408" y="190"/>
                </a:lnTo>
                <a:lnTo>
                  <a:pt x="416" y="223"/>
                </a:lnTo>
                <a:lnTo>
                  <a:pt x="392" y="222"/>
                </a:lnTo>
                <a:lnTo>
                  <a:pt x="364" y="219"/>
                </a:lnTo>
                <a:lnTo>
                  <a:pt x="347" y="215"/>
                </a:lnTo>
                <a:lnTo>
                  <a:pt x="338" y="203"/>
                </a:lnTo>
                <a:lnTo>
                  <a:pt x="310" y="199"/>
                </a:lnTo>
                <a:lnTo>
                  <a:pt x="290" y="195"/>
                </a:lnTo>
                <a:lnTo>
                  <a:pt x="262" y="180"/>
                </a:lnTo>
                <a:lnTo>
                  <a:pt x="236" y="167"/>
                </a:lnTo>
                <a:lnTo>
                  <a:pt x="236" y="151"/>
                </a:lnTo>
                <a:lnTo>
                  <a:pt x="248" y="131"/>
                </a:lnTo>
                <a:lnTo>
                  <a:pt x="226" y="118"/>
                </a:lnTo>
                <a:lnTo>
                  <a:pt x="201" y="103"/>
                </a:lnTo>
                <a:lnTo>
                  <a:pt x="191" y="100"/>
                </a:lnTo>
                <a:lnTo>
                  <a:pt x="182" y="72"/>
                </a:lnTo>
                <a:lnTo>
                  <a:pt x="194" y="75"/>
                </a:lnTo>
                <a:lnTo>
                  <a:pt x="197" y="65"/>
                </a:lnTo>
                <a:lnTo>
                  <a:pt x="184" y="47"/>
                </a:lnTo>
                <a:lnTo>
                  <a:pt x="184" y="37"/>
                </a:lnTo>
                <a:lnTo>
                  <a:pt x="183" y="35"/>
                </a:lnTo>
                <a:lnTo>
                  <a:pt x="182" y="31"/>
                </a:lnTo>
                <a:lnTo>
                  <a:pt x="178" y="27"/>
                </a:lnTo>
                <a:lnTo>
                  <a:pt x="174" y="21"/>
                </a:lnTo>
                <a:lnTo>
                  <a:pt x="173" y="16"/>
                </a:lnTo>
                <a:lnTo>
                  <a:pt x="171" y="9"/>
                </a:lnTo>
                <a:lnTo>
                  <a:pt x="164" y="6"/>
                </a:lnTo>
                <a:lnTo>
                  <a:pt x="154" y="3"/>
                </a:lnTo>
                <a:lnTo>
                  <a:pt x="148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42" name="Freeform 24"/>
          <p:cNvSpPr>
            <a:spLocks/>
          </p:cNvSpPr>
          <p:nvPr/>
        </p:nvSpPr>
        <p:spPr bwMode="auto">
          <a:xfrm>
            <a:off x="5368925" y="3609975"/>
            <a:ext cx="33338" cy="128588"/>
          </a:xfrm>
          <a:custGeom>
            <a:avLst/>
            <a:gdLst>
              <a:gd name="T0" fmla="*/ 2147483647 w 26"/>
              <a:gd name="T1" fmla="*/ 2147483647 h 94"/>
              <a:gd name="T2" fmla="*/ 2147483647 w 26"/>
              <a:gd name="T3" fmla="*/ 2147483647 h 94"/>
              <a:gd name="T4" fmla="*/ 0 w 26"/>
              <a:gd name="T5" fmla="*/ 2147483647 h 94"/>
              <a:gd name="T6" fmla="*/ 2147483647 w 26"/>
              <a:gd name="T7" fmla="*/ 2147483647 h 94"/>
              <a:gd name="T8" fmla="*/ 2147483647 w 26"/>
              <a:gd name="T9" fmla="*/ 2147483647 h 94"/>
              <a:gd name="T10" fmla="*/ 2147483647 w 26"/>
              <a:gd name="T11" fmla="*/ 0 h 94"/>
              <a:gd name="T12" fmla="*/ 2147483647 w 26"/>
              <a:gd name="T13" fmla="*/ 2147483647 h 94"/>
              <a:gd name="T14" fmla="*/ 2147483647 w 26"/>
              <a:gd name="T15" fmla="*/ 2147483647 h 94"/>
              <a:gd name="T16" fmla="*/ 2147483647 w 26"/>
              <a:gd name="T17" fmla="*/ 2147483647 h 94"/>
              <a:gd name="T18" fmla="*/ 2147483647 w 26"/>
              <a:gd name="T19" fmla="*/ 2147483647 h 94"/>
              <a:gd name="T20" fmla="*/ 2147483647 w 26"/>
              <a:gd name="T21" fmla="*/ 2147483647 h 94"/>
              <a:gd name="T22" fmla="*/ 2147483647 w 26"/>
              <a:gd name="T23" fmla="*/ 2147483647 h 9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6"/>
              <a:gd name="T37" fmla="*/ 0 h 94"/>
              <a:gd name="T38" fmla="*/ 26 w 26"/>
              <a:gd name="T39" fmla="*/ 94 h 9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6" h="94">
                <a:moveTo>
                  <a:pt x="19" y="94"/>
                </a:moveTo>
                <a:lnTo>
                  <a:pt x="9" y="71"/>
                </a:lnTo>
                <a:lnTo>
                  <a:pt x="0" y="48"/>
                </a:lnTo>
                <a:lnTo>
                  <a:pt x="7" y="27"/>
                </a:lnTo>
                <a:lnTo>
                  <a:pt x="14" y="4"/>
                </a:lnTo>
                <a:lnTo>
                  <a:pt x="25" y="0"/>
                </a:lnTo>
                <a:lnTo>
                  <a:pt x="26" y="14"/>
                </a:lnTo>
                <a:lnTo>
                  <a:pt x="25" y="33"/>
                </a:lnTo>
                <a:lnTo>
                  <a:pt x="24" y="53"/>
                </a:lnTo>
                <a:lnTo>
                  <a:pt x="22" y="72"/>
                </a:lnTo>
                <a:lnTo>
                  <a:pt x="20" y="93"/>
                </a:lnTo>
                <a:lnTo>
                  <a:pt x="19" y="9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43" name="Freeform 25"/>
          <p:cNvSpPr>
            <a:spLocks/>
          </p:cNvSpPr>
          <p:nvPr/>
        </p:nvSpPr>
        <p:spPr bwMode="auto">
          <a:xfrm>
            <a:off x="5395913" y="3605213"/>
            <a:ext cx="111125" cy="144462"/>
          </a:xfrm>
          <a:custGeom>
            <a:avLst/>
            <a:gdLst>
              <a:gd name="T0" fmla="*/ 2147483647 w 84"/>
              <a:gd name="T1" fmla="*/ 2147483647 h 103"/>
              <a:gd name="T2" fmla="*/ 2147483647 w 84"/>
              <a:gd name="T3" fmla="*/ 2147483647 h 103"/>
              <a:gd name="T4" fmla="*/ 2147483647 w 84"/>
              <a:gd name="T5" fmla="*/ 2147483647 h 103"/>
              <a:gd name="T6" fmla="*/ 2147483647 w 84"/>
              <a:gd name="T7" fmla="*/ 2147483647 h 103"/>
              <a:gd name="T8" fmla="*/ 2147483647 w 84"/>
              <a:gd name="T9" fmla="*/ 2147483647 h 103"/>
              <a:gd name="T10" fmla="*/ 0 w 84"/>
              <a:gd name="T11" fmla="*/ 2147483647 h 103"/>
              <a:gd name="T12" fmla="*/ 0 w 84"/>
              <a:gd name="T13" fmla="*/ 2147483647 h 103"/>
              <a:gd name="T14" fmla="*/ 2147483647 w 84"/>
              <a:gd name="T15" fmla="*/ 2147483647 h 103"/>
              <a:gd name="T16" fmla="*/ 2147483647 w 84"/>
              <a:gd name="T17" fmla="*/ 2147483647 h 103"/>
              <a:gd name="T18" fmla="*/ 2147483647 w 84"/>
              <a:gd name="T19" fmla="*/ 2147483647 h 103"/>
              <a:gd name="T20" fmla="*/ 2147483647 w 84"/>
              <a:gd name="T21" fmla="*/ 2147483647 h 103"/>
              <a:gd name="T22" fmla="*/ 2147483647 w 84"/>
              <a:gd name="T23" fmla="*/ 2147483647 h 103"/>
              <a:gd name="T24" fmla="*/ 2147483647 w 84"/>
              <a:gd name="T25" fmla="*/ 2147483647 h 103"/>
              <a:gd name="T26" fmla="*/ 2147483647 w 84"/>
              <a:gd name="T27" fmla="*/ 2147483647 h 103"/>
              <a:gd name="T28" fmla="*/ 2147483647 w 84"/>
              <a:gd name="T29" fmla="*/ 0 h 103"/>
              <a:gd name="T30" fmla="*/ 2147483647 w 84"/>
              <a:gd name="T31" fmla="*/ 2147483647 h 103"/>
              <a:gd name="T32" fmla="*/ 2147483647 w 84"/>
              <a:gd name="T33" fmla="*/ 2147483647 h 10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84"/>
              <a:gd name="T52" fmla="*/ 0 h 103"/>
              <a:gd name="T53" fmla="*/ 84 w 84"/>
              <a:gd name="T54" fmla="*/ 103 h 103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84" h="103">
                <a:moveTo>
                  <a:pt x="32" y="26"/>
                </a:moveTo>
                <a:lnTo>
                  <a:pt x="6" y="16"/>
                </a:lnTo>
                <a:lnTo>
                  <a:pt x="5" y="35"/>
                </a:lnTo>
                <a:lnTo>
                  <a:pt x="4" y="55"/>
                </a:lnTo>
                <a:lnTo>
                  <a:pt x="2" y="74"/>
                </a:lnTo>
                <a:lnTo>
                  <a:pt x="0" y="95"/>
                </a:lnTo>
                <a:lnTo>
                  <a:pt x="0" y="100"/>
                </a:lnTo>
                <a:lnTo>
                  <a:pt x="24" y="103"/>
                </a:lnTo>
                <a:lnTo>
                  <a:pt x="37" y="86"/>
                </a:lnTo>
                <a:lnTo>
                  <a:pt x="53" y="84"/>
                </a:lnTo>
                <a:lnTo>
                  <a:pt x="61" y="71"/>
                </a:lnTo>
                <a:lnTo>
                  <a:pt x="38" y="46"/>
                </a:lnTo>
                <a:lnTo>
                  <a:pt x="61" y="37"/>
                </a:lnTo>
                <a:lnTo>
                  <a:pt x="84" y="28"/>
                </a:lnTo>
                <a:lnTo>
                  <a:pt x="70" y="0"/>
                </a:lnTo>
                <a:lnTo>
                  <a:pt x="52" y="13"/>
                </a:lnTo>
                <a:lnTo>
                  <a:pt x="32" y="26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44" name="Freeform 26"/>
          <p:cNvSpPr>
            <a:spLocks/>
          </p:cNvSpPr>
          <p:nvPr/>
        </p:nvSpPr>
        <p:spPr bwMode="auto">
          <a:xfrm>
            <a:off x="5900738" y="3892550"/>
            <a:ext cx="219075" cy="285750"/>
          </a:xfrm>
          <a:custGeom>
            <a:avLst/>
            <a:gdLst>
              <a:gd name="T0" fmla="*/ 2147483647 w 163"/>
              <a:gd name="T1" fmla="*/ 2147483647 h 207"/>
              <a:gd name="T2" fmla="*/ 2147483647 w 163"/>
              <a:gd name="T3" fmla="*/ 2147483647 h 207"/>
              <a:gd name="T4" fmla="*/ 2147483647 w 163"/>
              <a:gd name="T5" fmla="*/ 2147483647 h 207"/>
              <a:gd name="T6" fmla="*/ 2147483647 w 163"/>
              <a:gd name="T7" fmla="*/ 2147483647 h 207"/>
              <a:gd name="T8" fmla="*/ 2147483647 w 163"/>
              <a:gd name="T9" fmla="*/ 2147483647 h 207"/>
              <a:gd name="T10" fmla="*/ 2147483647 w 163"/>
              <a:gd name="T11" fmla="*/ 2147483647 h 207"/>
              <a:gd name="T12" fmla="*/ 2147483647 w 163"/>
              <a:gd name="T13" fmla="*/ 2147483647 h 207"/>
              <a:gd name="T14" fmla="*/ 2147483647 w 163"/>
              <a:gd name="T15" fmla="*/ 0 h 207"/>
              <a:gd name="T16" fmla="*/ 2147483647 w 163"/>
              <a:gd name="T17" fmla="*/ 2147483647 h 207"/>
              <a:gd name="T18" fmla="*/ 2147483647 w 163"/>
              <a:gd name="T19" fmla="*/ 2147483647 h 207"/>
              <a:gd name="T20" fmla="*/ 2147483647 w 163"/>
              <a:gd name="T21" fmla="*/ 2147483647 h 207"/>
              <a:gd name="T22" fmla="*/ 2147483647 w 163"/>
              <a:gd name="T23" fmla="*/ 2147483647 h 207"/>
              <a:gd name="T24" fmla="*/ 2147483647 w 163"/>
              <a:gd name="T25" fmla="*/ 2147483647 h 207"/>
              <a:gd name="T26" fmla="*/ 2147483647 w 163"/>
              <a:gd name="T27" fmla="*/ 2147483647 h 207"/>
              <a:gd name="T28" fmla="*/ 2147483647 w 163"/>
              <a:gd name="T29" fmla="*/ 2147483647 h 207"/>
              <a:gd name="T30" fmla="*/ 2147483647 w 163"/>
              <a:gd name="T31" fmla="*/ 2147483647 h 207"/>
              <a:gd name="T32" fmla="*/ 2147483647 w 163"/>
              <a:gd name="T33" fmla="*/ 2147483647 h 207"/>
              <a:gd name="T34" fmla="*/ 2147483647 w 163"/>
              <a:gd name="T35" fmla="*/ 2147483647 h 207"/>
              <a:gd name="T36" fmla="*/ 0 w 163"/>
              <a:gd name="T37" fmla="*/ 2147483647 h 207"/>
              <a:gd name="T38" fmla="*/ 2147483647 w 163"/>
              <a:gd name="T39" fmla="*/ 2147483647 h 207"/>
              <a:gd name="T40" fmla="*/ 2147483647 w 163"/>
              <a:gd name="T41" fmla="*/ 2147483647 h 207"/>
              <a:gd name="T42" fmla="*/ 2147483647 w 163"/>
              <a:gd name="T43" fmla="*/ 2147483647 h 207"/>
              <a:gd name="T44" fmla="*/ 2147483647 w 163"/>
              <a:gd name="T45" fmla="*/ 2147483647 h 207"/>
              <a:gd name="T46" fmla="*/ 2147483647 w 163"/>
              <a:gd name="T47" fmla="*/ 2147483647 h 207"/>
              <a:gd name="T48" fmla="*/ 2147483647 w 163"/>
              <a:gd name="T49" fmla="*/ 2147483647 h 207"/>
              <a:gd name="T50" fmla="*/ 2147483647 w 163"/>
              <a:gd name="T51" fmla="*/ 2147483647 h 207"/>
              <a:gd name="T52" fmla="*/ 2147483647 w 163"/>
              <a:gd name="T53" fmla="*/ 2147483647 h 207"/>
              <a:gd name="T54" fmla="*/ 2147483647 w 163"/>
              <a:gd name="T55" fmla="*/ 2147483647 h 207"/>
              <a:gd name="T56" fmla="*/ 2147483647 w 163"/>
              <a:gd name="T57" fmla="*/ 2147483647 h 207"/>
              <a:gd name="T58" fmla="*/ 2147483647 w 163"/>
              <a:gd name="T59" fmla="*/ 2147483647 h 207"/>
              <a:gd name="T60" fmla="*/ 2147483647 w 163"/>
              <a:gd name="T61" fmla="*/ 2147483647 h 207"/>
              <a:gd name="T62" fmla="*/ 2147483647 w 163"/>
              <a:gd name="T63" fmla="*/ 2147483647 h 207"/>
              <a:gd name="T64" fmla="*/ 2147483647 w 163"/>
              <a:gd name="T65" fmla="*/ 2147483647 h 20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63"/>
              <a:gd name="T100" fmla="*/ 0 h 207"/>
              <a:gd name="T101" fmla="*/ 163 w 163"/>
              <a:gd name="T102" fmla="*/ 207 h 207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63" h="207">
                <a:moveTo>
                  <a:pt x="163" y="63"/>
                </a:moveTo>
                <a:lnTo>
                  <a:pt x="148" y="49"/>
                </a:lnTo>
                <a:lnTo>
                  <a:pt x="131" y="34"/>
                </a:lnTo>
                <a:lnTo>
                  <a:pt x="113" y="26"/>
                </a:lnTo>
                <a:lnTo>
                  <a:pt x="95" y="19"/>
                </a:lnTo>
                <a:lnTo>
                  <a:pt x="84" y="1"/>
                </a:lnTo>
                <a:lnTo>
                  <a:pt x="77" y="6"/>
                </a:lnTo>
                <a:lnTo>
                  <a:pt x="74" y="0"/>
                </a:lnTo>
                <a:lnTo>
                  <a:pt x="78" y="22"/>
                </a:lnTo>
                <a:lnTo>
                  <a:pt x="67" y="26"/>
                </a:lnTo>
                <a:lnTo>
                  <a:pt x="63" y="56"/>
                </a:lnTo>
                <a:lnTo>
                  <a:pt x="74" y="74"/>
                </a:lnTo>
                <a:lnTo>
                  <a:pt x="69" y="99"/>
                </a:lnTo>
                <a:lnTo>
                  <a:pt x="65" y="123"/>
                </a:lnTo>
                <a:lnTo>
                  <a:pt x="49" y="130"/>
                </a:lnTo>
                <a:lnTo>
                  <a:pt x="33" y="136"/>
                </a:lnTo>
                <a:lnTo>
                  <a:pt x="18" y="142"/>
                </a:lnTo>
                <a:lnTo>
                  <a:pt x="2" y="148"/>
                </a:lnTo>
                <a:lnTo>
                  <a:pt x="0" y="159"/>
                </a:lnTo>
                <a:lnTo>
                  <a:pt x="15" y="183"/>
                </a:lnTo>
                <a:lnTo>
                  <a:pt x="30" y="207"/>
                </a:lnTo>
                <a:lnTo>
                  <a:pt x="47" y="204"/>
                </a:lnTo>
                <a:lnTo>
                  <a:pt x="65" y="199"/>
                </a:lnTo>
                <a:lnTo>
                  <a:pt x="77" y="188"/>
                </a:lnTo>
                <a:lnTo>
                  <a:pt x="83" y="176"/>
                </a:lnTo>
                <a:lnTo>
                  <a:pt x="102" y="170"/>
                </a:lnTo>
                <a:lnTo>
                  <a:pt x="111" y="152"/>
                </a:lnTo>
                <a:lnTo>
                  <a:pt x="127" y="145"/>
                </a:lnTo>
                <a:lnTo>
                  <a:pt x="126" y="117"/>
                </a:lnTo>
                <a:lnTo>
                  <a:pt x="133" y="111"/>
                </a:lnTo>
                <a:lnTo>
                  <a:pt x="140" y="111"/>
                </a:lnTo>
                <a:lnTo>
                  <a:pt x="151" y="87"/>
                </a:lnTo>
                <a:lnTo>
                  <a:pt x="163" y="6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45" name="Freeform 27"/>
          <p:cNvSpPr>
            <a:spLocks/>
          </p:cNvSpPr>
          <p:nvPr/>
        </p:nvSpPr>
        <p:spPr bwMode="auto">
          <a:xfrm>
            <a:off x="5999163" y="3848100"/>
            <a:ext cx="11112" cy="17463"/>
          </a:xfrm>
          <a:custGeom>
            <a:avLst/>
            <a:gdLst>
              <a:gd name="T0" fmla="*/ 2147483647 w 7"/>
              <a:gd name="T1" fmla="*/ 0 h 12"/>
              <a:gd name="T2" fmla="*/ 0 w 7"/>
              <a:gd name="T3" fmla="*/ 2147483647 h 12"/>
              <a:gd name="T4" fmla="*/ 2147483647 w 7"/>
              <a:gd name="T5" fmla="*/ 2147483647 h 12"/>
              <a:gd name="T6" fmla="*/ 2147483647 w 7"/>
              <a:gd name="T7" fmla="*/ 0 h 12"/>
              <a:gd name="T8" fmla="*/ 0 60000 65536"/>
              <a:gd name="T9" fmla="*/ 0 60000 65536"/>
              <a:gd name="T10" fmla="*/ 0 60000 65536"/>
              <a:gd name="T11" fmla="*/ 0 60000 65536"/>
              <a:gd name="T12" fmla="*/ 0 w 7"/>
              <a:gd name="T13" fmla="*/ 0 h 12"/>
              <a:gd name="T14" fmla="*/ 7 w 7"/>
              <a:gd name="T15" fmla="*/ 12 h 1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" h="12">
                <a:moveTo>
                  <a:pt x="7" y="0"/>
                </a:moveTo>
                <a:lnTo>
                  <a:pt x="0" y="10"/>
                </a:lnTo>
                <a:lnTo>
                  <a:pt x="6" y="12"/>
                </a:lnTo>
                <a:lnTo>
                  <a:pt x="7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46" name="Freeform 28"/>
          <p:cNvSpPr>
            <a:spLocks/>
          </p:cNvSpPr>
          <p:nvPr/>
        </p:nvSpPr>
        <p:spPr bwMode="auto">
          <a:xfrm>
            <a:off x="5389563" y="3644900"/>
            <a:ext cx="614362" cy="566738"/>
          </a:xfrm>
          <a:custGeom>
            <a:avLst/>
            <a:gdLst>
              <a:gd name="T0" fmla="*/ 2147483647 w 461"/>
              <a:gd name="T1" fmla="*/ 2147483647 h 412"/>
              <a:gd name="T2" fmla="*/ 2147483647 w 461"/>
              <a:gd name="T3" fmla="*/ 2147483647 h 412"/>
              <a:gd name="T4" fmla="*/ 2147483647 w 461"/>
              <a:gd name="T5" fmla="*/ 2147483647 h 412"/>
              <a:gd name="T6" fmla="*/ 2147483647 w 461"/>
              <a:gd name="T7" fmla="*/ 2147483647 h 412"/>
              <a:gd name="T8" fmla="*/ 0 w 461"/>
              <a:gd name="T9" fmla="*/ 2147483647 h 412"/>
              <a:gd name="T10" fmla="*/ 2147483647 w 461"/>
              <a:gd name="T11" fmla="*/ 2147483647 h 412"/>
              <a:gd name="T12" fmla="*/ 2147483647 w 461"/>
              <a:gd name="T13" fmla="*/ 2147483647 h 412"/>
              <a:gd name="T14" fmla="*/ 2147483647 w 461"/>
              <a:gd name="T15" fmla="*/ 2147483647 h 412"/>
              <a:gd name="T16" fmla="*/ 2147483647 w 461"/>
              <a:gd name="T17" fmla="*/ 0 h 412"/>
              <a:gd name="T18" fmla="*/ 2147483647 w 461"/>
              <a:gd name="T19" fmla="*/ 2147483647 h 412"/>
              <a:gd name="T20" fmla="*/ 2147483647 w 461"/>
              <a:gd name="T21" fmla="*/ 2147483647 h 412"/>
              <a:gd name="T22" fmla="*/ 2147483647 w 461"/>
              <a:gd name="T23" fmla="*/ 2147483647 h 412"/>
              <a:gd name="T24" fmla="*/ 2147483647 w 461"/>
              <a:gd name="T25" fmla="*/ 2147483647 h 412"/>
              <a:gd name="T26" fmla="*/ 2147483647 w 461"/>
              <a:gd name="T27" fmla="*/ 2147483647 h 412"/>
              <a:gd name="T28" fmla="*/ 2147483647 w 461"/>
              <a:gd name="T29" fmla="*/ 2147483647 h 412"/>
              <a:gd name="T30" fmla="*/ 2147483647 w 461"/>
              <a:gd name="T31" fmla="*/ 2147483647 h 412"/>
              <a:gd name="T32" fmla="*/ 2147483647 w 461"/>
              <a:gd name="T33" fmla="*/ 2147483647 h 412"/>
              <a:gd name="T34" fmla="*/ 2147483647 w 461"/>
              <a:gd name="T35" fmla="*/ 2147483647 h 412"/>
              <a:gd name="T36" fmla="*/ 2147483647 w 461"/>
              <a:gd name="T37" fmla="*/ 2147483647 h 412"/>
              <a:gd name="T38" fmla="*/ 2147483647 w 461"/>
              <a:gd name="T39" fmla="*/ 2147483647 h 412"/>
              <a:gd name="T40" fmla="*/ 2147483647 w 461"/>
              <a:gd name="T41" fmla="*/ 2147483647 h 412"/>
              <a:gd name="T42" fmla="*/ 2147483647 w 461"/>
              <a:gd name="T43" fmla="*/ 2147483647 h 412"/>
              <a:gd name="T44" fmla="*/ 2147483647 w 461"/>
              <a:gd name="T45" fmla="*/ 2147483647 h 412"/>
              <a:gd name="T46" fmla="*/ 2147483647 w 461"/>
              <a:gd name="T47" fmla="*/ 2147483647 h 412"/>
              <a:gd name="T48" fmla="*/ 2147483647 w 461"/>
              <a:gd name="T49" fmla="*/ 2147483647 h 412"/>
              <a:gd name="T50" fmla="*/ 2147483647 w 461"/>
              <a:gd name="T51" fmla="*/ 2147483647 h 412"/>
              <a:gd name="T52" fmla="*/ 2147483647 w 461"/>
              <a:gd name="T53" fmla="*/ 2147483647 h 412"/>
              <a:gd name="T54" fmla="*/ 2147483647 w 461"/>
              <a:gd name="T55" fmla="*/ 2147483647 h 412"/>
              <a:gd name="T56" fmla="*/ 2147483647 w 461"/>
              <a:gd name="T57" fmla="*/ 2147483647 h 412"/>
              <a:gd name="T58" fmla="*/ 2147483647 w 461"/>
              <a:gd name="T59" fmla="*/ 2147483647 h 412"/>
              <a:gd name="T60" fmla="*/ 2147483647 w 461"/>
              <a:gd name="T61" fmla="*/ 2147483647 h 412"/>
              <a:gd name="T62" fmla="*/ 2147483647 w 461"/>
              <a:gd name="T63" fmla="*/ 2147483647 h 412"/>
              <a:gd name="T64" fmla="*/ 2147483647 w 461"/>
              <a:gd name="T65" fmla="*/ 2147483647 h 412"/>
              <a:gd name="T66" fmla="*/ 2147483647 w 461"/>
              <a:gd name="T67" fmla="*/ 2147483647 h 412"/>
              <a:gd name="T68" fmla="*/ 2147483647 w 461"/>
              <a:gd name="T69" fmla="*/ 2147483647 h 41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461"/>
              <a:gd name="T106" fmla="*/ 0 h 412"/>
              <a:gd name="T107" fmla="*/ 461 w 461"/>
              <a:gd name="T108" fmla="*/ 412 h 412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461" h="412">
                <a:moveTo>
                  <a:pt x="113" y="282"/>
                </a:moveTo>
                <a:lnTo>
                  <a:pt x="105" y="248"/>
                </a:lnTo>
                <a:lnTo>
                  <a:pt x="96" y="229"/>
                </a:lnTo>
                <a:lnTo>
                  <a:pt x="89" y="210"/>
                </a:lnTo>
                <a:lnTo>
                  <a:pt x="75" y="198"/>
                </a:lnTo>
                <a:lnTo>
                  <a:pt x="60" y="186"/>
                </a:lnTo>
                <a:lnTo>
                  <a:pt x="50" y="160"/>
                </a:lnTo>
                <a:lnTo>
                  <a:pt x="28" y="132"/>
                </a:lnTo>
                <a:lnTo>
                  <a:pt x="6" y="103"/>
                </a:lnTo>
                <a:lnTo>
                  <a:pt x="0" y="100"/>
                </a:lnTo>
                <a:lnTo>
                  <a:pt x="4" y="72"/>
                </a:lnTo>
                <a:lnTo>
                  <a:pt x="28" y="75"/>
                </a:lnTo>
                <a:lnTo>
                  <a:pt x="41" y="58"/>
                </a:lnTo>
                <a:lnTo>
                  <a:pt x="57" y="56"/>
                </a:lnTo>
                <a:lnTo>
                  <a:pt x="65" y="43"/>
                </a:lnTo>
                <a:lnTo>
                  <a:pt x="42" y="18"/>
                </a:lnTo>
                <a:lnTo>
                  <a:pt x="65" y="9"/>
                </a:lnTo>
                <a:lnTo>
                  <a:pt x="88" y="0"/>
                </a:lnTo>
                <a:lnTo>
                  <a:pt x="108" y="9"/>
                </a:lnTo>
                <a:lnTo>
                  <a:pt x="129" y="19"/>
                </a:lnTo>
                <a:lnTo>
                  <a:pt x="149" y="28"/>
                </a:lnTo>
                <a:lnTo>
                  <a:pt x="170" y="37"/>
                </a:lnTo>
                <a:lnTo>
                  <a:pt x="189" y="56"/>
                </a:lnTo>
                <a:lnTo>
                  <a:pt x="210" y="75"/>
                </a:lnTo>
                <a:lnTo>
                  <a:pt x="250" y="78"/>
                </a:lnTo>
                <a:lnTo>
                  <a:pt x="269" y="80"/>
                </a:lnTo>
                <a:lnTo>
                  <a:pt x="273" y="87"/>
                </a:lnTo>
                <a:lnTo>
                  <a:pt x="291" y="91"/>
                </a:lnTo>
                <a:lnTo>
                  <a:pt x="303" y="111"/>
                </a:lnTo>
                <a:lnTo>
                  <a:pt x="312" y="118"/>
                </a:lnTo>
                <a:lnTo>
                  <a:pt x="332" y="138"/>
                </a:lnTo>
                <a:lnTo>
                  <a:pt x="333" y="152"/>
                </a:lnTo>
                <a:lnTo>
                  <a:pt x="342" y="169"/>
                </a:lnTo>
                <a:lnTo>
                  <a:pt x="352" y="186"/>
                </a:lnTo>
                <a:lnTo>
                  <a:pt x="359" y="190"/>
                </a:lnTo>
                <a:lnTo>
                  <a:pt x="360" y="189"/>
                </a:lnTo>
                <a:lnTo>
                  <a:pt x="364" y="190"/>
                </a:lnTo>
                <a:lnTo>
                  <a:pt x="365" y="196"/>
                </a:lnTo>
                <a:lnTo>
                  <a:pt x="368" y="198"/>
                </a:lnTo>
                <a:lnTo>
                  <a:pt x="366" y="202"/>
                </a:lnTo>
                <a:lnTo>
                  <a:pt x="374" y="207"/>
                </a:lnTo>
                <a:lnTo>
                  <a:pt x="381" y="229"/>
                </a:lnTo>
                <a:lnTo>
                  <a:pt x="413" y="235"/>
                </a:lnTo>
                <a:lnTo>
                  <a:pt x="447" y="242"/>
                </a:lnTo>
                <a:lnTo>
                  <a:pt x="450" y="236"/>
                </a:lnTo>
                <a:lnTo>
                  <a:pt x="461" y="254"/>
                </a:lnTo>
                <a:lnTo>
                  <a:pt x="456" y="279"/>
                </a:lnTo>
                <a:lnTo>
                  <a:pt x="452" y="303"/>
                </a:lnTo>
                <a:lnTo>
                  <a:pt x="436" y="310"/>
                </a:lnTo>
                <a:lnTo>
                  <a:pt x="420" y="316"/>
                </a:lnTo>
                <a:lnTo>
                  <a:pt x="405" y="322"/>
                </a:lnTo>
                <a:lnTo>
                  <a:pt x="389" y="328"/>
                </a:lnTo>
                <a:lnTo>
                  <a:pt x="372" y="333"/>
                </a:lnTo>
                <a:lnTo>
                  <a:pt x="354" y="338"/>
                </a:lnTo>
                <a:lnTo>
                  <a:pt x="338" y="342"/>
                </a:lnTo>
                <a:lnTo>
                  <a:pt x="321" y="346"/>
                </a:lnTo>
                <a:lnTo>
                  <a:pt x="309" y="363"/>
                </a:lnTo>
                <a:lnTo>
                  <a:pt x="297" y="380"/>
                </a:lnTo>
                <a:lnTo>
                  <a:pt x="285" y="396"/>
                </a:lnTo>
                <a:lnTo>
                  <a:pt x="272" y="412"/>
                </a:lnTo>
                <a:lnTo>
                  <a:pt x="270" y="386"/>
                </a:lnTo>
                <a:lnTo>
                  <a:pt x="250" y="378"/>
                </a:lnTo>
                <a:lnTo>
                  <a:pt x="230" y="368"/>
                </a:lnTo>
                <a:lnTo>
                  <a:pt x="206" y="366"/>
                </a:lnTo>
                <a:lnTo>
                  <a:pt x="202" y="386"/>
                </a:lnTo>
                <a:lnTo>
                  <a:pt x="194" y="393"/>
                </a:lnTo>
                <a:lnTo>
                  <a:pt x="183" y="375"/>
                </a:lnTo>
                <a:lnTo>
                  <a:pt x="172" y="357"/>
                </a:lnTo>
                <a:lnTo>
                  <a:pt x="155" y="330"/>
                </a:lnTo>
                <a:lnTo>
                  <a:pt x="137" y="302"/>
                </a:lnTo>
                <a:lnTo>
                  <a:pt x="113" y="28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47" name="Freeform 29"/>
          <p:cNvSpPr>
            <a:spLocks/>
          </p:cNvSpPr>
          <p:nvPr/>
        </p:nvSpPr>
        <p:spPr bwMode="auto">
          <a:xfrm>
            <a:off x="5875338" y="3862388"/>
            <a:ext cx="138112" cy="114300"/>
          </a:xfrm>
          <a:custGeom>
            <a:avLst/>
            <a:gdLst>
              <a:gd name="T0" fmla="*/ 0 w 105"/>
              <a:gd name="T1" fmla="*/ 2147483647 h 84"/>
              <a:gd name="T2" fmla="*/ 2147483647 w 105"/>
              <a:gd name="T3" fmla="*/ 2147483647 h 84"/>
              <a:gd name="T4" fmla="*/ 2147483647 w 105"/>
              <a:gd name="T5" fmla="*/ 2147483647 h 84"/>
              <a:gd name="T6" fmla="*/ 2147483647 w 105"/>
              <a:gd name="T7" fmla="*/ 2147483647 h 84"/>
              <a:gd name="T8" fmla="*/ 2147483647 w 105"/>
              <a:gd name="T9" fmla="*/ 2147483647 h 84"/>
              <a:gd name="T10" fmla="*/ 2147483647 w 105"/>
              <a:gd name="T11" fmla="*/ 2147483647 h 84"/>
              <a:gd name="T12" fmla="*/ 2147483647 w 105"/>
              <a:gd name="T13" fmla="*/ 2147483647 h 84"/>
              <a:gd name="T14" fmla="*/ 2147483647 w 105"/>
              <a:gd name="T15" fmla="*/ 2147483647 h 84"/>
              <a:gd name="T16" fmla="*/ 2147483647 w 105"/>
              <a:gd name="T17" fmla="*/ 2147483647 h 84"/>
              <a:gd name="T18" fmla="*/ 2147483647 w 105"/>
              <a:gd name="T19" fmla="*/ 2147483647 h 84"/>
              <a:gd name="T20" fmla="*/ 2147483647 w 105"/>
              <a:gd name="T21" fmla="*/ 2147483647 h 84"/>
              <a:gd name="T22" fmla="*/ 2147483647 w 105"/>
              <a:gd name="T23" fmla="*/ 2147483647 h 84"/>
              <a:gd name="T24" fmla="*/ 2147483647 w 105"/>
              <a:gd name="T25" fmla="*/ 0 h 84"/>
              <a:gd name="T26" fmla="*/ 2147483647 w 105"/>
              <a:gd name="T27" fmla="*/ 2147483647 h 84"/>
              <a:gd name="T28" fmla="*/ 2147483647 w 105"/>
              <a:gd name="T29" fmla="*/ 2147483647 h 84"/>
              <a:gd name="T30" fmla="*/ 2147483647 w 105"/>
              <a:gd name="T31" fmla="*/ 2147483647 h 84"/>
              <a:gd name="T32" fmla="*/ 2147483647 w 105"/>
              <a:gd name="T33" fmla="*/ 2147483647 h 84"/>
              <a:gd name="T34" fmla="*/ 0 w 105"/>
              <a:gd name="T35" fmla="*/ 2147483647 h 84"/>
              <a:gd name="T36" fmla="*/ 0 w 105"/>
              <a:gd name="T37" fmla="*/ 2147483647 h 84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05"/>
              <a:gd name="T58" fmla="*/ 0 h 84"/>
              <a:gd name="T59" fmla="*/ 105 w 105"/>
              <a:gd name="T60" fmla="*/ 84 h 84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05" h="84">
                <a:moveTo>
                  <a:pt x="0" y="44"/>
                </a:moveTo>
                <a:lnTo>
                  <a:pt x="8" y="49"/>
                </a:lnTo>
                <a:lnTo>
                  <a:pt x="15" y="71"/>
                </a:lnTo>
                <a:lnTo>
                  <a:pt x="47" y="77"/>
                </a:lnTo>
                <a:lnTo>
                  <a:pt x="81" y="84"/>
                </a:lnTo>
                <a:lnTo>
                  <a:pt x="84" y="78"/>
                </a:lnTo>
                <a:lnTo>
                  <a:pt x="88" y="48"/>
                </a:lnTo>
                <a:lnTo>
                  <a:pt x="99" y="44"/>
                </a:lnTo>
                <a:lnTo>
                  <a:pt x="95" y="22"/>
                </a:lnTo>
                <a:lnTo>
                  <a:pt x="98" y="28"/>
                </a:lnTo>
                <a:lnTo>
                  <a:pt x="105" y="23"/>
                </a:lnTo>
                <a:lnTo>
                  <a:pt x="100" y="2"/>
                </a:lnTo>
                <a:lnTo>
                  <a:pt x="94" y="0"/>
                </a:lnTo>
                <a:lnTo>
                  <a:pt x="75" y="22"/>
                </a:lnTo>
                <a:lnTo>
                  <a:pt x="54" y="44"/>
                </a:lnTo>
                <a:lnTo>
                  <a:pt x="21" y="46"/>
                </a:lnTo>
                <a:lnTo>
                  <a:pt x="8" y="43"/>
                </a:lnTo>
                <a:lnTo>
                  <a:pt x="0" y="40"/>
                </a:lnTo>
                <a:lnTo>
                  <a:pt x="0" y="4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48" name="Freeform 30"/>
          <p:cNvSpPr>
            <a:spLocks/>
          </p:cNvSpPr>
          <p:nvPr/>
        </p:nvSpPr>
        <p:spPr bwMode="auto">
          <a:xfrm>
            <a:off x="5646738" y="4095750"/>
            <a:ext cx="293687" cy="217488"/>
          </a:xfrm>
          <a:custGeom>
            <a:avLst/>
            <a:gdLst>
              <a:gd name="T0" fmla="*/ 2147483647 w 223"/>
              <a:gd name="T1" fmla="*/ 2147483647 h 158"/>
              <a:gd name="T2" fmla="*/ 0 w 223"/>
              <a:gd name="T3" fmla="*/ 2147483647 h 158"/>
              <a:gd name="T4" fmla="*/ 0 w 223"/>
              <a:gd name="T5" fmla="*/ 2147483647 h 158"/>
              <a:gd name="T6" fmla="*/ 2147483647 w 223"/>
              <a:gd name="T7" fmla="*/ 2147483647 h 158"/>
              <a:gd name="T8" fmla="*/ 2147483647 w 223"/>
              <a:gd name="T9" fmla="*/ 2147483647 h 158"/>
              <a:gd name="T10" fmla="*/ 2147483647 w 223"/>
              <a:gd name="T11" fmla="*/ 2147483647 h 158"/>
              <a:gd name="T12" fmla="*/ 2147483647 w 223"/>
              <a:gd name="T13" fmla="*/ 2147483647 h 158"/>
              <a:gd name="T14" fmla="*/ 2147483647 w 223"/>
              <a:gd name="T15" fmla="*/ 2147483647 h 158"/>
              <a:gd name="T16" fmla="*/ 2147483647 w 223"/>
              <a:gd name="T17" fmla="*/ 2147483647 h 158"/>
              <a:gd name="T18" fmla="*/ 2147483647 w 223"/>
              <a:gd name="T19" fmla="*/ 2147483647 h 158"/>
              <a:gd name="T20" fmla="*/ 2147483647 w 223"/>
              <a:gd name="T21" fmla="*/ 2147483647 h 158"/>
              <a:gd name="T22" fmla="*/ 2147483647 w 223"/>
              <a:gd name="T23" fmla="*/ 2147483647 h 158"/>
              <a:gd name="T24" fmla="*/ 2147483647 w 223"/>
              <a:gd name="T25" fmla="*/ 2147483647 h 158"/>
              <a:gd name="T26" fmla="*/ 2147483647 w 223"/>
              <a:gd name="T27" fmla="*/ 2147483647 h 158"/>
              <a:gd name="T28" fmla="*/ 2147483647 w 223"/>
              <a:gd name="T29" fmla="*/ 2147483647 h 158"/>
              <a:gd name="T30" fmla="*/ 2147483647 w 223"/>
              <a:gd name="T31" fmla="*/ 2147483647 h 158"/>
              <a:gd name="T32" fmla="*/ 2147483647 w 223"/>
              <a:gd name="T33" fmla="*/ 2147483647 h 158"/>
              <a:gd name="T34" fmla="*/ 2147483647 w 223"/>
              <a:gd name="T35" fmla="*/ 2147483647 h 158"/>
              <a:gd name="T36" fmla="*/ 2147483647 w 223"/>
              <a:gd name="T37" fmla="*/ 0 h 158"/>
              <a:gd name="T38" fmla="*/ 2147483647 w 223"/>
              <a:gd name="T39" fmla="*/ 2147483647 h 158"/>
              <a:gd name="T40" fmla="*/ 2147483647 w 223"/>
              <a:gd name="T41" fmla="*/ 2147483647 h 158"/>
              <a:gd name="T42" fmla="*/ 2147483647 w 223"/>
              <a:gd name="T43" fmla="*/ 2147483647 h 158"/>
              <a:gd name="T44" fmla="*/ 2147483647 w 223"/>
              <a:gd name="T45" fmla="*/ 2147483647 h 158"/>
              <a:gd name="T46" fmla="*/ 2147483647 w 223"/>
              <a:gd name="T47" fmla="*/ 2147483647 h 158"/>
              <a:gd name="T48" fmla="*/ 2147483647 w 223"/>
              <a:gd name="T49" fmla="*/ 2147483647 h 158"/>
              <a:gd name="T50" fmla="*/ 2147483647 w 223"/>
              <a:gd name="T51" fmla="*/ 2147483647 h 158"/>
              <a:gd name="T52" fmla="*/ 2147483647 w 223"/>
              <a:gd name="T53" fmla="*/ 2147483647 h 158"/>
              <a:gd name="T54" fmla="*/ 2147483647 w 223"/>
              <a:gd name="T55" fmla="*/ 2147483647 h 158"/>
              <a:gd name="T56" fmla="*/ 2147483647 w 223"/>
              <a:gd name="T57" fmla="*/ 2147483647 h 158"/>
              <a:gd name="T58" fmla="*/ 2147483647 w 223"/>
              <a:gd name="T59" fmla="*/ 2147483647 h 158"/>
              <a:gd name="T60" fmla="*/ 2147483647 w 223"/>
              <a:gd name="T61" fmla="*/ 2147483647 h 158"/>
              <a:gd name="T62" fmla="*/ 2147483647 w 223"/>
              <a:gd name="T63" fmla="*/ 2147483647 h 15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23"/>
              <a:gd name="T97" fmla="*/ 0 h 158"/>
              <a:gd name="T98" fmla="*/ 223 w 223"/>
              <a:gd name="T99" fmla="*/ 158 h 15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23" h="158">
                <a:moveTo>
                  <a:pt x="8" y="58"/>
                </a:moveTo>
                <a:lnTo>
                  <a:pt x="0" y="65"/>
                </a:lnTo>
                <a:lnTo>
                  <a:pt x="0" y="95"/>
                </a:lnTo>
                <a:lnTo>
                  <a:pt x="9" y="126"/>
                </a:lnTo>
                <a:lnTo>
                  <a:pt x="19" y="158"/>
                </a:lnTo>
                <a:lnTo>
                  <a:pt x="46" y="155"/>
                </a:lnTo>
                <a:lnTo>
                  <a:pt x="75" y="140"/>
                </a:lnTo>
                <a:lnTo>
                  <a:pt x="97" y="131"/>
                </a:lnTo>
                <a:lnTo>
                  <a:pt x="120" y="124"/>
                </a:lnTo>
                <a:lnTo>
                  <a:pt x="136" y="117"/>
                </a:lnTo>
                <a:lnTo>
                  <a:pt x="153" y="110"/>
                </a:lnTo>
                <a:lnTo>
                  <a:pt x="170" y="101"/>
                </a:lnTo>
                <a:lnTo>
                  <a:pt x="187" y="93"/>
                </a:lnTo>
                <a:lnTo>
                  <a:pt x="202" y="86"/>
                </a:lnTo>
                <a:lnTo>
                  <a:pt x="204" y="75"/>
                </a:lnTo>
                <a:lnTo>
                  <a:pt x="223" y="59"/>
                </a:lnTo>
                <a:lnTo>
                  <a:pt x="208" y="35"/>
                </a:lnTo>
                <a:lnTo>
                  <a:pt x="193" y="11"/>
                </a:lnTo>
                <a:lnTo>
                  <a:pt x="195" y="0"/>
                </a:lnTo>
                <a:lnTo>
                  <a:pt x="178" y="5"/>
                </a:lnTo>
                <a:lnTo>
                  <a:pt x="160" y="10"/>
                </a:lnTo>
                <a:lnTo>
                  <a:pt x="144" y="14"/>
                </a:lnTo>
                <a:lnTo>
                  <a:pt x="127" y="18"/>
                </a:lnTo>
                <a:lnTo>
                  <a:pt x="115" y="35"/>
                </a:lnTo>
                <a:lnTo>
                  <a:pt x="103" y="52"/>
                </a:lnTo>
                <a:lnTo>
                  <a:pt x="91" y="68"/>
                </a:lnTo>
                <a:lnTo>
                  <a:pt x="78" y="84"/>
                </a:lnTo>
                <a:lnTo>
                  <a:pt x="76" y="58"/>
                </a:lnTo>
                <a:lnTo>
                  <a:pt x="56" y="50"/>
                </a:lnTo>
                <a:lnTo>
                  <a:pt x="36" y="40"/>
                </a:lnTo>
                <a:lnTo>
                  <a:pt x="12" y="38"/>
                </a:lnTo>
                <a:lnTo>
                  <a:pt x="8" y="5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49" name="Freeform 31"/>
          <p:cNvSpPr>
            <a:spLocks/>
          </p:cNvSpPr>
          <p:nvPr/>
        </p:nvSpPr>
        <p:spPr bwMode="auto">
          <a:xfrm>
            <a:off x="5257800" y="4779963"/>
            <a:ext cx="53975" cy="58737"/>
          </a:xfrm>
          <a:custGeom>
            <a:avLst/>
            <a:gdLst>
              <a:gd name="T0" fmla="*/ 2147483647 w 42"/>
              <a:gd name="T1" fmla="*/ 2147483647 h 41"/>
              <a:gd name="T2" fmla="*/ 2147483647 w 42"/>
              <a:gd name="T3" fmla="*/ 2147483647 h 41"/>
              <a:gd name="T4" fmla="*/ 0 w 42"/>
              <a:gd name="T5" fmla="*/ 2147483647 h 41"/>
              <a:gd name="T6" fmla="*/ 2147483647 w 42"/>
              <a:gd name="T7" fmla="*/ 2147483647 h 41"/>
              <a:gd name="T8" fmla="*/ 2147483647 w 42"/>
              <a:gd name="T9" fmla="*/ 2147483647 h 41"/>
              <a:gd name="T10" fmla="*/ 2147483647 w 42"/>
              <a:gd name="T11" fmla="*/ 2147483647 h 41"/>
              <a:gd name="T12" fmla="*/ 2147483647 w 42"/>
              <a:gd name="T13" fmla="*/ 2147483647 h 41"/>
              <a:gd name="T14" fmla="*/ 2147483647 w 42"/>
              <a:gd name="T15" fmla="*/ 2147483647 h 41"/>
              <a:gd name="T16" fmla="*/ 2147483647 w 42"/>
              <a:gd name="T17" fmla="*/ 2147483647 h 41"/>
              <a:gd name="T18" fmla="*/ 2147483647 w 42"/>
              <a:gd name="T19" fmla="*/ 0 h 41"/>
              <a:gd name="T20" fmla="*/ 2147483647 w 42"/>
              <a:gd name="T21" fmla="*/ 2147483647 h 41"/>
              <a:gd name="T22" fmla="*/ 2147483647 w 42"/>
              <a:gd name="T23" fmla="*/ 2147483647 h 4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2"/>
              <a:gd name="T37" fmla="*/ 0 h 41"/>
              <a:gd name="T38" fmla="*/ 42 w 42"/>
              <a:gd name="T39" fmla="*/ 41 h 4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2" h="41">
                <a:moveTo>
                  <a:pt x="15" y="9"/>
                </a:moveTo>
                <a:lnTo>
                  <a:pt x="6" y="26"/>
                </a:lnTo>
                <a:lnTo>
                  <a:pt x="0" y="41"/>
                </a:lnTo>
                <a:lnTo>
                  <a:pt x="1" y="41"/>
                </a:lnTo>
                <a:lnTo>
                  <a:pt x="2" y="41"/>
                </a:lnTo>
                <a:lnTo>
                  <a:pt x="21" y="40"/>
                </a:lnTo>
                <a:lnTo>
                  <a:pt x="24" y="32"/>
                </a:lnTo>
                <a:lnTo>
                  <a:pt x="36" y="34"/>
                </a:lnTo>
                <a:lnTo>
                  <a:pt x="42" y="32"/>
                </a:lnTo>
                <a:lnTo>
                  <a:pt x="35" y="0"/>
                </a:lnTo>
                <a:lnTo>
                  <a:pt x="21" y="9"/>
                </a:lnTo>
                <a:lnTo>
                  <a:pt x="15" y="9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50" name="Freeform 32"/>
          <p:cNvSpPr>
            <a:spLocks/>
          </p:cNvSpPr>
          <p:nvPr/>
        </p:nvSpPr>
        <p:spPr bwMode="auto">
          <a:xfrm>
            <a:off x="5842000" y="3851275"/>
            <a:ext cx="4763" cy="7938"/>
          </a:xfrm>
          <a:custGeom>
            <a:avLst/>
            <a:gdLst>
              <a:gd name="T0" fmla="*/ 2147483647 w 3"/>
              <a:gd name="T1" fmla="*/ 0 h 6"/>
              <a:gd name="T2" fmla="*/ 0 w 3"/>
              <a:gd name="T3" fmla="*/ 2147483647 h 6"/>
              <a:gd name="T4" fmla="*/ 2147483647 w 3"/>
              <a:gd name="T5" fmla="*/ 2147483647 h 6"/>
              <a:gd name="T6" fmla="*/ 2147483647 w 3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6"/>
              <a:gd name="T14" fmla="*/ 3 w 3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6">
                <a:moveTo>
                  <a:pt x="2" y="0"/>
                </a:moveTo>
                <a:lnTo>
                  <a:pt x="0" y="6"/>
                </a:lnTo>
                <a:lnTo>
                  <a:pt x="3" y="3"/>
                </a:lnTo>
                <a:lnTo>
                  <a:pt x="2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51" name="Freeform 33"/>
          <p:cNvSpPr>
            <a:spLocks/>
          </p:cNvSpPr>
          <p:nvPr/>
        </p:nvSpPr>
        <p:spPr bwMode="auto">
          <a:xfrm>
            <a:off x="4808538" y="3941763"/>
            <a:ext cx="300037" cy="542925"/>
          </a:xfrm>
          <a:custGeom>
            <a:avLst/>
            <a:gdLst>
              <a:gd name="T0" fmla="*/ 2147483647 w 226"/>
              <a:gd name="T1" fmla="*/ 2147483647 h 396"/>
              <a:gd name="T2" fmla="*/ 2147483647 w 226"/>
              <a:gd name="T3" fmla="*/ 2147483647 h 396"/>
              <a:gd name="T4" fmla="*/ 2147483647 w 226"/>
              <a:gd name="T5" fmla="*/ 2147483647 h 396"/>
              <a:gd name="T6" fmla="*/ 2147483647 w 226"/>
              <a:gd name="T7" fmla="*/ 2147483647 h 396"/>
              <a:gd name="T8" fmla="*/ 2147483647 w 226"/>
              <a:gd name="T9" fmla="*/ 2147483647 h 396"/>
              <a:gd name="T10" fmla="*/ 2147483647 w 226"/>
              <a:gd name="T11" fmla="*/ 2147483647 h 396"/>
              <a:gd name="T12" fmla="*/ 2147483647 w 226"/>
              <a:gd name="T13" fmla="*/ 2147483647 h 396"/>
              <a:gd name="T14" fmla="*/ 2147483647 w 226"/>
              <a:gd name="T15" fmla="*/ 2147483647 h 396"/>
              <a:gd name="T16" fmla="*/ 2147483647 w 226"/>
              <a:gd name="T17" fmla="*/ 0 h 396"/>
              <a:gd name="T18" fmla="*/ 2147483647 w 226"/>
              <a:gd name="T19" fmla="*/ 2147483647 h 396"/>
              <a:gd name="T20" fmla="*/ 2147483647 w 226"/>
              <a:gd name="T21" fmla="*/ 2147483647 h 396"/>
              <a:gd name="T22" fmla="*/ 2147483647 w 226"/>
              <a:gd name="T23" fmla="*/ 2147483647 h 396"/>
              <a:gd name="T24" fmla="*/ 2147483647 w 226"/>
              <a:gd name="T25" fmla="*/ 2147483647 h 396"/>
              <a:gd name="T26" fmla="*/ 2147483647 w 226"/>
              <a:gd name="T27" fmla="*/ 2147483647 h 396"/>
              <a:gd name="T28" fmla="*/ 2147483647 w 226"/>
              <a:gd name="T29" fmla="*/ 2147483647 h 396"/>
              <a:gd name="T30" fmla="*/ 2147483647 w 226"/>
              <a:gd name="T31" fmla="*/ 2147483647 h 396"/>
              <a:gd name="T32" fmla="*/ 2147483647 w 226"/>
              <a:gd name="T33" fmla="*/ 2147483647 h 396"/>
              <a:gd name="T34" fmla="*/ 2147483647 w 226"/>
              <a:gd name="T35" fmla="*/ 2147483647 h 396"/>
              <a:gd name="T36" fmla="*/ 2147483647 w 226"/>
              <a:gd name="T37" fmla="*/ 2147483647 h 396"/>
              <a:gd name="T38" fmla="*/ 2147483647 w 226"/>
              <a:gd name="T39" fmla="*/ 2147483647 h 396"/>
              <a:gd name="T40" fmla="*/ 2147483647 w 226"/>
              <a:gd name="T41" fmla="*/ 2147483647 h 396"/>
              <a:gd name="T42" fmla="*/ 0 w 226"/>
              <a:gd name="T43" fmla="*/ 2147483647 h 396"/>
              <a:gd name="T44" fmla="*/ 2147483647 w 226"/>
              <a:gd name="T45" fmla="*/ 2147483647 h 396"/>
              <a:gd name="T46" fmla="*/ 2147483647 w 226"/>
              <a:gd name="T47" fmla="*/ 2147483647 h 396"/>
              <a:gd name="T48" fmla="*/ 2147483647 w 226"/>
              <a:gd name="T49" fmla="*/ 2147483647 h 396"/>
              <a:gd name="T50" fmla="*/ 2147483647 w 226"/>
              <a:gd name="T51" fmla="*/ 2147483647 h 396"/>
              <a:gd name="T52" fmla="*/ 2147483647 w 226"/>
              <a:gd name="T53" fmla="*/ 2147483647 h 396"/>
              <a:gd name="T54" fmla="*/ 2147483647 w 226"/>
              <a:gd name="T55" fmla="*/ 2147483647 h 396"/>
              <a:gd name="T56" fmla="*/ 2147483647 w 226"/>
              <a:gd name="T57" fmla="*/ 2147483647 h 396"/>
              <a:gd name="T58" fmla="*/ 2147483647 w 226"/>
              <a:gd name="T59" fmla="*/ 2147483647 h 396"/>
              <a:gd name="T60" fmla="*/ 2147483647 w 226"/>
              <a:gd name="T61" fmla="*/ 2147483647 h 396"/>
              <a:gd name="T62" fmla="*/ 2147483647 w 226"/>
              <a:gd name="T63" fmla="*/ 2147483647 h 396"/>
              <a:gd name="T64" fmla="*/ 2147483647 w 226"/>
              <a:gd name="T65" fmla="*/ 2147483647 h 396"/>
              <a:gd name="T66" fmla="*/ 2147483647 w 226"/>
              <a:gd name="T67" fmla="*/ 2147483647 h 396"/>
              <a:gd name="T68" fmla="*/ 2147483647 w 226"/>
              <a:gd name="T69" fmla="*/ 2147483647 h 396"/>
              <a:gd name="T70" fmla="*/ 2147483647 w 226"/>
              <a:gd name="T71" fmla="*/ 2147483647 h 396"/>
              <a:gd name="T72" fmla="*/ 2147483647 w 226"/>
              <a:gd name="T73" fmla="*/ 2147483647 h 396"/>
              <a:gd name="T74" fmla="*/ 2147483647 w 226"/>
              <a:gd name="T75" fmla="*/ 2147483647 h 396"/>
              <a:gd name="T76" fmla="*/ 2147483647 w 226"/>
              <a:gd name="T77" fmla="*/ 2147483647 h 396"/>
              <a:gd name="T78" fmla="*/ 2147483647 w 226"/>
              <a:gd name="T79" fmla="*/ 2147483647 h 396"/>
              <a:gd name="T80" fmla="*/ 2147483647 w 226"/>
              <a:gd name="T81" fmla="*/ 2147483647 h 396"/>
              <a:gd name="T82" fmla="*/ 2147483647 w 226"/>
              <a:gd name="T83" fmla="*/ 2147483647 h 396"/>
              <a:gd name="T84" fmla="*/ 2147483647 w 226"/>
              <a:gd name="T85" fmla="*/ 2147483647 h 396"/>
              <a:gd name="T86" fmla="*/ 2147483647 w 226"/>
              <a:gd name="T87" fmla="*/ 2147483647 h 396"/>
              <a:gd name="T88" fmla="*/ 2147483647 w 226"/>
              <a:gd name="T89" fmla="*/ 2147483647 h 396"/>
              <a:gd name="T90" fmla="*/ 2147483647 w 226"/>
              <a:gd name="T91" fmla="*/ 2147483647 h 396"/>
              <a:gd name="T92" fmla="*/ 2147483647 w 226"/>
              <a:gd name="T93" fmla="*/ 2147483647 h 396"/>
              <a:gd name="T94" fmla="*/ 2147483647 w 226"/>
              <a:gd name="T95" fmla="*/ 2147483647 h 396"/>
              <a:gd name="T96" fmla="*/ 2147483647 w 226"/>
              <a:gd name="T97" fmla="*/ 2147483647 h 396"/>
              <a:gd name="T98" fmla="*/ 2147483647 w 226"/>
              <a:gd name="T99" fmla="*/ 2147483647 h 396"/>
              <a:gd name="T100" fmla="*/ 2147483647 w 226"/>
              <a:gd name="T101" fmla="*/ 2147483647 h 396"/>
              <a:gd name="T102" fmla="*/ 2147483647 w 226"/>
              <a:gd name="T103" fmla="*/ 2147483647 h 396"/>
              <a:gd name="T104" fmla="*/ 2147483647 w 226"/>
              <a:gd name="T105" fmla="*/ 2147483647 h 396"/>
              <a:gd name="T106" fmla="*/ 2147483647 w 226"/>
              <a:gd name="T107" fmla="*/ 2147483647 h 396"/>
              <a:gd name="T108" fmla="*/ 2147483647 w 226"/>
              <a:gd name="T109" fmla="*/ 2147483647 h 396"/>
              <a:gd name="T110" fmla="*/ 2147483647 w 226"/>
              <a:gd name="T111" fmla="*/ 2147483647 h 396"/>
              <a:gd name="T112" fmla="*/ 2147483647 w 226"/>
              <a:gd name="T113" fmla="*/ 2147483647 h 39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26"/>
              <a:gd name="T172" fmla="*/ 0 h 396"/>
              <a:gd name="T173" fmla="*/ 226 w 226"/>
              <a:gd name="T174" fmla="*/ 396 h 39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26" h="396">
                <a:moveTo>
                  <a:pt x="222" y="99"/>
                </a:moveTo>
                <a:lnTo>
                  <a:pt x="201" y="86"/>
                </a:lnTo>
                <a:lnTo>
                  <a:pt x="179" y="74"/>
                </a:lnTo>
                <a:lnTo>
                  <a:pt x="156" y="62"/>
                </a:lnTo>
                <a:lnTo>
                  <a:pt x="135" y="49"/>
                </a:lnTo>
                <a:lnTo>
                  <a:pt x="113" y="37"/>
                </a:lnTo>
                <a:lnTo>
                  <a:pt x="91" y="25"/>
                </a:lnTo>
                <a:lnTo>
                  <a:pt x="69" y="12"/>
                </a:lnTo>
                <a:lnTo>
                  <a:pt x="47" y="0"/>
                </a:lnTo>
                <a:lnTo>
                  <a:pt x="27" y="12"/>
                </a:lnTo>
                <a:lnTo>
                  <a:pt x="29" y="31"/>
                </a:lnTo>
                <a:lnTo>
                  <a:pt x="31" y="49"/>
                </a:lnTo>
                <a:lnTo>
                  <a:pt x="49" y="78"/>
                </a:lnTo>
                <a:lnTo>
                  <a:pt x="45" y="89"/>
                </a:lnTo>
                <a:lnTo>
                  <a:pt x="43" y="107"/>
                </a:lnTo>
                <a:lnTo>
                  <a:pt x="42" y="126"/>
                </a:lnTo>
                <a:lnTo>
                  <a:pt x="41" y="145"/>
                </a:lnTo>
                <a:lnTo>
                  <a:pt x="40" y="163"/>
                </a:lnTo>
                <a:lnTo>
                  <a:pt x="30" y="179"/>
                </a:lnTo>
                <a:lnTo>
                  <a:pt x="21" y="193"/>
                </a:lnTo>
                <a:lnTo>
                  <a:pt x="11" y="207"/>
                </a:lnTo>
                <a:lnTo>
                  <a:pt x="0" y="223"/>
                </a:lnTo>
                <a:lnTo>
                  <a:pt x="1" y="242"/>
                </a:lnTo>
                <a:lnTo>
                  <a:pt x="11" y="258"/>
                </a:lnTo>
                <a:lnTo>
                  <a:pt x="19" y="258"/>
                </a:lnTo>
                <a:lnTo>
                  <a:pt x="30" y="283"/>
                </a:lnTo>
                <a:lnTo>
                  <a:pt x="33" y="311"/>
                </a:lnTo>
                <a:lnTo>
                  <a:pt x="47" y="336"/>
                </a:lnTo>
                <a:lnTo>
                  <a:pt x="22" y="336"/>
                </a:lnTo>
                <a:lnTo>
                  <a:pt x="11" y="341"/>
                </a:lnTo>
                <a:lnTo>
                  <a:pt x="30" y="365"/>
                </a:lnTo>
                <a:lnTo>
                  <a:pt x="43" y="396"/>
                </a:lnTo>
                <a:lnTo>
                  <a:pt x="64" y="390"/>
                </a:lnTo>
                <a:lnTo>
                  <a:pt x="69" y="392"/>
                </a:lnTo>
                <a:lnTo>
                  <a:pt x="81" y="390"/>
                </a:lnTo>
                <a:lnTo>
                  <a:pt x="111" y="384"/>
                </a:lnTo>
                <a:lnTo>
                  <a:pt x="121" y="372"/>
                </a:lnTo>
                <a:lnTo>
                  <a:pt x="118" y="363"/>
                </a:lnTo>
                <a:lnTo>
                  <a:pt x="149" y="357"/>
                </a:lnTo>
                <a:lnTo>
                  <a:pt x="166" y="337"/>
                </a:lnTo>
                <a:lnTo>
                  <a:pt x="183" y="317"/>
                </a:lnTo>
                <a:lnTo>
                  <a:pt x="204" y="312"/>
                </a:lnTo>
                <a:lnTo>
                  <a:pt x="202" y="299"/>
                </a:lnTo>
                <a:lnTo>
                  <a:pt x="198" y="285"/>
                </a:lnTo>
                <a:lnTo>
                  <a:pt x="189" y="266"/>
                </a:lnTo>
                <a:lnTo>
                  <a:pt x="180" y="265"/>
                </a:lnTo>
                <a:lnTo>
                  <a:pt x="189" y="246"/>
                </a:lnTo>
                <a:lnTo>
                  <a:pt x="190" y="235"/>
                </a:lnTo>
                <a:lnTo>
                  <a:pt x="192" y="229"/>
                </a:lnTo>
                <a:lnTo>
                  <a:pt x="194" y="219"/>
                </a:lnTo>
                <a:lnTo>
                  <a:pt x="204" y="200"/>
                </a:lnTo>
                <a:lnTo>
                  <a:pt x="212" y="194"/>
                </a:lnTo>
                <a:lnTo>
                  <a:pt x="226" y="193"/>
                </a:lnTo>
                <a:lnTo>
                  <a:pt x="225" y="170"/>
                </a:lnTo>
                <a:lnTo>
                  <a:pt x="224" y="146"/>
                </a:lnTo>
                <a:lnTo>
                  <a:pt x="224" y="122"/>
                </a:lnTo>
                <a:lnTo>
                  <a:pt x="222" y="99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52" name="Freeform 34"/>
          <p:cNvSpPr>
            <a:spLocks/>
          </p:cNvSpPr>
          <p:nvPr/>
        </p:nvSpPr>
        <p:spPr bwMode="auto">
          <a:xfrm>
            <a:off x="5626100" y="4314825"/>
            <a:ext cx="42863" cy="53975"/>
          </a:xfrm>
          <a:custGeom>
            <a:avLst/>
            <a:gdLst>
              <a:gd name="T0" fmla="*/ 0 w 31"/>
              <a:gd name="T1" fmla="*/ 2147483647 h 38"/>
              <a:gd name="T2" fmla="*/ 2147483647 w 31"/>
              <a:gd name="T3" fmla="*/ 2147483647 h 38"/>
              <a:gd name="T4" fmla="*/ 2147483647 w 31"/>
              <a:gd name="T5" fmla="*/ 2147483647 h 38"/>
              <a:gd name="T6" fmla="*/ 2147483647 w 31"/>
              <a:gd name="T7" fmla="*/ 0 h 38"/>
              <a:gd name="T8" fmla="*/ 2147483647 w 31"/>
              <a:gd name="T9" fmla="*/ 2147483647 h 38"/>
              <a:gd name="T10" fmla="*/ 0 w 31"/>
              <a:gd name="T11" fmla="*/ 2147483647 h 3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"/>
              <a:gd name="T19" fmla="*/ 0 h 38"/>
              <a:gd name="T20" fmla="*/ 31 w 31"/>
              <a:gd name="T21" fmla="*/ 38 h 3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" h="38">
                <a:moveTo>
                  <a:pt x="0" y="38"/>
                </a:moveTo>
                <a:lnTo>
                  <a:pt x="25" y="38"/>
                </a:lnTo>
                <a:lnTo>
                  <a:pt x="31" y="26"/>
                </a:lnTo>
                <a:lnTo>
                  <a:pt x="23" y="0"/>
                </a:lnTo>
                <a:lnTo>
                  <a:pt x="16" y="1"/>
                </a:lnTo>
                <a:lnTo>
                  <a:pt x="0" y="3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53" name="Freeform 35"/>
          <p:cNvSpPr>
            <a:spLocks/>
          </p:cNvSpPr>
          <p:nvPr/>
        </p:nvSpPr>
        <p:spPr bwMode="auto">
          <a:xfrm>
            <a:off x="5462588" y="4132263"/>
            <a:ext cx="195262" cy="195262"/>
          </a:xfrm>
          <a:custGeom>
            <a:avLst/>
            <a:gdLst>
              <a:gd name="T0" fmla="*/ 0 w 145"/>
              <a:gd name="T1" fmla="*/ 2147483647 h 141"/>
              <a:gd name="T2" fmla="*/ 2147483647 w 145"/>
              <a:gd name="T3" fmla="*/ 2147483647 h 141"/>
              <a:gd name="T4" fmla="*/ 2147483647 w 145"/>
              <a:gd name="T5" fmla="*/ 2147483647 h 141"/>
              <a:gd name="T6" fmla="*/ 2147483647 w 145"/>
              <a:gd name="T7" fmla="*/ 2147483647 h 141"/>
              <a:gd name="T8" fmla="*/ 2147483647 w 145"/>
              <a:gd name="T9" fmla="*/ 2147483647 h 141"/>
              <a:gd name="T10" fmla="*/ 2147483647 w 145"/>
              <a:gd name="T11" fmla="*/ 2147483647 h 141"/>
              <a:gd name="T12" fmla="*/ 2147483647 w 145"/>
              <a:gd name="T13" fmla="*/ 0 h 141"/>
              <a:gd name="T14" fmla="*/ 2147483647 w 145"/>
              <a:gd name="T15" fmla="*/ 2147483647 h 141"/>
              <a:gd name="T16" fmla="*/ 2147483647 w 145"/>
              <a:gd name="T17" fmla="*/ 2147483647 h 141"/>
              <a:gd name="T18" fmla="*/ 2147483647 w 145"/>
              <a:gd name="T19" fmla="*/ 2147483647 h 141"/>
              <a:gd name="T20" fmla="*/ 2147483647 w 145"/>
              <a:gd name="T21" fmla="*/ 2147483647 h 141"/>
              <a:gd name="T22" fmla="*/ 2147483647 w 145"/>
              <a:gd name="T23" fmla="*/ 2147483647 h 141"/>
              <a:gd name="T24" fmla="*/ 2147483647 w 145"/>
              <a:gd name="T25" fmla="*/ 2147483647 h 141"/>
              <a:gd name="T26" fmla="*/ 2147483647 w 145"/>
              <a:gd name="T27" fmla="*/ 2147483647 h 141"/>
              <a:gd name="T28" fmla="*/ 2147483647 w 145"/>
              <a:gd name="T29" fmla="*/ 2147483647 h 141"/>
              <a:gd name="T30" fmla="*/ 2147483647 w 145"/>
              <a:gd name="T31" fmla="*/ 2147483647 h 141"/>
              <a:gd name="T32" fmla="*/ 2147483647 w 145"/>
              <a:gd name="T33" fmla="*/ 2147483647 h 141"/>
              <a:gd name="T34" fmla="*/ 2147483647 w 145"/>
              <a:gd name="T35" fmla="*/ 2147483647 h 141"/>
              <a:gd name="T36" fmla="*/ 2147483647 w 145"/>
              <a:gd name="T37" fmla="*/ 2147483647 h 141"/>
              <a:gd name="T38" fmla="*/ 2147483647 w 145"/>
              <a:gd name="T39" fmla="*/ 2147483647 h 141"/>
              <a:gd name="T40" fmla="*/ 2147483647 w 145"/>
              <a:gd name="T41" fmla="*/ 2147483647 h 141"/>
              <a:gd name="T42" fmla="*/ 2147483647 w 145"/>
              <a:gd name="T43" fmla="*/ 2147483647 h 141"/>
              <a:gd name="T44" fmla="*/ 2147483647 w 145"/>
              <a:gd name="T45" fmla="*/ 2147483647 h 141"/>
              <a:gd name="T46" fmla="*/ 2147483647 w 145"/>
              <a:gd name="T47" fmla="*/ 2147483647 h 141"/>
              <a:gd name="T48" fmla="*/ 2147483647 w 145"/>
              <a:gd name="T49" fmla="*/ 2147483647 h 141"/>
              <a:gd name="T50" fmla="*/ 2147483647 w 145"/>
              <a:gd name="T51" fmla="*/ 2147483647 h 141"/>
              <a:gd name="T52" fmla="*/ 2147483647 w 145"/>
              <a:gd name="T53" fmla="*/ 2147483647 h 141"/>
              <a:gd name="T54" fmla="*/ 2147483647 w 145"/>
              <a:gd name="T55" fmla="*/ 2147483647 h 141"/>
              <a:gd name="T56" fmla="*/ 2147483647 w 145"/>
              <a:gd name="T57" fmla="*/ 2147483647 h 141"/>
              <a:gd name="T58" fmla="*/ 2147483647 w 145"/>
              <a:gd name="T59" fmla="*/ 2147483647 h 141"/>
              <a:gd name="T60" fmla="*/ 2147483647 w 145"/>
              <a:gd name="T61" fmla="*/ 2147483647 h 141"/>
              <a:gd name="T62" fmla="*/ 0 w 145"/>
              <a:gd name="T63" fmla="*/ 2147483647 h 14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45"/>
              <a:gd name="T97" fmla="*/ 0 h 141"/>
              <a:gd name="T98" fmla="*/ 145 w 145"/>
              <a:gd name="T99" fmla="*/ 141 h 141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45" h="141">
                <a:moveTo>
                  <a:pt x="0" y="108"/>
                </a:moveTo>
                <a:lnTo>
                  <a:pt x="3" y="90"/>
                </a:lnTo>
                <a:lnTo>
                  <a:pt x="6" y="55"/>
                </a:lnTo>
                <a:lnTo>
                  <a:pt x="14" y="24"/>
                </a:lnTo>
                <a:lnTo>
                  <a:pt x="27" y="13"/>
                </a:lnTo>
                <a:lnTo>
                  <a:pt x="42" y="2"/>
                </a:lnTo>
                <a:lnTo>
                  <a:pt x="44" y="0"/>
                </a:lnTo>
                <a:lnTo>
                  <a:pt x="51" y="18"/>
                </a:lnTo>
                <a:lnTo>
                  <a:pt x="59" y="34"/>
                </a:lnTo>
                <a:lnTo>
                  <a:pt x="65" y="52"/>
                </a:lnTo>
                <a:lnTo>
                  <a:pt x="72" y="70"/>
                </a:lnTo>
                <a:lnTo>
                  <a:pt x="73" y="64"/>
                </a:lnTo>
                <a:lnTo>
                  <a:pt x="79" y="68"/>
                </a:lnTo>
                <a:lnTo>
                  <a:pt x="97" y="81"/>
                </a:lnTo>
                <a:lnTo>
                  <a:pt x="121" y="104"/>
                </a:lnTo>
                <a:lnTo>
                  <a:pt x="145" y="128"/>
                </a:lnTo>
                <a:lnTo>
                  <a:pt x="145" y="133"/>
                </a:lnTo>
                <a:lnTo>
                  <a:pt x="144" y="134"/>
                </a:lnTo>
                <a:lnTo>
                  <a:pt x="137" y="135"/>
                </a:lnTo>
                <a:lnTo>
                  <a:pt x="125" y="141"/>
                </a:lnTo>
                <a:lnTo>
                  <a:pt x="123" y="135"/>
                </a:lnTo>
                <a:lnTo>
                  <a:pt x="104" y="129"/>
                </a:lnTo>
                <a:lnTo>
                  <a:pt x="91" y="114"/>
                </a:lnTo>
                <a:lnTo>
                  <a:pt x="84" y="105"/>
                </a:lnTo>
                <a:lnTo>
                  <a:pt x="71" y="99"/>
                </a:lnTo>
                <a:lnTo>
                  <a:pt x="59" y="96"/>
                </a:lnTo>
                <a:lnTo>
                  <a:pt x="45" y="98"/>
                </a:lnTo>
                <a:lnTo>
                  <a:pt x="35" y="86"/>
                </a:lnTo>
                <a:lnTo>
                  <a:pt x="31" y="106"/>
                </a:lnTo>
                <a:lnTo>
                  <a:pt x="21" y="98"/>
                </a:lnTo>
                <a:lnTo>
                  <a:pt x="12" y="110"/>
                </a:lnTo>
                <a:lnTo>
                  <a:pt x="0" y="10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54" name="Freeform 36"/>
          <p:cNvSpPr>
            <a:spLocks/>
          </p:cNvSpPr>
          <p:nvPr/>
        </p:nvSpPr>
        <p:spPr bwMode="auto">
          <a:xfrm>
            <a:off x="5376863" y="4251325"/>
            <a:ext cx="431800" cy="374650"/>
          </a:xfrm>
          <a:custGeom>
            <a:avLst/>
            <a:gdLst>
              <a:gd name="T0" fmla="*/ 2147483647 w 326"/>
              <a:gd name="T1" fmla="*/ 2147483647 h 274"/>
              <a:gd name="T2" fmla="*/ 2147483647 w 326"/>
              <a:gd name="T3" fmla="*/ 2147483647 h 274"/>
              <a:gd name="T4" fmla="*/ 2147483647 w 326"/>
              <a:gd name="T5" fmla="*/ 2147483647 h 274"/>
              <a:gd name="T6" fmla="*/ 2147483647 w 326"/>
              <a:gd name="T7" fmla="*/ 2147483647 h 274"/>
              <a:gd name="T8" fmla="*/ 2147483647 w 326"/>
              <a:gd name="T9" fmla="*/ 2147483647 h 274"/>
              <a:gd name="T10" fmla="*/ 2147483647 w 326"/>
              <a:gd name="T11" fmla="*/ 2147483647 h 274"/>
              <a:gd name="T12" fmla="*/ 2147483647 w 326"/>
              <a:gd name="T13" fmla="*/ 2147483647 h 274"/>
              <a:gd name="T14" fmla="*/ 2147483647 w 326"/>
              <a:gd name="T15" fmla="*/ 2147483647 h 274"/>
              <a:gd name="T16" fmla="*/ 0 w 326"/>
              <a:gd name="T17" fmla="*/ 2147483647 h 274"/>
              <a:gd name="T18" fmla="*/ 2147483647 w 326"/>
              <a:gd name="T19" fmla="*/ 2147483647 h 274"/>
              <a:gd name="T20" fmla="*/ 2147483647 w 326"/>
              <a:gd name="T21" fmla="*/ 2147483647 h 274"/>
              <a:gd name="T22" fmla="*/ 2147483647 w 326"/>
              <a:gd name="T23" fmla="*/ 2147483647 h 274"/>
              <a:gd name="T24" fmla="*/ 2147483647 w 326"/>
              <a:gd name="T25" fmla="*/ 2147483647 h 274"/>
              <a:gd name="T26" fmla="*/ 2147483647 w 326"/>
              <a:gd name="T27" fmla="*/ 2147483647 h 274"/>
              <a:gd name="T28" fmla="*/ 2147483647 w 326"/>
              <a:gd name="T29" fmla="*/ 2147483647 h 274"/>
              <a:gd name="T30" fmla="*/ 2147483647 w 326"/>
              <a:gd name="T31" fmla="*/ 2147483647 h 274"/>
              <a:gd name="T32" fmla="*/ 2147483647 w 326"/>
              <a:gd name="T33" fmla="*/ 2147483647 h 274"/>
              <a:gd name="T34" fmla="*/ 2147483647 w 326"/>
              <a:gd name="T35" fmla="*/ 2147483647 h 274"/>
              <a:gd name="T36" fmla="*/ 2147483647 w 326"/>
              <a:gd name="T37" fmla="*/ 2147483647 h 274"/>
              <a:gd name="T38" fmla="*/ 2147483647 w 326"/>
              <a:gd name="T39" fmla="*/ 0 h 274"/>
              <a:gd name="T40" fmla="*/ 2147483647 w 326"/>
              <a:gd name="T41" fmla="*/ 2147483647 h 274"/>
              <a:gd name="T42" fmla="*/ 2147483647 w 326"/>
              <a:gd name="T43" fmla="*/ 2147483647 h 274"/>
              <a:gd name="T44" fmla="*/ 2147483647 w 326"/>
              <a:gd name="T45" fmla="*/ 2147483647 h 274"/>
              <a:gd name="T46" fmla="*/ 2147483647 w 326"/>
              <a:gd name="T47" fmla="*/ 2147483647 h 274"/>
              <a:gd name="T48" fmla="*/ 2147483647 w 326"/>
              <a:gd name="T49" fmla="*/ 2147483647 h 274"/>
              <a:gd name="T50" fmla="*/ 2147483647 w 326"/>
              <a:gd name="T51" fmla="*/ 2147483647 h 274"/>
              <a:gd name="T52" fmla="*/ 2147483647 w 326"/>
              <a:gd name="T53" fmla="*/ 2147483647 h 274"/>
              <a:gd name="T54" fmla="*/ 2147483647 w 326"/>
              <a:gd name="T55" fmla="*/ 2147483647 h 274"/>
              <a:gd name="T56" fmla="*/ 2147483647 w 326"/>
              <a:gd name="T57" fmla="*/ 2147483647 h 274"/>
              <a:gd name="T58" fmla="*/ 2147483647 w 326"/>
              <a:gd name="T59" fmla="*/ 2147483647 h 274"/>
              <a:gd name="T60" fmla="*/ 2147483647 w 326"/>
              <a:gd name="T61" fmla="*/ 2147483647 h 274"/>
              <a:gd name="T62" fmla="*/ 2147483647 w 326"/>
              <a:gd name="T63" fmla="*/ 2147483647 h 274"/>
              <a:gd name="T64" fmla="*/ 2147483647 w 326"/>
              <a:gd name="T65" fmla="*/ 2147483647 h 274"/>
              <a:gd name="T66" fmla="*/ 2147483647 w 326"/>
              <a:gd name="T67" fmla="*/ 2147483647 h 274"/>
              <a:gd name="T68" fmla="*/ 2147483647 w 326"/>
              <a:gd name="T69" fmla="*/ 2147483647 h 274"/>
              <a:gd name="T70" fmla="*/ 2147483647 w 326"/>
              <a:gd name="T71" fmla="*/ 2147483647 h 274"/>
              <a:gd name="T72" fmla="*/ 2147483647 w 326"/>
              <a:gd name="T73" fmla="*/ 2147483647 h 274"/>
              <a:gd name="T74" fmla="*/ 2147483647 w 326"/>
              <a:gd name="T75" fmla="*/ 2147483647 h 274"/>
              <a:gd name="T76" fmla="*/ 2147483647 w 326"/>
              <a:gd name="T77" fmla="*/ 2147483647 h 274"/>
              <a:gd name="T78" fmla="*/ 2147483647 w 326"/>
              <a:gd name="T79" fmla="*/ 2147483647 h 274"/>
              <a:gd name="T80" fmla="*/ 2147483647 w 326"/>
              <a:gd name="T81" fmla="*/ 2147483647 h 274"/>
              <a:gd name="T82" fmla="*/ 2147483647 w 326"/>
              <a:gd name="T83" fmla="*/ 2147483647 h 274"/>
              <a:gd name="T84" fmla="*/ 2147483647 w 326"/>
              <a:gd name="T85" fmla="*/ 2147483647 h 274"/>
              <a:gd name="T86" fmla="*/ 2147483647 w 326"/>
              <a:gd name="T87" fmla="*/ 2147483647 h 274"/>
              <a:gd name="T88" fmla="*/ 2147483647 w 326"/>
              <a:gd name="T89" fmla="*/ 2147483647 h 274"/>
              <a:gd name="T90" fmla="*/ 2147483647 w 326"/>
              <a:gd name="T91" fmla="*/ 2147483647 h 274"/>
              <a:gd name="T92" fmla="*/ 2147483647 w 326"/>
              <a:gd name="T93" fmla="*/ 2147483647 h 274"/>
              <a:gd name="T94" fmla="*/ 2147483647 w 326"/>
              <a:gd name="T95" fmla="*/ 2147483647 h 274"/>
              <a:gd name="T96" fmla="*/ 2147483647 w 326"/>
              <a:gd name="T97" fmla="*/ 2147483647 h 274"/>
              <a:gd name="T98" fmla="*/ 2147483647 w 326"/>
              <a:gd name="T99" fmla="*/ 2147483647 h 274"/>
              <a:gd name="T100" fmla="*/ 2147483647 w 326"/>
              <a:gd name="T101" fmla="*/ 2147483647 h 27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326"/>
              <a:gd name="T154" fmla="*/ 0 h 274"/>
              <a:gd name="T155" fmla="*/ 326 w 326"/>
              <a:gd name="T156" fmla="*/ 274 h 274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326" h="274">
                <a:moveTo>
                  <a:pt x="110" y="268"/>
                </a:moveTo>
                <a:lnTo>
                  <a:pt x="84" y="248"/>
                </a:lnTo>
                <a:lnTo>
                  <a:pt x="64" y="246"/>
                </a:lnTo>
                <a:lnTo>
                  <a:pt x="58" y="227"/>
                </a:lnTo>
                <a:lnTo>
                  <a:pt x="45" y="220"/>
                </a:lnTo>
                <a:lnTo>
                  <a:pt x="37" y="204"/>
                </a:lnTo>
                <a:lnTo>
                  <a:pt x="28" y="187"/>
                </a:lnTo>
                <a:lnTo>
                  <a:pt x="7" y="168"/>
                </a:lnTo>
                <a:lnTo>
                  <a:pt x="0" y="162"/>
                </a:lnTo>
                <a:lnTo>
                  <a:pt x="7" y="150"/>
                </a:lnTo>
                <a:lnTo>
                  <a:pt x="22" y="146"/>
                </a:lnTo>
                <a:lnTo>
                  <a:pt x="26" y="120"/>
                </a:lnTo>
                <a:lnTo>
                  <a:pt x="28" y="92"/>
                </a:lnTo>
                <a:lnTo>
                  <a:pt x="40" y="90"/>
                </a:lnTo>
                <a:lnTo>
                  <a:pt x="45" y="62"/>
                </a:lnTo>
                <a:lnTo>
                  <a:pt x="67" y="22"/>
                </a:lnTo>
                <a:lnTo>
                  <a:pt x="79" y="24"/>
                </a:lnTo>
                <a:lnTo>
                  <a:pt x="88" y="12"/>
                </a:lnTo>
                <a:lnTo>
                  <a:pt x="98" y="20"/>
                </a:lnTo>
                <a:lnTo>
                  <a:pt x="102" y="0"/>
                </a:lnTo>
                <a:lnTo>
                  <a:pt x="112" y="12"/>
                </a:lnTo>
                <a:lnTo>
                  <a:pt x="126" y="10"/>
                </a:lnTo>
                <a:lnTo>
                  <a:pt x="138" y="13"/>
                </a:lnTo>
                <a:lnTo>
                  <a:pt x="151" y="19"/>
                </a:lnTo>
                <a:lnTo>
                  <a:pt x="158" y="28"/>
                </a:lnTo>
                <a:lnTo>
                  <a:pt x="171" y="43"/>
                </a:lnTo>
                <a:lnTo>
                  <a:pt x="190" y="49"/>
                </a:lnTo>
                <a:lnTo>
                  <a:pt x="192" y="55"/>
                </a:lnTo>
                <a:lnTo>
                  <a:pt x="204" y="49"/>
                </a:lnTo>
                <a:lnTo>
                  <a:pt x="188" y="86"/>
                </a:lnTo>
                <a:lnTo>
                  <a:pt x="213" y="86"/>
                </a:lnTo>
                <a:lnTo>
                  <a:pt x="211" y="101"/>
                </a:lnTo>
                <a:lnTo>
                  <a:pt x="225" y="119"/>
                </a:lnTo>
                <a:lnTo>
                  <a:pt x="238" y="137"/>
                </a:lnTo>
                <a:lnTo>
                  <a:pt x="255" y="143"/>
                </a:lnTo>
                <a:lnTo>
                  <a:pt x="272" y="149"/>
                </a:lnTo>
                <a:lnTo>
                  <a:pt x="288" y="155"/>
                </a:lnTo>
                <a:lnTo>
                  <a:pt x="304" y="162"/>
                </a:lnTo>
                <a:lnTo>
                  <a:pt x="326" y="162"/>
                </a:lnTo>
                <a:lnTo>
                  <a:pt x="310" y="181"/>
                </a:lnTo>
                <a:lnTo>
                  <a:pt x="294" y="200"/>
                </a:lnTo>
                <a:lnTo>
                  <a:pt x="278" y="220"/>
                </a:lnTo>
                <a:lnTo>
                  <a:pt x="261" y="239"/>
                </a:lnTo>
                <a:lnTo>
                  <a:pt x="244" y="240"/>
                </a:lnTo>
                <a:lnTo>
                  <a:pt x="226" y="241"/>
                </a:lnTo>
                <a:lnTo>
                  <a:pt x="206" y="256"/>
                </a:lnTo>
                <a:lnTo>
                  <a:pt x="195" y="262"/>
                </a:lnTo>
                <a:lnTo>
                  <a:pt x="174" y="257"/>
                </a:lnTo>
                <a:lnTo>
                  <a:pt x="151" y="264"/>
                </a:lnTo>
                <a:lnTo>
                  <a:pt x="140" y="274"/>
                </a:lnTo>
                <a:lnTo>
                  <a:pt x="110" y="26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55" name="Freeform 37"/>
          <p:cNvSpPr>
            <a:spLocks/>
          </p:cNvSpPr>
          <p:nvPr/>
        </p:nvSpPr>
        <p:spPr bwMode="auto">
          <a:xfrm>
            <a:off x="5607050" y="4338638"/>
            <a:ext cx="293688" cy="461962"/>
          </a:xfrm>
          <a:custGeom>
            <a:avLst/>
            <a:gdLst>
              <a:gd name="T0" fmla="*/ 2147483647 w 221"/>
              <a:gd name="T1" fmla="*/ 2147483647 h 337"/>
              <a:gd name="T2" fmla="*/ 2147483647 w 221"/>
              <a:gd name="T3" fmla="*/ 2147483647 h 337"/>
              <a:gd name="T4" fmla="*/ 2147483647 w 221"/>
              <a:gd name="T5" fmla="*/ 2147483647 h 337"/>
              <a:gd name="T6" fmla="*/ 2147483647 w 221"/>
              <a:gd name="T7" fmla="*/ 2147483647 h 337"/>
              <a:gd name="T8" fmla="*/ 2147483647 w 221"/>
              <a:gd name="T9" fmla="*/ 2147483647 h 337"/>
              <a:gd name="T10" fmla="*/ 2147483647 w 221"/>
              <a:gd name="T11" fmla="*/ 2147483647 h 337"/>
              <a:gd name="T12" fmla="*/ 2147483647 w 221"/>
              <a:gd name="T13" fmla="*/ 2147483647 h 337"/>
              <a:gd name="T14" fmla="*/ 2147483647 w 221"/>
              <a:gd name="T15" fmla="*/ 2147483647 h 337"/>
              <a:gd name="T16" fmla="*/ 2147483647 w 221"/>
              <a:gd name="T17" fmla="*/ 2147483647 h 337"/>
              <a:gd name="T18" fmla="*/ 2147483647 w 221"/>
              <a:gd name="T19" fmla="*/ 2147483647 h 337"/>
              <a:gd name="T20" fmla="*/ 2147483647 w 221"/>
              <a:gd name="T21" fmla="*/ 2147483647 h 337"/>
              <a:gd name="T22" fmla="*/ 2147483647 w 221"/>
              <a:gd name="T23" fmla="*/ 2147483647 h 337"/>
              <a:gd name="T24" fmla="*/ 2147483647 w 221"/>
              <a:gd name="T25" fmla="*/ 2147483647 h 337"/>
              <a:gd name="T26" fmla="*/ 2147483647 w 221"/>
              <a:gd name="T27" fmla="*/ 2147483647 h 337"/>
              <a:gd name="T28" fmla="*/ 2147483647 w 221"/>
              <a:gd name="T29" fmla="*/ 2147483647 h 337"/>
              <a:gd name="T30" fmla="*/ 2147483647 w 221"/>
              <a:gd name="T31" fmla="*/ 2147483647 h 337"/>
              <a:gd name="T32" fmla="*/ 2147483647 w 221"/>
              <a:gd name="T33" fmla="*/ 2147483647 h 337"/>
              <a:gd name="T34" fmla="*/ 2147483647 w 221"/>
              <a:gd name="T35" fmla="*/ 2147483647 h 337"/>
              <a:gd name="T36" fmla="*/ 2147483647 w 221"/>
              <a:gd name="T37" fmla="*/ 2147483647 h 337"/>
              <a:gd name="T38" fmla="*/ 2147483647 w 221"/>
              <a:gd name="T39" fmla="*/ 2147483647 h 337"/>
              <a:gd name="T40" fmla="*/ 0 w 221"/>
              <a:gd name="T41" fmla="*/ 2147483647 h 337"/>
              <a:gd name="T42" fmla="*/ 2147483647 w 221"/>
              <a:gd name="T43" fmla="*/ 2147483647 h 337"/>
              <a:gd name="T44" fmla="*/ 2147483647 w 221"/>
              <a:gd name="T45" fmla="*/ 2147483647 h 337"/>
              <a:gd name="T46" fmla="*/ 2147483647 w 221"/>
              <a:gd name="T47" fmla="*/ 2147483647 h 337"/>
              <a:gd name="T48" fmla="*/ 2147483647 w 221"/>
              <a:gd name="T49" fmla="*/ 2147483647 h 337"/>
              <a:gd name="T50" fmla="*/ 2147483647 w 221"/>
              <a:gd name="T51" fmla="*/ 2147483647 h 337"/>
              <a:gd name="T52" fmla="*/ 2147483647 w 221"/>
              <a:gd name="T53" fmla="*/ 2147483647 h 337"/>
              <a:gd name="T54" fmla="*/ 2147483647 w 221"/>
              <a:gd name="T55" fmla="*/ 2147483647 h 337"/>
              <a:gd name="T56" fmla="*/ 2147483647 w 221"/>
              <a:gd name="T57" fmla="*/ 2147483647 h 337"/>
              <a:gd name="T58" fmla="*/ 2147483647 w 221"/>
              <a:gd name="T59" fmla="*/ 2147483647 h 337"/>
              <a:gd name="T60" fmla="*/ 2147483647 w 221"/>
              <a:gd name="T61" fmla="*/ 2147483647 h 337"/>
              <a:gd name="T62" fmla="*/ 2147483647 w 221"/>
              <a:gd name="T63" fmla="*/ 2147483647 h 337"/>
              <a:gd name="T64" fmla="*/ 2147483647 w 221"/>
              <a:gd name="T65" fmla="*/ 2147483647 h 337"/>
              <a:gd name="T66" fmla="*/ 2147483647 w 221"/>
              <a:gd name="T67" fmla="*/ 2147483647 h 337"/>
              <a:gd name="T68" fmla="*/ 2147483647 w 221"/>
              <a:gd name="T69" fmla="*/ 2147483647 h 337"/>
              <a:gd name="T70" fmla="*/ 2147483647 w 221"/>
              <a:gd name="T71" fmla="*/ 2147483647 h 337"/>
              <a:gd name="T72" fmla="*/ 2147483647 w 221"/>
              <a:gd name="T73" fmla="*/ 2147483647 h 337"/>
              <a:gd name="T74" fmla="*/ 2147483647 w 221"/>
              <a:gd name="T75" fmla="*/ 2147483647 h 337"/>
              <a:gd name="T76" fmla="*/ 2147483647 w 221"/>
              <a:gd name="T77" fmla="*/ 2147483647 h 337"/>
              <a:gd name="T78" fmla="*/ 2147483647 w 221"/>
              <a:gd name="T79" fmla="*/ 2147483647 h 337"/>
              <a:gd name="T80" fmla="*/ 2147483647 w 221"/>
              <a:gd name="T81" fmla="*/ 2147483647 h 337"/>
              <a:gd name="T82" fmla="*/ 2147483647 w 221"/>
              <a:gd name="T83" fmla="*/ 2147483647 h 337"/>
              <a:gd name="T84" fmla="*/ 2147483647 w 221"/>
              <a:gd name="T85" fmla="*/ 2147483647 h 337"/>
              <a:gd name="T86" fmla="*/ 2147483647 w 221"/>
              <a:gd name="T87" fmla="*/ 2147483647 h 337"/>
              <a:gd name="T88" fmla="*/ 2147483647 w 221"/>
              <a:gd name="T89" fmla="*/ 2147483647 h 337"/>
              <a:gd name="T90" fmla="*/ 2147483647 w 221"/>
              <a:gd name="T91" fmla="*/ 2147483647 h 337"/>
              <a:gd name="T92" fmla="*/ 2147483647 w 221"/>
              <a:gd name="T93" fmla="*/ 2147483647 h 337"/>
              <a:gd name="T94" fmla="*/ 2147483647 w 221"/>
              <a:gd name="T95" fmla="*/ 0 h 337"/>
              <a:gd name="T96" fmla="*/ 2147483647 w 221"/>
              <a:gd name="T97" fmla="*/ 2147483647 h 337"/>
              <a:gd name="T98" fmla="*/ 2147483647 w 221"/>
              <a:gd name="T99" fmla="*/ 2147483647 h 337"/>
              <a:gd name="T100" fmla="*/ 2147483647 w 221"/>
              <a:gd name="T101" fmla="*/ 2147483647 h 337"/>
              <a:gd name="T102" fmla="*/ 2147483647 w 221"/>
              <a:gd name="T103" fmla="*/ 2147483647 h 337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221"/>
              <a:gd name="T157" fmla="*/ 0 h 337"/>
              <a:gd name="T158" fmla="*/ 221 w 221"/>
              <a:gd name="T159" fmla="*/ 337 h 337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221" h="337">
                <a:moveTo>
                  <a:pt x="212" y="45"/>
                </a:moveTo>
                <a:lnTo>
                  <a:pt x="206" y="73"/>
                </a:lnTo>
                <a:lnTo>
                  <a:pt x="192" y="103"/>
                </a:lnTo>
                <a:lnTo>
                  <a:pt x="177" y="133"/>
                </a:lnTo>
                <a:lnTo>
                  <a:pt x="162" y="163"/>
                </a:lnTo>
                <a:lnTo>
                  <a:pt x="147" y="192"/>
                </a:lnTo>
                <a:lnTo>
                  <a:pt x="134" y="206"/>
                </a:lnTo>
                <a:lnTo>
                  <a:pt x="121" y="219"/>
                </a:lnTo>
                <a:lnTo>
                  <a:pt x="108" y="234"/>
                </a:lnTo>
                <a:lnTo>
                  <a:pt x="95" y="247"/>
                </a:lnTo>
                <a:lnTo>
                  <a:pt x="79" y="261"/>
                </a:lnTo>
                <a:lnTo>
                  <a:pt x="65" y="277"/>
                </a:lnTo>
                <a:lnTo>
                  <a:pt x="49" y="291"/>
                </a:lnTo>
                <a:lnTo>
                  <a:pt x="33" y="307"/>
                </a:lnTo>
                <a:lnTo>
                  <a:pt x="23" y="322"/>
                </a:lnTo>
                <a:lnTo>
                  <a:pt x="13" y="337"/>
                </a:lnTo>
                <a:lnTo>
                  <a:pt x="1" y="318"/>
                </a:lnTo>
                <a:lnTo>
                  <a:pt x="1" y="295"/>
                </a:lnTo>
                <a:lnTo>
                  <a:pt x="1" y="272"/>
                </a:lnTo>
                <a:lnTo>
                  <a:pt x="1" y="249"/>
                </a:lnTo>
                <a:lnTo>
                  <a:pt x="0" y="225"/>
                </a:lnTo>
                <a:lnTo>
                  <a:pt x="11" y="212"/>
                </a:lnTo>
                <a:lnTo>
                  <a:pt x="20" y="198"/>
                </a:lnTo>
                <a:lnTo>
                  <a:pt x="31" y="192"/>
                </a:lnTo>
                <a:lnTo>
                  <a:pt x="51" y="177"/>
                </a:lnTo>
                <a:lnTo>
                  <a:pt x="69" y="176"/>
                </a:lnTo>
                <a:lnTo>
                  <a:pt x="86" y="175"/>
                </a:lnTo>
                <a:lnTo>
                  <a:pt x="103" y="156"/>
                </a:lnTo>
                <a:lnTo>
                  <a:pt x="119" y="136"/>
                </a:lnTo>
                <a:lnTo>
                  <a:pt x="135" y="117"/>
                </a:lnTo>
                <a:lnTo>
                  <a:pt x="151" y="98"/>
                </a:lnTo>
                <a:lnTo>
                  <a:pt x="129" y="98"/>
                </a:lnTo>
                <a:lnTo>
                  <a:pt x="113" y="91"/>
                </a:lnTo>
                <a:lnTo>
                  <a:pt x="97" y="85"/>
                </a:lnTo>
                <a:lnTo>
                  <a:pt x="80" y="79"/>
                </a:lnTo>
                <a:lnTo>
                  <a:pt x="63" y="73"/>
                </a:lnTo>
                <a:lnTo>
                  <a:pt x="50" y="55"/>
                </a:lnTo>
                <a:lnTo>
                  <a:pt x="36" y="37"/>
                </a:lnTo>
                <a:lnTo>
                  <a:pt x="38" y="22"/>
                </a:lnTo>
                <a:lnTo>
                  <a:pt x="44" y="10"/>
                </a:lnTo>
                <a:lnTo>
                  <a:pt x="59" y="24"/>
                </a:lnTo>
                <a:lnTo>
                  <a:pt x="72" y="37"/>
                </a:lnTo>
                <a:lnTo>
                  <a:pt x="99" y="27"/>
                </a:lnTo>
                <a:lnTo>
                  <a:pt x="120" y="30"/>
                </a:lnTo>
                <a:lnTo>
                  <a:pt x="140" y="20"/>
                </a:lnTo>
                <a:lnTo>
                  <a:pt x="170" y="13"/>
                </a:lnTo>
                <a:lnTo>
                  <a:pt x="201" y="6"/>
                </a:lnTo>
                <a:lnTo>
                  <a:pt x="212" y="0"/>
                </a:lnTo>
                <a:lnTo>
                  <a:pt x="219" y="7"/>
                </a:lnTo>
                <a:lnTo>
                  <a:pt x="217" y="37"/>
                </a:lnTo>
                <a:lnTo>
                  <a:pt x="221" y="38"/>
                </a:lnTo>
                <a:lnTo>
                  <a:pt x="212" y="45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56" name="Freeform 38"/>
          <p:cNvSpPr>
            <a:spLocks/>
          </p:cNvSpPr>
          <p:nvPr/>
        </p:nvSpPr>
        <p:spPr bwMode="auto">
          <a:xfrm>
            <a:off x="5045075" y="3956050"/>
            <a:ext cx="474663" cy="669925"/>
          </a:xfrm>
          <a:custGeom>
            <a:avLst/>
            <a:gdLst>
              <a:gd name="T0" fmla="*/ 2147483647 w 357"/>
              <a:gd name="T1" fmla="*/ 2147483647 h 488"/>
              <a:gd name="T2" fmla="*/ 2147483647 w 357"/>
              <a:gd name="T3" fmla="*/ 2147483647 h 488"/>
              <a:gd name="T4" fmla="*/ 2147483647 w 357"/>
              <a:gd name="T5" fmla="*/ 2147483647 h 488"/>
              <a:gd name="T6" fmla="*/ 2147483647 w 357"/>
              <a:gd name="T7" fmla="*/ 2147483647 h 488"/>
              <a:gd name="T8" fmla="*/ 2147483647 w 357"/>
              <a:gd name="T9" fmla="*/ 2147483647 h 488"/>
              <a:gd name="T10" fmla="*/ 2147483647 w 357"/>
              <a:gd name="T11" fmla="*/ 2147483647 h 488"/>
              <a:gd name="T12" fmla="*/ 2147483647 w 357"/>
              <a:gd name="T13" fmla="*/ 2147483647 h 488"/>
              <a:gd name="T14" fmla="*/ 2147483647 w 357"/>
              <a:gd name="T15" fmla="*/ 2147483647 h 488"/>
              <a:gd name="T16" fmla="*/ 2147483647 w 357"/>
              <a:gd name="T17" fmla="*/ 2147483647 h 488"/>
              <a:gd name="T18" fmla="*/ 2147483647 w 357"/>
              <a:gd name="T19" fmla="*/ 2147483647 h 488"/>
              <a:gd name="T20" fmla="*/ 2147483647 w 357"/>
              <a:gd name="T21" fmla="*/ 0 h 488"/>
              <a:gd name="T22" fmla="*/ 2147483647 w 357"/>
              <a:gd name="T23" fmla="*/ 2147483647 h 488"/>
              <a:gd name="T24" fmla="*/ 2147483647 w 357"/>
              <a:gd name="T25" fmla="*/ 2147483647 h 488"/>
              <a:gd name="T26" fmla="*/ 2147483647 w 357"/>
              <a:gd name="T27" fmla="*/ 2147483647 h 488"/>
              <a:gd name="T28" fmla="*/ 2147483647 w 357"/>
              <a:gd name="T29" fmla="*/ 2147483647 h 488"/>
              <a:gd name="T30" fmla="*/ 2147483647 w 357"/>
              <a:gd name="T31" fmla="*/ 2147483647 h 488"/>
              <a:gd name="T32" fmla="*/ 2147483647 w 357"/>
              <a:gd name="T33" fmla="*/ 2147483647 h 488"/>
              <a:gd name="T34" fmla="*/ 2147483647 w 357"/>
              <a:gd name="T35" fmla="*/ 2147483647 h 488"/>
              <a:gd name="T36" fmla="*/ 2147483647 w 357"/>
              <a:gd name="T37" fmla="*/ 2147483647 h 488"/>
              <a:gd name="T38" fmla="*/ 2147483647 w 357"/>
              <a:gd name="T39" fmla="*/ 2147483647 h 488"/>
              <a:gd name="T40" fmla="*/ 2147483647 w 357"/>
              <a:gd name="T41" fmla="*/ 2147483647 h 488"/>
              <a:gd name="T42" fmla="*/ 2147483647 w 357"/>
              <a:gd name="T43" fmla="*/ 2147483647 h 488"/>
              <a:gd name="T44" fmla="*/ 2147483647 w 357"/>
              <a:gd name="T45" fmla="*/ 2147483647 h 488"/>
              <a:gd name="T46" fmla="*/ 2147483647 w 357"/>
              <a:gd name="T47" fmla="*/ 2147483647 h 488"/>
              <a:gd name="T48" fmla="*/ 2147483647 w 357"/>
              <a:gd name="T49" fmla="*/ 2147483647 h 488"/>
              <a:gd name="T50" fmla="*/ 2147483647 w 357"/>
              <a:gd name="T51" fmla="*/ 2147483647 h 488"/>
              <a:gd name="T52" fmla="*/ 2147483647 w 357"/>
              <a:gd name="T53" fmla="*/ 2147483647 h 488"/>
              <a:gd name="T54" fmla="*/ 2147483647 w 357"/>
              <a:gd name="T55" fmla="*/ 2147483647 h 488"/>
              <a:gd name="T56" fmla="*/ 2147483647 w 357"/>
              <a:gd name="T57" fmla="*/ 2147483647 h 488"/>
              <a:gd name="T58" fmla="*/ 2147483647 w 357"/>
              <a:gd name="T59" fmla="*/ 2147483647 h 488"/>
              <a:gd name="T60" fmla="*/ 2147483647 w 357"/>
              <a:gd name="T61" fmla="*/ 2147483647 h 488"/>
              <a:gd name="T62" fmla="*/ 2147483647 w 357"/>
              <a:gd name="T63" fmla="*/ 2147483647 h 488"/>
              <a:gd name="T64" fmla="*/ 2147483647 w 357"/>
              <a:gd name="T65" fmla="*/ 2147483647 h 488"/>
              <a:gd name="T66" fmla="*/ 2147483647 w 357"/>
              <a:gd name="T67" fmla="*/ 2147483647 h 488"/>
              <a:gd name="T68" fmla="*/ 2147483647 w 357"/>
              <a:gd name="T69" fmla="*/ 2147483647 h 488"/>
              <a:gd name="T70" fmla="*/ 2147483647 w 357"/>
              <a:gd name="T71" fmla="*/ 2147483647 h 488"/>
              <a:gd name="T72" fmla="*/ 2147483647 w 357"/>
              <a:gd name="T73" fmla="*/ 2147483647 h 488"/>
              <a:gd name="T74" fmla="*/ 0 w 357"/>
              <a:gd name="T75" fmla="*/ 2147483647 h 488"/>
              <a:gd name="T76" fmla="*/ 2147483647 w 357"/>
              <a:gd name="T77" fmla="*/ 2147483647 h 488"/>
              <a:gd name="T78" fmla="*/ 2147483647 w 357"/>
              <a:gd name="T79" fmla="*/ 2147483647 h 488"/>
              <a:gd name="T80" fmla="*/ 2147483647 w 357"/>
              <a:gd name="T81" fmla="*/ 2147483647 h 488"/>
              <a:gd name="T82" fmla="*/ 2147483647 w 357"/>
              <a:gd name="T83" fmla="*/ 2147483647 h 488"/>
              <a:gd name="T84" fmla="*/ 2147483647 w 357"/>
              <a:gd name="T85" fmla="*/ 2147483647 h 488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57"/>
              <a:gd name="T130" fmla="*/ 0 h 488"/>
              <a:gd name="T131" fmla="*/ 357 w 357"/>
              <a:gd name="T132" fmla="*/ 488 h 488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57" h="488">
                <a:moveTo>
                  <a:pt x="42" y="90"/>
                </a:moveTo>
                <a:lnTo>
                  <a:pt x="42" y="77"/>
                </a:lnTo>
                <a:lnTo>
                  <a:pt x="64" y="77"/>
                </a:lnTo>
                <a:lnTo>
                  <a:pt x="63" y="53"/>
                </a:lnTo>
                <a:lnTo>
                  <a:pt x="62" y="28"/>
                </a:lnTo>
                <a:lnTo>
                  <a:pt x="78" y="28"/>
                </a:lnTo>
                <a:lnTo>
                  <a:pt x="95" y="28"/>
                </a:lnTo>
                <a:lnTo>
                  <a:pt x="112" y="28"/>
                </a:lnTo>
                <a:lnTo>
                  <a:pt x="129" y="28"/>
                </a:lnTo>
                <a:lnTo>
                  <a:pt x="146" y="28"/>
                </a:lnTo>
                <a:lnTo>
                  <a:pt x="162" y="28"/>
                </a:lnTo>
                <a:lnTo>
                  <a:pt x="179" y="28"/>
                </a:lnTo>
                <a:lnTo>
                  <a:pt x="196" y="28"/>
                </a:lnTo>
                <a:lnTo>
                  <a:pt x="198" y="22"/>
                </a:lnTo>
                <a:lnTo>
                  <a:pt x="200" y="28"/>
                </a:lnTo>
                <a:lnTo>
                  <a:pt x="227" y="32"/>
                </a:lnTo>
                <a:lnTo>
                  <a:pt x="254" y="34"/>
                </a:lnTo>
                <a:lnTo>
                  <a:pt x="258" y="23"/>
                </a:lnTo>
                <a:lnTo>
                  <a:pt x="269" y="21"/>
                </a:lnTo>
                <a:lnTo>
                  <a:pt x="274" y="6"/>
                </a:lnTo>
                <a:lnTo>
                  <a:pt x="280" y="9"/>
                </a:lnTo>
                <a:lnTo>
                  <a:pt x="288" y="0"/>
                </a:lnTo>
                <a:lnTo>
                  <a:pt x="303" y="16"/>
                </a:lnTo>
                <a:lnTo>
                  <a:pt x="317" y="32"/>
                </a:lnTo>
                <a:lnTo>
                  <a:pt x="324" y="50"/>
                </a:lnTo>
                <a:lnTo>
                  <a:pt x="329" y="80"/>
                </a:lnTo>
                <a:lnTo>
                  <a:pt x="336" y="108"/>
                </a:lnTo>
                <a:lnTo>
                  <a:pt x="357" y="130"/>
                </a:lnTo>
                <a:lnTo>
                  <a:pt x="342" y="141"/>
                </a:lnTo>
                <a:lnTo>
                  <a:pt x="329" y="152"/>
                </a:lnTo>
                <a:lnTo>
                  <a:pt x="321" y="183"/>
                </a:lnTo>
                <a:lnTo>
                  <a:pt x="318" y="218"/>
                </a:lnTo>
                <a:lnTo>
                  <a:pt x="315" y="236"/>
                </a:lnTo>
                <a:lnTo>
                  <a:pt x="293" y="276"/>
                </a:lnTo>
                <a:lnTo>
                  <a:pt x="288" y="304"/>
                </a:lnTo>
                <a:lnTo>
                  <a:pt x="276" y="306"/>
                </a:lnTo>
                <a:lnTo>
                  <a:pt x="274" y="334"/>
                </a:lnTo>
                <a:lnTo>
                  <a:pt x="270" y="360"/>
                </a:lnTo>
                <a:lnTo>
                  <a:pt x="255" y="364"/>
                </a:lnTo>
                <a:lnTo>
                  <a:pt x="248" y="376"/>
                </a:lnTo>
                <a:lnTo>
                  <a:pt x="255" y="382"/>
                </a:lnTo>
                <a:lnTo>
                  <a:pt x="276" y="401"/>
                </a:lnTo>
                <a:lnTo>
                  <a:pt x="285" y="418"/>
                </a:lnTo>
                <a:lnTo>
                  <a:pt x="293" y="434"/>
                </a:lnTo>
                <a:lnTo>
                  <a:pt x="306" y="441"/>
                </a:lnTo>
                <a:lnTo>
                  <a:pt x="312" y="460"/>
                </a:lnTo>
                <a:lnTo>
                  <a:pt x="296" y="460"/>
                </a:lnTo>
                <a:lnTo>
                  <a:pt x="279" y="460"/>
                </a:lnTo>
                <a:lnTo>
                  <a:pt x="270" y="470"/>
                </a:lnTo>
                <a:lnTo>
                  <a:pt x="260" y="480"/>
                </a:lnTo>
                <a:lnTo>
                  <a:pt x="234" y="480"/>
                </a:lnTo>
                <a:lnTo>
                  <a:pt x="225" y="485"/>
                </a:lnTo>
                <a:lnTo>
                  <a:pt x="220" y="482"/>
                </a:lnTo>
                <a:lnTo>
                  <a:pt x="203" y="483"/>
                </a:lnTo>
                <a:lnTo>
                  <a:pt x="202" y="488"/>
                </a:lnTo>
                <a:lnTo>
                  <a:pt x="186" y="473"/>
                </a:lnTo>
                <a:lnTo>
                  <a:pt x="171" y="458"/>
                </a:lnTo>
                <a:lnTo>
                  <a:pt x="162" y="464"/>
                </a:lnTo>
                <a:lnTo>
                  <a:pt x="149" y="466"/>
                </a:lnTo>
                <a:lnTo>
                  <a:pt x="132" y="455"/>
                </a:lnTo>
                <a:lnTo>
                  <a:pt x="126" y="449"/>
                </a:lnTo>
                <a:lnTo>
                  <a:pt x="123" y="442"/>
                </a:lnTo>
                <a:lnTo>
                  <a:pt x="111" y="425"/>
                </a:lnTo>
                <a:lnTo>
                  <a:pt x="102" y="412"/>
                </a:lnTo>
                <a:lnTo>
                  <a:pt x="82" y="394"/>
                </a:lnTo>
                <a:lnTo>
                  <a:pt x="78" y="383"/>
                </a:lnTo>
                <a:lnTo>
                  <a:pt x="58" y="369"/>
                </a:lnTo>
                <a:lnTo>
                  <a:pt x="54" y="362"/>
                </a:lnTo>
                <a:lnTo>
                  <a:pt x="39" y="358"/>
                </a:lnTo>
                <a:lnTo>
                  <a:pt x="42" y="334"/>
                </a:lnTo>
                <a:lnTo>
                  <a:pt x="33" y="318"/>
                </a:lnTo>
                <a:lnTo>
                  <a:pt x="24" y="303"/>
                </a:lnTo>
                <a:lnTo>
                  <a:pt x="22" y="290"/>
                </a:lnTo>
                <a:lnTo>
                  <a:pt x="18" y="276"/>
                </a:lnTo>
                <a:lnTo>
                  <a:pt x="9" y="257"/>
                </a:lnTo>
                <a:lnTo>
                  <a:pt x="0" y="256"/>
                </a:lnTo>
                <a:lnTo>
                  <a:pt x="9" y="237"/>
                </a:lnTo>
                <a:lnTo>
                  <a:pt x="10" y="226"/>
                </a:lnTo>
                <a:lnTo>
                  <a:pt x="12" y="220"/>
                </a:lnTo>
                <a:lnTo>
                  <a:pt x="14" y="210"/>
                </a:lnTo>
                <a:lnTo>
                  <a:pt x="24" y="191"/>
                </a:lnTo>
                <a:lnTo>
                  <a:pt x="32" y="185"/>
                </a:lnTo>
                <a:lnTo>
                  <a:pt x="46" y="184"/>
                </a:lnTo>
                <a:lnTo>
                  <a:pt x="45" y="161"/>
                </a:lnTo>
                <a:lnTo>
                  <a:pt x="44" y="137"/>
                </a:lnTo>
                <a:lnTo>
                  <a:pt x="44" y="113"/>
                </a:lnTo>
                <a:lnTo>
                  <a:pt x="42" y="9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9257" name="Freeform 39"/>
          <p:cNvSpPr>
            <a:spLocks/>
          </p:cNvSpPr>
          <p:nvPr/>
        </p:nvSpPr>
        <p:spPr bwMode="auto">
          <a:xfrm>
            <a:off x="5260975" y="4822825"/>
            <a:ext cx="50800" cy="73025"/>
          </a:xfrm>
          <a:custGeom>
            <a:avLst/>
            <a:gdLst>
              <a:gd name="T0" fmla="*/ 2147483647 w 40"/>
              <a:gd name="T1" fmla="*/ 2147483647 h 52"/>
              <a:gd name="T2" fmla="*/ 2147483647 w 40"/>
              <a:gd name="T3" fmla="*/ 2147483647 h 52"/>
              <a:gd name="T4" fmla="*/ 2147483647 w 40"/>
              <a:gd name="T5" fmla="*/ 0 h 52"/>
              <a:gd name="T6" fmla="*/ 2147483647 w 40"/>
              <a:gd name="T7" fmla="*/ 2147483647 h 52"/>
              <a:gd name="T8" fmla="*/ 0 w 40"/>
              <a:gd name="T9" fmla="*/ 2147483647 h 52"/>
              <a:gd name="T10" fmla="*/ 0 w 40"/>
              <a:gd name="T11" fmla="*/ 2147483647 h 52"/>
              <a:gd name="T12" fmla="*/ 0 w 40"/>
              <a:gd name="T13" fmla="*/ 2147483647 h 52"/>
              <a:gd name="T14" fmla="*/ 2147483647 w 40"/>
              <a:gd name="T15" fmla="*/ 2147483647 h 52"/>
              <a:gd name="T16" fmla="*/ 2147483647 w 40"/>
              <a:gd name="T17" fmla="*/ 2147483647 h 52"/>
              <a:gd name="T18" fmla="*/ 2147483647 w 40"/>
              <a:gd name="T19" fmla="*/ 2147483647 h 52"/>
              <a:gd name="T20" fmla="*/ 2147483647 w 40"/>
              <a:gd name="T21" fmla="*/ 2147483647 h 52"/>
              <a:gd name="T22" fmla="*/ 2147483647 w 40"/>
              <a:gd name="T23" fmla="*/ 2147483647 h 52"/>
              <a:gd name="T24" fmla="*/ 2147483647 w 40"/>
              <a:gd name="T25" fmla="*/ 2147483647 h 5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40"/>
              <a:gd name="T40" fmla="*/ 0 h 52"/>
              <a:gd name="T41" fmla="*/ 40 w 40"/>
              <a:gd name="T42" fmla="*/ 52 h 5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40" h="52">
                <a:moveTo>
                  <a:pt x="34" y="14"/>
                </a:moveTo>
                <a:lnTo>
                  <a:pt x="34" y="2"/>
                </a:lnTo>
                <a:lnTo>
                  <a:pt x="22" y="0"/>
                </a:lnTo>
                <a:lnTo>
                  <a:pt x="19" y="8"/>
                </a:lnTo>
                <a:lnTo>
                  <a:pt x="0" y="9"/>
                </a:lnTo>
                <a:lnTo>
                  <a:pt x="0" y="10"/>
                </a:lnTo>
                <a:lnTo>
                  <a:pt x="0" y="12"/>
                </a:lnTo>
                <a:lnTo>
                  <a:pt x="5" y="32"/>
                </a:lnTo>
                <a:lnTo>
                  <a:pt x="9" y="52"/>
                </a:lnTo>
                <a:lnTo>
                  <a:pt x="13" y="52"/>
                </a:lnTo>
                <a:lnTo>
                  <a:pt x="27" y="37"/>
                </a:lnTo>
                <a:lnTo>
                  <a:pt x="40" y="22"/>
                </a:lnTo>
                <a:lnTo>
                  <a:pt x="34" y="1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58" name="Freeform 40"/>
          <p:cNvSpPr>
            <a:spLocks/>
          </p:cNvSpPr>
          <p:nvPr/>
        </p:nvSpPr>
        <p:spPr bwMode="auto">
          <a:xfrm>
            <a:off x="4741863" y="4624388"/>
            <a:ext cx="217487" cy="290512"/>
          </a:xfrm>
          <a:custGeom>
            <a:avLst/>
            <a:gdLst>
              <a:gd name="T0" fmla="*/ 2147483647 w 163"/>
              <a:gd name="T1" fmla="*/ 2147483647 h 214"/>
              <a:gd name="T2" fmla="*/ 2147483647 w 163"/>
              <a:gd name="T3" fmla="*/ 2147483647 h 214"/>
              <a:gd name="T4" fmla="*/ 2147483647 w 163"/>
              <a:gd name="T5" fmla="*/ 2147483647 h 214"/>
              <a:gd name="T6" fmla="*/ 2147483647 w 163"/>
              <a:gd name="T7" fmla="*/ 2147483647 h 214"/>
              <a:gd name="T8" fmla="*/ 2147483647 w 163"/>
              <a:gd name="T9" fmla="*/ 2147483647 h 214"/>
              <a:gd name="T10" fmla="*/ 2147483647 w 163"/>
              <a:gd name="T11" fmla="*/ 2147483647 h 214"/>
              <a:gd name="T12" fmla="*/ 2147483647 w 163"/>
              <a:gd name="T13" fmla="*/ 2147483647 h 214"/>
              <a:gd name="T14" fmla="*/ 0 w 163"/>
              <a:gd name="T15" fmla="*/ 2147483647 h 214"/>
              <a:gd name="T16" fmla="*/ 2147483647 w 163"/>
              <a:gd name="T17" fmla="*/ 2147483647 h 214"/>
              <a:gd name="T18" fmla="*/ 2147483647 w 163"/>
              <a:gd name="T19" fmla="*/ 2147483647 h 214"/>
              <a:gd name="T20" fmla="*/ 2147483647 w 163"/>
              <a:gd name="T21" fmla="*/ 2147483647 h 214"/>
              <a:gd name="T22" fmla="*/ 2147483647 w 163"/>
              <a:gd name="T23" fmla="*/ 2147483647 h 214"/>
              <a:gd name="T24" fmla="*/ 2147483647 w 163"/>
              <a:gd name="T25" fmla="*/ 2147483647 h 214"/>
              <a:gd name="T26" fmla="*/ 2147483647 w 163"/>
              <a:gd name="T27" fmla="*/ 2147483647 h 214"/>
              <a:gd name="T28" fmla="*/ 2147483647 w 163"/>
              <a:gd name="T29" fmla="*/ 2147483647 h 214"/>
              <a:gd name="T30" fmla="*/ 2147483647 w 163"/>
              <a:gd name="T31" fmla="*/ 2147483647 h 214"/>
              <a:gd name="T32" fmla="*/ 2147483647 w 163"/>
              <a:gd name="T33" fmla="*/ 2147483647 h 214"/>
              <a:gd name="T34" fmla="*/ 2147483647 w 163"/>
              <a:gd name="T35" fmla="*/ 2147483647 h 214"/>
              <a:gd name="T36" fmla="*/ 2147483647 w 163"/>
              <a:gd name="T37" fmla="*/ 2147483647 h 214"/>
              <a:gd name="T38" fmla="*/ 2147483647 w 163"/>
              <a:gd name="T39" fmla="*/ 2147483647 h 214"/>
              <a:gd name="T40" fmla="*/ 2147483647 w 163"/>
              <a:gd name="T41" fmla="*/ 2147483647 h 214"/>
              <a:gd name="T42" fmla="*/ 2147483647 w 163"/>
              <a:gd name="T43" fmla="*/ 2147483647 h 214"/>
              <a:gd name="T44" fmla="*/ 2147483647 w 163"/>
              <a:gd name="T45" fmla="*/ 2147483647 h 214"/>
              <a:gd name="T46" fmla="*/ 2147483647 w 163"/>
              <a:gd name="T47" fmla="*/ 2147483647 h 214"/>
              <a:gd name="T48" fmla="*/ 2147483647 w 163"/>
              <a:gd name="T49" fmla="*/ 2147483647 h 214"/>
              <a:gd name="T50" fmla="*/ 2147483647 w 163"/>
              <a:gd name="T51" fmla="*/ 2147483647 h 214"/>
              <a:gd name="T52" fmla="*/ 2147483647 w 163"/>
              <a:gd name="T53" fmla="*/ 2147483647 h 214"/>
              <a:gd name="T54" fmla="*/ 2147483647 w 163"/>
              <a:gd name="T55" fmla="*/ 0 h 214"/>
              <a:gd name="T56" fmla="*/ 2147483647 w 163"/>
              <a:gd name="T57" fmla="*/ 2147483647 h 214"/>
              <a:gd name="T58" fmla="*/ 2147483647 w 163"/>
              <a:gd name="T59" fmla="*/ 2147483647 h 214"/>
              <a:gd name="T60" fmla="*/ 2147483647 w 163"/>
              <a:gd name="T61" fmla="*/ 2147483647 h 214"/>
              <a:gd name="T62" fmla="*/ 2147483647 w 163"/>
              <a:gd name="T63" fmla="*/ 2147483647 h 214"/>
              <a:gd name="T64" fmla="*/ 2147483647 w 163"/>
              <a:gd name="T65" fmla="*/ 2147483647 h 214"/>
              <a:gd name="T66" fmla="*/ 2147483647 w 163"/>
              <a:gd name="T67" fmla="*/ 2147483647 h 214"/>
              <a:gd name="T68" fmla="*/ 2147483647 w 163"/>
              <a:gd name="T69" fmla="*/ 2147483647 h 214"/>
              <a:gd name="T70" fmla="*/ 2147483647 w 163"/>
              <a:gd name="T71" fmla="*/ 2147483647 h 214"/>
              <a:gd name="T72" fmla="*/ 2147483647 w 163"/>
              <a:gd name="T73" fmla="*/ 2147483647 h 214"/>
              <a:gd name="T74" fmla="*/ 2147483647 w 163"/>
              <a:gd name="T75" fmla="*/ 2147483647 h 214"/>
              <a:gd name="T76" fmla="*/ 2147483647 w 163"/>
              <a:gd name="T77" fmla="*/ 2147483647 h 214"/>
              <a:gd name="T78" fmla="*/ 2147483647 w 163"/>
              <a:gd name="T79" fmla="*/ 2147483647 h 214"/>
              <a:gd name="T80" fmla="*/ 2147483647 w 163"/>
              <a:gd name="T81" fmla="*/ 2147483647 h 214"/>
              <a:gd name="T82" fmla="*/ 2147483647 w 163"/>
              <a:gd name="T83" fmla="*/ 2147483647 h 214"/>
              <a:gd name="T84" fmla="*/ 2147483647 w 163"/>
              <a:gd name="T85" fmla="*/ 2147483647 h 214"/>
              <a:gd name="T86" fmla="*/ 2147483647 w 163"/>
              <a:gd name="T87" fmla="*/ 2147483647 h 214"/>
              <a:gd name="T88" fmla="*/ 2147483647 w 163"/>
              <a:gd name="T89" fmla="*/ 2147483647 h 214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63"/>
              <a:gd name="T136" fmla="*/ 0 h 214"/>
              <a:gd name="T137" fmla="*/ 163 w 163"/>
              <a:gd name="T138" fmla="*/ 214 h 214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63" h="214">
                <a:moveTo>
                  <a:pt x="29" y="149"/>
                </a:moveTo>
                <a:lnTo>
                  <a:pt x="9" y="151"/>
                </a:lnTo>
                <a:lnTo>
                  <a:pt x="9" y="159"/>
                </a:lnTo>
                <a:lnTo>
                  <a:pt x="13" y="165"/>
                </a:lnTo>
                <a:lnTo>
                  <a:pt x="17" y="175"/>
                </a:lnTo>
                <a:lnTo>
                  <a:pt x="12" y="180"/>
                </a:lnTo>
                <a:lnTo>
                  <a:pt x="7" y="177"/>
                </a:lnTo>
                <a:lnTo>
                  <a:pt x="0" y="187"/>
                </a:lnTo>
                <a:lnTo>
                  <a:pt x="19" y="214"/>
                </a:lnTo>
                <a:lnTo>
                  <a:pt x="33" y="201"/>
                </a:lnTo>
                <a:lnTo>
                  <a:pt x="42" y="204"/>
                </a:lnTo>
                <a:lnTo>
                  <a:pt x="53" y="208"/>
                </a:lnTo>
                <a:lnTo>
                  <a:pt x="59" y="201"/>
                </a:lnTo>
                <a:lnTo>
                  <a:pt x="72" y="199"/>
                </a:lnTo>
                <a:lnTo>
                  <a:pt x="74" y="210"/>
                </a:lnTo>
                <a:lnTo>
                  <a:pt x="91" y="193"/>
                </a:lnTo>
                <a:lnTo>
                  <a:pt x="108" y="178"/>
                </a:lnTo>
                <a:lnTo>
                  <a:pt x="110" y="159"/>
                </a:lnTo>
                <a:lnTo>
                  <a:pt x="114" y="139"/>
                </a:lnTo>
                <a:lnTo>
                  <a:pt x="129" y="119"/>
                </a:lnTo>
                <a:lnTo>
                  <a:pt x="144" y="99"/>
                </a:lnTo>
                <a:lnTo>
                  <a:pt x="147" y="79"/>
                </a:lnTo>
                <a:lnTo>
                  <a:pt x="151" y="61"/>
                </a:lnTo>
                <a:lnTo>
                  <a:pt x="153" y="42"/>
                </a:lnTo>
                <a:lnTo>
                  <a:pt x="157" y="24"/>
                </a:lnTo>
                <a:lnTo>
                  <a:pt x="163" y="3"/>
                </a:lnTo>
                <a:lnTo>
                  <a:pt x="146" y="1"/>
                </a:lnTo>
                <a:lnTo>
                  <a:pt x="129" y="0"/>
                </a:lnTo>
                <a:lnTo>
                  <a:pt x="117" y="7"/>
                </a:lnTo>
                <a:lnTo>
                  <a:pt x="110" y="34"/>
                </a:lnTo>
                <a:lnTo>
                  <a:pt x="105" y="45"/>
                </a:lnTo>
                <a:lnTo>
                  <a:pt x="87" y="40"/>
                </a:lnTo>
                <a:lnTo>
                  <a:pt x="68" y="36"/>
                </a:lnTo>
                <a:lnTo>
                  <a:pt x="47" y="35"/>
                </a:lnTo>
                <a:lnTo>
                  <a:pt x="44" y="59"/>
                </a:lnTo>
                <a:lnTo>
                  <a:pt x="68" y="57"/>
                </a:lnTo>
                <a:lnTo>
                  <a:pt x="71" y="73"/>
                </a:lnTo>
                <a:lnTo>
                  <a:pt x="60" y="88"/>
                </a:lnTo>
                <a:lnTo>
                  <a:pt x="73" y="109"/>
                </a:lnTo>
                <a:lnTo>
                  <a:pt x="67" y="144"/>
                </a:lnTo>
                <a:lnTo>
                  <a:pt x="60" y="150"/>
                </a:lnTo>
                <a:lnTo>
                  <a:pt x="56" y="143"/>
                </a:lnTo>
                <a:lnTo>
                  <a:pt x="43" y="148"/>
                </a:lnTo>
                <a:lnTo>
                  <a:pt x="31" y="135"/>
                </a:lnTo>
                <a:lnTo>
                  <a:pt x="29" y="149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59" name="Freeform 41"/>
          <p:cNvSpPr>
            <a:spLocks/>
          </p:cNvSpPr>
          <p:nvPr/>
        </p:nvSpPr>
        <p:spPr bwMode="auto">
          <a:xfrm>
            <a:off x="5402263" y="4589463"/>
            <a:ext cx="234950" cy="314325"/>
          </a:xfrm>
          <a:custGeom>
            <a:avLst/>
            <a:gdLst>
              <a:gd name="T0" fmla="*/ 2147483647 w 175"/>
              <a:gd name="T1" fmla="*/ 2147483647 h 230"/>
              <a:gd name="T2" fmla="*/ 2147483647 w 175"/>
              <a:gd name="T3" fmla="*/ 2147483647 h 230"/>
              <a:gd name="T4" fmla="*/ 2147483647 w 175"/>
              <a:gd name="T5" fmla="*/ 2147483647 h 230"/>
              <a:gd name="T6" fmla="*/ 2147483647 w 175"/>
              <a:gd name="T7" fmla="*/ 2147483647 h 230"/>
              <a:gd name="T8" fmla="*/ 2147483647 w 175"/>
              <a:gd name="T9" fmla="*/ 2147483647 h 230"/>
              <a:gd name="T10" fmla="*/ 0 w 175"/>
              <a:gd name="T11" fmla="*/ 2147483647 h 230"/>
              <a:gd name="T12" fmla="*/ 2147483647 w 175"/>
              <a:gd name="T13" fmla="*/ 2147483647 h 230"/>
              <a:gd name="T14" fmla="*/ 2147483647 w 175"/>
              <a:gd name="T15" fmla="*/ 2147483647 h 230"/>
              <a:gd name="T16" fmla="*/ 2147483647 w 175"/>
              <a:gd name="T17" fmla="*/ 2147483647 h 230"/>
              <a:gd name="T18" fmla="*/ 2147483647 w 175"/>
              <a:gd name="T19" fmla="*/ 2147483647 h 230"/>
              <a:gd name="T20" fmla="*/ 2147483647 w 175"/>
              <a:gd name="T21" fmla="*/ 2147483647 h 230"/>
              <a:gd name="T22" fmla="*/ 2147483647 w 175"/>
              <a:gd name="T23" fmla="*/ 0 h 230"/>
              <a:gd name="T24" fmla="*/ 2147483647 w 175"/>
              <a:gd name="T25" fmla="*/ 0 h 230"/>
              <a:gd name="T26" fmla="*/ 2147483647 w 175"/>
              <a:gd name="T27" fmla="*/ 0 h 230"/>
              <a:gd name="T28" fmla="*/ 2147483647 w 175"/>
              <a:gd name="T29" fmla="*/ 2147483647 h 230"/>
              <a:gd name="T30" fmla="*/ 2147483647 w 175"/>
              <a:gd name="T31" fmla="*/ 2147483647 h 230"/>
              <a:gd name="T32" fmla="*/ 2147483647 w 175"/>
              <a:gd name="T33" fmla="*/ 2147483647 h 230"/>
              <a:gd name="T34" fmla="*/ 2147483647 w 175"/>
              <a:gd name="T35" fmla="*/ 2147483647 h 230"/>
              <a:gd name="T36" fmla="*/ 2147483647 w 175"/>
              <a:gd name="T37" fmla="*/ 2147483647 h 230"/>
              <a:gd name="T38" fmla="*/ 2147483647 w 175"/>
              <a:gd name="T39" fmla="*/ 2147483647 h 230"/>
              <a:gd name="T40" fmla="*/ 2147483647 w 175"/>
              <a:gd name="T41" fmla="*/ 2147483647 h 230"/>
              <a:gd name="T42" fmla="*/ 2147483647 w 175"/>
              <a:gd name="T43" fmla="*/ 2147483647 h 230"/>
              <a:gd name="T44" fmla="*/ 2147483647 w 175"/>
              <a:gd name="T45" fmla="*/ 2147483647 h 230"/>
              <a:gd name="T46" fmla="*/ 2147483647 w 175"/>
              <a:gd name="T47" fmla="*/ 2147483647 h 230"/>
              <a:gd name="T48" fmla="*/ 2147483647 w 175"/>
              <a:gd name="T49" fmla="*/ 2147483647 h 230"/>
              <a:gd name="T50" fmla="*/ 2147483647 w 175"/>
              <a:gd name="T51" fmla="*/ 2147483647 h 230"/>
              <a:gd name="T52" fmla="*/ 2147483647 w 175"/>
              <a:gd name="T53" fmla="*/ 2147483647 h 230"/>
              <a:gd name="T54" fmla="*/ 2147483647 w 175"/>
              <a:gd name="T55" fmla="*/ 2147483647 h 230"/>
              <a:gd name="T56" fmla="*/ 2147483647 w 175"/>
              <a:gd name="T57" fmla="*/ 2147483647 h 230"/>
              <a:gd name="T58" fmla="*/ 2147483647 w 175"/>
              <a:gd name="T59" fmla="*/ 2147483647 h 230"/>
              <a:gd name="T60" fmla="*/ 2147483647 w 175"/>
              <a:gd name="T61" fmla="*/ 2147483647 h 230"/>
              <a:gd name="T62" fmla="*/ 2147483647 w 175"/>
              <a:gd name="T63" fmla="*/ 2147483647 h 230"/>
              <a:gd name="T64" fmla="*/ 2147483647 w 175"/>
              <a:gd name="T65" fmla="*/ 2147483647 h 230"/>
              <a:gd name="T66" fmla="*/ 2147483647 w 175"/>
              <a:gd name="T67" fmla="*/ 2147483647 h 230"/>
              <a:gd name="T68" fmla="*/ 2147483647 w 175"/>
              <a:gd name="T69" fmla="*/ 2147483647 h 230"/>
              <a:gd name="T70" fmla="*/ 2147483647 w 175"/>
              <a:gd name="T71" fmla="*/ 2147483647 h 230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175"/>
              <a:gd name="T109" fmla="*/ 0 h 230"/>
              <a:gd name="T110" fmla="*/ 175 w 175"/>
              <a:gd name="T111" fmla="*/ 230 h 230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175" h="230">
                <a:moveTo>
                  <a:pt x="82" y="188"/>
                </a:moveTo>
                <a:lnTo>
                  <a:pt x="61" y="176"/>
                </a:lnTo>
                <a:lnTo>
                  <a:pt x="41" y="163"/>
                </a:lnTo>
                <a:lnTo>
                  <a:pt x="20" y="151"/>
                </a:lnTo>
                <a:lnTo>
                  <a:pt x="1" y="139"/>
                </a:lnTo>
                <a:lnTo>
                  <a:pt x="0" y="112"/>
                </a:lnTo>
                <a:lnTo>
                  <a:pt x="16" y="86"/>
                </a:lnTo>
                <a:lnTo>
                  <a:pt x="24" y="67"/>
                </a:lnTo>
                <a:lnTo>
                  <a:pt x="18" y="48"/>
                </a:lnTo>
                <a:lnTo>
                  <a:pt x="11" y="29"/>
                </a:lnTo>
                <a:lnTo>
                  <a:pt x="2" y="10"/>
                </a:lnTo>
                <a:lnTo>
                  <a:pt x="11" y="0"/>
                </a:lnTo>
                <a:lnTo>
                  <a:pt x="28" y="0"/>
                </a:lnTo>
                <a:lnTo>
                  <a:pt x="44" y="0"/>
                </a:lnTo>
                <a:lnTo>
                  <a:pt x="64" y="2"/>
                </a:lnTo>
                <a:lnTo>
                  <a:pt x="90" y="22"/>
                </a:lnTo>
                <a:lnTo>
                  <a:pt x="120" y="28"/>
                </a:lnTo>
                <a:lnTo>
                  <a:pt x="131" y="18"/>
                </a:lnTo>
                <a:lnTo>
                  <a:pt x="154" y="11"/>
                </a:lnTo>
                <a:lnTo>
                  <a:pt x="175" y="16"/>
                </a:lnTo>
                <a:lnTo>
                  <a:pt x="166" y="30"/>
                </a:lnTo>
                <a:lnTo>
                  <a:pt x="155" y="43"/>
                </a:lnTo>
                <a:lnTo>
                  <a:pt x="156" y="67"/>
                </a:lnTo>
                <a:lnTo>
                  <a:pt x="156" y="90"/>
                </a:lnTo>
                <a:lnTo>
                  <a:pt x="156" y="113"/>
                </a:lnTo>
                <a:lnTo>
                  <a:pt x="156" y="136"/>
                </a:lnTo>
                <a:lnTo>
                  <a:pt x="168" y="155"/>
                </a:lnTo>
                <a:lnTo>
                  <a:pt x="156" y="162"/>
                </a:lnTo>
                <a:lnTo>
                  <a:pt x="146" y="178"/>
                </a:lnTo>
                <a:lnTo>
                  <a:pt x="137" y="186"/>
                </a:lnTo>
                <a:lnTo>
                  <a:pt x="127" y="208"/>
                </a:lnTo>
                <a:lnTo>
                  <a:pt x="118" y="228"/>
                </a:lnTo>
                <a:lnTo>
                  <a:pt x="115" y="230"/>
                </a:lnTo>
                <a:lnTo>
                  <a:pt x="100" y="214"/>
                </a:lnTo>
                <a:lnTo>
                  <a:pt x="83" y="197"/>
                </a:lnTo>
                <a:lnTo>
                  <a:pt x="82" y="18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60" name="Freeform 42"/>
          <p:cNvSpPr>
            <a:spLocks/>
          </p:cNvSpPr>
          <p:nvPr/>
        </p:nvSpPr>
        <p:spPr bwMode="auto">
          <a:xfrm>
            <a:off x="4495800" y="4278313"/>
            <a:ext cx="344488" cy="319087"/>
          </a:xfrm>
          <a:custGeom>
            <a:avLst/>
            <a:gdLst>
              <a:gd name="T0" fmla="*/ 2147483647 w 259"/>
              <a:gd name="T1" fmla="*/ 2147483647 h 233"/>
              <a:gd name="T2" fmla="*/ 2147483647 w 259"/>
              <a:gd name="T3" fmla="*/ 2147483647 h 233"/>
              <a:gd name="T4" fmla="*/ 2147483647 w 259"/>
              <a:gd name="T5" fmla="*/ 2147483647 h 233"/>
              <a:gd name="T6" fmla="*/ 2147483647 w 259"/>
              <a:gd name="T7" fmla="*/ 2147483647 h 233"/>
              <a:gd name="T8" fmla="*/ 2147483647 w 259"/>
              <a:gd name="T9" fmla="*/ 2147483647 h 233"/>
              <a:gd name="T10" fmla="*/ 2147483647 w 259"/>
              <a:gd name="T11" fmla="*/ 2147483647 h 233"/>
              <a:gd name="T12" fmla="*/ 2147483647 w 259"/>
              <a:gd name="T13" fmla="*/ 2147483647 h 233"/>
              <a:gd name="T14" fmla="*/ 2147483647 w 259"/>
              <a:gd name="T15" fmla="*/ 2147483647 h 233"/>
              <a:gd name="T16" fmla="*/ 2147483647 w 259"/>
              <a:gd name="T17" fmla="*/ 2147483647 h 233"/>
              <a:gd name="T18" fmla="*/ 2147483647 w 259"/>
              <a:gd name="T19" fmla="*/ 2147483647 h 233"/>
              <a:gd name="T20" fmla="*/ 2147483647 w 259"/>
              <a:gd name="T21" fmla="*/ 2147483647 h 233"/>
              <a:gd name="T22" fmla="*/ 2147483647 w 259"/>
              <a:gd name="T23" fmla="*/ 2147483647 h 233"/>
              <a:gd name="T24" fmla="*/ 2147483647 w 259"/>
              <a:gd name="T25" fmla="*/ 2147483647 h 233"/>
              <a:gd name="T26" fmla="*/ 2147483647 w 259"/>
              <a:gd name="T27" fmla="*/ 2147483647 h 233"/>
              <a:gd name="T28" fmla="*/ 2147483647 w 259"/>
              <a:gd name="T29" fmla="*/ 2147483647 h 233"/>
              <a:gd name="T30" fmla="*/ 2147483647 w 259"/>
              <a:gd name="T31" fmla="*/ 2147483647 h 233"/>
              <a:gd name="T32" fmla="*/ 2147483647 w 259"/>
              <a:gd name="T33" fmla="*/ 2147483647 h 233"/>
              <a:gd name="T34" fmla="*/ 2147483647 w 259"/>
              <a:gd name="T35" fmla="*/ 2147483647 h 233"/>
              <a:gd name="T36" fmla="*/ 2147483647 w 259"/>
              <a:gd name="T37" fmla="*/ 2147483647 h 233"/>
              <a:gd name="T38" fmla="*/ 2147483647 w 259"/>
              <a:gd name="T39" fmla="*/ 2147483647 h 233"/>
              <a:gd name="T40" fmla="*/ 2147483647 w 259"/>
              <a:gd name="T41" fmla="*/ 2147483647 h 233"/>
              <a:gd name="T42" fmla="*/ 2147483647 w 259"/>
              <a:gd name="T43" fmla="*/ 2147483647 h 233"/>
              <a:gd name="T44" fmla="*/ 2147483647 w 259"/>
              <a:gd name="T45" fmla="*/ 2147483647 h 233"/>
              <a:gd name="T46" fmla="*/ 2147483647 w 259"/>
              <a:gd name="T47" fmla="*/ 2147483647 h 233"/>
              <a:gd name="T48" fmla="*/ 2147483647 w 259"/>
              <a:gd name="T49" fmla="*/ 2147483647 h 233"/>
              <a:gd name="T50" fmla="*/ 0 w 259"/>
              <a:gd name="T51" fmla="*/ 2147483647 h 233"/>
              <a:gd name="T52" fmla="*/ 2147483647 w 259"/>
              <a:gd name="T53" fmla="*/ 2147483647 h 233"/>
              <a:gd name="T54" fmla="*/ 2147483647 w 259"/>
              <a:gd name="T55" fmla="*/ 2147483647 h 233"/>
              <a:gd name="T56" fmla="*/ 2147483647 w 259"/>
              <a:gd name="T57" fmla="*/ 2147483647 h 233"/>
              <a:gd name="T58" fmla="*/ 2147483647 w 259"/>
              <a:gd name="T59" fmla="*/ 2147483647 h 233"/>
              <a:gd name="T60" fmla="*/ 2147483647 w 259"/>
              <a:gd name="T61" fmla="*/ 2147483647 h 233"/>
              <a:gd name="T62" fmla="*/ 2147483647 w 259"/>
              <a:gd name="T63" fmla="*/ 2147483647 h 233"/>
              <a:gd name="T64" fmla="*/ 2147483647 w 259"/>
              <a:gd name="T65" fmla="*/ 2147483647 h 233"/>
              <a:gd name="T66" fmla="*/ 2147483647 w 259"/>
              <a:gd name="T67" fmla="*/ 2147483647 h 233"/>
              <a:gd name="T68" fmla="*/ 2147483647 w 259"/>
              <a:gd name="T69" fmla="*/ 2147483647 h 233"/>
              <a:gd name="T70" fmla="*/ 2147483647 w 259"/>
              <a:gd name="T71" fmla="*/ 0 h 233"/>
              <a:gd name="T72" fmla="*/ 2147483647 w 259"/>
              <a:gd name="T73" fmla="*/ 2147483647 h 233"/>
              <a:gd name="T74" fmla="*/ 2147483647 w 259"/>
              <a:gd name="T75" fmla="*/ 2147483647 h 233"/>
              <a:gd name="T76" fmla="*/ 2147483647 w 259"/>
              <a:gd name="T77" fmla="*/ 2147483647 h 233"/>
              <a:gd name="T78" fmla="*/ 2147483647 w 259"/>
              <a:gd name="T79" fmla="*/ 2147483647 h 233"/>
              <a:gd name="T80" fmla="*/ 2147483647 w 259"/>
              <a:gd name="T81" fmla="*/ 2147483647 h 233"/>
              <a:gd name="T82" fmla="*/ 2147483647 w 259"/>
              <a:gd name="T83" fmla="*/ 2147483647 h 233"/>
              <a:gd name="T84" fmla="*/ 2147483647 w 259"/>
              <a:gd name="T85" fmla="*/ 2147483647 h 233"/>
              <a:gd name="T86" fmla="*/ 2147483647 w 259"/>
              <a:gd name="T87" fmla="*/ 2147483647 h 233"/>
              <a:gd name="T88" fmla="*/ 2147483647 w 259"/>
              <a:gd name="T89" fmla="*/ 0 h 233"/>
              <a:gd name="T90" fmla="*/ 2147483647 w 259"/>
              <a:gd name="T91" fmla="*/ 2147483647 h 233"/>
              <a:gd name="T92" fmla="*/ 2147483647 w 259"/>
              <a:gd name="T93" fmla="*/ 2147483647 h 233"/>
              <a:gd name="T94" fmla="*/ 2147483647 w 259"/>
              <a:gd name="T95" fmla="*/ 2147483647 h 233"/>
              <a:gd name="T96" fmla="*/ 2147483647 w 259"/>
              <a:gd name="T97" fmla="*/ 2147483647 h 233"/>
              <a:gd name="T98" fmla="*/ 2147483647 w 259"/>
              <a:gd name="T99" fmla="*/ 2147483647 h 233"/>
              <a:gd name="T100" fmla="*/ 2147483647 w 259"/>
              <a:gd name="T101" fmla="*/ 2147483647 h 233"/>
              <a:gd name="T102" fmla="*/ 2147483647 w 259"/>
              <a:gd name="T103" fmla="*/ 2147483647 h 233"/>
              <a:gd name="T104" fmla="*/ 2147483647 w 259"/>
              <a:gd name="T105" fmla="*/ 2147483647 h 233"/>
              <a:gd name="T106" fmla="*/ 2147483647 w 259"/>
              <a:gd name="T107" fmla="*/ 2147483647 h 233"/>
              <a:gd name="T108" fmla="*/ 2147483647 w 259"/>
              <a:gd name="T109" fmla="*/ 2147483647 h 233"/>
              <a:gd name="T110" fmla="*/ 2147483647 w 259"/>
              <a:gd name="T111" fmla="*/ 2147483647 h 233"/>
              <a:gd name="T112" fmla="*/ 2147483647 w 259"/>
              <a:gd name="T113" fmla="*/ 2147483647 h 23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59"/>
              <a:gd name="T172" fmla="*/ 0 h 233"/>
              <a:gd name="T173" fmla="*/ 259 w 259"/>
              <a:gd name="T174" fmla="*/ 233 h 23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59" h="233">
                <a:moveTo>
                  <a:pt x="172" y="167"/>
                </a:moveTo>
                <a:lnTo>
                  <a:pt x="155" y="172"/>
                </a:lnTo>
                <a:lnTo>
                  <a:pt x="144" y="186"/>
                </a:lnTo>
                <a:lnTo>
                  <a:pt x="134" y="201"/>
                </a:lnTo>
                <a:lnTo>
                  <a:pt x="128" y="221"/>
                </a:lnTo>
                <a:lnTo>
                  <a:pt x="121" y="221"/>
                </a:lnTo>
                <a:lnTo>
                  <a:pt x="121" y="228"/>
                </a:lnTo>
                <a:lnTo>
                  <a:pt x="101" y="228"/>
                </a:lnTo>
                <a:lnTo>
                  <a:pt x="97" y="226"/>
                </a:lnTo>
                <a:lnTo>
                  <a:pt x="94" y="227"/>
                </a:lnTo>
                <a:lnTo>
                  <a:pt x="90" y="231"/>
                </a:lnTo>
                <a:lnTo>
                  <a:pt x="88" y="222"/>
                </a:lnTo>
                <a:lnTo>
                  <a:pt x="88" y="233"/>
                </a:lnTo>
                <a:lnTo>
                  <a:pt x="86" y="229"/>
                </a:lnTo>
                <a:lnTo>
                  <a:pt x="84" y="231"/>
                </a:lnTo>
                <a:lnTo>
                  <a:pt x="77" y="231"/>
                </a:lnTo>
                <a:lnTo>
                  <a:pt x="68" y="232"/>
                </a:lnTo>
                <a:lnTo>
                  <a:pt x="59" y="208"/>
                </a:lnTo>
                <a:lnTo>
                  <a:pt x="60" y="207"/>
                </a:lnTo>
                <a:lnTo>
                  <a:pt x="56" y="203"/>
                </a:lnTo>
                <a:lnTo>
                  <a:pt x="58" y="202"/>
                </a:lnTo>
                <a:lnTo>
                  <a:pt x="53" y="197"/>
                </a:lnTo>
                <a:lnTo>
                  <a:pt x="29" y="181"/>
                </a:lnTo>
                <a:lnTo>
                  <a:pt x="17" y="181"/>
                </a:lnTo>
                <a:lnTo>
                  <a:pt x="22" y="177"/>
                </a:lnTo>
                <a:lnTo>
                  <a:pt x="0" y="183"/>
                </a:lnTo>
                <a:lnTo>
                  <a:pt x="1" y="149"/>
                </a:lnTo>
                <a:lnTo>
                  <a:pt x="4" y="115"/>
                </a:lnTo>
                <a:lnTo>
                  <a:pt x="19" y="88"/>
                </a:lnTo>
                <a:lnTo>
                  <a:pt x="22" y="65"/>
                </a:lnTo>
                <a:lnTo>
                  <a:pt x="18" y="52"/>
                </a:lnTo>
                <a:lnTo>
                  <a:pt x="18" y="51"/>
                </a:lnTo>
                <a:lnTo>
                  <a:pt x="19" y="41"/>
                </a:lnTo>
                <a:lnTo>
                  <a:pt x="26" y="24"/>
                </a:lnTo>
                <a:lnTo>
                  <a:pt x="30" y="6"/>
                </a:lnTo>
                <a:lnTo>
                  <a:pt x="52" y="0"/>
                </a:lnTo>
                <a:lnTo>
                  <a:pt x="73" y="1"/>
                </a:lnTo>
                <a:lnTo>
                  <a:pt x="88" y="16"/>
                </a:lnTo>
                <a:lnTo>
                  <a:pt x="110" y="10"/>
                </a:lnTo>
                <a:lnTo>
                  <a:pt x="126" y="16"/>
                </a:lnTo>
                <a:lnTo>
                  <a:pt x="143" y="23"/>
                </a:lnTo>
                <a:lnTo>
                  <a:pt x="168" y="11"/>
                </a:lnTo>
                <a:lnTo>
                  <a:pt x="190" y="12"/>
                </a:lnTo>
                <a:lnTo>
                  <a:pt x="212" y="15"/>
                </a:lnTo>
                <a:lnTo>
                  <a:pt x="236" y="0"/>
                </a:lnTo>
                <a:lnTo>
                  <a:pt x="246" y="16"/>
                </a:lnTo>
                <a:lnTo>
                  <a:pt x="250" y="35"/>
                </a:lnTo>
                <a:lnTo>
                  <a:pt x="259" y="43"/>
                </a:lnTo>
                <a:lnTo>
                  <a:pt x="254" y="58"/>
                </a:lnTo>
                <a:lnTo>
                  <a:pt x="239" y="72"/>
                </a:lnTo>
                <a:lnTo>
                  <a:pt x="230" y="89"/>
                </a:lnTo>
                <a:lnTo>
                  <a:pt x="223" y="107"/>
                </a:lnTo>
                <a:lnTo>
                  <a:pt x="215" y="127"/>
                </a:lnTo>
                <a:lnTo>
                  <a:pt x="206" y="139"/>
                </a:lnTo>
                <a:lnTo>
                  <a:pt x="198" y="162"/>
                </a:lnTo>
                <a:lnTo>
                  <a:pt x="185" y="181"/>
                </a:lnTo>
                <a:lnTo>
                  <a:pt x="172" y="16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61" name="Freeform 43"/>
          <p:cNvSpPr>
            <a:spLocks/>
          </p:cNvSpPr>
          <p:nvPr/>
        </p:nvSpPr>
        <p:spPr bwMode="auto">
          <a:xfrm>
            <a:off x="4441825" y="4322763"/>
            <a:ext cx="80963" cy="209550"/>
          </a:xfrm>
          <a:custGeom>
            <a:avLst/>
            <a:gdLst>
              <a:gd name="T0" fmla="*/ 2147483647 w 64"/>
              <a:gd name="T1" fmla="*/ 2147483647 h 151"/>
              <a:gd name="T2" fmla="*/ 2147483647 w 64"/>
              <a:gd name="T3" fmla="*/ 2147483647 h 151"/>
              <a:gd name="T4" fmla="*/ 0 w 64"/>
              <a:gd name="T5" fmla="*/ 2147483647 h 151"/>
              <a:gd name="T6" fmla="*/ 2147483647 w 64"/>
              <a:gd name="T7" fmla="*/ 2147483647 h 151"/>
              <a:gd name="T8" fmla="*/ 2147483647 w 64"/>
              <a:gd name="T9" fmla="*/ 2147483647 h 151"/>
              <a:gd name="T10" fmla="*/ 2147483647 w 64"/>
              <a:gd name="T11" fmla="*/ 2147483647 h 151"/>
              <a:gd name="T12" fmla="*/ 2147483647 w 64"/>
              <a:gd name="T13" fmla="*/ 2147483647 h 151"/>
              <a:gd name="T14" fmla="*/ 2147483647 w 64"/>
              <a:gd name="T15" fmla="*/ 2147483647 h 151"/>
              <a:gd name="T16" fmla="*/ 2147483647 w 64"/>
              <a:gd name="T17" fmla="*/ 2147483647 h 151"/>
              <a:gd name="T18" fmla="*/ 2147483647 w 64"/>
              <a:gd name="T19" fmla="*/ 2147483647 h 151"/>
              <a:gd name="T20" fmla="*/ 2147483647 w 64"/>
              <a:gd name="T21" fmla="*/ 2147483647 h 151"/>
              <a:gd name="T22" fmla="*/ 2147483647 w 64"/>
              <a:gd name="T23" fmla="*/ 2147483647 h 151"/>
              <a:gd name="T24" fmla="*/ 2147483647 w 64"/>
              <a:gd name="T25" fmla="*/ 2147483647 h 151"/>
              <a:gd name="T26" fmla="*/ 2147483647 w 64"/>
              <a:gd name="T27" fmla="*/ 2147483647 h 151"/>
              <a:gd name="T28" fmla="*/ 2147483647 w 64"/>
              <a:gd name="T29" fmla="*/ 2147483647 h 151"/>
              <a:gd name="T30" fmla="*/ 2147483647 w 64"/>
              <a:gd name="T31" fmla="*/ 2147483647 h 151"/>
              <a:gd name="T32" fmla="*/ 2147483647 w 64"/>
              <a:gd name="T33" fmla="*/ 0 h 151"/>
              <a:gd name="T34" fmla="*/ 2147483647 w 64"/>
              <a:gd name="T35" fmla="*/ 2147483647 h 151"/>
              <a:gd name="T36" fmla="*/ 2147483647 w 64"/>
              <a:gd name="T37" fmla="*/ 2147483647 h 151"/>
              <a:gd name="T38" fmla="*/ 2147483647 w 64"/>
              <a:gd name="T39" fmla="*/ 2147483647 h 151"/>
              <a:gd name="T40" fmla="*/ 2147483647 w 64"/>
              <a:gd name="T41" fmla="*/ 2147483647 h 151"/>
              <a:gd name="T42" fmla="*/ 2147483647 w 64"/>
              <a:gd name="T43" fmla="*/ 2147483647 h 151"/>
              <a:gd name="T44" fmla="*/ 2147483647 w 64"/>
              <a:gd name="T45" fmla="*/ 2147483647 h 15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64"/>
              <a:gd name="T70" fmla="*/ 0 h 151"/>
              <a:gd name="T71" fmla="*/ 64 w 64"/>
              <a:gd name="T72" fmla="*/ 151 h 151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64" h="151">
                <a:moveTo>
                  <a:pt x="4" y="32"/>
                </a:moveTo>
                <a:lnTo>
                  <a:pt x="2" y="32"/>
                </a:lnTo>
                <a:lnTo>
                  <a:pt x="0" y="43"/>
                </a:lnTo>
                <a:lnTo>
                  <a:pt x="12" y="58"/>
                </a:lnTo>
                <a:lnTo>
                  <a:pt x="14" y="77"/>
                </a:lnTo>
                <a:lnTo>
                  <a:pt x="16" y="96"/>
                </a:lnTo>
                <a:lnTo>
                  <a:pt x="17" y="114"/>
                </a:lnTo>
                <a:lnTo>
                  <a:pt x="17" y="133"/>
                </a:lnTo>
                <a:lnTo>
                  <a:pt x="18" y="151"/>
                </a:lnTo>
                <a:lnTo>
                  <a:pt x="42" y="148"/>
                </a:lnTo>
                <a:lnTo>
                  <a:pt x="43" y="114"/>
                </a:lnTo>
                <a:lnTo>
                  <a:pt x="46" y="80"/>
                </a:lnTo>
                <a:lnTo>
                  <a:pt x="61" y="53"/>
                </a:lnTo>
                <a:lnTo>
                  <a:pt x="64" y="30"/>
                </a:lnTo>
                <a:lnTo>
                  <a:pt x="60" y="17"/>
                </a:lnTo>
                <a:lnTo>
                  <a:pt x="60" y="16"/>
                </a:lnTo>
                <a:lnTo>
                  <a:pt x="41" y="0"/>
                </a:lnTo>
                <a:lnTo>
                  <a:pt x="35" y="7"/>
                </a:lnTo>
                <a:lnTo>
                  <a:pt x="35" y="11"/>
                </a:lnTo>
                <a:lnTo>
                  <a:pt x="35" y="12"/>
                </a:lnTo>
                <a:lnTo>
                  <a:pt x="34" y="13"/>
                </a:lnTo>
                <a:lnTo>
                  <a:pt x="17" y="24"/>
                </a:lnTo>
                <a:lnTo>
                  <a:pt x="4" y="3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62" name="Freeform 44"/>
          <p:cNvSpPr>
            <a:spLocks/>
          </p:cNvSpPr>
          <p:nvPr/>
        </p:nvSpPr>
        <p:spPr bwMode="auto">
          <a:xfrm>
            <a:off x="4254500" y="4230688"/>
            <a:ext cx="231775" cy="190500"/>
          </a:xfrm>
          <a:custGeom>
            <a:avLst/>
            <a:gdLst>
              <a:gd name="T0" fmla="*/ 2147483647 w 173"/>
              <a:gd name="T1" fmla="*/ 2147483647 h 139"/>
              <a:gd name="T2" fmla="*/ 2147483647 w 173"/>
              <a:gd name="T3" fmla="*/ 2147483647 h 139"/>
              <a:gd name="T4" fmla="*/ 2147483647 w 173"/>
              <a:gd name="T5" fmla="*/ 2147483647 h 139"/>
              <a:gd name="T6" fmla="*/ 2147483647 w 173"/>
              <a:gd name="T7" fmla="*/ 2147483647 h 139"/>
              <a:gd name="T8" fmla="*/ 2147483647 w 173"/>
              <a:gd name="T9" fmla="*/ 2147483647 h 139"/>
              <a:gd name="T10" fmla="*/ 2147483647 w 173"/>
              <a:gd name="T11" fmla="*/ 2147483647 h 139"/>
              <a:gd name="T12" fmla="*/ 2147483647 w 173"/>
              <a:gd name="T13" fmla="*/ 2147483647 h 139"/>
              <a:gd name="T14" fmla="*/ 2147483647 w 173"/>
              <a:gd name="T15" fmla="*/ 2147483647 h 139"/>
              <a:gd name="T16" fmla="*/ 2147483647 w 173"/>
              <a:gd name="T17" fmla="*/ 2147483647 h 139"/>
              <a:gd name="T18" fmla="*/ 2147483647 w 173"/>
              <a:gd name="T19" fmla="*/ 2147483647 h 139"/>
              <a:gd name="T20" fmla="*/ 2147483647 w 173"/>
              <a:gd name="T21" fmla="*/ 2147483647 h 139"/>
              <a:gd name="T22" fmla="*/ 0 w 173"/>
              <a:gd name="T23" fmla="*/ 2147483647 h 139"/>
              <a:gd name="T24" fmla="*/ 2147483647 w 173"/>
              <a:gd name="T25" fmla="*/ 2147483647 h 139"/>
              <a:gd name="T26" fmla="*/ 2147483647 w 173"/>
              <a:gd name="T27" fmla="*/ 2147483647 h 139"/>
              <a:gd name="T28" fmla="*/ 2147483647 w 173"/>
              <a:gd name="T29" fmla="*/ 2147483647 h 139"/>
              <a:gd name="T30" fmla="*/ 2147483647 w 173"/>
              <a:gd name="T31" fmla="*/ 2147483647 h 139"/>
              <a:gd name="T32" fmla="*/ 2147483647 w 173"/>
              <a:gd name="T33" fmla="*/ 2147483647 h 139"/>
              <a:gd name="T34" fmla="*/ 2147483647 w 173"/>
              <a:gd name="T35" fmla="*/ 2147483647 h 139"/>
              <a:gd name="T36" fmla="*/ 2147483647 w 173"/>
              <a:gd name="T37" fmla="*/ 2147483647 h 139"/>
              <a:gd name="T38" fmla="*/ 2147483647 w 173"/>
              <a:gd name="T39" fmla="*/ 2147483647 h 139"/>
              <a:gd name="T40" fmla="*/ 2147483647 w 173"/>
              <a:gd name="T41" fmla="*/ 2147483647 h 139"/>
              <a:gd name="T42" fmla="*/ 2147483647 w 173"/>
              <a:gd name="T43" fmla="*/ 2147483647 h 139"/>
              <a:gd name="T44" fmla="*/ 2147483647 w 173"/>
              <a:gd name="T45" fmla="*/ 2147483647 h 139"/>
              <a:gd name="T46" fmla="*/ 2147483647 w 173"/>
              <a:gd name="T47" fmla="*/ 0 h 139"/>
              <a:gd name="T48" fmla="*/ 2147483647 w 173"/>
              <a:gd name="T49" fmla="*/ 2147483647 h 139"/>
              <a:gd name="T50" fmla="*/ 2147483647 w 173"/>
              <a:gd name="T51" fmla="*/ 2147483647 h 139"/>
              <a:gd name="T52" fmla="*/ 2147483647 w 173"/>
              <a:gd name="T53" fmla="*/ 2147483647 h 139"/>
              <a:gd name="T54" fmla="*/ 2147483647 w 173"/>
              <a:gd name="T55" fmla="*/ 2147483647 h 139"/>
              <a:gd name="T56" fmla="*/ 2147483647 w 173"/>
              <a:gd name="T57" fmla="*/ 2147483647 h 139"/>
              <a:gd name="T58" fmla="*/ 2147483647 w 173"/>
              <a:gd name="T59" fmla="*/ 2147483647 h 139"/>
              <a:gd name="T60" fmla="*/ 2147483647 w 173"/>
              <a:gd name="T61" fmla="*/ 2147483647 h 139"/>
              <a:gd name="T62" fmla="*/ 2147483647 w 173"/>
              <a:gd name="T63" fmla="*/ 2147483647 h 139"/>
              <a:gd name="T64" fmla="*/ 2147483647 w 173"/>
              <a:gd name="T65" fmla="*/ 2147483647 h 139"/>
              <a:gd name="T66" fmla="*/ 2147483647 w 173"/>
              <a:gd name="T67" fmla="*/ 2147483647 h 139"/>
              <a:gd name="T68" fmla="*/ 2147483647 w 173"/>
              <a:gd name="T69" fmla="*/ 2147483647 h 139"/>
              <a:gd name="T70" fmla="*/ 2147483647 w 173"/>
              <a:gd name="T71" fmla="*/ 2147483647 h 139"/>
              <a:gd name="T72" fmla="*/ 2147483647 w 173"/>
              <a:gd name="T73" fmla="*/ 2147483647 h 13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73"/>
              <a:gd name="T112" fmla="*/ 0 h 139"/>
              <a:gd name="T113" fmla="*/ 173 w 173"/>
              <a:gd name="T114" fmla="*/ 139 h 139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73" h="139">
                <a:moveTo>
                  <a:pt x="142" y="100"/>
                </a:moveTo>
                <a:lnTo>
                  <a:pt x="134" y="100"/>
                </a:lnTo>
                <a:lnTo>
                  <a:pt x="116" y="98"/>
                </a:lnTo>
                <a:lnTo>
                  <a:pt x="110" y="99"/>
                </a:lnTo>
                <a:lnTo>
                  <a:pt x="84" y="100"/>
                </a:lnTo>
                <a:lnTo>
                  <a:pt x="59" y="100"/>
                </a:lnTo>
                <a:lnTo>
                  <a:pt x="60" y="120"/>
                </a:lnTo>
                <a:lnTo>
                  <a:pt x="61" y="139"/>
                </a:lnTo>
                <a:lnTo>
                  <a:pt x="42" y="128"/>
                </a:lnTo>
                <a:lnTo>
                  <a:pt x="22" y="133"/>
                </a:lnTo>
                <a:lnTo>
                  <a:pt x="8" y="120"/>
                </a:lnTo>
                <a:lnTo>
                  <a:pt x="0" y="115"/>
                </a:lnTo>
                <a:lnTo>
                  <a:pt x="5" y="82"/>
                </a:lnTo>
                <a:lnTo>
                  <a:pt x="12" y="76"/>
                </a:lnTo>
                <a:lnTo>
                  <a:pt x="24" y="66"/>
                </a:lnTo>
                <a:lnTo>
                  <a:pt x="29" y="55"/>
                </a:lnTo>
                <a:lnTo>
                  <a:pt x="31" y="42"/>
                </a:lnTo>
                <a:lnTo>
                  <a:pt x="46" y="46"/>
                </a:lnTo>
                <a:lnTo>
                  <a:pt x="49" y="38"/>
                </a:lnTo>
                <a:lnTo>
                  <a:pt x="53" y="36"/>
                </a:lnTo>
                <a:lnTo>
                  <a:pt x="61" y="24"/>
                </a:lnTo>
                <a:lnTo>
                  <a:pt x="74" y="22"/>
                </a:lnTo>
                <a:lnTo>
                  <a:pt x="77" y="13"/>
                </a:lnTo>
                <a:lnTo>
                  <a:pt x="104" y="0"/>
                </a:lnTo>
                <a:lnTo>
                  <a:pt x="125" y="2"/>
                </a:lnTo>
                <a:lnTo>
                  <a:pt x="127" y="24"/>
                </a:lnTo>
                <a:lnTo>
                  <a:pt x="145" y="42"/>
                </a:lnTo>
                <a:lnTo>
                  <a:pt x="142" y="43"/>
                </a:lnTo>
                <a:lnTo>
                  <a:pt x="142" y="50"/>
                </a:lnTo>
                <a:lnTo>
                  <a:pt x="155" y="61"/>
                </a:lnTo>
                <a:lnTo>
                  <a:pt x="162" y="58"/>
                </a:lnTo>
                <a:lnTo>
                  <a:pt x="167" y="67"/>
                </a:lnTo>
                <a:lnTo>
                  <a:pt x="173" y="79"/>
                </a:lnTo>
                <a:lnTo>
                  <a:pt x="173" y="80"/>
                </a:lnTo>
                <a:lnTo>
                  <a:pt x="172" y="81"/>
                </a:lnTo>
                <a:lnTo>
                  <a:pt x="155" y="92"/>
                </a:lnTo>
                <a:lnTo>
                  <a:pt x="142" y="10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63" name="Freeform 45"/>
          <p:cNvSpPr>
            <a:spLocks/>
          </p:cNvSpPr>
          <p:nvPr/>
        </p:nvSpPr>
        <p:spPr bwMode="auto">
          <a:xfrm>
            <a:off x="4664075" y="4295775"/>
            <a:ext cx="223838" cy="388938"/>
          </a:xfrm>
          <a:custGeom>
            <a:avLst/>
            <a:gdLst>
              <a:gd name="T0" fmla="*/ 2147483647 w 169"/>
              <a:gd name="T1" fmla="*/ 2147483647 h 281"/>
              <a:gd name="T2" fmla="*/ 2147483647 w 169"/>
              <a:gd name="T3" fmla="*/ 2147483647 h 281"/>
              <a:gd name="T4" fmla="*/ 2147483647 w 169"/>
              <a:gd name="T5" fmla="*/ 2147483647 h 281"/>
              <a:gd name="T6" fmla="*/ 2147483647 w 169"/>
              <a:gd name="T7" fmla="*/ 2147483647 h 281"/>
              <a:gd name="T8" fmla="*/ 2147483647 w 169"/>
              <a:gd name="T9" fmla="*/ 2147483647 h 281"/>
              <a:gd name="T10" fmla="*/ 2147483647 w 169"/>
              <a:gd name="T11" fmla="*/ 2147483647 h 281"/>
              <a:gd name="T12" fmla="*/ 2147483647 w 169"/>
              <a:gd name="T13" fmla="*/ 2147483647 h 281"/>
              <a:gd name="T14" fmla="*/ 2147483647 w 169"/>
              <a:gd name="T15" fmla="*/ 2147483647 h 281"/>
              <a:gd name="T16" fmla="*/ 2147483647 w 169"/>
              <a:gd name="T17" fmla="*/ 2147483647 h 281"/>
              <a:gd name="T18" fmla="*/ 2147483647 w 169"/>
              <a:gd name="T19" fmla="*/ 2147483647 h 281"/>
              <a:gd name="T20" fmla="*/ 2147483647 w 169"/>
              <a:gd name="T21" fmla="*/ 2147483647 h 281"/>
              <a:gd name="T22" fmla="*/ 2147483647 w 169"/>
              <a:gd name="T23" fmla="*/ 2147483647 h 281"/>
              <a:gd name="T24" fmla="*/ 2147483647 w 169"/>
              <a:gd name="T25" fmla="*/ 2147483647 h 281"/>
              <a:gd name="T26" fmla="*/ 2147483647 w 169"/>
              <a:gd name="T27" fmla="*/ 2147483647 h 281"/>
              <a:gd name="T28" fmla="*/ 2147483647 w 169"/>
              <a:gd name="T29" fmla="*/ 2147483647 h 281"/>
              <a:gd name="T30" fmla="*/ 2147483647 w 169"/>
              <a:gd name="T31" fmla="*/ 2147483647 h 281"/>
              <a:gd name="T32" fmla="*/ 2147483647 w 169"/>
              <a:gd name="T33" fmla="*/ 2147483647 h 281"/>
              <a:gd name="T34" fmla="*/ 2147483647 w 169"/>
              <a:gd name="T35" fmla="*/ 2147483647 h 281"/>
              <a:gd name="T36" fmla="*/ 2147483647 w 169"/>
              <a:gd name="T37" fmla="*/ 2147483647 h 281"/>
              <a:gd name="T38" fmla="*/ 2147483647 w 169"/>
              <a:gd name="T39" fmla="*/ 2147483647 h 281"/>
              <a:gd name="T40" fmla="*/ 2147483647 w 169"/>
              <a:gd name="T41" fmla="*/ 2147483647 h 281"/>
              <a:gd name="T42" fmla="*/ 2147483647 w 169"/>
              <a:gd name="T43" fmla="*/ 2147483647 h 281"/>
              <a:gd name="T44" fmla="*/ 2147483647 w 169"/>
              <a:gd name="T45" fmla="*/ 2147483647 h 281"/>
              <a:gd name="T46" fmla="*/ 2147483647 w 169"/>
              <a:gd name="T47" fmla="*/ 2147483647 h 281"/>
              <a:gd name="T48" fmla="*/ 0 w 169"/>
              <a:gd name="T49" fmla="*/ 2147483647 h 281"/>
              <a:gd name="T50" fmla="*/ 2147483647 w 169"/>
              <a:gd name="T51" fmla="*/ 2147483647 h 281"/>
              <a:gd name="T52" fmla="*/ 2147483647 w 169"/>
              <a:gd name="T53" fmla="*/ 2147483647 h 281"/>
              <a:gd name="T54" fmla="*/ 2147483647 w 169"/>
              <a:gd name="T55" fmla="*/ 2147483647 h 281"/>
              <a:gd name="T56" fmla="*/ 2147483647 w 169"/>
              <a:gd name="T57" fmla="*/ 2147483647 h 281"/>
              <a:gd name="T58" fmla="*/ 2147483647 w 169"/>
              <a:gd name="T59" fmla="*/ 2147483647 h 281"/>
              <a:gd name="T60" fmla="*/ 2147483647 w 169"/>
              <a:gd name="T61" fmla="*/ 2147483647 h 281"/>
              <a:gd name="T62" fmla="*/ 2147483647 w 169"/>
              <a:gd name="T63" fmla="*/ 2147483647 h 281"/>
              <a:gd name="T64" fmla="*/ 2147483647 w 169"/>
              <a:gd name="T65" fmla="*/ 2147483647 h 281"/>
              <a:gd name="T66" fmla="*/ 2147483647 w 169"/>
              <a:gd name="T67" fmla="*/ 2147483647 h 281"/>
              <a:gd name="T68" fmla="*/ 2147483647 w 169"/>
              <a:gd name="T69" fmla="*/ 2147483647 h 281"/>
              <a:gd name="T70" fmla="*/ 2147483647 w 169"/>
              <a:gd name="T71" fmla="*/ 2147483647 h 281"/>
              <a:gd name="T72" fmla="*/ 2147483647 w 169"/>
              <a:gd name="T73" fmla="*/ 2147483647 h 281"/>
              <a:gd name="T74" fmla="*/ 2147483647 w 169"/>
              <a:gd name="T75" fmla="*/ 2147483647 h 281"/>
              <a:gd name="T76" fmla="*/ 2147483647 w 169"/>
              <a:gd name="T77" fmla="*/ 2147483647 h 281"/>
              <a:gd name="T78" fmla="*/ 2147483647 w 169"/>
              <a:gd name="T79" fmla="*/ 2147483647 h 281"/>
              <a:gd name="T80" fmla="*/ 2147483647 w 169"/>
              <a:gd name="T81" fmla="*/ 0 h 281"/>
              <a:gd name="T82" fmla="*/ 2147483647 w 169"/>
              <a:gd name="T83" fmla="*/ 0 h 281"/>
              <a:gd name="T84" fmla="*/ 2147483647 w 169"/>
              <a:gd name="T85" fmla="*/ 2147483647 h 281"/>
              <a:gd name="T86" fmla="*/ 2147483647 w 169"/>
              <a:gd name="T87" fmla="*/ 2147483647 h 281"/>
              <a:gd name="T88" fmla="*/ 2147483647 w 169"/>
              <a:gd name="T89" fmla="*/ 2147483647 h 2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69"/>
              <a:gd name="T136" fmla="*/ 0 h 281"/>
              <a:gd name="T137" fmla="*/ 169 w 169"/>
              <a:gd name="T138" fmla="*/ 281 h 2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69" h="281">
                <a:moveTo>
                  <a:pt x="156" y="78"/>
                </a:moveTo>
                <a:lnTo>
                  <a:pt x="131" y="78"/>
                </a:lnTo>
                <a:lnTo>
                  <a:pt x="120" y="83"/>
                </a:lnTo>
                <a:lnTo>
                  <a:pt x="139" y="107"/>
                </a:lnTo>
                <a:lnTo>
                  <a:pt x="152" y="138"/>
                </a:lnTo>
                <a:lnTo>
                  <a:pt x="142" y="158"/>
                </a:lnTo>
                <a:lnTo>
                  <a:pt x="131" y="179"/>
                </a:lnTo>
                <a:lnTo>
                  <a:pt x="138" y="212"/>
                </a:lnTo>
                <a:lnTo>
                  <a:pt x="150" y="230"/>
                </a:lnTo>
                <a:lnTo>
                  <a:pt x="162" y="248"/>
                </a:lnTo>
                <a:lnTo>
                  <a:pt x="169" y="270"/>
                </a:lnTo>
                <a:lnTo>
                  <a:pt x="164" y="281"/>
                </a:lnTo>
                <a:lnTo>
                  <a:pt x="146" y="276"/>
                </a:lnTo>
                <a:lnTo>
                  <a:pt x="127" y="272"/>
                </a:lnTo>
                <a:lnTo>
                  <a:pt x="106" y="271"/>
                </a:lnTo>
                <a:lnTo>
                  <a:pt x="84" y="271"/>
                </a:lnTo>
                <a:lnTo>
                  <a:pt x="62" y="271"/>
                </a:lnTo>
                <a:lnTo>
                  <a:pt x="46" y="269"/>
                </a:lnTo>
                <a:lnTo>
                  <a:pt x="29" y="266"/>
                </a:lnTo>
                <a:lnTo>
                  <a:pt x="29" y="241"/>
                </a:lnTo>
                <a:lnTo>
                  <a:pt x="26" y="229"/>
                </a:lnTo>
                <a:lnTo>
                  <a:pt x="25" y="225"/>
                </a:lnTo>
                <a:lnTo>
                  <a:pt x="11" y="223"/>
                </a:lnTo>
                <a:lnTo>
                  <a:pt x="4" y="209"/>
                </a:lnTo>
                <a:lnTo>
                  <a:pt x="0" y="210"/>
                </a:lnTo>
                <a:lnTo>
                  <a:pt x="2" y="205"/>
                </a:lnTo>
                <a:lnTo>
                  <a:pt x="8" y="185"/>
                </a:lnTo>
                <a:lnTo>
                  <a:pt x="18" y="170"/>
                </a:lnTo>
                <a:lnTo>
                  <a:pt x="29" y="156"/>
                </a:lnTo>
                <a:lnTo>
                  <a:pt x="46" y="151"/>
                </a:lnTo>
                <a:lnTo>
                  <a:pt x="59" y="165"/>
                </a:lnTo>
                <a:lnTo>
                  <a:pt x="72" y="146"/>
                </a:lnTo>
                <a:lnTo>
                  <a:pt x="80" y="123"/>
                </a:lnTo>
                <a:lnTo>
                  <a:pt x="89" y="111"/>
                </a:lnTo>
                <a:lnTo>
                  <a:pt x="97" y="91"/>
                </a:lnTo>
                <a:lnTo>
                  <a:pt x="104" y="73"/>
                </a:lnTo>
                <a:lnTo>
                  <a:pt x="113" y="56"/>
                </a:lnTo>
                <a:lnTo>
                  <a:pt x="128" y="42"/>
                </a:lnTo>
                <a:lnTo>
                  <a:pt x="133" y="27"/>
                </a:lnTo>
                <a:lnTo>
                  <a:pt x="124" y="19"/>
                </a:lnTo>
                <a:lnTo>
                  <a:pt x="120" y="0"/>
                </a:lnTo>
                <a:lnTo>
                  <a:pt x="128" y="0"/>
                </a:lnTo>
                <a:lnTo>
                  <a:pt x="139" y="25"/>
                </a:lnTo>
                <a:lnTo>
                  <a:pt x="142" y="53"/>
                </a:lnTo>
                <a:lnTo>
                  <a:pt x="156" y="7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64" name="Freeform 46"/>
          <p:cNvSpPr>
            <a:spLocks/>
          </p:cNvSpPr>
          <p:nvPr/>
        </p:nvSpPr>
        <p:spPr bwMode="auto">
          <a:xfrm>
            <a:off x="4835525" y="4370388"/>
            <a:ext cx="377825" cy="296862"/>
          </a:xfrm>
          <a:custGeom>
            <a:avLst/>
            <a:gdLst>
              <a:gd name="T0" fmla="*/ 2147483647 w 284"/>
              <a:gd name="T1" fmla="*/ 2147483647 h 216"/>
              <a:gd name="T2" fmla="*/ 2147483647 w 284"/>
              <a:gd name="T3" fmla="*/ 2147483647 h 216"/>
              <a:gd name="T4" fmla="*/ 2147483647 w 284"/>
              <a:gd name="T5" fmla="*/ 2147483647 h 216"/>
              <a:gd name="T6" fmla="*/ 2147483647 w 284"/>
              <a:gd name="T7" fmla="*/ 2147483647 h 216"/>
              <a:gd name="T8" fmla="*/ 2147483647 w 284"/>
              <a:gd name="T9" fmla="*/ 2147483647 h 216"/>
              <a:gd name="T10" fmla="*/ 2147483647 w 284"/>
              <a:gd name="T11" fmla="*/ 0 h 216"/>
              <a:gd name="T12" fmla="*/ 2147483647 w 284"/>
              <a:gd name="T13" fmla="*/ 2147483647 h 216"/>
              <a:gd name="T14" fmla="*/ 2147483647 w 284"/>
              <a:gd name="T15" fmla="*/ 2147483647 h 216"/>
              <a:gd name="T16" fmla="*/ 2147483647 w 284"/>
              <a:gd name="T17" fmla="*/ 2147483647 h 216"/>
              <a:gd name="T18" fmla="*/ 2147483647 w 284"/>
              <a:gd name="T19" fmla="*/ 2147483647 h 216"/>
              <a:gd name="T20" fmla="*/ 2147483647 w 284"/>
              <a:gd name="T21" fmla="*/ 2147483647 h 216"/>
              <a:gd name="T22" fmla="*/ 2147483647 w 284"/>
              <a:gd name="T23" fmla="*/ 2147483647 h 216"/>
              <a:gd name="T24" fmla="*/ 2147483647 w 284"/>
              <a:gd name="T25" fmla="*/ 2147483647 h 216"/>
              <a:gd name="T26" fmla="*/ 2147483647 w 284"/>
              <a:gd name="T27" fmla="*/ 2147483647 h 216"/>
              <a:gd name="T28" fmla="*/ 2147483647 w 284"/>
              <a:gd name="T29" fmla="*/ 2147483647 h 216"/>
              <a:gd name="T30" fmla="*/ 2147483647 w 284"/>
              <a:gd name="T31" fmla="*/ 2147483647 h 216"/>
              <a:gd name="T32" fmla="*/ 2147483647 w 284"/>
              <a:gd name="T33" fmla="*/ 2147483647 h 216"/>
              <a:gd name="T34" fmla="*/ 2147483647 w 284"/>
              <a:gd name="T35" fmla="*/ 2147483647 h 216"/>
              <a:gd name="T36" fmla="*/ 2147483647 w 284"/>
              <a:gd name="T37" fmla="*/ 2147483647 h 216"/>
              <a:gd name="T38" fmla="*/ 2147483647 w 284"/>
              <a:gd name="T39" fmla="*/ 2147483647 h 216"/>
              <a:gd name="T40" fmla="*/ 2147483647 w 284"/>
              <a:gd name="T41" fmla="*/ 2147483647 h 216"/>
              <a:gd name="T42" fmla="*/ 2147483647 w 284"/>
              <a:gd name="T43" fmla="*/ 2147483647 h 216"/>
              <a:gd name="T44" fmla="*/ 2147483647 w 284"/>
              <a:gd name="T45" fmla="*/ 2147483647 h 216"/>
              <a:gd name="T46" fmla="*/ 2147483647 w 284"/>
              <a:gd name="T47" fmla="*/ 2147483647 h 216"/>
              <a:gd name="T48" fmla="*/ 2147483647 w 284"/>
              <a:gd name="T49" fmla="*/ 2147483647 h 216"/>
              <a:gd name="T50" fmla="*/ 2147483647 w 284"/>
              <a:gd name="T51" fmla="*/ 2147483647 h 216"/>
              <a:gd name="T52" fmla="*/ 2147483647 w 284"/>
              <a:gd name="T53" fmla="*/ 2147483647 h 216"/>
              <a:gd name="T54" fmla="*/ 2147483647 w 284"/>
              <a:gd name="T55" fmla="*/ 2147483647 h 216"/>
              <a:gd name="T56" fmla="*/ 2147483647 w 284"/>
              <a:gd name="T57" fmla="*/ 2147483647 h 216"/>
              <a:gd name="T58" fmla="*/ 2147483647 w 284"/>
              <a:gd name="T59" fmla="*/ 2147483647 h 216"/>
              <a:gd name="T60" fmla="*/ 2147483647 w 284"/>
              <a:gd name="T61" fmla="*/ 2147483647 h 216"/>
              <a:gd name="T62" fmla="*/ 2147483647 w 284"/>
              <a:gd name="T63" fmla="*/ 2147483647 h 216"/>
              <a:gd name="T64" fmla="*/ 2147483647 w 284"/>
              <a:gd name="T65" fmla="*/ 2147483647 h 216"/>
              <a:gd name="T66" fmla="*/ 2147483647 w 284"/>
              <a:gd name="T67" fmla="*/ 2147483647 h 216"/>
              <a:gd name="T68" fmla="*/ 2147483647 w 284"/>
              <a:gd name="T69" fmla="*/ 2147483647 h 216"/>
              <a:gd name="T70" fmla="*/ 2147483647 w 284"/>
              <a:gd name="T71" fmla="*/ 2147483647 h 216"/>
              <a:gd name="T72" fmla="*/ 2147483647 w 284"/>
              <a:gd name="T73" fmla="*/ 2147483647 h 216"/>
              <a:gd name="T74" fmla="*/ 0 w 284"/>
              <a:gd name="T75" fmla="*/ 2147483647 h 216"/>
              <a:gd name="T76" fmla="*/ 2147483647 w 284"/>
              <a:gd name="T77" fmla="*/ 2147483647 h 216"/>
              <a:gd name="T78" fmla="*/ 2147483647 w 284"/>
              <a:gd name="T79" fmla="*/ 2147483647 h 216"/>
              <a:gd name="T80" fmla="*/ 2147483647 w 284"/>
              <a:gd name="T81" fmla="*/ 2147483647 h 216"/>
              <a:gd name="T82" fmla="*/ 2147483647 w 284"/>
              <a:gd name="T83" fmla="*/ 2147483647 h 216"/>
              <a:gd name="T84" fmla="*/ 2147483647 w 284"/>
              <a:gd name="T85" fmla="*/ 2147483647 h 216"/>
              <a:gd name="T86" fmla="*/ 2147483647 w 284"/>
              <a:gd name="T87" fmla="*/ 2147483647 h 216"/>
              <a:gd name="T88" fmla="*/ 2147483647 w 284"/>
              <a:gd name="T89" fmla="*/ 2147483647 h 21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284"/>
              <a:gd name="T136" fmla="*/ 0 h 216"/>
              <a:gd name="T137" fmla="*/ 284 w 284"/>
              <a:gd name="T138" fmla="*/ 216 h 21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284" h="216">
                <a:moveTo>
                  <a:pt x="99" y="60"/>
                </a:moveTo>
                <a:lnTo>
                  <a:pt x="96" y="51"/>
                </a:lnTo>
                <a:lnTo>
                  <a:pt x="127" y="45"/>
                </a:lnTo>
                <a:lnTo>
                  <a:pt x="144" y="25"/>
                </a:lnTo>
                <a:lnTo>
                  <a:pt x="161" y="5"/>
                </a:lnTo>
                <a:lnTo>
                  <a:pt x="182" y="0"/>
                </a:lnTo>
                <a:lnTo>
                  <a:pt x="191" y="15"/>
                </a:lnTo>
                <a:lnTo>
                  <a:pt x="200" y="31"/>
                </a:lnTo>
                <a:lnTo>
                  <a:pt x="197" y="55"/>
                </a:lnTo>
                <a:lnTo>
                  <a:pt x="212" y="59"/>
                </a:lnTo>
                <a:lnTo>
                  <a:pt x="216" y="66"/>
                </a:lnTo>
                <a:lnTo>
                  <a:pt x="236" y="80"/>
                </a:lnTo>
                <a:lnTo>
                  <a:pt x="240" y="91"/>
                </a:lnTo>
                <a:lnTo>
                  <a:pt x="260" y="109"/>
                </a:lnTo>
                <a:lnTo>
                  <a:pt x="269" y="122"/>
                </a:lnTo>
                <a:lnTo>
                  <a:pt x="281" y="139"/>
                </a:lnTo>
                <a:lnTo>
                  <a:pt x="284" y="146"/>
                </a:lnTo>
                <a:lnTo>
                  <a:pt x="272" y="144"/>
                </a:lnTo>
                <a:lnTo>
                  <a:pt x="256" y="141"/>
                </a:lnTo>
                <a:lnTo>
                  <a:pt x="239" y="140"/>
                </a:lnTo>
                <a:lnTo>
                  <a:pt x="230" y="147"/>
                </a:lnTo>
                <a:lnTo>
                  <a:pt x="215" y="147"/>
                </a:lnTo>
                <a:lnTo>
                  <a:pt x="192" y="155"/>
                </a:lnTo>
                <a:lnTo>
                  <a:pt x="182" y="153"/>
                </a:lnTo>
                <a:lnTo>
                  <a:pt x="173" y="169"/>
                </a:lnTo>
                <a:lnTo>
                  <a:pt x="151" y="163"/>
                </a:lnTo>
                <a:lnTo>
                  <a:pt x="131" y="157"/>
                </a:lnTo>
                <a:lnTo>
                  <a:pt x="108" y="144"/>
                </a:lnTo>
                <a:lnTo>
                  <a:pt x="90" y="165"/>
                </a:lnTo>
                <a:lnTo>
                  <a:pt x="91" y="185"/>
                </a:lnTo>
                <a:lnTo>
                  <a:pt x="74" y="183"/>
                </a:lnTo>
                <a:lnTo>
                  <a:pt x="57" y="182"/>
                </a:lnTo>
                <a:lnTo>
                  <a:pt x="45" y="189"/>
                </a:lnTo>
                <a:lnTo>
                  <a:pt x="38" y="216"/>
                </a:lnTo>
                <a:lnTo>
                  <a:pt x="31" y="194"/>
                </a:lnTo>
                <a:lnTo>
                  <a:pt x="19" y="176"/>
                </a:lnTo>
                <a:lnTo>
                  <a:pt x="7" y="158"/>
                </a:lnTo>
                <a:lnTo>
                  <a:pt x="0" y="125"/>
                </a:lnTo>
                <a:lnTo>
                  <a:pt x="11" y="104"/>
                </a:lnTo>
                <a:lnTo>
                  <a:pt x="21" y="84"/>
                </a:lnTo>
                <a:lnTo>
                  <a:pt x="42" y="78"/>
                </a:lnTo>
                <a:lnTo>
                  <a:pt x="47" y="80"/>
                </a:lnTo>
                <a:lnTo>
                  <a:pt x="59" y="78"/>
                </a:lnTo>
                <a:lnTo>
                  <a:pt x="89" y="72"/>
                </a:lnTo>
                <a:lnTo>
                  <a:pt x="99" y="6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65" name="Freeform 47"/>
          <p:cNvSpPr>
            <a:spLocks/>
          </p:cNvSpPr>
          <p:nvPr/>
        </p:nvSpPr>
        <p:spPr bwMode="auto">
          <a:xfrm>
            <a:off x="3932238" y="4273550"/>
            <a:ext cx="84137" cy="25400"/>
          </a:xfrm>
          <a:custGeom>
            <a:avLst/>
            <a:gdLst>
              <a:gd name="T0" fmla="*/ 2147483647 w 64"/>
              <a:gd name="T1" fmla="*/ 2147483647 h 18"/>
              <a:gd name="T2" fmla="*/ 0 w 64"/>
              <a:gd name="T3" fmla="*/ 2147483647 h 18"/>
              <a:gd name="T4" fmla="*/ 2147483647 w 64"/>
              <a:gd name="T5" fmla="*/ 2147483647 h 18"/>
              <a:gd name="T6" fmla="*/ 2147483647 w 64"/>
              <a:gd name="T7" fmla="*/ 2147483647 h 18"/>
              <a:gd name="T8" fmla="*/ 2147483647 w 64"/>
              <a:gd name="T9" fmla="*/ 2147483647 h 18"/>
              <a:gd name="T10" fmla="*/ 2147483647 w 64"/>
              <a:gd name="T11" fmla="*/ 2147483647 h 18"/>
              <a:gd name="T12" fmla="*/ 2147483647 w 64"/>
              <a:gd name="T13" fmla="*/ 0 h 18"/>
              <a:gd name="T14" fmla="*/ 2147483647 w 64"/>
              <a:gd name="T15" fmla="*/ 2147483647 h 18"/>
              <a:gd name="T16" fmla="*/ 2147483647 w 64"/>
              <a:gd name="T17" fmla="*/ 2147483647 h 18"/>
              <a:gd name="T18" fmla="*/ 2147483647 w 64"/>
              <a:gd name="T19" fmla="*/ 2147483647 h 18"/>
              <a:gd name="T20" fmla="*/ 2147483647 w 64"/>
              <a:gd name="T21" fmla="*/ 2147483647 h 18"/>
              <a:gd name="T22" fmla="*/ 2147483647 w 64"/>
              <a:gd name="T23" fmla="*/ 2147483647 h 18"/>
              <a:gd name="T24" fmla="*/ 2147483647 w 64"/>
              <a:gd name="T25" fmla="*/ 2147483647 h 18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64"/>
              <a:gd name="T40" fmla="*/ 0 h 18"/>
              <a:gd name="T41" fmla="*/ 64 w 64"/>
              <a:gd name="T42" fmla="*/ 18 h 18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64" h="18">
                <a:moveTo>
                  <a:pt x="4" y="7"/>
                </a:moveTo>
                <a:lnTo>
                  <a:pt x="0" y="18"/>
                </a:lnTo>
                <a:lnTo>
                  <a:pt x="17" y="12"/>
                </a:lnTo>
                <a:lnTo>
                  <a:pt x="35" y="6"/>
                </a:lnTo>
                <a:lnTo>
                  <a:pt x="64" y="12"/>
                </a:lnTo>
                <a:lnTo>
                  <a:pt x="58" y="6"/>
                </a:lnTo>
                <a:lnTo>
                  <a:pt x="31" y="0"/>
                </a:lnTo>
                <a:lnTo>
                  <a:pt x="28" y="5"/>
                </a:lnTo>
                <a:lnTo>
                  <a:pt x="5" y="5"/>
                </a:lnTo>
                <a:lnTo>
                  <a:pt x="5" y="7"/>
                </a:lnTo>
                <a:lnTo>
                  <a:pt x="25" y="7"/>
                </a:lnTo>
                <a:lnTo>
                  <a:pt x="13" y="13"/>
                </a:lnTo>
                <a:lnTo>
                  <a:pt x="4" y="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66" name="Freeform 48"/>
          <p:cNvSpPr>
            <a:spLocks/>
          </p:cNvSpPr>
          <p:nvPr/>
        </p:nvSpPr>
        <p:spPr bwMode="auto">
          <a:xfrm>
            <a:off x="4322763" y="4365625"/>
            <a:ext cx="128587" cy="217488"/>
          </a:xfrm>
          <a:custGeom>
            <a:avLst/>
            <a:gdLst>
              <a:gd name="T0" fmla="*/ 2147483647 w 97"/>
              <a:gd name="T1" fmla="*/ 2147483647 h 157"/>
              <a:gd name="T2" fmla="*/ 2147483647 w 97"/>
              <a:gd name="T3" fmla="*/ 2147483647 h 157"/>
              <a:gd name="T4" fmla="*/ 2147483647 w 97"/>
              <a:gd name="T5" fmla="*/ 2147483647 h 157"/>
              <a:gd name="T6" fmla="*/ 2147483647 w 97"/>
              <a:gd name="T7" fmla="*/ 2147483647 h 157"/>
              <a:gd name="T8" fmla="*/ 2147483647 w 97"/>
              <a:gd name="T9" fmla="*/ 2147483647 h 157"/>
              <a:gd name="T10" fmla="*/ 2147483647 w 97"/>
              <a:gd name="T11" fmla="*/ 2147483647 h 157"/>
              <a:gd name="T12" fmla="*/ 2147483647 w 97"/>
              <a:gd name="T13" fmla="*/ 2147483647 h 157"/>
              <a:gd name="T14" fmla="*/ 2147483647 w 97"/>
              <a:gd name="T15" fmla="*/ 2147483647 h 157"/>
              <a:gd name="T16" fmla="*/ 0 w 97"/>
              <a:gd name="T17" fmla="*/ 2147483647 h 157"/>
              <a:gd name="T18" fmla="*/ 2147483647 w 97"/>
              <a:gd name="T19" fmla="*/ 2147483647 h 157"/>
              <a:gd name="T20" fmla="*/ 2147483647 w 97"/>
              <a:gd name="T21" fmla="*/ 2147483647 h 157"/>
              <a:gd name="T22" fmla="*/ 2147483647 w 97"/>
              <a:gd name="T23" fmla="*/ 2147483647 h 157"/>
              <a:gd name="T24" fmla="*/ 2147483647 w 97"/>
              <a:gd name="T25" fmla="*/ 2147483647 h 157"/>
              <a:gd name="T26" fmla="*/ 2147483647 w 97"/>
              <a:gd name="T27" fmla="*/ 2147483647 h 157"/>
              <a:gd name="T28" fmla="*/ 2147483647 w 97"/>
              <a:gd name="T29" fmla="*/ 2147483647 h 157"/>
              <a:gd name="T30" fmla="*/ 2147483647 w 97"/>
              <a:gd name="T31" fmla="*/ 2147483647 h 157"/>
              <a:gd name="T32" fmla="*/ 2147483647 w 97"/>
              <a:gd name="T33" fmla="*/ 0 h 157"/>
              <a:gd name="T34" fmla="*/ 2147483647 w 97"/>
              <a:gd name="T35" fmla="*/ 2147483647 h 157"/>
              <a:gd name="T36" fmla="*/ 2147483647 w 97"/>
              <a:gd name="T37" fmla="*/ 2147483647 h 157"/>
              <a:gd name="T38" fmla="*/ 2147483647 w 97"/>
              <a:gd name="T39" fmla="*/ 2147483647 h 157"/>
              <a:gd name="T40" fmla="*/ 2147483647 w 97"/>
              <a:gd name="T41" fmla="*/ 2147483647 h 157"/>
              <a:gd name="T42" fmla="*/ 2147483647 w 97"/>
              <a:gd name="T43" fmla="*/ 2147483647 h 157"/>
              <a:gd name="T44" fmla="*/ 2147483647 w 97"/>
              <a:gd name="T45" fmla="*/ 2147483647 h 157"/>
              <a:gd name="T46" fmla="*/ 2147483647 w 97"/>
              <a:gd name="T47" fmla="*/ 2147483647 h 157"/>
              <a:gd name="T48" fmla="*/ 2147483647 w 97"/>
              <a:gd name="T49" fmla="*/ 2147483647 h 157"/>
              <a:gd name="T50" fmla="*/ 2147483647 w 97"/>
              <a:gd name="T51" fmla="*/ 2147483647 h 157"/>
              <a:gd name="T52" fmla="*/ 2147483647 w 97"/>
              <a:gd name="T53" fmla="*/ 2147483647 h 157"/>
              <a:gd name="T54" fmla="*/ 2147483647 w 97"/>
              <a:gd name="T55" fmla="*/ 2147483647 h 157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97"/>
              <a:gd name="T85" fmla="*/ 0 h 157"/>
              <a:gd name="T86" fmla="*/ 97 w 97"/>
              <a:gd name="T87" fmla="*/ 157 h 157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97" h="157">
                <a:moveTo>
                  <a:pt x="85" y="133"/>
                </a:moveTo>
                <a:lnTo>
                  <a:pt x="70" y="139"/>
                </a:lnTo>
                <a:lnTo>
                  <a:pt x="54" y="145"/>
                </a:lnTo>
                <a:lnTo>
                  <a:pt x="39" y="151"/>
                </a:lnTo>
                <a:lnTo>
                  <a:pt x="23" y="157"/>
                </a:lnTo>
                <a:lnTo>
                  <a:pt x="3" y="150"/>
                </a:lnTo>
                <a:lnTo>
                  <a:pt x="10" y="145"/>
                </a:lnTo>
                <a:lnTo>
                  <a:pt x="5" y="126"/>
                </a:lnTo>
                <a:lnTo>
                  <a:pt x="0" y="107"/>
                </a:lnTo>
                <a:lnTo>
                  <a:pt x="9" y="90"/>
                </a:lnTo>
                <a:lnTo>
                  <a:pt x="17" y="72"/>
                </a:lnTo>
                <a:lnTo>
                  <a:pt x="12" y="41"/>
                </a:lnTo>
                <a:lnTo>
                  <a:pt x="11" y="22"/>
                </a:lnTo>
                <a:lnTo>
                  <a:pt x="10" y="2"/>
                </a:lnTo>
                <a:lnTo>
                  <a:pt x="35" y="2"/>
                </a:lnTo>
                <a:lnTo>
                  <a:pt x="61" y="1"/>
                </a:lnTo>
                <a:lnTo>
                  <a:pt x="67" y="0"/>
                </a:lnTo>
                <a:lnTo>
                  <a:pt x="71" y="7"/>
                </a:lnTo>
                <a:lnTo>
                  <a:pt x="79" y="30"/>
                </a:lnTo>
                <a:lnTo>
                  <a:pt x="79" y="41"/>
                </a:lnTo>
                <a:lnTo>
                  <a:pt x="81" y="58"/>
                </a:lnTo>
                <a:lnTo>
                  <a:pt x="84" y="73"/>
                </a:lnTo>
                <a:lnTo>
                  <a:pt x="85" y="94"/>
                </a:lnTo>
                <a:lnTo>
                  <a:pt x="85" y="113"/>
                </a:lnTo>
                <a:lnTo>
                  <a:pt x="97" y="125"/>
                </a:lnTo>
                <a:lnTo>
                  <a:pt x="87" y="133"/>
                </a:lnTo>
                <a:lnTo>
                  <a:pt x="78" y="126"/>
                </a:lnTo>
                <a:lnTo>
                  <a:pt x="85" y="13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67" name="Freeform 49"/>
          <p:cNvSpPr>
            <a:spLocks/>
          </p:cNvSpPr>
          <p:nvPr/>
        </p:nvSpPr>
        <p:spPr bwMode="auto">
          <a:xfrm>
            <a:off x="3983038" y="4313238"/>
            <a:ext cx="209550" cy="182562"/>
          </a:xfrm>
          <a:custGeom>
            <a:avLst/>
            <a:gdLst>
              <a:gd name="T0" fmla="*/ 2147483647 w 159"/>
              <a:gd name="T1" fmla="*/ 2147483647 h 133"/>
              <a:gd name="T2" fmla="*/ 2147483647 w 159"/>
              <a:gd name="T3" fmla="*/ 2147483647 h 133"/>
              <a:gd name="T4" fmla="*/ 2147483647 w 159"/>
              <a:gd name="T5" fmla="*/ 2147483647 h 133"/>
              <a:gd name="T6" fmla="*/ 2147483647 w 159"/>
              <a:gd name="T7" fmla="*/ 2147483647 h 133"/>
              <a:gd name="T8" fmla="*/ 2147483647 w 159"/>
              <a:gd name="T9" fmla="*/ 2147483647 h 133"/>
              <a:gd name="T10" fmla="*/ 2147483647 w 159"/>
              <a:gd name="T11" fmla="*/ 2147483647 h 133"/>
              <a:gd name="T12" fmla="*/ 2147483647 w 159"/>
              <a:gd name="T13" fmla="*/ 2147483647 h 133"/>
              <a:gd name="T14" fmla="*/ 2147483647 w 159"/>
              <a:gd name="T15" fmla="*/ 2147483647 h 133"/>
              <a:gd name="T16" fmla="*/ 2147483647 w 159"/>
              <a:gd name="T17" fmla="*/ 2147483647 h 133"/>
              <a:gd name="T18" fmla="*/ 2147483647 w 159"/>
              <a:gd name="T19" fmla="*/ 2147483647 h 133"/>
              <a:gd name="T20" fmla="*/ 2147483647 w 159"/>
              <a:gd name="T21" fmla="*/ 2147483647 h 133"/>
              <a:gd name="T22" fmla="*/ 2147483647 w 159"/>
              <a:gd name="T23" fmla="*/ 2147483647 h 133"/>
              <a:gd name="T24" fmla="*/ 2147483647 w 159"/>
              <a:gd name="T25" fmla="*/ 2147483647 h 133"/>
              <a:gd name="T26" fmla="*/ 2147483647 w 159"/>
              <a:gd name="T27" fmla="*/ 2147483647 h 133"/>
              <a:gd name="T28" fmla="*/ 2147483647 w 159"/>
              <a:gd name="T29" fmla="*/ 2147483647 h 133"/>
              <a:gd name="T30" fmla="*/ 2147483647 w 159"/>
              <a:gd name="T31" fmla="*/ 2147483647 h 133"/>
              <a:gd name="T32" fmla="*/ 2147483647 w 159"/>
              <a:gd name="T33" fmla="*/ 2147483647 h 133"/>
              <a:gd name="T34" fmla="*/ 2147483647 w 159"/>
              <a:gd name="T35" fmla="*/ 2147483647 h 133"/>
              <a:gd name="T36" fmla="*/ 2147483647 w 159"/>
              <a:gd name="T37" fmla="*/ 2147483647 h 133"/>
              <a:gd name="T38" fmla="*/ 2147483647 w 159"/>
              <a:gd name="T39" fmla="*/ 2147483647 h 133"/>
              <a:gd name="T40" fmla="*/ 2147483647 w 159"/>
              <a:gd name="T41" fmla="*/ 2147483647 h 133"/>
              <a:gd name="T42" fmla="*/ 2147483647 w 159"/>
              <a:gd name="T43" fmla="*/ 2147483647 h 133"/>
              <a:gd name="T44" fmla="*/ 2147483647 w 159"/>
              <a:gd name="T45" fmla="*/ 2147483647 h 133"/>
              <a:gd name="T46" fmla="*/ 2147483647 w 159"/>
              <a:gd name="T47" fmla="*/ 2147483647 h 133"/>
              <a:gd name="T48" fmla="*/ 2147483647 w 159"/>
              <a:gd name="T49" fmla="*/ 2147483647 h 133"/>
              <a:gd name="T50" fmla="*/ 2147483647 w 159"/>
              <a:gd name="T51" fmla="*/ 2147483647 h 133"/>
              <a:gd name="T52" fmla="*/ 2147483647 w 159"/>
              <a:gd name="T53" fmla="*/ 2147483647 h 133"/>
              <a:gd name="T54" fmla="*/ 2147483647 w 159"/>
              <a:gd name="T55" fmla="*/ 2147483647 h 133"/>
              <a:gd name="T56" fmla="*/ 2147483647 w 159"/>
              <a:gd name="T57" fmla="*/ 2147483647 h 133"/>
              <a:gd name="T58" fmla="*/ 2147483647 w 159"/>
              <a:gd name="T59" fmla="*/ 2147483647 h 133"/>
              <a:gd name="T60" fmla="*/ 2147483647 w 159"/>
              <a:gd name="T61" fmla="*/ 2147483647 h 133"/>
              <a:gd name="T62" fmla="*/ 0 w 159"/>
              <a:gd name="T63" fmla="*/ 2147483647 h 133"/>
              <a:gd name="T64" fmla="*/ 2147483647 w 159"/>
              <a:gd name="T65" fmla="*/ 2147483647 h 133"/>
              <a:gd name="T66" fmla="*/ 2147483647 w 159"/>
              <a:gd name="T67" fmla="*/ 2147483647 h 133"/>
              <a:gd name="T68" fmla="*/ 2147483647 w 159"/>
              <a:gd name="T69" fmla="*/ 2147483647 h 133"/>
              <a:gd name="T70" fmla="*/ 2147483647 w 159"/>
              <a:gd name="T71" fmla="*/ 0 h 133"/>
              <a:gd name="T72" fmla="*/ 2147483647 w 159"/>
              <a:gd name="T73" fmla="*/ 2147483647 h 133"/>
              <a:gd name="T74" fmla="*/ 2147483647 w 159"/>
              <a:gd name="T75" fmla="*/ 2147483647 h 133"/>
              <a:gd name="T76" fmla="*/ 2147483647 w 159"/>
              <a:gd name="T77" fmla="*/ 2147483647 h 133"/>
              <a:gd name="T78" fmla="*/ 2147483647 w 159"/>
              <a:gd name="T79" fmla="*/ 2147483647 h 133"/>
              <a:gd name="T80" fmla="*/ 2147483647 w 159"/>
              <a:gd name="T81" fmla="*/ 2147483647 h 133"/>
              <a:gd name="T82" fmla="*/ 2147483647 w 159"/>
              <a:gd name="T83" fmla="*/ 2147483647 h 133"/>
              <a:gd name="T84" fmla="*/ 2147483647 w 159"/>
              <a:gd name="T85" fmla="*/ 2147483647 h 133"/>
              <a:gd name="T86" fmla="*/ 2147483647 w 159"/>
              <a:gd name="T87" fmla="*/ 2147483647 h 133"/>
              <a:gd name="T88" fmla="*/ 2147483647 w 159"/>
              <a:gd name="T89" fmla="*/ 2147483647 h 133"/>
              <a:gd name="T90" fmla="*/ 2147483647 w 159"/>
              <a:gd name="T91" fmla="*/ 2147483647 h 133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159"/>
              <a:gd name="T139" fmla="*/ 0 h 133"/>
              <a:gd name="T140" fmla="*/ 159 w 159"/>
              <a:gd name="T141" fmla="*/ 133 h 133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159" h="133">
                <a:moveTo>
                  <a:pt x="143" y="31"/>
                </a:moveTo>
                <a:lnTo>
                  <a:pt x="141" y="39"/>
                </a:lnTo>
                <a:lnTo>
                  <a:pt x="143" y="39"/>
                </a:lnTo>
                <a:lnTo>
                  <a:pt x="154" y="62"/>
                </a:lnTo>
                <a:lnTo>
                  <a:pt x="153" y="81"/>
                </a:lnTo>
                <a:lnTo>
                  <a:pt x="155" y="85"/>
                </a:lnTo>
                <a:lnTo>
                  <a:pt x="156" y="90"/>
                </a:lnTo>
                <a:lnTo>
                  <a:pt x="159" y="99"/>
                </a:lnTo>
                <a:lnTo>
                  <a:pt x="158" y="104"/>
                </a:lnTo>
                <a:lnTo>
                  <a:pt x="148" y="106"/>
                </a:lnTo>
                <a:lnTo>
                  <a:pt x="152" y="116"/>
                </a:lnTo>
                <a:lnTo>
                  <a:pt x="144" y="126"/>
                </a:lnTo>
                <a:lnTo>
                  <a:pt x="143" y="126"/>
                </a:lnTo>
                <a:lnTo>
                  <a:pt x="137" y="128"/>
                </a:lnTo>
                <a:lnTo>
                  <a:pt x="128" y="133"/>
                </a:lnTo>
                <a:lnTo>
                  <a:pt x="122" y="128"/>
                </a:lnTo>
                <a:lnTo>
                  <a:pt x="116" y="104"/>
                </a:lnTo>
                <a:lnTo>
                  <a:pt x="104" y="104"/>
                </a:lnTo>
                <a:lnTo>
                  <a:pt x="95" y="105"/>
                </a:lnTo>
                <a:lnTo>
                  <a:pt x="98" y="88"/>
                </a:lnTo>
                <a:lnTo>
                  <a:pt x="83" y="66"/>
                </a:lnTo>
                <a:lnTo>
                  <a:pt x="53" y="73"/>
                </a:lnTo>
                <a:lnTo>
                  <a:pt x="38" y="90"/>
                </a:lnTo>
                <a:lnTo>
                  <a:pt x="36" y="82"/>
                </a:lnTo>
                <a:lnTo>
                  <a:pt x="30" y="75"/>
                </a:lnTo>
                <a:lnTo>
                  <a:pt x="27" y="69"/>
                </a:lnTo>
                <a:lnTo>
                  <a:pt x="21" y="64"/>
                </a:lnTo>
                <a:lnTo>
                  <a:pt x="9" y="50"/>
                </a:lnTo>
                <a:lnTo>
                  <a:pt x="10" y="46"/>
                </a:lnTo>
                <a:lnTo>
                  <a:pt x="8" y="48"/>
                </a:lnTo>
                <a:lnTo>
                  <a:pt x="5" y="40"/>
                </a:lnTo>
                <a:lnTo>
                  <a:pt x="0" y="43"/>
                </a:lnTo>
                <a:lnTo>
                  <a:pt x="5" y="32"/>
                </a:lnTo>
                <a:lnTo>
                  <a:pt x="26" y="25"/>
                </a:lnTo>
                <a:lnTo>
                  <a:pt x="27" y="10"/>
                </a:lnTo>
                <a:lnTo>
                  <a:pt x="29" y="0"/>
                </a:lnTo>
                <a:lnTo>
                  <a:pt x="48" y="3"/>
                </a:lnTo>
                <a:lnTo>
                  <a:pt x="80" y="7"/>
                </a:lnTo>
                <a:lnTo>
                  <a:pt x="77" y="12"/>
                </a:lnTo>
                <a:lnTo>
                  <a:pt x="92" y="13"/>
                </a:lnTo>
                <a:lnTo>
                  <a:pt x="98" y="15"/>
                </a:lnTo>
                <a:lnTo>
                  <a:pt x="111" y="14"/>
                </a:lnTo>
                <a:lnTo>
                  <a:pt x="125" y="8"/>
                </a:lnTo>
                <a:lnTo>
                  <a:pt x="129" y="4"/>
                </a:lnTo>
                <a:lnTo>
                  <a:pt x="136" y="25"/>
                </a:lnTo>
                <a:lnTo>
                  <a:pt x="143" y="3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9268" name="Freeform 50"/>
          <p:cNvSpPr>
            <a:spLocks/>
          </p:cNvSpPr>
          <p:nvPr/>
        </p:nvSpPr>
        <p:spPr bwMode="auto">
          <a:xfrm>
            <a:off x="3933825" y="4313238"/>
            <a:ext cx="84138" cy="57150"/>
          </a:xfrm>
          <a:custGeom>
            <a:avLst/>
            <a:gdLst>
              <a:gd name="T0" fmla="*/ 2147483647 w 65"/>
              <a:gd name="T1" fmla="*/ 2147483647 h 43"/>
              <a:gd name="T2" fmla="*/ 2147483647 w 65"/>
              <a:gd name="T3" fmla="*/ 2147483647 h 43"/>
              <a:gd name="T4" fmla="*/ 2147483647 w 65"/>
              <a:gd name="T5" fmla="*/ 2147483647 h 43"/>
              <a:gd name="T6" fmla="*/ 2147483647 w 65"/>
              <a:gd name="T7" fmla="*/ 2147483647 h 43"/>
              <a:gd name="T8" fmla="*/ 2147483647 w 65"/>
              <a:gd name="T9" fmla="*/ 2147483647 h 43"/>
              <a:gd name="T10" fmla="*/ 2147483647 w 65"/>
              <a:gd name="T11" fmla="*/ 2147483647 h 43"/>
              <a:gd name="T12" fmla="*/ 2147483647 w 65"/>
              <a:gd name="T13" fmla="*/ 2147483647 h 43"/>
              <a:gd name="T14" fmla="*/ 2147483647 w 65"/>
              <a:gd name="T15" fmla="*/ 0 h 43"/>
              <a:gd name="T16" fmla="*/ 2147483647 w 65"/>
              <a:gd name="T17" fmla="*/ 2147483647 h 43"/>
              <a:gd name="T18" fmla="*/ 2147483647 w 65"/>
              <a:gd name="T19" fmla="*/ 2147483647 h 43"/>
              <a:gd name="T20" fmla="*/ 0 w 65"/>
              <a:gd name="T21" fmla="*/ 2147483647 h 43"/>
              <a:gd name="T22" fmla="*/ 2147483647 w 65"/>
              <a:gd name="T23" fmla="*/ 2147483647 h 43"/>
              <a:gd name="T24" fmla="*/ 2147483647 w 65"/>
              <a:gd name="T25" fmla="*/ 2147483647 h 43"/>
              <a:gd name="T26" fmla="*/ 2147483647 w 65"/>
              <a:gd name="T27" fmla="*/ 2147483647 h 43"/>
              <a:gd name="T28" fmla="*/ 2147483647 w 65"/>
              <a:gd name="T29" fmla="*/ 2147483647 h 43"/>
              <a:gd name="T30" fmla="*/ 2147483647 w 65"/>
              <a:gd name="T31" fmla="*/ 2147483647 h 43"/>
              <a:gd name="T32" fmla="*/ 2147483647 w 65"/>
              <a:gd name="T33" fmla="*/ 2147483647 h 43"/>
              <a:gd name="T34" fmla="*/ 2147483647 w 65"/>
              <a:gd name="T35" fmla="*/ 2147483647 h 43"/>
              <a:gd name="T36" fmla="*/ 2147483647 w 65"/>
              <a:gd name="T37" fmla="*/ 2147483647 h 43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65"/>
              <a:gd name="T58" fmla="*/ 0 h 43"/>
              <a:gd name="T59" fmla="*/ 65 w 65"/>
              <a:gd name="T60" fmla="*/ 43 h 43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65" h="43">
                <a:moveTo>
                  <a:pt x="33" y="25"/>
                </a:moveTo>
                <a:lnTo>
                  <a:pt x="29" y="32"/>
                </a:lnTo>
                <a:lnTo>
                  <a:pt x="34" y="38"/>
                </a:lnTo>
                <a:lnTo>
                  <a:pt x="36" y="43"/>
                </a:lnTo>
                <a:lnTo>
                  <a:pt x="41" y="32"/>
                </a:lnTo>
                <a:lnTo>
                  <a:pt x="62" y="25"/>
                </a:lnTo>
                <a:lnTo>
                  <a:pt x="63" y="10"/>
                </a:lnTo>
                <a:lnTo>
                  <a:pt x="65" y="0"/>
                </a:lnTo>
                <a:lnTo>
                  <a:pt x="47" y="1"/>
                </a:lnTo>
                <a:lnTo>
                  <a:pt x="29" y="2"/>
                </a:lnTo>
                <a:lnTo>
                  <a:pt x="0" y="8"/>
                </a:lnTo>
                <a:lnTo>
                  <a:pt x="11" y="9"/>
                </a:lnTo>
                <a:lnTo>
                  <a:pt x="8" y="14"/>
                </a:lnTo>
                <a:lnTo>
                  <a:pt x="18" y="16"/>
                </a:lnTo>
                <a:lnTo>
                  <a:pt x="17" y="19"/>
                </a:lnTo>
                <a:lnTo>
                  <a:pt x="33" y="19"/>
                </a:lnTo>
                <a:lnTo>
                  <a:pt x="36" y="21"/>
                </a:lnTo>
                <a:lnTo>
                  <a:pt x="26" y="24"/>
                </a:lnTo>
                <a:lnTo>
                  <a:pt x="33" y="25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9269" name="Freeform 51"/>
          <p:cNvSpPr>
            <a:spLocks/>
          </p:cNvSpPr>
          <p:nvPr/>
        </p:nvSpPr>
        <p:spPr bwMode="auto">
          <a:xfrm>
            <a:off x="4168775" y="4379913"/>
            <a:ext cx="174625" cy="217487"/>
          </a:xfrm>
          <a:custGeom>
            <a:avLst/>
            <a:gdLst>
              <a:gd name="T0" fmla="*/ 2147483647 w 131"/>
              <a:gd name="T1" fmla="*/ 2147483647 h 157"/>
              <a:gd name="T2" fmla="*/ 2147483647 w 131"/>
              <a:gd name="T3" fmla="*/ 2147483647 h 157"/>
              <a:gd name="T4" fmla="*/ 2147483647 w 131"/>
              <a:gd name="T5" fmla="*/ 2147483647 h 157"/>
              <a:gd name="T6" fmla="*/ 2147483647 w 131"/>
              <a:gd name="T7" fmla="*/ 0 h 157"/>
              <a:gd name="T8" fmla="*/ 2147483647 w 131"/>
              <a:gd name="T9" fmla="*/ 2147483647 h 157"/>
              <a:gd name="T10" fmla="*/ 2147483647 w 131"/>
              <a:gd name="T11" fmla="*/ 2147483647 h 157"/>
              <a:gd name="T12" fmla="*/ 2147483647 w 131"/>
              <a:gd name="T13" fmla="*/ 2147483647 h 157"/>
              <a:gd name="T14" fmla="*/ 2147483647 w 131"/>
              <a:gd name="T15" fmla="*/ 2147483647 h 157"/>
              <a:gd name="T16" fmla="*/ 2147483647 w 131"/>
              <a:gd name="T17" fmla="*/ 2147483647 h 157"/>
              <a:gd name="T18" fmla="*/ 2147483647 w 131"/>
              <a:gd name="T19" fmla="*/ 2147483647 h 157"/>
              <a:gd name="T20" fmla="*/ 2147483647 w 131"/>
              <a:gd name="T21" fmla="*/ 2147483647 h 157"/>
              <a:gd name="T22" fmla="*/ 2147483647 w 131"/>
              <a:gd name="T23" fmla="*/ 2147483647 h 157"/>
              <a:gd name="T24" fmla="*/ 2147483647 w 131"/>
              <a:gd name="T25" fmla="*/ 2147483647 h 157"/>
              <a:gd name="T26" fmla="*/ 2147483647 w 131"/>
              <a:gd name="T27" fmla="*/ 2147483647 h 157"/>
              <a:gd name="T28" fmla="*/ 2147483647 w 131"/>
              <a:gd name="T29" fmla="*/ 2147483647 h 157"/>
              <a:gd name="T30" fmla="*/ 2147483647 w 131"/>
              <a:gd name="T31" fmla="*/ 2147483647 h 157"/>
              <a:gd name="T32" fmla="*/ 0 w 131"/>
              <a:gd name="T33" fmla="*/ 2147483647 h 157"/>
              <a:gd name="T34" fmla="*/ 0 w 131"/>
              <a:gd name="T35" fmla="*/ 2147483647 h 157"/>
              <a:gd name="T36" fmla="*/ 0 w 131"/>
              <a:gd name="T37" fmla="*/ 2147483647 h 157"/>
              <a:gd name="T38" fmla="*/ 2147483647 w 131"/>
              <a:gd name="T39" fmla="*/ 2147483647 h 157"/>
              <a:gd name="T40" fmla="*/ 2147483647 w 131"/>
              <a:gd name="T41" fmla="*/ 2147483647 h 157"/>
              <a:gd name="T42" fmla="*/ 2147483647 w 131"/>
              <a:gd name="T43" fmla="*/ 2147483647 h 157"/>
              <a:gd name="T44" fmla="*/ 2147483647 w 131"/>
              <a:gd name="T45" fmla="*/ 2147483647 h 157"/>
              <a:gd name="T46" fmla="*/ 2147483647 w 131"/>
              <a:gd name="T47" fmla="*/ 2147483647 h 157"/>
              <a:gd name="T48" fmla="*/ 2147483647 w 131"/>
              <a:gd name="T49" fmla="*/ 2147483647 h 157"/>
              <a:gd name="T50" fmla="*/ 2147483647 w 131"/>
              <a:gd name="T51" fmla="*/ 2147483647 h 157"/>
              <a:gd name="T52" fmla="*/ 2147483647 w 131"/>
              <a:gd name="T53" fmla="*/ 2147483647 h 157"/>
              <a:gd name="T54" fmla="*/ 2147483647 w 131"/>
              <a:gd name="T55" fmla="*/ 2147483647 h 157"/>
              <a:gd name="T56" fmla="*/ 2147483647 w 131"/>
              <a:gd name="T57" fmla="*/ 2147483647 h 157"/>
              <a:gd name="T58" fmla="*/ 2147483647 w 131"/>
              <a:gd name="T59" fmla="*/ 2147483647 h 157"/>
              <a:gd name="T60" fmla="*/ 2147483647 w 131"/>
              <a:gd name="T61" fmla="*/ 2147483647 h 157"/>
              <a:gd name="T62" fmla="*/ 2147483647 w 131"/>
              <a:gd name="T63" fmla="*/ 2147483647 h 157"/>
              <a:gd name="T64" fmla="*/ 2147483647 w 131"/>
              <a:gd name="T65" fmla="*/ 2147483647 h 157"/>
              <a:gd name="T66" fmla="*/ 2147483647 w 131"/>
              <a:gd name="T67" fmla="*/ 2147483647 h 157"/>
              <a:gd name="T68" fmla="*/ 2147483647 w 131"/>
              <a:gd name="T69" fmla="*/ 2147483647 h 157"/>
              <a:gd name="T70" fmla="*/ 2147483647 w 131"/>
              <a:gd name="T71" fmla="*/ 2147483647 h 157"/>
              <a:gd name="T72" fmla="*/ 2147483647 w 131"/>
              <a:gd name="T73" fmla="*/ 2147483647 h 157"/>
              <a:gd name="T74" fmla="*/ 2147483647 w 131"/>
              <a:gd name="T75" fmla="*/ 2147483647 h 157"/>
              <a:gd name="T76" fmla="*/ 2147483647 w 131"/>
              <a:gd name="T77" fmla="*/ 2147483647 h 157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131"/>
              <a:gd name="T118" fmla="*/ 0 h 157"/>
              <a:gd name="T119" fmla="*/ 131 w 131"/>
              <a:gd name="T120" fmla="*/ 157 h 157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131" h="157">
                <a:moveTo>
                  <a:pt x="73" y="11"/>
                </a:moveTo>
                <a:lnTo>
                  <a:pt x="65" y="6"/>
                </a:lnTo>
                <a:lnTo>
                  <a:pt x="51" y="9"/>
                </a:lnTo>
                <a:lnTo>
                  <a:pt x="47" y="0"/>
                </a:lnTo>
                <a:lnTo>
                  <a:pt x="40" y="6"/>
                </a:lnTo>
                <a:lnTo>
                  <a:pt x="29" y="12"/>
                </a:lnTo>
                <a:lnTo>
                  <a:pt x="16" y="8"/>
                </a:lnTo>
                <a:lnTo>
                  <a:pt x="11" y="13"/>
                </a:lnTo>
                <a:lnTo>
                  <a:pt x="10" y="32"/>
                </a:lnTo>
                <a:lnTo>
                  <a:pt x="12" y="36"/>
                </a:lnTo>
                <a:lnTo>
                  <a:pt x="13" y="41"/>
                </a:lnTo>
                <a:lnTo>
                  <a:pt x="16" y="50"/>
                </a:lnTo>
                <a:lnTo>
                  <a:pt x="15" y="55"/>
                </a:lnTo>
                <a:lnTo>
                  <a:pt x="5" y="57"/>
                </a:lnTo>
                <a:lnTo>
                  <a:pt x="9" y="67"/>
                </a:lnTo>
                <a:lnTo>
                  <a:pt x="1" y="77"/>
                </a:lnTo>
                <a:lnTo>
                  <a:pt x="0" y="77"/>
                </a:lnTo>
                <a:lnTo>
                  <a:pt x="0" y="99"/>
                </a:lnTo>
                <a:lnTo>
                  <a:pt x="0" y="104"/>
                </a:lnTo>
                <a:lnTo>
                  <a:pt x="15" y="116"/>
                </a:lnTo>
                <a:lnTo>
                  <a:pt x="24" y="127"/>
                </a:lnTo>
                <a:lnTo>
                  <a:pt x="21" y="157"/>
                </a:lnTo>
                <a:lnTo>
                  <a:pt x="48" y="147"/>
                </a:lnTo>
                <a:lnTo>
                  <a:pt x="76" y="138"/>
                </a:lnTo>
                <a:lnTo>
                  <a:pt x="70" y="137"/>
                </a:lnTo>
                <a:lnTo>
                  <a:pt x="97" y="135"/>
                </a:lnTo>
                <a:lnTo>
                  <a:pt x="83" y="135"/>
                </a:lnTo>
                <a:lnTo>
                  <a:pt x="101" y="134"/>
                </a:lnTo>
                <a:lnTo>
                  <a:pt x="114" y="135"/>
                </a:lnTo>
                <a:lnTo>
                  <a:pt x="117" y="139"/>
                </a:lnTo>
                <a:lnTo>
                  <a:pt x="124" y="134"/>
                </a:lnTo>
                <a:lnTo>
                  <a:pt x="119" y="115"/>
                </a:lnTo>
                <a:lnTo>
                  <a:pt x="114" y="96"/>
                </a:lnTo>
                <a:lnTo>
                  <a:pt x="123" y="79"/>
                </a:lnTo>
                <a:lnTo>
                  <a:pt x="131" y="61"/>
                </a:lnTo>
                <a:lnTo>
                  <a:pt x="126" y="30"/>
                </a:lnTo>
                <a:lnTo>
                  <a:pt x="107" y="19"/>
                </a:lnTo>
                <a:lnTo>
                  <a:pt x="87" y="24"/>
                </a:lnTo>
                <a:lnTo>
                  <a:pt x="73" y="11"/>
                </a:lnTo>
                <a:close/>
              </a:path>
            </a:pathLst>
          </a:custGeom>
          <a:gradFill rotWithShape="1">
            <a:gsLst>
              <a:gs pos="0">
                <a:schemeClr val="accent2"/>
              </a:gs>
              <a:gs pos="100000">
                <a:srgbClr val="2E1A38"/>
              </a:gs>
            </a:gsLst>
            <a:lin ang="5400000" scaled="1"/>
          </a:gradFill>
          <a:ln w="6350" cap="rnd">
            <a:solidFill>
              <a:srgbClr val="DDDDDD"/>
            </a:solidFill>
            <a:round/>
            <a:headEnd/>
            <a:tailEnd/>
          </a:ln>
        </p:spPr>
        <p:txBody>
          <a:bodyPr lIns="91430" tIns="45716" rIns="91430" bIns="45716"/>
          <a:lstStyle/>
          <a:p>
            <a:endParaRPr lang="en-US"/>
          </a:p>
        </p:txBody>
      </p:sp>
      <p:sp>
        <p:nvSpPr>
          <p:cNvPr id="9270" name="Freeform 52"/>
          <p:cNvSpPr>
            <a:spLocks/>
          </p:cNvSpPr>
          <p:nvPr/>
        </p:nvSpPr>
        <p:spPr bwMode="auto">
          <a:xfrm>
            <a:off x="4029075" y="4403725"/>
            <a:ext cx="87313" cy="104775"/>
          </a:xfrm>
          <a:custGeom>
            <a:avLst/>
            <a:gdLst>
              <a:gd name="T0" fmla="*/ 2147483647 w 66"/>
              <a:gd name="T1" fmla="*/ 2147483647 h 76"/>
              <a:gd name="T2" fmla="*/ 2147483647 w 66"/>
              <a:gd name="T3" fmla="*/ 2147483647 h 76"/>
              <a:gd name="T4" fmla="*/ 2147483647 w 66"/>
              <a:gd name="T5" fmla="*/ 2147483647 h 76"/>
              <a:gd name="T6" fmla="*/ 2147483647 w 66"/>
              <a:gd name="T7" fmla="*/ 2147483647 h 76"/>
              <a:gd name="T8" fmla="*/ 2147483647 w 66"/>
              <a:gd name="T9" fmla="*/ 2147483647 h 76"/>
              <a:gd name="T10" fmla="*/ 2147483647 w 66"/>
              <a:gd name="T11" fmla="*/ 2147483647 h 76"/>
              <a:gd name="T12" fmla="*/ 2147483647 w 66"/>
              <a:gd name="T13" fmla="*/ 2147483647 h 76"/>
              <a:gd name="T14" fmla="*/ 2147483647 w 66"/>
              <a:gd name="T15" fmla="*/ 2147483647 h 76"/>
              <a:gd name="T16" fmla="*/ 2147483647 w 66"/>
              <a:gd name="T17" fmla="*/ 2147483647 h 76"/>
              <a:gd name="T18" fmla="*/ 2147483647 w 66"/>
              <a:gd name="T19" fmla="*/ 2147483647 h 76"/>
              <a:gd name="T20" fmla="*/ 2147483647 w 66"/>
              <a:gd name="T21" fmla="*/ 2147483647 h 76"/>
              <a:gd name="T22" fmla="*/ 0 w 66"/>
              <a:gd name="T23" fmla="*/ 2147483647 h 76"/>
              <a:gd name="T24" fmla="*/ 2147483647 w 66"/>
              <a:gd name="T25" fmla="*/ 2147483647 h 76"/>
              <a:gd name="T26" fmla="*/ 2147483647 w 66"/>
              <a:gd name="T27" fmla="*/ 0 h 76"/>
              <a:gd name="T28" fmla="*/ 2147483647 w 66"/>
              <a:gd name="T29" fmla="*/ 2147483647 h 76"/>
              <a:gd name="T30" fmla="*/ 2147483647 w 66"/>
              <a:gd name="T31" fmla="*/ 2147483647 h 76"/>
              <a:gd name="T32" fmla="*/ 2147483647 w 66"/>
              <a:gd name="T33" fmla="*/ 2147483647 h 7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66"/>
              <a:gd name="T52" fmla="*/ 0 h 76"/>
              <a:gd name="T53" fmla="*/ 66 w 66"/>
              <a:gd name="T54" fmla="*/ 76 h 7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66" h="76">
                <a:moveTo>
                  <a:pt x="66" y="38"/>
                </a:moveTo>
                <a:lnTo>
                  <a:pt x="56" y="52"/>
                </a:lnTo>
                <a:lnTo>
                  <a:pt x="45" y="68"/>
                </a:lnTo>
                <a:lnTo>
                  <a:pt x="39" y="76"/>
                </a:lnTo>
                <a:lnTo>
                  <a:pt x="16" y="64"/>
                </a:lnTo>
                <a:lnTo>
                  <a:pt x="20" y="61"/>
                </a:lnTo>
                <a:lnTo>
                  <a:pt x="15" y="57"/>
                </a:lnTo>
                <a:lnTo>
                  <a:pt x="1" y="40"/>
                </a:lnTo>
                <a:lnTo>
                  <a:pt x="8" y="36"/>
                </a:lnTo>
                <a:lnTo>
                  <a:pt x="1" y="33"/>
                </a:lnTo>
                <a:lnTo>
                  <a:pt x="7" y="28"/>
                </a:lnTo>
                <a:lnTo>
                  <a:pt x="0" y="24"/>
                </a:lnTo>
                <a:lnTo>
                  <a:pt x="15" y="7"/>
                </a:lnTo>
                <a:lnTo>
                  <a:pt x="45" y="0"/>
                </a:lnTo>
                <a:lnTo>
                  <a:pt x="60" y="22"/>
                </a:lnTo>
                <a:lnTo>
                  <a:pt x="57" y="39"/>
                </a:lnTo>
                <a:lnTo>
                  <a:pt x="66" y="3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71" name="Freeform 53"/>
          <p:cNvSpPr>
            <a:spLocks/>
          </p:cNvSpPr>
          <p:nvPr/>
        </p:nvSpPr>
        <p:spPr bwMode="auto">
          <a:xfrm>
            <a:off x="4411663" y="4365625"/>
            <a:ext cx="52387" cy="169863"/>
          </a:xfrm>
          <a:custGeom>
            <a:avLst/>
            <a:gdLst>
              <a:gd name="T0" fmla="*/ 2147483647 w 40"/>
              <a:gd name="T1" fmla="*/ 2147483647 h 125"/>
              <a:gd name="T2" fmla="*/ 0 w 40"/>
              <a:gd name="T3" fmla="*/ 0 h 125"/>
              <a:gd name="T4" fmla="*/ 2147483647 w 40"/>
              <a:gd name="T5" fmla="*/ 2147483647 h 125"/>
              <a:gd name="T6" fmla="*/ 2147483647 w 40"/>
              <a:gd name="T7" fmla="*/ 2147483647 h 125"/>
              <a:gd name="T8" fmla="*/ 2147483647 w 40"/>
              <a:gd name="T9" fmla="*/ 2147483647 h 125"/>
              <a:gd name="T10" fmla="*/ 2147483647 w 40"/>
              <a:gd name="T11" fmla="*/ 2147483647 h 125"/>
              <a:gd name="T12" fmla="*/ 2147483647 w 40"/>
              <a:gd name="T13" fmla="*/ 2147483647 h 125"/>
              <a:gd name="T14" fmla="*/ 2147483647 w 40"/>
              <a:gd name="T15" fmla="*/ 2147483647 h 125"/>
              <a:gd name="T16" fmla="*/ 2147483647 w 40"/>
              <a:gd name="T17" fmla="*/ 2147483647 h 125"/>
              <a:gd name="T18" fmla="*/ 2147483647 w 40"/>
              <a:gd name="T19" fmla="*/ 2147483647 h 125"/>
              <a:gd name="T20" fmla="*/ 2147483647 w 40"/>
              <a:gd name="T21" fmla="*/ 2147483647 h 125"/>
              <a:gd name="T22" fmla="*/ 2147483647 w 40"/>
              <a:gd name="T23" fmla="*/ 2147483647 h 125"/>
              <a:gd name="T24" fmla="*/ 2147483647 w 40"/>
              <a:gd name="T25" fmla="*/ 2147483647 h 125"/>
              <a:gd name="T26" fmla="*/ 2147483647 w 40"/>
              <a:gd name="T27" fmla="*/ 2147483647 h 125"/>
              <a:gd name="T28" fmla="*/ 2147483647 w 40"/>
              <a:gd name="T29" fmla="*/ 2147483647 h 125"/>
              <a:gd name="T30" fmla="*/ 2147483647 w 40"/>
              <a:gd name="T31" fmla="*/ 2147483647 h 125"/>
              <a:gd name="T32" fmla="*/ 2147483647 w 40"/>
              <a:gd name="T33" fmla="*/ 2147483647 h 125"/>
              <a:gd name="T34" fmla="*/ 2147483647 w 40"/>
              <a:gd name="T35" fmla="*/ 2147483647 h 125"/>
              <a:gd name="T36" fmla="*/ 2147483647 w 40"/>
              <a:gd name="T37" fmla="*/ 2147483647 h 125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40"/>
              <a:gd name="T58" fmla="*/ 0 h 125"/>
              <a:gd name="T59" fmla="*/ 40 w 40"/>
              <a:gd name="T60" fmla="*/ 125 h 125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40" h="125">
                <a:moveTo>
                  <a:pt x="18" y="2"/>
                </a:moveTo>
                <a:lnTo>
                  <a:pt x="0" y="0"/>
                </a:lnTo>
                <a:lnTo>
                  <a:pt x="4" y="7"/>
                </a:lnTo>
                <a:lnTo>
                  <a:pt x="12" y="30"/>
                </a:lnTo>
                <a:lnTo>
                  <a:pt x="12" y="41"/>
                </a:lnTo>
                <a:lnTo>
                  <a:pt x="14" y="58"/>
                </a:lnTo>
                <a:lnTo>
                  <a:pt x="17" y="73"/>
                </a:lnTo>
                <a:lnTo>
                  <a:pt x="18" y="94"/>
                </a:lnTo>
                <a:lnTo>
                  <a:pt x="18" y="113"/>
                </a:lnTo>
                <a:lnTo>
                  <a:pt x="30" y="125"/>
                </a:lnTo>
                <a:lnTo>
                  <a:pt x="40" y="121"/>
                </a:lnTo>
                <a:lnTo>
                  <a:pt x="39" y="103"/>
                </a:lnTo>
                <a:lnTo>
                  <a:pt x="39" y="84"/>
                </a:lnTo>
                <a:lnTo>
                  <a:pt x="38" y="66"/>
                </a:lnTo>
                <a:lnTo>
                  <a:pt x="36" y="47"/>
                </a:lnTo>
                <a:lnTo>
                  <a:pt x="34" y="28"/>
                </a:lnTo>
                <a:lnTo>
                  <a:pt x="22" y="13"/>
                </a:lnTo>
                <a:lnTo>
                  <a:pt x="24" y="2"/>
                </a:lnTo>
                <a:lnTo>
                  <a:pt x="18" y="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72" name="Freeform 54"/>
          <p:cNvSpPr>
            <a:spLocks/>
          </p:cNvSpPr>
          <p:nvPr/>
        </p:nvSpPr>
        <p:spPr bwMode="auto">
          <a:xfrm>
            <a:off x="4173538" y="3486150"/>
            <a:ext cx="582612" cy="604838"/>
          </a:xfrm>
          <a:custGeom>
            <a:avLst/>
            <a:gdLst>
              <a:gd name="T0" fmla="*/ 0 w 441"/>
              <a:gd name="T1" fmla="*/ 2147483647 h 441"/>
              <a:gd name="T2" fmla="*/ 2147483647 w 441"/>
              <a:gd name="T3" fmla="*/ 2147483647 h 441"/>
              <a:gd name="T4" fmla="*/ 2147483647 w 441"/>
              <a:gd name="T5" fmla="*/ 2147483647 h 441"/>
              <a:gd name="T6" fmla="*/ 2147483647 w 441"/>
              <a:gd name="T7" fmla="*/ 2147483647 h 441"/>
              <a:gd name="T8" fmla="*/ 2147483647 w 441"/>
              <a:gd name="T9" fmla="*/ 2147483647 h 441"/>
              <a:gd name="T10" fmla="*/ 2147483647 w 441"/>
              <a:gd name="T11" fmla="*/ 2147483647 h 441"/>
              <a:gd name="T12" fmla="*/ 2147483647 w 441"/>
              <a:gd name="T13" fmla="*/ 2147483647 h 441"/>
              <a:gd name="T14" fmla="*/ 2147483647 w 441"/>
              <a:gd name="T15" fmla="*/ 2147483647 h 441"/>
              <a:gd name="T16" fmla="*/ 2147483647 w 441"/>
              <a:gd name="T17" fmla="*/ 2147483647 h 441"/>
              <a:gd name="T18" fmla="*/ 2147483647 w 441"/>
              <a:gd name="T19" fmla="*/ 2147483647 h 441"/>
              <a:gd name="T20" fmla="*/ 2147483647 w 441"/>
              <a:gd name="T21" fmla="*/ 2147483647 h 441"/>
              <a:gd name="T22" fmla="*/ 2147483647 w 441"/>
              <a:gd name="T23" fmla="*/ 2147483647 h 441"/>
              <a:gd name="T24" fmla="*/ 2147483647 w 441"/>
              <a:gd name="T25" fmla="*/ 2147483647 h 441"/>
              <a:gd name="T26" fmla="*/ 2147483647 w 441"/>
              <a:gd name="T27" fmla="*/ 2147483647 h 441"/>
              <a:gd name="T28" fmla="*/ 2147483647 w 441"/>
              <a:gd name="T29" fmla="*/ 2147483647 h 441"/>
              <a:gd name="T30" fmla="*/ 2147483647 w 441"/>
              <a:gd name="T31" fmla="*/ 2147483647 h 441"/>
              <a:gd name="T32" fmla="*/ 2147483647 w 441"/>
              <a:gd name="T33" fmla="*/ 2147483647 h 441"/>
              <a:gd name="T34" fmla="*/ 2147483647 w 441"/>
              <a:gd name="T35" fmla="*/ 2147483647 h 441"/>
              <a:gd name="T36" fmla="*/ 2147483647 w 441"/>
              <a:gd name="T37" fmla="*/ 2147483647 h 441"/>
              <a:gd name="T38" fmla="*/ 2147483647 w 441"/>
              <a:gd name="T39" fmla="*/ 2147483647 h 441"/>
              <a:gd name="T40" fmla="*/ 2147483647 w 441"/>
              <a:gd name="T41" fmla="*/ 2147483647 h 441"/>
              <a:gd name="T42" fmla="*/ 2147483647 w 441"/>
              <a:gd name="T43" fmla="*/ 2147483647 h 441"/>
              <a:gd name="T44" fmla="*/ 2147483647 w 441"/>
              <a:gd name="T45" fmla="*/ 0 h 441"/>
              <a:gd name="T46" fmla="*/ 2147483647 w 441"/>
              <a:gd name="T47" fmla="*/ 2147483647 h 441"/>
              <a:gd name="T48" fmla="*/ 2147483647 w 441"/>
              <a:gd name="T49" fmla="*/ 2147483647 h 441"/>
              <a:gd name="T50" fmla="*/ 2147483647 w 441"/>
              <a:gd name="T51" fmla="*/ 2147483647 h 441"/>
              <a:gd name="T52" fmla="*/ 2147483647 w 441"/>
              <a:gd name="T53" fmla="*/ 2147483647 h 441"/>
              <a:gd name="T54" fmla="*/ 2147483647 w 441"/>
              <a:gd name="T55" fmla="*/ 2147483647 h 441"/>
              <a:gd name="T56" fmla="*/ 2147483647 w 441"/>
              <a:gd name="T57" fmla="*/ 2147483647 h 441"/>
              <a:gd name="T58" fmla="*/ 2147483647 w 441"/>
              <a:gd name="T59" fmla="*/ 2147483647 h 441"/>
              <a:gd name="T60" fmla="*/ 2147483647 w 441"/>
              <a:gd name="T61" fmla="*/ 2147483647 h 441"/>
              <a:gd name="T62" fmla="*/ 2147483647 w 441"/>
              <a:gd name="T63" fmla="*/ 2147483647 h 441"/>
              <a:gd name="T64" fmla="*/ 2147483647 w 441"/>
              <a:gd name="T65" fmla="*/ 2147483647 h 441"/>
              <a:gd name="T66" fmla="*/ 2147483647 w 441"/>
              <a:gd name="T67" fmla="*/ 2147483647 h 441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441"/>
              <a:gd name="T103" fmla="*/ 0 h 441"/>
              <a:gd name="T104" fmla="*/ 441 w 441"/>
              <a:gd name="T105" fmla="*/ 441 h 441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441" h="441">
                <a:moveTo>
                  <a:pt x="5" y="201"/>
                </a:moveTo>
                <a:lnTo>
                  <a:pt x="0" y="230"/>
                </a:lnTo>
                <a:lnTo>
                  <a:pt x="0" y="239"/>
                </a:lnTo>
                <a:lnTo>
                  <a:pt x="21" y="252"/>
                </a:lnTo>
                <a:lnTo>
                  <a:pt x="41" y="267"/>
                </a:lnTo>
                <a:lnTo>
                  <a:pt x="62" y="281"/>
                </a:lnTo>
                <a:lnTo>
                  <a:pt x="82" y="296"/>
                </a:lnTo>
                <a:lnTo>
                  <a:pt x="98" y="308"/>
                </a:lnTo>
                <a:lnTo>
                  <a:pt x="113" y="320"/>
                </a:lnTo>
                <a:lnTo>
                  <a:pt x="129" y="332"/>
                </a:lnTo>
                <a:lnTo>
                  <a:pt x="146" y="344"/>
                </a:lnTo>
                <a:lnTo>
                  <a:pt x="161" y="356"/>
                </a:lnTo>
                <a:lnTo>
                  <a:pt x="177" y="368"/>
                </a:lnTo>
                <a:lnTo>
                  <a:pt x="194" y="381"/>
                </a:lnTo>
                <a:lnTo>
                  <a:pt x="209" y="393"/>
                </a:lnTo>
                <a:lnTo>
                  <a:pt x="209" y="400"/>
                </a:lnTo>
                <a:lnTo>
                  <a:pt x="220" y="410"/>
                </a:lnTo>
                <a:lnTo>
                  <a:pt x="250" y="422"/>
                </a:lnTo>
                <a:lnTo>
                  <a:pt x="251" y="441"/>
                </a:lnTo>
                <a:lnTo>
                  <a:pt x="275" y="441"/>
                </a:lnTo>
                <a:lnTo>
                  <a:pt x="292" y="437"/>
                </a:lnTo>
                <a:lnTo>
                  <a:pt x="310" y="434"/>
                </a:lnTo>
                <a:lnTo>
                  <a:pt x="327" y="416"/>
                </a:lnTo>
                <a:lnTo>
                  <a:pt x="344" y="399"/>
                </a:lnTo>
                <a:lnTo>
                  <a:pt x="369" y="382"/>
                </a:lnTo>
                <a:lnTo>
                  <a:pt x="393" y="365"/>
                </a:lnTo>
                <a:lnTo>
                  <a:pt x="417" y="348"/>
                </a:lnTo>
                <a:lnTo>
                  <a:pt x="441" y="333"/>
                </a:lnTo>
                <a:lnTo>
                  <a:pt x="431" y="312"/>
                </a:lnTo>
                <a:lnTo>
                  <a:pt x="406" y="309"/>
                </a:lnTo>
                <a:lnTo>
                  <a:pt x="398" y="287"/>
                </a:lnTo>
                <a:lnTo>
                  <a:pt x="384" y="267"/>
                </a:lnTo>
                <a:lnTo>
                  <a:pt x="394" y="258"/>
                </a:lnTo>
                <a:lnTo>
                  <a:pt x="393" y="230"/>
                </a:lnTo>
                <a:lnTo>
                  <a:pt x="393" y="201"/>
                </a:lnTo>
                <a:lnTo>
                  <a:pt x="383" y="172"/>
                </a:lnTo>
                <a:lnTo>
                  <a:pt x="384" y="166"/>
                </a:lnTo>
                <a:lnTo>
                  <a:pt x="378" y="142"/>
                </a:lnTo>
                <a:lnTo>
                  <a:pt x="374" y="119"/>
                </a:lnTo>
                <a:lnTo>
                  <a:pt x="357" y="101"/>
                </a:lnTo>
                <a:lnTo>
                  <a:pt x="340" y="77"/>
                </a:lnTo>
                <a:lnTo>
                  <a:pt x="350" y="59"/>
                </a:lnTo>
                <a:lnTo>
                  <a:pt x="358" y="41"/>
                </a:lnTo>
                <a:lnTo>
                  <a:pt x="356" y="6"/>
                </a:lnTo>
                <a:lnTo>
                  <a:pt x="360" y="0"/>
                </a:lnTo>
                <a:lnTo>
                  <a:pt x="329" y="0"/>
                </a:lnTo>
                <a:lnTo>
                  <a:pt x="311" y="0"/>
                </a:lnTo>
                <a:lnTo>
                  <a:pt x="288" y="4"/>
                </a:lnTo>
                <a:lnTo>
                  <a:pt x="266" y="4"/>
                </a:lnTo>
                <a:lnTo>
                  <a:pt x="243" y="4"/>
                </a:lnTo>
                <a:lnTo>
                  <a:pt x="215" y="12"/>
                </a:lnTo>
                <a:lnTo>
                  <a:pt x="189" y="20"/>
                </a:lnTo>
                <a:lnTo>
                  <a:pt x="178" y="26"/>
                </a:lnTo>
                <a:lnTo>
                  <a:pt x="158" y="35"/>
                </a:lnTo>
                <a:lnTo>
                  <a:pt x="138" y="45"/>
                </a:lnTo>
                <a:lnTo>
                  <a:pt x="143" y="51"/>
                </a:lnTo>
                <a:lnTo>
                  <a:pt x="147" y="69"/>
                </a:lnTo>
                <a:lnTo>
                  <a:pt x="149" y="88"/>
                </a:lnTo>
                <a:lnTo>
                  <a:pt x="162" y="110"/>
                </a:lnTo>
                <a:lnTo>
                  <a:pt x="158" y="117"/>
                </a:lnTo>
                <a:lnTo>
                  <a:pt x="135" y="118"/>
                </a:lnTo>
                <a:lnTo>
                  <a:pt x="107" y="129"/>
                </a:lnTo>
                <a:lnTo>
                  <a:pt x="107" y="143"/>
                </a:lnTo>
                <a:lnTo>
                  <a:pt x="93" y="154"/>
                </a:lnTo>
                <a:lnTo>
                  <a:pt x="77" y="165"/>
                </a:lnTo>
                <a:lnTo>
                  <a:pt x="58" y="173"/>
                </a:lnTo>
                <a:lnTo>
                  <a:pt x="40" y="180"/>
                </a:lnTo>
                <a:lnTo>
                  <a:pt x="23" y="191"/>
                </a:lnTo>
                <a:lnTo>
                  <a:pt x="5" y="20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73" name="Freeform 55"/>
          <p:cNvSpPr>
            <a:spLocks/>
          </p:cNvSpPr>
          <p:nvPr/>
        </p:nvSpPr>
        <p:spPr bwMode="auto">
          <a:xfrm>
            <a:off x="4267200" y="3509963"/>
            <a:ext cx="4763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0 h 2"/>
              <a:gd name="T4" fmla="*/ 0 w 2"/>
              <a:gd name="T5" fmla="*/ 2147483647 h 2"/>
              <a:gd name="T6" fmla="*/ 0 60000 65536"/>
              <a:gd name="T7" fmla="*/ 0 60000 65536"/>
              <a:gd name="T8" fmla="*/ 0 60000 65536"/>
              <a:gd name="T9" fmla="*/ 0 w 2"/>
              <a:gd name="T10" fmla="*/ 0 h 2"/>
              <a:gd name="T11" fmla="*/ 2 w 2"/>
              <a:gd name="T12" fmla="*/ 2 h 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74" name="Freeform 56"/>
          <p:cNvSpPr>
            <a:spLocks/>
          </p:cNvSpPr>
          <p:nvPr/>
        </p:nvSpPr>
        <p:spPr bwMode="auto">
          <a:xfrm>
            <a:off x="4679950" y="3611563"/>
            <a:ext cx="450850" cy="466725"/>
          </a:xfrm>
          <a:custGeom>
            <a:avLst/>
            <a:gdLst>
              <a:gd name="T0" fmla="*/ 2147483647 w 340"/>
              <a:gd name="T1" fmla="*/ 2147483647 h 339"/>
              <a:gd name="T2" fmla="*/ 2147483647 w 340"/>
              <a:gd name="T3" fmla="*/ 2147483647 h 339"/>
              <a:gd name="T4" fmla="*/ 2147483647 w 340"/>
              <a:gd name="T5" fmla="*/ 2147483647 h 339"/>
              <a:gd name="T6" fmla="*/ 2147483647 w 340"/>
              <a:gd name="T7" fmla="*/ 2147483647 h 339"/>
              <a:gd name="T8" fmla="*/ 2147483647 w 340"/>
              <a:gd name="T9" fmla="*/ 2147483647 h 339"/>
              <a:gd name="T10" fmla="*/ 2147483647 w 340"/>
              <a:gd name="T11" fmla="*/ 2147483647 h 339"/>
              <a:gd name="T12" fmla="*/ 2147483647 w 340"/>
              <a:gd name="T13" fmla="*/ 2147483647 h 339"/>
              <a:gd name="T14" fmla="*/ 2147483647 w 340"/>
              <a:gd name="T15" fmla="*/ 2147483647 h 339"/>
              <a:gd name="T16" fmla="*/ 2147483647 w 340"/>
              <a:gd name="T17" fmla="*/ 2147483647 h 339"/>
              <a:gd name="T18" fmla="*/ 2147483647 w 340"/>
              <a:gd name="T19" fmla="*/ 2147483647 h 339"/>
              <a:gd name="T20" fmla="*/ 2147483647 w 340"/>
              <a:gd name="T21" fmla="*/ 2147483647 h 339"/>
              <a:gd name="T22" fmla="*/ 2147483647 w 340"/>
              <a:gd name="T23" fmla="*/ 2147483647 h 339"/>
              <a:gd name="T24" fmla="*/ 2147483647 w 340"/>
              <a:gd name="T25" fmla="*/ 2147483647 h 339"/>
              <a:gd name="T26" fmla="*/ 2147483647 w 340"/>
              <a:gd name="T27" fmla="*/ 2147483647 h 339"/>
              <a:gd name="T28" fmla="*/ 2147483647 w 340"/>
              <a:gd name="T29" fmla="*/ 2147483647 h 339"/>
              <a:gd name="T30" fmla="*/ 2147483647 w 340"/>
              <a:gd name="T31" fmla="*/ 2147483647 h 339"/>
              <a:gd name="T32" fmla="*/ 2147483647 w 340"/>
              <a:gd name="T33" fmla="*/ 2147483647 h 339"/>
              <a:gd name="T34" fmla="*/ 2147483647 w 340"/>
              <a:gd name="T35" fmla="*/ 2147483647 h 339"/>
              <a:gd name="T36" fmla="*/ 2147483647 w 340"/>
              <a:gd name="T37" fmla="*/ 2147483647 h 339"/>
              <a:gd name="T38" fmla="*/ 2147483647 w 340"/>
              <a:gd name="T39" fmla="*/ 2147483647 h 339"/>
              <a:gd name="T40" fmla="*/ 2147483647 w 340"/>
              <a:gd name="T41" fmla="*/ 2147483647 h 339"/>
              <a:gd name="T42" fmla="*/ 2147483647 w 340"/>
              <a:gd name="T43" fmla="*/ 2147483647 h 339"/>
              <a:gd name="T44" fmla="*/ 2147483647 w 340"/>
              <a:gd name="T45" fmla="*/ 2147483647 h 339"/>
              <a:gd name="T46" fmla="*/ 2147483647 w 340"/>
              <a:gd name="T47" fmla="*/ 2147483647 h 339"/>
              <a:gd name="T48" fmla="*/ 2147483647 w 340"/>
              <a:gd name="T49" fmla="*/ 2147483647 h 339"/>
              <a:gd name="T50" fmla="*/ 2147483647 w 340"/>
              <a:gd name="T51" fmla="*/ 2147483647 h 339"/>
              <a:gd name="T52" fmla="*/ 2147483647 w 340"/>
              <a:gd name="T53" fmla="*/ 2147483647 h 339"/>
              <a:gd name="T54" fmla="*/ 2147483647 w 340"/>
              <a:gd name="T55" fmla="*/ 2147483647 h 339"/>
              <a:gd name="T56" fmla="*/ 2147483647 w 340"/>
              <a:gd name="T57" fmla="*/ 2147483647 h 339"/>
              <a:gd name="T58" fmla="*/ 2147483647 w 340"/>
              <a:gd name="T59" fmla="*/ 2147483647 h 339"/>
              <a:gd name="T60" fmla="*/ 2147483647 w 340"/>
              <a:gd name="T61" fmla="*/ 0 h 339"/>
              <a:gd name="T62" fmla="*/ 2147483647 w 340"/>
              <a:gd name="T63" fmla="*/ 2147483647 h 339"/>
              <a:gd name="T64" fmla="*/ 2147483647 w 340"/>
              <a:gd name="T65" fmla="*/ 2147483647 h 339"/>
              <a:gd name="T66" fmla="*/ 2147483647 w 340"/>
              <a:gd name="T67" fmla="*/ 2147483647 h 339"/>
              <a:gd name="T68" fmla="*/ 2147483647 w 340"/>
              <a:gd name="T69" fmla="*/ 2147483647 h 339"/>
              <a:gd name="T70" fmla="*/ 2147483647 w 340"/>
              <a:gd name="T71" fmla="*/ 2147483647 h 339"/>
              <a:gd name="T72" fmla="*/ 0 w 340"/>
              <a:gd name="T73" fmla="*/ 2147483647 h 339"/>
              <a:gd name="T74" fmla="*/ 2147483647 w 340"/>
              <a:gd name="T75" fmla="*/ 2147483647 h 339"/>
              <a:gd name="T76" fmla="*/ 2147483647 w 340"/>
              <a:gd name="T77" fmla="*/ 2147483647 h 339"/>
              <a:gd name="T78" fmla="*/ 2147483647 w 340"/>
              <a:gd name="T79" fmla="*/ 2147483647 h 339"/>
              <a:gd name="T80" fmla="*/ 2147483647 w 340"/>
              <a:gd name="T81" fmla="*/ 2147483647 h 339"/>
              <a:gd name="T82" fmla="*/ 2147483647 w 340"/>
              <a:gd name="T83" fmla="*/ 2147483647 h 339"/>
              <a:gd name="T84" fmla="*/ 2147483647 w 340"/>
              <a:gd name="T85" fmla="*/ 2147483647 h 339"/>
              <a:gd name="T86" fmla="*/ 2147483647 w 340"/>
              <a:gd name="T87" fmla="*/ 2147483647 h 339"/>
              <a:gd name="T88" fmla="*/ 2147483647 w 340"/>
              <a:gd name="T89" fmla="*/ 2147483647 h 339"/>
              <a:gd name="T90" fmla="*/ 2147483647 w 340"/>
              <a:gd name="T91" fmla="*/ 2147483647 h 339"/>
              <a:gd name="T92" fmla="*/ 2147483647 w 340"/>
              <a:gd name="T93" fmla="*/ 2147483647 h 339"/>
              <a:gd name="T94" fmla="*/ 2147483647 w 340"/>
              <a:gd name="T95" fmla="*/ 2147483647 h 339"/>
              <a:gd name="T96" fmla="*/ 2147483647 w 340"/>
              <a:gd name="T97" fmla="*/ 2147483647 h 339"/>
              <a:gd name="T98" fmla="*/ 2147483647 w 340"/>
              <a:gd name="T99" fmla="*/ 2147483647 h 339"/>
              <a:gd name="T100" fmla="*/ 2147483647 w 340"/>
              <a:gd name="T101" fmla="*/ 2147483647 h 339"/>
              <a:gd name="T102" fmla="*/ 2147483647 w 340"/>
              <a:gd name="T103" fmla="*/ 2147483647 h 339"/>
              <a:gd name="T104" fmla="*/ 2147483647 w 340"/>
              <a:gd name="T105" fmla="*/ 2147483647 h 339"/>
              <a:gd name="T106" fmla="*/ 2147483647 w 340"/>
              <a:gd name="T107" fmla="*/ 2147483647 h 339"/>
              <a:gd name="T108" fmla="*/ 2147483647 w 340"/>
              <a:gd name="T109" fmla="*/ 2147483647 h 339"/>
              <a:gd name="T110" fmla="*/ 2147483647 w 340"/>
              <a:gd name="T111" fmla="*/ 2147483647 h 339"/>
              <a:gd name="T112" fmla="*/ 2147483647 w 340"/>
              <a:gd name="T113" fmla="*/ 2147483647 h 339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340"/>
              <a:gd name="T172" fmla="*/ 0 h 339"/>
              <a:gd name="T173" fmla="*/ 340 w 340"/>
              <a:gd name="T174" fmla="*/ 339 h 339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340" h="339">
                <a:moveTo>
                  <a:pt x="318" y="339"/>
                </a:moveTo>
                <a:lnTo>
                  <a:pt x="318" y="326"/>
                </a:lnTo>
                <a:lnTo>
                  <a:pt x="340" y="326"/>
                </a:lnTo>
                <a:lnTo>
                  <a:pt x="339" y="302"/>
                </a:lnTo>
                <a:lnTo>
                  <a:pt x="338" y="277"/>
                </a:lnTo>
                <a:lnTo>
                  <a:pt x="336" y="254"/>
                </a:lnTo>
                <a:lnTo>
                  <a:pt x="335" y="230"/>
                </a:lnTo>
                <a:lnTo>
                  <a:pt x="334" y="207"/>
                </a:lnTo>
                <a:lnTo>
                  <a:pt x="333" y="183"/>
                </a:lnTo>
                <a:lnTo>
                  <a:pt x="330" y="161"/>
                </a:lnTo>
                <a:lnTo>
                  <a:pt x="329" y="138"/>
                </a:lnTo>
                <a:lnTo>
                  <a:pt x="328" y="114"/>
                </a:lnTo>
                <a:lnTo>
                  <a:pt x="326" y="91"/>
                </a:lnTo>
                <a:lnTo>
                  <a:pt x="324" y="72"/>
                </a:lnTo>
                <a:lnTo>
                  <a:pt x="324" y="53"/>
                </a:lnTo>
                <a:lnTo>
                  <a:pt x="328" y="37"/>
                </a:lnTo>
                <a:lnTo>
                  <a:pt x="316" y="29"/>
                </a:lnTo>
                <a:lnTo>
                  <a:pt x="284" y="20"/>
                </a:lnTo>
                <a:lnTo>
                  <a:pt x="279" y="12"/>
                </a:lnTo>
                <a:lnTo>
                  <a:pt x="251" y="6"/>
                </a:lnTo>
                <a:lnTo>
                  <a:pt x="236" y="15"/>
                </a:lnTo>
                <a:lnTo>
                  <a:pt x="220" y="25"/>
                </a:lnTo>
                <a:lnTo>
                  <a:pt x="221" y="59"/>
                </a:lnTo>
                <a:lnTo>
                  <a:pt x="201" y="72"/>
                </a:lnTo>
                <a:lnTo>
                  <a:pt x="177" y="60"/>
                </a:lnTo>
                <a:lnTo>
                  <a:pt x="153" y="48"/>
                </a:lnTo>
                <a:lnTo>
                  <a:pt x="127" y="41"/>
                </a:lnTo>
                <a:lnTo>
                  <a:pt x="118" y="19"/>
                </a:lnTo>
                <a:lnTo>
                  <a:pt x="95" y="13"/>
                </a:lnTo>
                <a:lnTo>
                  <a:pt x="72" y="8"/>
                </a:lnTo>
                <a:lnTo>
                  <a:pt x="41" y="0"/>
                </a:lnTo>
                <a:lnTo>
                  <a:pt x="40" y="20"/>
                </a:lnTo>
                <a:lnTo>
                  <a:pt x="27" y="31"/>
                </a:lnTo>
                <a:lnTo>
                  <a:pt x="13" y="43"/>
                </a:lnTo>
                <a:lnTo>
                  <a:pt x="13" y="63"/>
                </a:lnTo>
                <a:lnTo>
                  <a:pt x="1" y="73"/>
                </a:lnTo>
                <a:lnTo>
                  <a:pt x="0" y="79"/>
                </a:lnTo>
                <a:lnTo>
                  <a:pt x="10" y="108"/>
                </a:lnTo>
                <a:lnTo>
                  <a:pt x="10" y="137"/>
                </a:lnTo>
                <a:lnTo>
                  <a:pt x="11" y="165"/>
                </a:lnTo>
                <a:lnTo>
                  <a:pt x="1" y="174"/>
                </a:lnTo>
                <a:lnTo>
                  <a:pt x="15" y="194"/>
                </a:lnTo>
                <a:lnTo>
                  <a:pt x="23" y="216"/>
                </a:lnTo>
                <a:lnTo>
                  <a:pt x="48" y="219"/>
                </a:lnTo>
                <a:lnTo>
                  <a:pt x="58" y="240"/>
                </a:lnTo>
                <a:lnTo>
                  <a:pt x="88" y="247"/>
                </a:lnTo>
                <a:lnTo>
                  <a:pt x="106" y="261"/>
                </a:lnTo>
                <a:lnTo>
                  <a:pt x="121" y="253"/>
                </a:lnTo>
                <a:lnTo>
                  <a:pt x="143" y="240"/>
                </a:lnTo>
                <a:lnTo>
                  <a:pt x="165" y="252"/>
                </a:lnTo>
                <a:lnTo>
                  <a:pt x="187" y="265"/>
                </a:lnTo>
                <a:lnTo>
                  <a:pt x="209" y="277"/>
                </a:lnTo>
                <a:lnTo>
                  <a:pt x="231" y="289"/>
                </a:lnTo>
                <a:lnTo>
                  <a:pt x="252" y="302"/>
                </a:lnTo>
                <a:lnTo>
                  <a:pt x="275" y="314"/>
                </a:lnTo>
                <a:lnTo>
                  <a:pt x="297" y="326"/>
                </a:lnTo>
                <a:lnTo>
                  <a:pt x="318" y="339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75" name="Freeform 57"/>
          <p:cNvSpPr>
            <a:spLocks/>
          </p:cNvSpPr>
          <p:nvPr/>
        </p:nvSpPr>
        <p:spPr bwMode="auto">
          <a:xfrm>
            <a:off x="4062413" y="3892550"/>
            <a:ext cx="473075" cy="504825"/>
          </a:xfrm>
          <a:custGeom>
            <a:avLst/>
            <a:gdLst>
              <a:gd name="T0" fmla="*/ 2147483647 w 357"/>
              <a:gd name="T1" fmla="*/ 2147483647 h 368"/>
              <a:gd name="T2" fmla="*/ 2147483647 w 357"/>
              <a:gd name="T3" fmla="*/ 2147483647 h 368"/>
              <a:gd name="T4" fmla="*/ 2147483647 w 357"/>
              <a:gd name="T5" fmla="*/ 2147483647 h 368"/>
              <a:gd name="T6" fmla="*/ 2147483647 w 357"/>
              <a:gd name="T7" fmla="*/ 2147483647 h 368"/>
              <a:gd name="T8" fmla="*/ 2147483647 w 357"/>
              <a:gd name="T9" fmla="*/ 2147483647 h 368"/>
              <a:gd name="T10" fmla="*/ 2147483647 w 357"/>
              <a:gd name="T11" fmla="*/ 2147483647 h 368"/>
              <a:gd name="T12" fmla="*/ 2147483647 w 357"/>
              <a:gd name="T13" fmla="*/ 2147483647 h 368"/>
              <a:gd name="T14" fmla="*/ 2147483647 w 357"/>
              <a:gd name="T15" fmla="*/ 2147483647 h 368"/>
              <a:gd name="T16" fmla="*/ 2147483647 w 357"/>
              <a:gd name="T17" fmla="*/ 2147483647 h 368"/>
              <a:gd name="T18" fmla="*/ 2147483647 w 357"/>
              <a:gd name="T19" fmla="*/ 2147483647 h 368"/>
              <a:gd name="T20" fmla="*/ 2147483647 w 357"/>
              <a:gd name="T21" fmla="*/ 2147483647 h 368"/>
              <a:gd name="T22" fmla="*/ 2147483647 w 357"/>
              <a:gd name="T23" fmla="*/ 2147483647 h 368"/>
              <a:gd name="T24" fmla="*/ 2147483647 w 357"/>
              <a:gd name="T25" fmla="*/ 2147483647 h 368"/>
              <a:gd name="T26" fmla="*/ 2147483647 w 357"/>
              <a:gd name="T27" fmla="*/ 2147483647 h 368"/>
              <a:gd name="T28" fmla="*/ 2147483647 w 357"/>
              <a:gd name="T29" fmla="*/ 2147483647 h 368"/>
              <a:gd name="T30" fmla="*/ 2147483647 w 357"/>
              <a:gd name="T31" fmla="*/ 2147483647 h 368"/>
              <a:gd name="T32" fmla="*/ 2147483647 w 357"/>
              <a:gd name="T33" fmla="*/ 2147483647 h 368"/>
              <a:gd name="T34" fmla="*/ 2147483647 w 357"/>
              <a:gd name="T35" fmla="*/ 2147483647 h 368"/>
              <a:gd name="T36" fmla="*/ 2147483647 w 357"/>
              <a:gd name="T37" fmla="*/ 2147483647 h 368"/>
              <a:gd name="T38" fmla="*/ 2147483647 w 357"/>
              <a:gd name="T39" fmla="*/ 2147483647 h 368"/>
              <a:gd name="T40" fmla="*/ 2147483647 w 357"/>
              <a:gd name="T41" fmla="*/ 2147483647 h 368"/>
              <a:gd name="T42" fmla="*/ 2147483647 w 357"/>
              <a:gd name="T43" fmla="*/ 2147483647 h 368"/>
              <a:gd name="T44" fmla="*/ 2147483647 w 357"/>
              <a:gd name="T45" fmla="*/ 0 h 368"/>
              <a:gd name="T46" fmla="*/ 2147483647 w 357"/>
              <a:gd name="T47" fmla="*/ 2147483647 h 368"/>
              <a:gd name="T48" fmla="*/ 2147483647 w 357"/>
              <a:gd name="T49" fmla="*/ 2147483647 h 368"/>
              <a:gd name="T50" fmla="*/ 2147483647 w 357"/>
              <a:gd name="T51" fmla="*/ 2147483647 h 368"/>
              <a:gd name="T52" fmla="*/ 2147483647 w 357"/>
              <a:gd name="T53" fmla="*/ 2147483647 h 368"/>
              <a:gd name="T54" fmla="*/ 2147483647 w 357"/>
              <a:gd name="T55" fmla="*/ 2147483647 h 368"/>
              <a:gd name="T56" fmla="*/ 2147483647 w 357"/>
              <a:gd name="T57" fmla="*/ 2147483647 h 368"/>
              <a:gd name="T58" fmla="*/ 2147483647 w 357"/>
              <a:gd name="T59" fmla="*/ 2147483647 h 368"/>
              <a:gd name="T60" fmla="*/ 2147483647 w 357"/>
              <a:gd name="T61" fmla="*/ 2147483647 h 368"/>
              <a:gd name="T62" fmla="*/ 2147483647 w 357"/>
              <a:gd name="T63" fmla="*/ 2147483647 h 368"/>
              <a:gd name="T64" fmla="*/ 2147483647 w 357"/>
              <a:gd name="T65" fmla="*/ 2147483647 h 368"/>
              <a:gd name="T66" fmla="*/ 2147483647 w 357"/>
              <a:gd name="T67" fmla="*/ 2147483647 h 368"/>
              <a:gd name="T68" fmla="*/ 2147483647 w 357"/>
              <a:gd name="T69" fmla="*/ 2147483647 h 368"/>
              <a:gd name="T70" fmla="*/ 2147483647 w 357"/>
              <a:gd name="T71" fmla="*/ 2147483647 h 368"/>
              <a:gd name="T72" fmla="*/ 2147483647 w 357"/>
              <a:gd name="T73" fmla="*/ 2147483647 h 368"/>
              <a:gd name="T74" fmla="*/ 2147483647 w 357"/>
              <a:gd name="T75" fmla="*/ 2147483647 h 368"/>
              <a:gd name="T76" fmla="*/ 2147483647 w 357"/>
              <a:gd name="T77" fmla="*/ 2147483647 h 36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357"/>
              <a:gd name="T118" fmla="*/ 0 h 368"/>
              <a:gd name="T119" fmla="*/ 357 w 357"/>
              <a:gd name="T120" fmla="*/ 368 h 368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357" h="368">
                <a:moveTo>
                  <a:pt x="81" y="337"/>
                </a:moveTo>
                <a:lnTo>
                  <a:pt x="79" y="345"/>
                </a:lnTo>
                <a:lnTo>
                  <a:pt x="81" y="345"/>
                </a:lnTo>
                <a:lnTo>
                  <a:pt x="92" y="368"/>
                </a:lnTo>
                <a:lnTo>
                  <a:pt x="97" y="363"/>
                </a:lnTo>
                <a:lnTo>
                  <a:pt x="110" y="367"/>
                </a:lnTo>
                <a:lnTo>
                  <a:pt x="121" y="361"/>
                </a:lnTo>
                <a:lnTo>
                  <a:pt x="128" y="355"/>
                </a:lnTo>
                <a:lnTo>
                  <a:pt x="132" y="364"/>
                </a:lnTo>
                <a:lnTo>
                  <a:pt x="146" y="361"/>
                </a:lnTo>
                <a:lnTo>
                  <a:pt x="151" y="328"/>
                </a:lnTo>
                <a:lnTo>
                  <a:pt x="158" y="322"/>
                </a:lnTo>
                <a:lnTo>
                  <a:pt x="170" y="312"/>
                </a:lnTo>
                <a:lnTo>
                  <a:pt x="175" y="301"/>
                </a:lnTo>
                <a:lnTo>
                  <a:pt x="177" y="288"/>
                </a:lnTo>
                <a:lnTo>
                  <a:pt x="192" y="292"/>
                </a:lnTo>
                <a:lnTo>
                  <a:pt x="195" y="284"/>
                </a:lnTo>
                <a:lnTo>
                  <a:pt x="199" y="282"/>
                </a:lnTo>
                <a:lnTo>
                  <a:pt x="207" y="270"/>
                </a:lnTo>
                <a:lnTo>
                  <a:pt x="220" y="268"/>
                </a:lnTo>
                <a:lnTo>
                  <a:pt x="223" y="259"/>
                </a:lnTo>
                <a:lnTo>
                  <a:pt x="250" y="246"/>
                </a:lnTo>
                <a:lnTo>
                  <a:pt x="271" y="248"/>
                </a:lnTo>
                <a:lnTo>
                  <a:pt x="274" y="248"/>
                </a:lnTo>
                <a:lnTo>
                  <a:pt x="295" y="241"/>
                </a:lnTo>
                <a:lnTo>
                  <a:pt x="319" y="240"/>
                </a:lnTo>
                <a:lnTo>
                  <a:pt x="343" y="240"/>
                </a:lnTo>
                <a:lnTo>
                  <a:pt x="354" y="217"/>
                </a:lnTo>
                <a:lnTo>
                  <a:pt x="355" y="199"/>
                </a:lnTo>
                <a:lnTo>
                  <a:pt x="356" y="181"/>
                </a:lnTo>
                <a:lnTo>
                  <a:pt x="357" y="163"/>
                </a:lnTo>
                <a:lnTo>
                  <a:pt x="357" y="145"/>
                </a:lnTo>
                <a:lnTo>
                  <a:pt x="333" y="145"/>
                </a:lnTo>
                <a:lnTo>
                  <a:pt x="332" y="126"/>
                </a:lnTo>
                <a:lnTo>
                  <a:pt x="302" y="114"/>
                </a:lnTo>
                <a:lnTo>
                  <a:pt x="291" y="104"/>
                </a:lnTo>
                <a:lnTo>
                  <a:pt x="291" y="97"/>
                </a:lnTo>
                <a:lnTo>
                  <a:pt x="276" y="85"/>
                </a:lnTo>
                <a:lnTo>
                  <a:pt x="259" y="72"/>
                </a:lnTo>
                <a:lnTo>
                  <a:pt x="243" y="60"/>
                </a:lnTo>
                <a:lnTo>
                  <a:pt x="228" y="48"/>
                </a:lnTo>
                <a:lnTo>
                  <a:pt x="211" y="36"/>
                </a:lnTo>
                <a:lnTo>
                  <a:pt x="195" y="24"/>
                </a:lnTo>
                <a:lnTo>
                  <a:pt x="180" y="12"/>
                </a:lnTo>
                <a:lnTo>
                  <a:pt x="164" y="0"/>
                </a:lnTo>
                <a:lnTo>
                  <a:pt x="145" y="0"/>
                </a:lnTo>
                <a:lnTo>
                  <a:pt x="126" y="0"/>
                </a:lnTo>
                <a:lnTo>
                  <a:pt x="128" y="26"/>
                </a:lnTo>
                <a:lnTo>
                  <a:pt x="130" y="52"/>
                </a:lnTo>
                <a:lnTo>
                  <a:pt x="133" y="79"/>
                </a:lnTo>
                <a:lnTo>
                  <a:pt x="135" y="105"/>
                </a:lnTo>
                <a:lnTo>
                  <a:pt x="138" y="132"/>
                </a:lnTo>
                <a:lnTo>
                  <a:pt x="140" y="158"/>
                </a:lnTo>
                <a:lnTo>
                  <a:pt x="142" y="184"/>
                </a:lnTo>
                <a:lnTo>
                  <a:pt x="145" y="211"/>
                </a:lnTo>
                <a:lnTo>
                  <a:pt x="151" y="214"/>
                </a:lnTo>
                <a:lnTo>
                  <a:pt x="147" y="235"/>
                </a:lnTo>
                <a:lnTo>
                  <a:pt x="126" y="235"/>
                </a:lnTo>
                <a:lnTo>
                  <a:pt x="105" y="235"/>
                </a:lnTo>
                <a:lnTo>
                  <a:pt x="85" y="235"/>
                </a:lnTo>
                <a:lnTo>
                  <a:pt x="63" y="235"/>
                </a:lnTo>
                <a:lnTo>
                  <a:pt x="61" y="232"/>
                </a:lnTo>
                <a:lnTo>
                  <a:pt x="31" y="241"/>
                </a:lnTo>
                <a:lnTo>
                  <a:pt x="27" y="242"/>
                </a:lnTo>
                <a:lnTo>
                  <a:pt x="14" y="234"/>
                </a:lnTo>
                <a:lnTo>
                  <a:pt x="4" y="255"/>
                </a:lnTo>
                <a:lnTo>
                  <a:pt x="0" y="254"/>
                </a:lnTo>
                <a:lnTo>
                  <a:pt x="6" y="278"/>
                </a:lnTo>
                <a:lnTo>
                  <a:pt x="12" y="288"/>
                </a:lnTo>
                <a:lnTo>
                  <a:pt x="18" y="313"/>
                </a:lnTo>
                <a:lnTo>
                  <a:pt x="15" y="318"/>
                </a:lnTo>
                <a:lnTo>
                  <a:pt x="30" y="319"/>
                </a:lnTo>
                <a:lnTo>
                  <a:pt x="36" y="321"/>
                </a:lnTo>
                <a:lnTo>
                  <a:pt x="49" y="320"/>
                </a:lnTo>
                <a:lnTo>
                  <a:pt x="63" y="314"/>
                </a:lnTo>
                <a:lnTo>
                  <a:pt x="67" y="310"/>
                </a:lnTo>
                <a:lnTo>
                  <a:pt x="74" y="331"/>
                </a:lnTo>
                <a:lnTo>
                  <a:pt x="81" y="33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9276" name="Freeform 58"/>
          <p:cNvSpPr>
            <a:spLocks/>
          </p:cNvSpPr>
          <p:nvPr/>
        </p:nvSpPr>
        <p:spPr bwMode="auto">
          <a:xfrm>
            <a:off x="4808538" y="3517900"/>
            <a:ext cx="6350" cy="3175"/>
          </a:xfrm>
          <a:custGeom>
            <a:avLst/>
            <a:gdLst>
              <a:gd name="T0" fmla="*/ 2147483647 w 5"/>
              <a:gd name="T1" fmla="*/ 2147483647 h 4"/>
              <a:gd name="T2" fmla="*/ 2147483647 w 5"/>
              <a:gd name="T3" fmla="*/ 2147483647 h 4"/>
              <a:gd name="T4" fmla="*/ 0 w 5"/>
              <a:gd name="T5" fmla="*/ 0 h 4"/>
              <a:gd name="T6" fmla="*/ 2147483647 w 5"/>
              <a:gd name="T7" fmla="*/ 2147483647 h 4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4"/>
              <a:gd name="T14" fmla="*/ 5 w 5"/>
              <a:gd name="T15" fmla="*/ 4 h 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4">
                <a:moveTo>
                  <a:pt x="5" y="3"/>
                </a:moveTo>
                <a:lnTo>
                  <a:pt x="3" y="4"/>
                </a:lnTo>
                <a:lnTo>
                  <a:pt x="0" y="0"/>
                </a:lnTo>
                <a:lnTo>
                  <a:pt x="5" y="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77" name="Freeform 59"/>
          <p:cNvSpPr>
            <a:spLocks/>
          </p:cNvSpPr>
          <p:nvPr/>
        </p:nvSpPr>
        <p:spPr bwMode="auto">
          <a:xfrm>
            <a:off x="3927475" y="3814763"/>
            <a:ext cx="350838" cy="430212"/>
          </a:xfrm>
          <a:custGeom>
            <a:avLst/>
            <a:gdLst>
              <a:gd name="T0" fmla="*/ 2147483647 w 265"/>
              <a:gd name="T1" fmla="*/ 2147483647 h 312"/>
              <a:gd name="T2" fmla="*/ 2147483647 w 265"/>
              <a:gd name="T3" fmla="*/ 2147483647 h 312"/>
              <a:gd name="T4" fmla="*/ 2147483647 w 265"/>
              <a:gd name="T5" fmla="*/ 2147483647 h 312"/>
              <a:gd name="T6" fmla="*/ 2147483647 w 265"/>
              <a:gd name="T7" fmla="*/ 2147483647 h 312"/>
              <a:gd name="T8" fmla="*/ 2147483647 w 265"/>
              <a:gd name="T9" fmla="*/ 2147483647 h 312"/>
              <a:gd name="T10" fmla="*/ 2147483647 w 265"/>
              <a:gd name="T11" fmla="*/ 2147483647 h 312"/>
              <a:gd name="T12" fmla="*/ 2147483647 w 265"/>
              <a:gd name="T13" fmla="*/ 2147483647 h 312"/>
              <a:gd name="T14" fmla="*/ 0 w 265"/>
              <a:gd name="T15" fmla="*/ 2147483647 h 312"/>
              <a:gd name="T16" fmla="*/ 2147483647 w 265"/>
              <a:gd name="T17" fmla="*/ 2147483647 h 312"/>
              <a:gd name="T18" fmla="*/ 2147483647 w 265"/>
              <a:gd name="T19" fmla="*/ 2147483647 h 312"/>
              <a:gd name="T20" fmla="*/ 2147483647 w 265"/>
              <a:gd name="T21" fmla="*/ 2147483647 h 312"/>
              <a:gd name="T22" fmla="*/ 2147483647 w 265"/>
              <a:gd name="T23" fmla="*/ 2147483647 h 312"/>
              <a:gd name="T24" fmla="*/ 2147483647 w 265"/>
              <a:gd name="T25" fmla="*/ 2147483647 h 312"/>
              <a:gd name="T26" fmla="*/ 2147483647 w 265"/>
              <a:gd name="T27" fmla="*/ 2147483647 h 312"/>
              <a:gd name="T28" fmla="*/ 2147483647 w 265"/>
              <a:gd name="T29" fmla="*/ 2147483647 h 312"/>
              <a:gd name="T30" fmla="*/ 2147483647 w 265"/>
              <a:gd name="T31" fmla="*/ 2147483647 h 312"/>
              <a:gd name="T32" fmla="*/ 2147483647 w 265"/>
              <a:gd name="T33" fmla="*/ 2147483647 h 312"/>
              <a:gd name="T34" fmla="*/ 2147483647 w 265"/>
              <a:gd name="T35" fmla="*/ 2147483647 h 312"/>
              <a:gd name="T36" fmla="*/ 2147483647 w 265"/>
              <a:gd name="T37" fmla="*/ 2147483647 h 312"/>
              <a:gd name="T38" fmla="*/ 2147483647 w 265"/>
              <a:gd name="T39" fmla="*/ 2147483647 h 312"/>
              <a:gd name="T40" fmla="*/ 2147483647 w 265"/>
              <a:gd name="T41" fmla="*/ 2147483647 h 312"/>
              <a:gd name="T42" fmla="*/ 2147483647 w 265"/>
              <a:gd name="T43" fmla="*/ 2147483647 h 312"/>
              <a:gd name="T44" fmla="*/ 2147483647 w 265"/>
              <a:gd name="T45" fmla="*/ 0 h 312"/>
              <a:gd name="T46" fmla="*/ 2147483647 w 265"/>
              <a:gd name="T47" fmla="*/ 2147483647 h 312"/>
              <a:gd name="T48" fmla="*/ 2147483647 w 265"/>
              <a:gd name="T49" fmla="*/ 2147483647 h 312"/>
              <a:gd name="T50" fmla="*/ 2147483647 w 265"/>
              <a:gd name="T51" fmla="*/ 2147483647 h 312"/>
              <a:gd name="T52" fmla="*/ 2147483647 w 265"/>
              <a:gd name="T53" fmla="*/ 2147483647 h 312"/>
              <a:gd name="T54" fmla="*/ 2147483647 w 265"/>
              <a:gd name="T55" fmla="*/ 2147483647 h 312"/>
              <a:gd name="T56" fmla="*/ 2147483647 w 265"/>
              <a:gd name="T57" fmla="*/ 2147483647 h 312"/>
              <a:gd name="T58" fmla="*/ 2147483647 w 265"/>
              <a:gd name="T59" fmla="*/ 2147483647 h 312"/>
              <a:gd name="T60" fmla="*/ 2147483647 w 265"/>
              <a:gd name="T61" fmla="*/ 2147483647 h 312"/>
              <a:gd name="T62" fmla="*/ 2147483647 w 265"/>
              <a:gd name="T63" fmla="*/ 2147483647 h 312"/>
              <a:gd name="T64" fmla="*/ 2147483647 w 265"/>
              <a:gd name="T65" fmla="*/ 2147483647 h 312"/>
              <a:gd name="T66" fmla="*/ 2147483647 w 265"/>
              <a:gd name="T67" fmla="*/ 2147483647 h 312"/>
              <a:gd name="T68" fmla="*/ 2147483647 w 265"/>
              <a:gd name="T69" fmla="*/ 2147483647 h 312"/>
              <a:gd name="T70" fmla="*/ 2147483647 w 265"/>
              <a:gd name="T71" fmla="*/ 2147483647 h 312"/>
              <a:gd name="T72" fmla="*/ 2147483647 w 265"/>
              <a:gd name="T73" fmla="*/ 2147483647 h 312"/>
              <a:gd name="T74" fmla="*/ 2147483647 w 265"/>
              <a:gd name="T75" fmla="*/ 2147483647 h 312"/>
              <a:gd name="T76" fmla="*/ 2147483647 w 265"/>
              <a:gd name="T77" fmla="*/ 2147483647 h 312"/>
              <a:gd name="T78" fmla="*/ 2147483647 w 265"/>
              <a:gd name="T79" fmla="*/ 2147483647 h 312"/>
              <a:gd name="T80" fmla="*/ 2147483647 w 265"/>
              <a:gd name="T81" fmla="*/ 2147483647 h 312"/>
              <a:gd name="T82" fmla="*/ 2147483647 w 265"/>
              <a:gd name="T83" fmla="*/ 2147483647 h 312"/>
              <a:gd name="T84" fmla="*/ 2147483647 w 265"/>
              <a:gd name="T85" fmla="*/ 2147483647 h 312"/>
              <a:gd name="T86" fmla="*/ 2147483647 w 265"/>
              <a:gd name="T87" fmla="*/ 2147483647 h 312"/>
              <a:gd name="T88" fmla="*/ 2147483647 w 265"/>
              <a:gd name="T89" fmla="*/ 2147483647 h 312"/>
              <a:gd name="T90" fmla="*/ 2147483647 w 265"/>
              <a:gd name="T91" fmla="*/ 2147483647 h 312"/>
              <a:gd name="T92" fmla="*/ 2147483647 w 265"/>
              <a:gd name="T93" fmla="*/ 2147483647 h 312"/>
              <a:gd name="T94" fmla="*/ 2147483647 w 265"/>
              <a:gd name="T95" fmla="*/ 2147483647 h 312"/>
              <a:gd name="T96" fmla="*/ 2147483647 w 265"/>
              <a:gd name="T97" fmla="*/ 2147483647 h 312"/>
              <a:gd name="T98" fmla="*/ 2147483647 w 265"/>
              <a:gd name="T99" fmla="*/ 2147483647 h 312"/>
              <a:gd name="T100" fmla="*/ 2147483647 w 265"/>
              <a:gd name="T101" fmla="*/ 2147483647 h 312"/>
              <a:gd name="T102" fmla="*/ 2147483647 w 265"/>
              <a:gd name="T103" fmla="*/ 2147483647 h 312"/>
              <a:gd name="T104" fmla="*/ 2147483647 w 265"/>
              <a:gd name="T105" fmla="*/ 2147483647 h 312"/>
              <a:gd name="T106" fmla="*/ 2147483647 w 265"/>
              <a:gd name="T107" fmla="*/ 2147483647 h 31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65"/>
              <a:gd name="T163" fmla="*/ 0 h 312"/>
              <a:gd name="T164" fmla="*/ 265 w 265"/>
              <a:gd name="T165" fmla="*/ 312 h 312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65" h="312">
                <a:moveTo>
                  <a:pt x="13" y="269"/>
                </a:moveTo>
                <a:lnTo>
                  <a:pt x="8" y="279"/>
                </a:lnTo>
                <a:lnTo>
                  <a:pt x="14" y="250"/>
                </a:lnTo>
                <a:lnTo>
                  <a:pt x="20" y="220"/>
                </a:lnTo>
                <a:lnTo>
                  <a:pt x="14" y="196"/>
                </a:lnTo>
                <a:lnTo>
                  <a:pt x="15" y="169"/>
                </a:lnTo>
                <a:lnTo>
                  <a:pt x="1" y="155"/>
                </a:lnTo>
                <a:lnTo>
                  <a:pt x="0" y="161"/>
                </a:lnTo>
                <a:lnTo>
                  <a:pt x="3" y="148"/>
                </a:lnTo>
                <a:lnTo>
                  <a:pt x="24" y="148"/>
                </a:lnTo>
                <a:lnTo>
                  <a:pt x="45" y="148"/>
                </a:lnTo>
                <a:lnTo>
                  <a:pt x="67" y="148"/>
                </a:lnTo>
                <a:lnTo>
                  <a:pt x="87" y="148"/>
                </a:lnTo>
                <a:lnTo>
                  <a:pt x="89" y="126"/>
                </a:lnTo>
                <a:lnTo>
                  <a:pt x="89" y="106"/>
                </a:lnTo>
                <a:lnTo>
                  <a:pt x="110" y="95"/>
                </a:lnTo>
                <a:lnTo>
                  <a:pt x="110" y="64"/>
                </a:lnTo>
                <a:lnTo>
                  <a:pt x="111" y="31"/>
                </a:lnTo>
                <a:lnTo>
                  <a:pt x="129" y="31"/>
                </a:lnTo>
                <a:lnTo>
                  <a:pt x="147" y="31"/>
                </a:lnTo>
                <a:lnTo>
                  <a:pt x="165" y="31"/>
                </a:lnTo>
                <a:lnTo>
                  <a:pt x="182" y="31"/>
                </a:lnTo>
                <a:lnTo>
                  <a:pt x="183" y="0"/>
                </a:lnTo>
                <a:lnTo>
                  <a:pt x="204" y="13"/>
                </a:lnTo>
                <a:lnTo>
                  <a:pt x="224" y="28"/>
                </a:lnTo>
                <a:lnTo>
                  <a:pt x="245" y="42"/>
                </a:lnTo>
                <a:lnTo>
                  <a:pt x="265" y="57"/>
                </a:lnTo>
                <a:lnTo>
                  <a:pt x="246" y="57"/>
                </a:lnTo>
                <a:lnTo>
                  <a:pt x="227" y="57"/>
                </a:lnTo>
                <a:lnTo>
                  <a:pt x="229" y="83"/>
                </a:lnTo>
                <a:lnTo>
                  <a:pt x="231" y="109"/>
                </a:lnTo>
                <a:lnTo>
                  <a:pt x="234" y="136"/>
                </a:lnTo>
                <a:lnTo>
                  <a:pt x="236" y="162"/>
                </a:lnTo>
                <a:lnTo>
                  <a:pt x="239" y="189"/>
                </a:lnTo>
                <a:lnTo>
                  <a:pt x="241" y="215"/>
                </a:lnTo>
                <a:lnTo>
                  <a:pt x="243" y="241"/>
                </a:lnTo>
                <a:lnTo>
                  <a:pt x="246" y="268"/>
                </a:lnTo>
                <a:lnTo>
                  <a:pt x="252" y="271"/>
                </a:lnTo>
                <a:lnTo>
                  <a:pt x="248" y="292"/>
                </a:lnTo>
                <a:lnTo>
                  <a:pt x="227" y="292"/>
                </a:lnTo>
                <a:lnTo>
                  <a:pt x="206" y="292"/>
                </a:lnTo>
                <a:lnTo>
                  <a:pt x="186" y="292"/>
                </a:lnTo>
                <a:lnTo>
                  <a:pt x="164" y="292"/>
                </a:lnTo>
                <a:lnTo>
                  <a:pt x="162" y="289"/>
                </a:lnTo>
                <a:lnTo>
                  <a:pt x="132" y="298"/>
                </a:lnTo>
                <a:lnTo>
                  <a:pt x="128" y="299"/>
                </a:lnTo>
                <a:lnTo>
                  <a:pt x="115" y="291"/>
                </a:lnTo>
                <a:lnTo>
                  <a:pt x="105" y="312"/>
                </a:lnTo>
                <a:lnTo>
                  <a:pt x="101" y="311"/>
                </a:lnTo>
                <a:lnTo>
                  <a:pt x="85" y="293"/>
                </a:lnTo>
                <a:lnTo>
                  <a:pt x="69" y="276"/>
                </a:lnTo>
                <a:lnTo>
                  <a:pt x="48" y="264"/>
                </a:lnTo>
                <a:lnTo>
                  <a:pt x="31" y="267"/>
                </a:lnTo>
                <a:lnTo>
                  <a:pt x="13" y="269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78" name="Freeform 60"/>
          <p:cNvSpPr>
            <a:spLocks/>
          </p:cNvSpPr>
          <p:nvPr/>
        </p:nvSpPr>
        <p:spPr bwMode="auto">
          <a:xfrm>
            <a:off x="4044950" y="3521075"/>
            <a:ext cx="342900" cy="279400"/>
          </a:xfrm>
          <a:custGeom>
            <a:avLst/>
            <a:gdLst>
              <a:gd name="T0" fmla="*/ 2147483647 w 258"/>
              <a:gd name="T1" fmla="*/ 2147483647 h 204"/>
              <a:gd name="T2" fmla="*/ 2147483647 w 258"/>
              <a:gd name="T3" fmla="*/ 2147483647 h 204"/>
              <a:gd name="T4" fmla="*/ 2147483647 w 258"/>
              <a:gd name="T5" fmla="*/ 2147483647 h 204"/>
              <a:gd name="T6" fmla="*/ 2147483647 w 258"/>
              <a:gd name="T7" fmla="*/ 2147483647 h 204"/>
              <a:gd name="T8" fmla="*/ 2147483647 w 258"/>
              <a:gd name="T9" fmla="*/ 2147483647 h 204"/>
              <a:gd name="T10" fmla="*/ 2147483647 w 258"/>
              <a:gd name="T11" fmla="*/ 2147483647 h 204"/>
              <a:gd name="T12" fmla="*/ 2147483647 w 258"/>
              <a:gd name="T13" fmla="*/ 2147483647 h 204"/>
              <a:gd name="T14" fmla="*/ 2147483647 w 258"/>
              <a:gd name="T15" fmla="*/ 2147483647 h 204"/>
              <a:gd name="T16" fmla="*/ 2147483647 w 258"/>
              <a:gd name="T17" fmla="*/ 2147483647 h 204"/>
              <a:gd name="T18" fmla="*/ 2147483647 w 258"/>
              <a:gd name="T19" fmla="*/ 2147483647 h 204"/>
              <a:gd name="T20" fmla="*/ 0 w 258"/>
              <a:gd name="T21" fmla="*/ 2147483647 h 204"/>
              <a:gd name="T22" fmla="*/ 2147483647 w 258"/>
              <a:gd name="T23" fmla="*/ 2147483647 h 204"/>
              <a:gd name="T24" fmla="*/ 2147483647 w 258"/>
              <a:gd name="T25" fmla="*/ 2147483647 h 204"/>
              <a:gd name="T26" fmla="*/ 2147483647 w 258"/>
              <a:gd name="T27" fmla="*/ 2147483647 h 204"/>
              <a:gd name="T28" fmla="*/ 2147483647 w 258"/>
              <a:gd name="T29" fmla="*/ 2147483647 h 204"/>
              <a:gd name="T30" fmla="*/ 2147483647 w 258"/>
              <a:gd name="T31" fmla="*/ 2147483647 h 204"/>
              <a:gd name="T32" fmla="*/ 2147483647 w 258"/>
              <a:gd name="T33" fmla="*/ 2147483647 h 204"/>
              <a:gd name="T34" fmla="*/ 2147483647 w 258"/>
              <a:gd name="T35" fmla="*/ 2147483647 h 204"/>
              <a:gd name="T36" fmla="*/ 2147483647 w 258"/>
              <a:gd name="T37" fmla="*/ 2147483647 h 204"/>
              <a:gd name="T38" fmla="*/ 2147483647 w 258"/>
              <a:gd name="T39" fmla="*/ 2147483647 h 204"/>
              <a:gd name="T40" fmla="*/ 2147483647 w 258"/>
              <a:gd name="T41" fmla="*/ 2147483647 h 204"/>
              <a:gd name="T42" fmla="*/ 2147483647 w 258"/>
              <a:gd name="T43" fmla="*/ 2147483647 h 204"/>
              <a:gd name="T44" fmla="*/ 2147483647 w 258"/>
              <a:gd name="T45" fmla="*/ 2147483647 h 204"/>
              <a:gd name="T46" fmla="*/ 2147483647 w 258"/>
              <a:gd name="T47" fmla="*/ 2147483647 h 204"/>
              <a:gd name="T48" fmla="*/ 2147483647 w 258"/>
              <a:gd name="T49" fmla="*/ 2147483647 h 204"/>
              <a:gd name="T50" fmla="*/ 2147483647 w 258"/>
              <a:gd name="T51" fmla="*/ 2147483647 h 204"/>
              <a:gd name="T52" fmla="*/ 2147483647 w 258"/>
              <a:gd name="T53" fmla="*/ 2147483647 h 204"/>
              <a:gd name="T54" fmla="*/ 2147483647 w 258"/>
              <a:gd name="T55" fmla="*/ 2147483647 h 204"/>
              <a:gd name="T56" fmla="*/ 2147483647 w 258"/>
              <a:gd name="T57" fmla="*/ 2147483647 h 204"/>
              <a:gd name="T58" fmla="*/ 2147483647 w 258"/>
              <a:gd name="T59" fmla="*/ 2147483647 h 204"/>
              <a:gd name="T60" fmla="*/ 2147483647 w 258"/>
              <a:gd name="T61" fmla="*/ 2147483647 h 204"/>
              <a:gd name="T62" fmla="*/ 2147483647 w 258"/>
              <a:gd name="T63" fmla="*/ 2147483647 h 204"/>
              <a:gd name="T64" fmla="*/ 2147483647 w 258"/>
              <a:gd name="T65" fmla="*/ 2147483647 h 204"/>
              <a:gd name="T66" fmla="*/ 2147483647 w 258"/>
              <a:gd name="T67" fmla="*/ 0 h 204"/>
              <a:gd name="T68" fmla="*/ 2147483647 w 258"/>
              <a:gd name="T69" fmla="*/ 2147483647 h 204"/>
              <a:gd name="T70" fmla="*/ 2147483647 w 258"/>
              <a:gd name="T71" fmla="*/ 2147483647 h 204"/>
              <a:gd name="T72" fmla="*/ 2147483647 w 258"/>
              <a:gd name="T73" fmla="*/ 2147483647 h 204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258"/>
              <a:gd name="T112" fmla="*/ 0 h 204"/>
              <a:gd name="T113" fmla="*/ 258 w 258"/>
              <a:gd name="T114" fmla="*/ 204 h 204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258" h="204">
                <a:moveTo>
                  <a:pt x="134" y="50"/>
                </a:moveTo>
                <a:lnTo>
                  <a:pt x="114" y="62"/>
                </a:lnTo>
                <a:lnTo>
                  <a:pt x="95" y="74"/>
                </a:lnTo>
                <a:lnTo>
                  <a:pt x="84" y="93"/>
                </a:lnTo>
                <a:lnTo>
                  <a:pt x="75" y="112"/>
                </a:lnTo>
                <a:lnTo>
                  <a:pt x="77" y="135"/>
                </a:lnTo>
                <a:lnTo>
                  <a:pt x="68" y="152"/>
                </a:lnTo>
                <a:lnTo>
                  <a:pt x="57" y="170"/>
                </a:lnTo>
                <a:lnTo>
                  <a:pt x="41" y="182"/>
                </a:lnTo>
                <a:lnTo>
                  <a:pt x="24" y="193"/>
                </a:lnTo>
                <a:lnTo>
                  <a:pt x="0" y="204"/>
                </a:lnTo>
                <a:lnTo>
                  <a:pt x="24" y="204"/>
                </a:lnTo>
                <a:lnTo>
                  <a:pt x="48" y="204"/>
                </a:lnTo>
                <a:lnTo>
                  <a:pt x="72" y="204"/>
                </a:lnTo>
                <a:lnTo>
                  <a:pt x="96" y="204"/>
                </a:lnTo>
                <a:lnTo>
                  <a:pt x="101" y="175"/>
                </a:lnTo>
                <a:lnTo>
                  <a:pt x="119" y="165"/>
                </a:lnTo>
                <a:lnTo>
                  <a:pt x="136" y="154"/>
                </a:lnTo>
                <a:lnTo>
                  <a:pt x="154" y="147"/>
                </a:lnTo>
                <a:lnTo>
                  <a:pt x="173" y="139"/>
                </a:lnTo>
                <a:lnTo>
                  <a:pt x="189" y="128"/>
                </a:lnTo>
                <a:lnTo>
                  <a:pt x="203" y="117"/>
                </a:lnTo>
                <a:lnTo>
                  <a:pt x="203" y="103"/>
                </a:lnTo>
                <a:lnTo>
                  <a:pt x="231" y="92"/>
                </a:lnTo>
                <a:lnTo>
                  <a:pt x="254" y="91"/>
                </a:lnTo>
                <a:lnTo>
                  <a:pt x="258" y="84"/>
                </a:lnTo>
                <a:lnTo>
                  <a:pt x="245" y="62"/>
                </a:lnTo>
                <a:lnTo>
                  <a:pt x="243" y="43"/>
                </a:lnTo>
                <a:lnTo>
                  <a:pt x="239" y="25"/>
                </a:lnTo>
                <a:lnTo>
                  <a:pt x="234" y="19"/>
                </a:lnTo>
                <a:lnTo>
                  <a:pt x="220" y="15"/>
                </a:lnTo>
                <a:lnTo>
                  <a:pt x="214" y="15"/>
                </a:lnTo>
                <a:lnTo>
                  <a:pt x="178" y="14"/>
                </a:lnTo>
                <a:lnTo>
                  <a:pt x="167" y="0"/>
                </a:lnTo>
                <a:lnTo>
                  <a:pt x="155" y="9"/>
                </a:lnTo>
                <a:lnTo>
                  <a:pt x="144" y="30"/>
                </a:lnTo>
                <a:lnTo>
                  <a:pt x="134" y="5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79" name="Freeform 61"/>
          <p:cNvSpPr>
            <a:spLocks/>
          </p:cNvSpPr>
          <p:nvPr/>
        </p:nvSpPr>
        <p:spPr bwMode="auto">
          <a:xfrm>
            <a:off x="4422775" y="3941763"/>
            <a:ext cx="450850" cy="404812"/>
          </a:xfrm>
          <a:custGeom>
            <a:avLst/>
            <a:gdLst>
              <a:gd name="T0" fmla="*/ 2147483647 w 339"/>
              <a:gd name="T1" fmla="*/ 2147483647 h 293"/>
              <a:gd name="T2" fmla="*/ 2147483647 w 339"/>
              <a:gd name="T3" fmla="*/ 2147483647 h 293"/>
              <a:gd name="T4" fmla="*/ 2147483647 w 339"/>
              <a:gd name="T5" fmla="*/ 2147483647 h 293"/>
              <a:gd name="T6" fmla="*/ 2147483647 w 339"/>
              <a:gd name="T7" fmla="*/ 2147483647 h 293"/>
              <a:gd name="T8" fmla="*/ 2147483647 w 339"/>
              <a:gd name="T9" fmla="*/ 2147483647 h 293"/>
              <a:gd name="T10" fmla="*/ 2147483647 w 339"/>
              <a:gd name="T11" fmla="*/ 2147483647 h 293"/>
              <a:gd name="T12" fmla="*/ 0 w 339"/>
              <a:gd name="T13" fmla="*/ 2147483647 h 293"/>
              <a:gd name="T14" fmla="*/ 2147483647 w 339"/>
              <a:gd name="T15" fmla="*/ 2147483647 h 293"/>
              <a:gd name="T16" fmla="*/ 2147483647 w 339"/>
              <a:gd name="T17" fmla="*/ 2147483647 h 293"/>
              <a:gd name="T18" fmla="*/ 2147483647 w 339"/>
              <a:gd name="T19" fmla="*/ 2147483647 h 293"/>
              <a:gd name="T20" fmla="*/ 2147483647 w 339"/>
              <a:gd name="T21" fmla="*/ 2147483647 h 293"/>
              <a:gd name="T22" fmla="*/ 2147483647 w 339"/>
              <a:gd name="T23" fmla="*/ 2147483647 h 293"/>
              <a:gd name="T24" fmla="*/ 2147483647 w 339"/>
              <a:gd name="T25" fmla="*/ 2147483647 h 293"/>
              <a:gd name="T26" fmla="*/ 2147483647 w 339"/>
              <a:gd name="T27" fmla="*/ 2147483647 h 293"/>
              <a:gd name="T28" fmla="*/ 2147483647 w 339"/>
              <a:gd name="T29" fmla="*/ 2147483647 h 293"/>
              <a:gd name="T30" fmla="*/ 2147483647 w 339"/>
              <a:gd name="T31" fmla="*/ 2147483647 h 293"/>
              <a:gd name="T32" fmla="*/ 2147483647 w 339"/>
              <a:gd name="T33" fmla="*/ 2147483647 h 293"/>
              <a:gd name="T34" fmla="*/ 2147483647 w 339"/>
              <a:gd name="T35" fmla="*/ 2147483647 h 293"/>
              <a:gd name="T36" fmla="*/ 2147483647 w 339"/>
              <a:gd name="T37" fmla="*/ 2147483647 h 293"/>
              <a:gd name="T38" fmla="*/ 2147483647 w 339"/>
              <a:gd name="T39" fmla="*/ 2147483647 h 293"/>
              <a:gd name="T40" fmla="*/ 2147483647 w 339"/>
              <a:gd name="T41" fmla="*/ 2147483647 h 293"/>
              <a:gd name="T42" fmla="*/ 2147483647 w 339"/>
              <a:gd name="T43" fmla="*/ 2147483647 h 293"/>
              <a:gd name="T44" fmla="*/ 2147483647 w 339"/>
              <a:gd name="T45" fmla="*/ 2147483647 h 293"/>
              <a:gd name="T46" fmla="*/ 2147483647 w 339"/>
              <a:gd name="T47" fmla="*/ 0 h 293"/>
              <a:gd name="T48" fmla="*/ 2147483647 w 339"/>
              <a:gd name="T49" fmla="*/ 2147483647 h 293"/>
              <a:gd name="T50" fmla="*/ 2147483647 w 339"/>
              <a:gd name="T51" fmla="*/ 2147483647 h 293"/>
              <a:gd name="T52" fmla="*/ 2147483647 w 339"/>
              <a:gd name="T53" fmla="*/ 2147483647 h 293"/>
              <a:gd name="T54" fmla="*/ 2147483647 w 339"/>
              <a:gd name="T55" fmla="*/ 2147483647 h 293"/>
              <a:gd name="T56" fmla="*/ 2147483647 w 339"/>
              <a:gd name="T57" fmla="*/ 2147483647 h 293"/>
              <a:gd name="T58" fmla="*/ 2147483647 w 339"/>
              <a:gd name="T59" fmla="*/ 2147483647 h 293"/>
              <a:gd name="T60" fmla="*/ 2147483647 w 339"/>
              <a:gd name="T61" fmla="*/ 2147483647 h 293"/>
              <a:gd name="T62" fmla="*/ 2147483647 w 339"/>
              <a:gd name="T63" fmla="*/ 2147483647 h 293"/>
              <a:gd name="T64" fmla="*/ 2147483647 w 339"/>
              <a:gd name="T65" fmla="*/ 2147483647 h 293"/>
              <a:gd name="T66" fmla="*/ 2147483647 w 339"/>
              <a:gd name="T67" fmla="*/ 2147483647 h 293"/>
              <a:gd name="T68" fmla="*/ 2147483647 w 339"/>
              <a:gd name="T69" fmla="*/ 2147483647 h 293"/>
              <a:gd name="T70" fmla="*/ 2147483647 w 339"/>
              <a:gd name="T71" fmla="*/ 2147483647 h 293"/>
              <a:gd name="T72" fmla="*/ 2147483647 w 339"/>
              <a:gd name="T73" fmla="*/ 2147483647 h 293"/>
              <a:gd name="T74" fmla="*/ 2147483647 w 339"/>
              <a:gd name="T75" fmla="*/ 2147483647 h 293"/>
              <a:gd name="T76" fmla="*/ 2147483647 w 339"/>
              <a:gd name="T77" fmla="*/ 2147483647 h 293"/>
              <a:gd name="T78" fmla="*/ 2147483647 w 339"/>
              <a:gd name="T79" fmla="*/ 2147483647 h 293"/>
              <a:gd name="T80" fmla="*/ 2147483647 w 339"/>
              <a:gd name="T81" fmla="*/ 2147483647 h 293"/>
              <a:gd name="T82" fmla="*/ 2147483647 w 339"/>
              <a:gd name="T83" fmla="*/ 2147483647 h 293"/>
              <a:gd name="T84" fmla="*/ 2147483647 w 339"/>
              <a:gd name="T85" fmla="*/ 2147483647 h 293"/>
              <a:gd name="T86" fmla="*/ 2147483647 w 339"/>
              <a:gd name="T87" fmla="*/ 2147483647 h 293"/>
              <a:gd name="T88" fmla="*/ 2147483647 w 339"/>
              <a:gd name="T89" fmla="*/ 2147483647 h 293"/>
              <a:gd name="T90" fmla="*/ 2147483647 w 339"/>
              <a:gd name="T91" fmla="*/ 2147483647 h 293"/>
              <a:gd name="T92" fmla="*/ 2147483647 w 339"/>
              <a:gd name="T93" fmla="*/ 2147483647 h 293"/>
              <a:gd name="T94" fmla="*/ 2147483647 w 339"/>
              <a:gd name="T95" fmla="*/ 2147483647 h 293"/>
              <a:gd name="T96" fmla="*/ 2147483647 w 339"/>
              <a:gd name="T97" fmla="*/ 2147483647 h 293"/>
              <a:gd name="T98" fmla="*/ 2147483647 w 339"/>
              <a:gd name="T99" fmla="*/ 2147483647 h 293"/>
              <a:gd name="T100" fmla="*/ 2147483647 w 339"/>
              <a:gd name="T101" fmla="*/ 2147483647 h 293"/>
              <a:gd name="T102" fmla="*/ 2147483647 w 339"/>
              <a:gd name="T103" fmla="*/ 2147483647 h 293"/>
              <a:gd name="T104" fmla="*/ 2147483647 w 339"/>
              <a:gd name="T105" fmla="*/ 2147483647 h 293"/>
              <a:gd name="T106" fmla="*/ 2147483647 w 339"/>
              <a:gd name="T107" fmla="*/ 2147483647 h 293"/>
              <a:gd name="T108" fmla="*/ 2147483647 w 339"/>
              <a:gd name="T109" fmla="*/ 2147483647 h 293"/>
              <a:gd name="T110" fmla="*/ 2147483647 w 339"/>
              <a:gd name="T111" fmla="*/ 2147483647 h 293"/>
              <a:gd name="T112" fmla="*/ 2147483647 w 339"/>
              <a:gd name="T113" fmla="*/ 2147483647 h 293"/>
              <a:gd name="T114" fmla="*/ 2147483647 w 339"/>
              <a:gd name="T115" fmla="*/ 2147483647 h 293"/>
              <a:gd name="T116" fmla="*/ 2147483647 w 339"/>
              <a:gd name="T117" fmla="*/ 2147483647 h 29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339"/>
              <a:gd name="T178" fmla="*/ 0 h 293"/>
              <a:gd name="T179" fmla="*/ 339 w 339"/>
              <a:gd name="T180" fmla="*/ 293 h 293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339" h="293">
                <a:moveTo>
                  <a:pt x="37" y="267"/>
                </a:moveTo>
                <a:lnTo>
                  <a:pt x="30" y="270"/>
                </a:lnTo>
                <a:lnTo>
                  <a:pt x="17" y="259"/>
                </a:lnTo>
                <a:lnTo>
                  <a:pt x="17" y="252"/>
                </a:lnTo>
                <a:lnTo>
                  <a:pt x="20" y="251"/>
                </a:lnTo>
                <a:lnTo>
                  <a:pt x="2" y="233"/>
                </a:lnTo>
                <a:lnTo>
                  <a:pt x="0" y="211"/>
                </a:lnTo>
                <a:lnTo>
                  <a:pt x="3" y="211"/>
                </a:lnTo>
                <a:lnTo>
                  <a:pt x="24" y="204"/>
                </a:lnTo>
                <a:lnTo>
                  <a:pt x="48" y="203"/>
                </a:lnTo>
                <a:lnTo>
                  <a:pt x="72" y="203"/>
                </a:lnTo>
                <a:lnTo>
                  <a:pt x="83" y="180"/>
                </a:lnTo>
                <a:lnTo>
                  <a:pt x="84" y="162"/>
                </a:lnTo>
                <a:lnTo>
                  <a:pt x="85" y="144"/>
                </a:lnTo>
                <a:lnTo>
                  <a:pt x="86" y="126"/>
                </a:lnTo>
                <a:lnTo>
                  <a:pt x="86" y="108"/>
                </a:lnTo>
                <a:lnTo>
                  <a:pt x="103" y="104"/>
                </a:lnTo>
                <a:lnTo>
                  <a:pt x="121" y="101"/>
                </a:lnTo>
                <a:lnTo>
                  <a:pt x="138" y="83"/>
                </a:lnTo>
                <a:lnTo>
                  <a:pt x="155" y="66"/>
                </a:lnTo>
                <a:lnTo>
                  <a:pt x="180" y="49"/>
                </a:lnTo>
                <a:lnTo>
                  <a:pt x="204" y="32"/>
                </a:lnTo>
                <a:lnTo>
                  <a:pt x="228" y="15"/>
                </a:lnTo>
                <a:lnTo>
                  <a:pt x="252" y="0"/>
                </a:lnTo>
                <a:lnTo>
                  <a:pt x="282" y="7"/>
                </a:lnTo>
                <a:lnTo>
                  <a:pt x="300" y="21"/>
                </a:lnTo>
                <a:lnTo>
                  <a:pt x="315" y="13"/>
                </a:lnTo>
                <a:lnTo>
                  <a:pt x="317" y="12"/>
                </a:lnTo>
                <a:lnTo>
                  <a:pt x="319" y="31"/>
                </a:lnTo>
                <a:lnTo>
                  <a:pt x="321" y="49"/>
                </a:lnTo>
                <a:lnTo>
                  <a:pt x="339" y="78"/>
                </a:lnTo>
                <a:lnTo>
                  <a:pt x="335" y="89"/>
                </a:lnTo>
                <a:lnTo>
                  <a:pt x="333" y="107"/>
                </a:lnTo>
                <a:lnTo>
                  <a:pt x="332" y="126"/>
                </a:lnTo>
                <a:lnTo>
                  <a:pt x="331" y="145"/>
                </a:lnTo>
                <a:lnTo>
                  <a:pt x="330" y="163"/>
                </a:lnTo>
                <a:lnTo>
                  <a:pt x="320" y="179"/>
                </a:lnTo>
                <a:lnTo>
                  <a:pt x="311" y="193"/>
                </a:lnTo>
                <a:lnTo>
                  <a:pt x="301" y="207"/>
                </a:lnTo>
                <a:lnTo>
                  <a:pt x="290" y="223"/>
                </a:lnTo>
                <a:lnTo>
                  <a:pt x="291" y="242"/>
                </a:lnTo>
                <a:lnTo>
                  <a:pt x="267" y="257"/>
                </a:lnTo>
                <a:lnTo>
                  <a:pt x="245" y="254"/>
                </a:lnTo>
                <a:lnTo>
                  <a:pt x="223" y="253"/>
                </a:lnTo>
                <a:lnTo>
                  <a:pt x="198" y="265"/>
                </a:lnTo>
                <a:lnTo>
                  <a:pt x="181" y="258"/>
                </a:lnTo>
                <a:lnTo>
                  <a:pt x="165" y="252"/>
                </a:lnTo>
                <a:lnTo>
                  <a:pt x="143" y="258"/>
                </a:lnTo>
                <a:lnTo>
                  <a:pt x="128" y="243"/>
                </a:lnTo>
                <a:lnTo>
                  <a:pt x="107" y="242"/>
                </a:lnTo>
                <a:lnTo>
                  <a:pt x="85" y="248"/>
                </a:lnTo>
                <a:lnTo>
                  <a:pt x="81" y="266"/>
                </a:lnTo>
                <a:lnTo>
                  <a:pt x="74" y="283"/>
                </a:lnTo>
                <a:lnTo>
                  <a:pt x="73" y="293"/>
                </a:lnTo>
                <a:lnTo>
                  <a:pt x="54" y="277"/>
                </a:lnTo>
                <a:lnTo>
                  <a:pt x="48" y="284"/>
                </a:lnTo>
                <a:lnTo>
                  <a:pt x="48" y="288"/>
                </a:lnTo>
                <a:lnTo>
                  <a:pt x="42" y="276"/>
                </a:lnTo>
                <a:lnTo>
                  <a:pt x="37" y="26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80" name="Freeform 62"/>
          <p:cNvSpPr>
            <a:spLocks/>
          </p:cNvSpPr>
          <p:nvPr/>
        </p:nvSpPr>
        <p:spPr bwMode="auto">
          <a:xfrm>
            <a:off x="3913188" y="4178300"/>
            <a:ext cx="171450" cy="144463"/>
          </a:xfrm>
          <a:custGeom>
            <a:avLst/>
            <a:gdLst>
              <a:gd name="T0" fmla="*/ 2147483647 w 131"/>
              <a:gd name="T1" fmla="*/ 2147483647 h 107"/>
              <a:gd name="T2" fmla="*/ 2147483647 w 131"/>
              <a:gd name="T3" fmla="*/ 2147483647 h 107"/>
              <a:gd name="T4" fmla="*/ 2147483647 w 131"/>
              <a:gd name="T5" fmla="*/ 2147483647 h 107"/>
              <a:gd name="T6" fmla="*/ 0 w 131"/>
              <a:gd name="T7" fmla="*/ 2147483647 h 107"/>
              <a:gd name="T8" fmla="*/ 2147483647 w 131"/>
              <a:gd name="T9" fmla="*/ 2147483647 h 107"/>
              <a:gd name="T10" fmla="*/ 2147483647 w 131"/>
              <a:gd name="T11" fmla="*/ 2147483647 h 107"/>
              <a:gd name="T12" fmla="*/ 2147483647 w 131"/>
              <a:gd name="T13" fmla="*/ 2147483647 h 107"/>
              <a:gd name="T14" fmla="*/ 2147483647 w 131"/>
              <a:gd name="T15" fmla="*/ 2147483647 h 107"/>
              <a:gd name="T16" fmla="*/ 2147483647 w 131"/>
              <a:gd name="T17" fmla="*/ 2147483647 h 107"/>
              <a:gd name="T18" fmla="*/ 2147483647 w 131"/>
              <a:gd name="T19" fmla="*/ 2147483647 h 107"/>
              <a:gd name="T20" fmla="*/ 2147483647 w 131"/>
              <a:gd name="T21" fmla="*/ 2147483647 h 107"/>
              <a:gd name="T22" fmla="*/ 2147483647 w 131"/>
              <a:gd name="T23" fmla="*/ 2147483647 h 107"/>
              <a:gd name="T24" fmla="*/ 2147483647 w 131"/>
              <a:gd name="T25" fmla="*/ 2147483647 h 107"/>
              <a:gd name="T26" fmla="*/ 2147483647 w 131"/>
              <a:gd name="T27" fmla="*/ 2147483647 h 107"/>
              <a:gd name="T28" fmla="*/ 2147483647 w 131"/>
              <a:gd name="T29" fmla="*/ 2147483647 h 107"/>
              <a:gd name="T30" fmla="*/ 2147483647 w 131"/>
              <a:gd name="T31" fmla="*/ 2147483647 h 107"/>
              <a:gd name="T32" fmla="*/ 2147483647 w 131"/>
              <a:gd name="T33" fmla="*/ 2147483647 h 107"/>
              <a:gd name="T34" fmla="*/ 2147483647 w 131"/>
              <a:gd name="T35" fmla="*/ 2147483647 h 107"/>
              <a:gd name="T36" fmla="*/ 2147483647 w 131"/>
              <a:gd name="T37" fmla="*/ 2147483647 h 107"/>
              <a:gd name="T38" fmla="*/ 2147483647 w 131"/>
              <a:gd name="T39" fmla="*/ 2147483647 h 107"/>
              <a:gd name="T40" fmla="*/ 2147483647 w 131"/>
              <a:gd name="T41" fmla="*/ 2147483647 h 107"/>
              <a:gd name="T42" fmla="*/ 2147483647 w 131"/>
              <a:gd name="T43" fmla="*/ 2147483647 h 107"/>
              <a:gd name="T44" fmla="*/ 2147483647 w 131"/>
              <a:gd name="T45" fmla="*/ 2147483647 h 107"/>
              <a:gd name="T46" fmla="*/ 2147483647 w 131"/>
              <a:gd name="T47" fmla="*/ 2147483647 h 107"/>
              <a:gd name="T48" fmla="*/ 2147483647 w 131"/>
              <a:gd name="T49" fmla="*/ 2147483647 h 107"/>
              <a:gd name="T50" fmla="*/ 2147483647 w 131"/>
              <a:gd name="T51" fmla="*/ 2147483647 h 107"/>
              <a:gd name="T52" fmla="*/ 2147483647 w 131"/>
              <a:gd name="T53" fmla="*/ 2147483647 h 107"/>
              <a:gd name="T54" fmla="*/ 2147483647 w 131"/>
              <a:gd name="T55" fmla="*/ 2147483647 h 107"/>
              <a:gd name="T56" fmla="*/ 2147483647 w 131"/>
              <a:gd name="T57" fmla="*/ 2147483647 h 107"/>
              <a:gd name="T58" fmla="*/ 2147483647 w 131"/>
              <a:gd name="T59" fmla="*/ 2147483647 h 107"/>
              <a:gd name="T60" fmla="*/ 2147483647 w 131"/>
              <a:gd name="T61" fmla="*/ 2147483647 h 107"/>
              <a:gd name="T62" fmla="*/ 2147483647 w 131"/>
              <a:gd name="T63" fmla="*/ 2147483647 h 107"/>
              <a:gd name="T64" fmla="*/ 2147483647 w 131"/>
              <a:gd name="T65" fmla="*/ 0 h 107"/>
              <a:gd name="T66" fmla="*/ 2147483647 w 131"/>
              <a:gd name="T67" fmla="*/ 2147483647 h 107"/>
              <a:gd name="T68" fmla="*/ 2147483647 w 131"/>
              <a:gd name="T69" fmla="*/ 2147483647 h 10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31"/>
              <a:gd name="T106" fmla="*/ 0 h 107"/>
              <a:gd name="T107" fmla="*/ 131 w 131"/>
              <a:gd name="T108" fmla="*/ 107 h 107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31" h="107">
                <a:moveTo>
                  <a:pt x="25" y="5"/>
                </a:moveTo>
                <a:lnTo>
                  <a:pt x="20" y="15"/>
                </a:lnTo>
                <a:lnTo>
                  <a:pt x="11" y="31"/>
                </a:lnTo>
                <a:lnTo>
                  <a:pt x="0" y="49"/>
                </a:lnTo>
                <a:lnTo>
                  <a:pt x="14" y="66"/>
                </a:lnTo>
                <a:lnTo>
                  <a:pt x="20" y="61"/>
                </a:lnTo>
                <a:lnTo>
                  <a:pt x="15" y="66"/>
                </a:lnTo>
                <a:lnTo>
                  <a:pt x="19" y="69"/>
                </a:lnTo>
                <a:lnTo>
                  <a:pt x="19" y="76"/>
                </a:lnTo>
                <a:lnTo>
                  <a:pt x="42" y="76"/>
                </a:lnTo>
                <a:lnTo>
                  <a:pt x="45" y="71"/>
                </a:lnTo>
                <a:lnTo>
                  <a:pt x="72" y="77"/>
                </a:lnTo>
                <a:lnTo>
                  <a:pt x="78" y="83"/>
                </a:lnTo>
                <a:lnTo>
                  <a:pt x="49" y="77"/>
                </a:lnTo>
                <a:lnTo>
                  <a:pt x="31" y="83"/>
                </a:lnTo>
                <a:lnTo>
                  <a:pt x="14" y="89"/>
                </a:lnTo>
                <a:lnTo>
                  <a:pt x="17" y="100"/>
                </a:lnTo>
                <a:lnTo>
                  <a:pt x="32" y="97"/>
                </a:lnTo>
                <a:lnTo>
                  <a:pt x="41" y="95"/>
                </a:lnTo>
                <a:lnTo>
                  <a:pt x="41" y="97"/>
                </a:lnTo>
                <a:lnTo>
                  <a:pt x="20" y="100"/>
                </a:lnTo>
                <a:lnTo>
                  <a:pt x="15" y="107"/>
                </a:lnTo>
                <a:lnTo>
                  <a:pt x="44" y="101"/>
                </a:lnTo>
                <a:lnTo>
                  <a:pt x="62" y="100"/>
                </a:lnTo>
                <a:lnTo>
                  <a:pt x="80" y="99"/>
                </a:lnTo>
                <a:lnTo>
                  <a:pt x="99" y="102"/>
                </a:lnTo>
                <a:lnTo>
                  <a:pt x="131" y="106"/>
                </a:lnTo>
                <a:lnTo>
                  <a:pt x="125" y="81"/>
                </a:lnTo>
                <a:lnTo>
                  <a:pt x="119" y="71"/>
                </a:lnTo>
                <a:lnTo>
                  <a:pt x="113" y="47"/>
                </a:lnTo>
                <a:lnTo>
                  <a:pt x="97" y="29"/>
                </a:lnTo>
                <a:lnTo>
                  <a:pt x="81" y="12"/>
                </a:lnTo>
                <a:lnTo>
                  <a:pt x="60" y="0"/>
                </a:lnTo>
                <a:lnTo>
                  <a:pt x="43" y="3"/>
                </a:lnTo>
                <a:lnTo>
                  <a:pt x="25" y="5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81" name="Freeform 63"/>
          <p:cNvSpPr>
            <a:spLocks/>
          </p:cNvSpPr>
          <p:nvPr/>
        </p:nvSpPr>
        <p:spPr bwMode="auto">
          <a:xfrm>
            <a:off x="4624388" y="3475038"/>
            <a:ext cx="111125" cy="238125"/>
          </a:xfrm>
          <a:custGeom>
            <a:avLst/>
            <a:gdLst>
              <a:gd name="T0" fmla="*/ 2147483647 w 84"/>
              <a:gd name="T1" fmla="*/ 2147483647 h 174"/>
              <a:gd name="T2" fmla="*/ 2147483647 w 84"/>
              <a:gd name="T3" fmla="*/ 2147483647 h 174"/>
              <a:gd name="T4" fmla="*/ 2147483647 w 84"/>
              <a:gd name="T5" fmla="*/ 2147483647 h 174"/>
              <a:gd name="T6" fmla="*/ 2147483647 w 84"/>
              <a:gd name="T7" fmla="*/ 2147483647 h 174"/>
              <a:gd name="T8" fmla="*/ 2147483647 w 84"/>
              <a:gd name="T9" fmla="*/ 2147483647 h 174"/>
              <a:gd name="T10" fmla="*/ 0 w 84"/>
              <a:gd name="T11" fmla="*/ 2147483647 h 174"/>
              <a:gd name="T12" fmla="*/ 2147483647 w 84"/>
              <a:gd name="T13" fmla="*/ 2147483647 h 174"/>
              <a:gd name="T14" fmla="*/ 2147483647 w 84"/>
              <a:gd name="T15" fmla="*/ 2147483647 h 174"/>
              <a:gd name="T16" fmla="*/ 2147483647 w 84"/>
              <a:gd name="T17" fmla="*/ 2147483647 h 174"/>
              <a:gd name="T18" fmla="*/ 2147483647 w 84"/>
              <a:gd name="T19" fmla="*/ 2147483647 h 174"/>
              <a:gd name="T20" fmla="*/ 2147483647 w 84"/>
              <a:gd name="T21" fmla="*/ 0 h 174"/>
              <a:gd name="T22" fmla="*/ 2147483647 w 84"/>
              <a:gd name="T23" fmla="*/ 2147483647 h 174"/>
              <a:gd name="T24" fmla="*/ 2147483647 w 84"/>
              <a:gd name="T25" fmla="*/ 2147483647 h 174"/>
              <a:gd name="T26" fmla="*/ 2147483647 w 84"/>
              <a:gd name="T27" fmla="*/ 2147483647 h 174"/>
              <a:gd name="T28" fmla="*/ 2147483647 w 84"/>
              <a:gd name="T29" fmla="*/ 2147483647 h 174"/>
              <a:gd name="T30" fmla="*/ 2147483647 w 84"/>
              <a:gd name="T31" fmla="*/ 2147483647 h 174"/>
              <a:gd name="T32" fmla="*/ 2147483647 w 84"/>
              <a:gd name="T33" fmla="*/ 2147483647 h 174"/>
              <a:gd name="T34" fmla="*/ 2147483647 w 84"/>
              <a:gd name="T35" fmla="*/ 2147483647 h 174"/>
              <a:gd name="T36" fmla="*/ 2147483647 w 84"/>
              <a:gd name="T37" fmla="*/ 2147483647 h 174"/>
              <a:gd name="T38" fmla="*/ 2147483647 w 84"/>
              <a:gd name="T39" fmla="*/ 2147483647 h 174"/>
              <a:gd name="T40" fmla="*/ 2147483647 w 84"/>
              <a:gd name="T41" fmla="*/ 2147483647 h 174"/>
              <a:gd name="T42" fmla="*/ 2147483647 w 84"/>
              <a:gd name="T43" fmla="*/ 2147483647 h 174"/>
              <a:gd name="T44" fmla="*/ 2147483647 w 84"/>
              <a:gd name="T45" fmla="*/ 2147483647 h 174"/>
              <a:gd name="T46" fmla="*/ 2147483647 w 84"/>
              <a:gd name="T47" fmla="*/ 2147483647 h 174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84"/>
              <a:gd name="T73" fmla="*/ 0 h 174"/>
              <a:gd name="T74" fmla="*/ 84 w 84"/>
              <a:gd name="T75" fmla="*/ 174 h 174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84" h="174">
                <a:moveTo>
                  <a:pt x="56" y="164"/>
                </a:moveTo>
                <a:lnTo>
                  <a:pt x="44" y="174"/>
                </a:lnTo>
                <a:lnTo>
                  <a:pt x="38" y="150"/>
                </a:lnTo>
                <a:lnTo>
                  <a:pt x="34" y="127"/>
                </a:lnTo>
                <a:lnTo>
                  <a:pt x="17" y="109"/>
                </a:lnTo>
                <a:lnTo>
                  <a:pt x="0" y="85"/>
                </a:lnTo>
                <a:lnTo>
                  <a:pt x="10" y="67"/>
                </a:lnTo>
                <a:lnTo>
                  <a:pt x="18" y="49"/>
                </a:lnTo>
                <a:lnTo>
                  <a:pt x="16" y="14"/>
                </a:lnTo>
                <a:lnTo>
                  <a:pt x="20" y="8"/>
                </a:lnTo>
                <a:lnTo>
                  <a:pt x="44" y="0"/>
                </a:lnTo>
                <a:lnTo>
                  <a:pt x="53" y="5"/>
                </a:lnTo>
                <a:lnTo>
                  <a:pt x="58" y="13"/>
                </a:lnTo>
                <a:lnTo>
                  <a:pt x="71" y="6"/>
                </a:lnTo>
                <a:lnTo>
                  <a:pt x="60" y="31"/>
                </a:lnTo>
                <a:lnTo>
                  <a:pt x="73" y="49"/>
                </a:lnTo>
                <a:lnTo>
                  <a:pt x="62" y="65"/>
                </a:lnTo>
                <a:lnTo>
                  <a:pt x="52" y="79"/>
                </a:lnTo>
                <a:lnTo>
                  <a:pt x="71" y="91"/>
                </a:lnTo>
                <a:lnTo>
                  <a:pt x="84" y="101"/>
                </a:lnTo>
                <a:lnTo>
                  <a:pt x="83" y="121"/>
                </a:lnTo>
                <a:lnTo>
                  <a:pt x="70" y="132"/>
                </a:lnTo>
                <a:lnTo>
                  <a:pt x="56" y="144"/>
                </a:lnTo>
                <a:lnTo>
                  <a:pt x="56" y="16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82" name="Freeform 64"/>
          <p:cNvSpPr>
            <a:spLocks/>
          </p:cNvSpPr>
          <p:nvPr/>
        </p:nvSpPr>
        <p:spPr bwMode="auto">
          <a:xfrm>
            <a:off x="4083050" y="4456113"/>
            <a:ext cx="119063" cy="141287"/>
          </a:xfrm>
          <a:custGeom>
            <a:avLst/>
            <a:gdLst>
              <a:gd name="T0" fmla="*/ 2147483647 w 90"/>
              <a:gd name="T1" fmla="*/ 2147483647 h 102"/>
              <a:gd name="T2" fmla="*/ 2147483647 w 90"/>
              <a:gd name="T3" fmla="*/ 2147483647 h 102"/>
              <a:gd name="T4" fmla="*/ 2147483647 w 90"/>
              <a:gd name="T5" fmla="*/ 2147483647 h 102"/>
              <a:gd name="T6" fmla="*/ 2147483647 w 90"/>
              <a:gd name="T7" fmla="*/ 2147483647 h 102"/>
              <a:gd name="T8" fmla="*/ 0 w 90"/>
              <a:gd name="T9" fmla="*/ 2147483647 h 102"/>
              <a:gd name="T10" fmla="*/ 2147483647 w 90"/>
              <a:gd name="T11" fmla="*/ 2147483647 h 102"/>
              <a:gd name="T12" fmla="*/ 2147483647 w 90"/>
              <a:gd name="T13" fmla="*/ 2147483647 h 102"/>
              <a:gd name="T14" fmla="*/ 2147483647 w 90"/>
              <a:gd name="T15" fmla="*/ 0 h 102"/>
              <a:gd name="T16" fmla="*/ 2147483647 w 90"/>
              <a:gd name="T17" fmla="*/ 0 h 102"/>
              <a:gd name="T18" fmla="*/ 2147483647 w 90"/>
              <a:gd name="T19" fmla="*/ 2147483647 h 102"/>
              <a:gd name="T20" fmla="*/ 2147483647 w 90"/>
              <a:gd name="T21" fmla="*/ 2147483647 h 102"/>
              <a:gd name="T22" fmla="*/ 2147483647 w 90"/>
              <a:gd name="T23" fmla="*/ 2147483647 h 102"/>
              <a:gd name="T24" fmla="*/ 2147483647 w 90"/>
              <a:gd name="T25" fmla="*/ 2147483647 h 102"/>
              <a:gd name="T26" fmla="*/ 2147483647 w 90"/>
              <a:gd name="T27" fmla="*/ 2147483647 h 102"/>
              <a:gd name="T28" fmla="*/ 2147483647 w 90"/>
              <a:gd name="T29" fmla="*/ 2147483647 h 102"/>
              <a:gd name="T30" fmla="*/ 2147483647 w 90"/>
              <a:gd name="T31" fmla="*/ 2147483647 h 102"/>
              <a:gd name="T32" fmla="*/ 2147483647 w 90"/>
              <a:gd name="T33" fmla="*/ 2147483647 h 102"/>
              <a:gd name="T34" fmla="*/ 2147483647 w 90"/>
              <a:gd name="T35" fmla="*/ 2147483647 h 102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90"/>
              <a:gd name="T55" fmla="*/ 0 h 102"/>
              <a:gd name="T56" fmla="*/ 90 w 90"/>
              <a:gd name="T57" fmla="*/ 102 h 102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90" h="102">
                <a:moveTo>
                  <a:pt x="87" y="102"/>
                </a:moveTo>
                <a:lnTo>
                  <a:pt x="64" y="88"/>
                </a:lnTo>
                <a:lnTo>
                  <a:pt x="41" y="74"/>
                </a:lnTo>
                <a:lnTo>
                  <a:pt x="21" y="56"/>
                </a:lnTo>
                <a:lnTo>
                  <a:pt x="0" y="38"/>
                </a:lnTo>
                <a:lnTo>
                  <a:pt x="6" y="30"/>
                </a:lnTo>
                <a:lnTo>
                  <a:pt x="17" y="14"/>
                </a:lnTo>
                <a:lnTo>
                  <a:pt x="27" y="0"/>
                </a:lnTo>
                <a:lnTo>
                  <a:pt x="39" y="0"/>
                </a:lnTo>
                <a:lnTo>
                  <a:pt x="45" y="24"/>
                </a:lnTo>
                <a:lnTo>
                  <a:pt x="51" y="29"/>
                </a:lnTo>
                <a:lnTo>
                  <a:pt x="60" y="24"/>
                </a:lnTo>
                <a:lnTo>
                  <a:pt x="66" y="22"/>
                </a:lnTo>
                <a:lnTo>
                  <a:pt x="66" y="44"/>
                </a:lnTo>
                <a:lnTo>
                  <a:pt x="66" y="49"/>
                </a:lnTo>
                <a:lnTo>
                  <a:pt x="81" y="61"/>
                </a:lnTo>
                <a:lnTo>
                  <a:pt x="90" y="72"/>
                </a:lnTo>
                <a:lnTo>
                  <a:pt x="87" y="10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83" name="Freeform 65"/>
          <p:cNvSpPr>
            <a:spLocks/>
          </p:cNvSpPr>
          <p:nvPr/>
        </p:nvSpPr>
        <p:spPr bwMode="auto">
          <a:xfrm>
            <a:off x="2314575" y="4416425"/>
            <a:ext cx="93663" cy="84138"/>
          </a:xfrm>
          <a:custGeom>
            <a:avLst/>
            <a:gdLst>
              <a:gd name="T0" fmla="*/ 0 w 69"/>
              <a:gd name="T1" fmla="*/ 2147483647 h 59"/>
              <a:gd name="T2" fmla="*/ 2147483647 w 69"/>
              <a:gd name="T3" fmla="*/ 2147483647 h 59"/>
              <a:gd name="T4" fmla="*/ 2147483647 w 69"/>
              <a:gd name="T5" fmla="*/ 2147483647 h 59"/>
              <a:gd name="T6" fmla="*/ 2147483647 w 69"/>
              <a:gd name="T7" fmla="*/ 0 h 59"/>
              <a:gd name="T8" fmla="*/ 2147483647 w 69"/>
              <a:gd name="T9" fmla="*/ 2147483647 h 59"/>
              <a:gd name="T10" fmla="*/ 2147483647 w 69"/>
              <a:gd name="T11" fmla="*/ 2147483647 h 59"/>
              <a:gd name="T12" fmla="*/ 2147483647 w 69"/>
              <a:gd name="T13" fmla="*/ 2147483647 h 59"/>
              <a:gd name="T14" fmla="*/ 2147483647 w 69"/>
              <a:gd name="T15" fmla="*/ 2147483647 h 59"/>
              <a:gd name="T16" fmla="*/ 2147483647 w 69"/>
              <a:gd name="T17" fmla="*/ 2147483647 h 59"/>
              <a:gd name="T18" fmla="*/ 2147483647 w 69"/>
              <a:gd name="T19" fmla="*/ 2147483647 h 59"/>
              <a:gd name="T20" fmla="*/ 2147483647 w 69"/>
              <a:gd name="T21" fmla="*/ 2147483647 h 59"/>
              <a:gd name="T22" fmla="*/ 2147483647 w 69"/>
              <a:gd name="T23" fmla="*/ 2147483647 h 59"/>
              <a:gd name="T24" fmla="*/ 2147483647 w 69"/>
              <a:gd name="T25" fmla="*/ 2147483647 h 59"/>
              <a:gd name="T26" fmla="*/ 2147483647 w 69"/>
              <a:gd name="T27" fmla="*/ 2147483647 h 59"/>
              <a:gd name="T28" fmla="*/ 2147483647 w 69"/>
              <a:gd name="T29" fmla="*/ 2147483647 h 59"/>
              <a:gd name="T30" fmla="*/ 2147483647 w 69"/>
              <a:gd name="T31" fmla="*/ 2147483647 h 59"/>
              <a:gd name="T32" fmla="*/ 2147483647 w 69"/>
              <a:gd name="T33" fmla="*/ 2147483647 h 59"/>
              <a:gd name="T34" fmla="*/ 0 w 69"/>
              <a:gd name="T35" fmla="*/ 2147483647 h 5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69"/>
              <a:gd name="T55" fmla="*/ 0 h 59"/>
              <a:gd name="T56" fmla="*/ 69 w 69"/>
              <a:gd name="T57" fmla="*/ 59 h 59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69" h="59">
                <a:moveTo>
                  <a:pt x="0" y="39"/>
                </a:moveTo>
                <a:lnTo>
                  <a:pt x="1" y="20"/>
                </a:lnTo>
                <a:lnTo>
                  <a:pt x="1" y="3"/>
                </a:lnTo>
                <a:lnTo>
                  <a:pt x="9" y="0"/>
                </a:lnTo>
                <a:lnTo>
                  <a:pt x="15" y="11"/>
                </a:lnTo>
                <a:lnTo>
                  <a:pt x="25" y="15"/>
                </a:lnTo>
                <a:lnTo>
                  <a:pt x="31" y="20"/>
                </a:lnTo>
                <a:lnTo>
                  <a:pt x="62" y="10"/>
                </a:lnTo>
                <a:lnTo>
                  <a:pt x="66" y="12"/>
                </a:lnTo>
                <a:lnTo>
                  <a:pt x="69" y="20"/>
                </a:lnTo>
                <a:lnTo>
                  <a:pt x="54" y="34"/>
                </a:lnTo>
                <a:lnTo>
                  <a:pt x="63" y="52"/>
                </a:lnTo>
                <a:lnTo>
                  <a:pt x="43" y="59"/>
                </a:lnTo>
                <a:lnTo>
                  <a:pt x="40" y="44"/>
                </a:lnTo>
                <a:lnTo>
                  <a:pt x="37" y="48"/>
                </a:lnTo>
                <a:lnTo>
                  <a:pt x="26" y="39"/>
                </a:lnTo>
                <a:lnTo>
                  <a:pt x="6" y="32"/>
                </a:lnTo>
                <a:lnTo>
                  <a:pt x="0" y="39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9284" name="Freeform 66"/>
          <p:cNvSpPr>
            <a:spLocks/>
          </p:cNvSpPr>
          <p:nvPr/>
        </p:nvSpPr>
        <p:spPr bwMode="auto">
          <a:xfrm>
            <a:off x="2409825" y="4421188"/>
            <a:ext cx="65088" cy="76200"/>
          </a:xfrm>
          <a:custGeom>
            <a:avLst/>
            <a:gdLst>
              <a:gd name="T0" fmla="*/ 2147483647 w 52"/>
              <a:gd name="T1" fmla="*/ 2147483647 h 55"/>
              <a:gd name="T2" fmla="*/ 2147483647 w 52"/>
              <a:gd name="T3" fmla="*/ 2147483647 h 55"/>
              <a:gd name="T4" fmla="*/ 2147483647 w 52"/>
              <a:gd name="T5" fmla="*/ 2147483647 h 55"/>
              <a:gd name="T6" fmla="*/ 2147483647 w 52"/>
              <a:gd name="T7" fmla="*/ 2147483647 h 55"/>
              <a:gd name="T8" fmla="*/ 2147483647 w 52"/>
              <a:gd name="T9" fmla="*/ 2147483647 h 55"/>
              <a:gd name="T10" fmla="*/ 2147483647 w 52"/>
              <a:gd name="T11" fmla="*/ 2147483647 h 55"/>
              <a:gd name="T12" fmla="*/ 2147483647 w 52"/>
              <a:gd name="T13" fmla="*/ 2147483647 h 55"/>
              <a:gd name="T14" fmla="*/ 0 w 52"/>
              <a:gd name="T15" fmla="*/ 0 h 55"/>
              <a:gd name="T16" fmla="*/ 2147483647 w 52"/>
              <a:gd name="T17" fmla="*/ 2147483647 h 55"/>
              <a:gd name="T18" fmla="*/ 2147483647 w 52"/>
              <a:gd name="T19" fmla="*/ 2147483647 h 55"/>
              <a:gd name="T20" fmla="*/ 2147483647 w 52"/>
              <a:gd name="T21" fmla="*/ 2147483647 h 55"/>
              <a:gd name="T22" fmla="*/ 2147483647 w 52"/>
              <a:gd name="T23" fmla="*/ 2147483647 h 55"/>
              <a:gd name="T24" fmla="*/ 2147483647 w 52"/>
              <a:gd name="T25" fmla="*/ 2147483647 h 55"/>
              <a:gd name="T26" fmla="*/ 2147483647 w 52"/>
              <a:gd name="T27" fmla="*/ 2147483647 h 55"/>
              <a:gd name="T28" fmla="*/ 2147483647 w 52"/>
              <a:gd name="T29" fmla="*/ 2147483647 h 55"/>
              <a:gd name="T30" fmla="*/ 2147483647 w 52"/>
              <a:gd name="T31" fmla="*/ 2147483647 h 55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52"/>
              <a:gd name="T49" fmla="*/ 0 h 55"/>
              <a:gd name="T50" fmla="*/ 52 w 52"/>
              <a:gd name="T51" fmla="*/ 55 h 55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52" h="55">
                <a:moveTo>
                  <a:pt x="30" y="30"/>
                </a:moveTo>
                <a:lnTo>
                  <a:pt x="39" y="31"/>
                </a:lnTo>
                <a:lnTo>
                  <a:pt x="35" y="26"/>
                </a:lnTo>
                <a:lnTo>
                  <a:pt x="29" y="25"/>
                </a:lnTo>
                <a:lnTo>
                  <a:pt x="23" y="18"/>
                </a:lnTo>
                <a:lnTo>
                  <a:pt x="8" y="12"/>
                </a:lnTo>
                <a:lnTo>
                  <a:pt x="2" y="6"/>
                </a:lnTo>
                <a:lnTo>
                  <a:pt x="0" y="0"/>
                </a:lnTo>
                <a:lnTo>
                  <a:pt x="22" y="1"/>
                </a:lnTo>
                <a:lnTo>
                  <a:pt x="36" y="11"/>
                </a:lnTo>
                <a:lnTo>
                  <a:pt x="51" y="20"/>
                </a:lnTo>
                <a:lnTo>
                  <a:pt x="52" y="39"/>
                </a:lnTo>
                <a:lnTo>
                  <a:pt x="44" y="45"/>
                </a:lnTo>
                <a:lnTo>
                  <a:pt x="39" y="55"/>
                </a:lnTo>
                <a:lnTo>
                  <a:pt x="33" y="48"/>
                </a:lnTo>
                <a:lnTo>
                  <a:pt x="30" y="3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9285" name="Freeform 67"/>
          <p:cNvSpPr>
            <a:spLocks/>
          </p:cNvSpPr>
          <p:nvPr/>
        </p:nvSpPr>
        <p:spPr bwMode="auto">
          <a:xfrm>
            <a:off x="3132138" y="4549775"/>
            <a:ext cx="87312" cy="120650"/>
          </a:xfrm>
          <a:custGeom>
            <a:avLst/>
            <a:gdLst>
              <a:gd name="T0" fmla="*/ 2147483647 w 65"/>
              <a:gd name="T1" fmla="*/ 2147483647 h 88"/>
              <a:gd name="T2" fmla="*/ 2147483647 w 65"/>
              <a:gd name="T3" fmla="*/ 2147483647 h 88"/>
              <a:gd name="T4" fmla="*/ 2147483647 w 65"/>
              <a:gd name="T5" fmla="*/ 0 h 88"/>
              <a:gd name="T6" fmla="*/ 2147483647 w 65"/>
              <a:gd name="T7" fmla="*/ 2147483647 h 88"/>
              <a:gd name="T8" fmla="*/ 2147483647 w 65"/>
              <a:gd name="T9" fmla="*/ 2147483647 h 88"/>
              <a:gd name="T10" fmla="*/ 2147483647 w 65"/>
              <a:gd name="T11" fmla="*/ 2147483647 h 88"/>
              <a:gd name="T12" fmla="*/ 0 w 65"/>
              <a:gd name="T13" fmla="*/ 2147483647 h 88"/>
              <a:gd name="T14" fmla="*/ 2147483647 w 65"/>
              <a:gd name="T15" fmla="*/ 2147483647 h 88"/>
              <a:gd name="T16" fmla="*/ 2147483647 w 65"/>
              <a:gd name="T17" fmla="*/ 2147483647 h 88"/>
              <a:gd name="T18" fmla="*/ 2147483647 w 65"/>
              <a:gd name="T19" fmla="*/ 2147483647 h 88"/>
              <a:gd name="T20" fmla="*/ 2147483647 w 65"/>
              <a:gd name="T21" fmla="*/ 2147483647 h 88"/>
              <a:gd name="T22" fmla="*/ 2147483647 w 65"/>
              <a:gd name="T23" fmla="*/ 2147483647 h 88"/>
              <a:gd name="T24" fmla="*/ 2147483647 w 65"/>
              <a:gd name="T25" fmla="*/ 2147483647 h 88"/>
              <a:gd name="T26" fmla="*/ 2147483647 w 65"/>
              <a:gd name="T27" fmla="*/ 2147483647 h 8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65"/>
              <a:gd name="T43" fmla="*/ 0 h 88"/>
              <a:gd name="T44" fmla="*/ 65 w 65"/>
              <a:gd name="T45" fmla="*/ 88 h 88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65" h="88">
                <a:moveTo>
                  <a:pt x="51" y="23"/>
                </a:moveTo>
                <a:lnTo>
                  <a:pt x="30" y="5"/>
                </a:lnTo>
                <a:lnTo>
                  <a:pt x="15" y="0"/>
                </a:lnTo>
                <a:lnTo>
                  <a:pt x="11" y="9"/>
                </a:lnTo>
                <a:lnTo>
                  <a:pt x="4" y="30"/>
                </a:lnTo>
                <a:lnTo>
                  <a:pt x="12" y="60"/>
                </a:lnTo>
                <a:lnTo>
                  <a:pt x="0" y="84"/>
                </a:lnTo>
                <a:lnTo>
                  <a:pt x="15" y="87"/>
                </a:lnTo>
                <a:lnTo>
                  <a:pt x="36" y="88"/>
                </a:lnTo>
                <a:lnTo>
                  <a:pt x="51" y="65"/>
                </a:lnTo>
                <a:lnTo>
                  <a:pt x="65" y="42"/>
                </a:lnTo>
                <a:lnTo>
                  <a:pt x="59" y="28"/>
                </a:lnTo>
                <a:lnTo>
                  <a:pt x="59" y="33"/>
                </a:lnTo>
                <a:lnTo>
                  <a:pt x="51" y="23"/>
                </a:lnTo>
                <a:close/>
              </a:path>
            </a:pathLst>
          </a:custGeom>
          <a:solidFill>
            <a:srgbClr val="F2F2F2"/>
          </a:solidFill>
          <a:ln w="6350" cap="rnd">
            <a:solidFill>
              <a:srgbClr val="DDDDDD"/>
            </a:solidFill>
            <a:round/>
            <a:headEnd/>
            <a:tailEnd/>
          </a:ln>
        </p:spPr>
        <p:txBody>
          <a:bodyPr lIns="91430" tIns="45716" rIns="91430" bIns="45716"/>
          <a:lstStyle/>
          <a:p>
            <a:endParaRPr lang="en-US"/>
          </a:p>
        </p:txBody>
      </p:sp>
      <p:sp>
        <p:nvSpPr>
          <p:cNvPr id="9286" name="Freeform 68"/>
          <p:cNvSpPr>
            <a:spLocks/>
          </p:cNvSpPr>
          <p:nvPr/>
        </p:nvSpPr>
        <p:spPr bwMode="auto">
          <a:xfrm>
            <a:off x="2425700" y="4322763"/>
            <a:ext cx="347663" cy="565150"/>
          </a:xfrm>
          <a:custGeom>
            <a:avLst/>
            <a:gdLst>
              <a:gd name="T0" fmla="*/ 2147483647 w 263"/>
              <a:gd name="T1" fmla="*/ 2147483647 h 410"/>
              <a:gd name="T2" fmla="*/ 2147483647 w 263"/>
              <a:gd name="T3" fmla="*/ 2147483647 h 410"/>
              <a:gd name="T4" fmla="*/ 2147483647 w 263"/>
              <a:gd name="T5" fmla="*/ 2147483647 h 410"/>
              <a:gd name="T6" fmla="*/ 2147483647 w 263"/>
              <a:gd name="T7" fmla="*/ 2147483647 h 410"/>
              <a:gd name="T8" fmla="*/ 2147483647 w 263"/>
              <a:gd name="T9" fmla="*/ 2147483647 h 410"/>
              <a:gd name="T10" fmla="*/ 2147483647 w 263"/>
              <a:gd name="T11" fmla="*/ 2147483647 h 410"/>
              <a:gd name="T12" fmla="*/ 2147483647 w 263"/>
              <a:gd name="T13" fmla="*/ 2147483647 h 410"/>
              <a:gd name="T14" fmla="*/ 2147483647 w 263"/>
              <a:gd name="T15" fmla="*/ 2147483647 h 410"/>
              <a:gd name="T16" fmla="*/ 2147483647 w 263"/>
              <a:gd name="T17" fmla="*/ 2147483647 h 410"/>
              <a:gd name="T18" fmla="*/ 2147483647 w 263"/>
              <a:gd name="T19" fmla="*/ 2147483647 h 410"/>
              <a:gd name="T20" fmla="*/ 2147483647 w 263"/>
              <a:gd name="T21" fmla="*/ 2147483647 h 410"/>
              <a:gd name="T22" fmla="*/ 2147483647 w 263"/>
              <a:gd name="T23" fmla="*/ 2147483647 h 410"/>
              <a:gd name="T24" fmla="*/ 2147483647 w 263"/>
              <a:gd name="T25" fmla="*/ 2147483647 h 410"/>
              <a:gd name="T26" fmla="*/ 2147483647 w 263"/>
              <a:gd name="T27" fmla="*/ 2147483647 h 410"/>
              <a:gd name="T28" fmla="*/ 2147483647 w 263"/>
              <a:gd name="T29" fmla="*/ 2147483647 h 410"/>
              <a:gd name="T30" fmla="*/ 2147483647 w 263"/>
              <a:gd name="T31" fmla="*/ 2147483647 h 410"/>
              <a:gd name="T32" fmla="*/ 2147483647 w 263"/>
              <a:gd name="T33" fmla="*/ 2147483647 h 410"/>
              <a:gd name="T34" fmla="*/ 2147483647 w 263"/>
              <a:gd name="T35" fmla="*/ 2147483647 h 410"/>
              <a:gd name="T36" fmla="*/ 2147483647 w 263"/>
              <a:gd name="T37" fmla="*/ 2147483647 h 410"/>
              <a:gd name="T38" fmla="*/ 2147483647 w 263"/>
              <a:gd name="T39" fmla="*/ 2147483647 h 410"/>
              <a:gd name="T40" fmla="*/ 2147483647 w 263"/>
              <a:gd name="T41" fmla="*/ 2147483647 h 410"/>
              <a:gd name="T42" fmla="*/ 2147483647 w 263"/>
              <a:gd name="T43" fmla="*/ 2147483647 h 410"/>
              <a:gd name="T44" fmla="*/ 2147483647 w 263"/>
              <a:gd name="T45" fmla="*/ 2147483647 h 410"/>
              <a:gd name="T46" fmla="*/ 2147483647 w 263"/>
              <a:gd name="T47" fmla="*/ 2147483647 h 410"/>
              <a:gd name="T48" fmla="*/ 2147483647 w 263"/>
              <a:gd name="T49" fmla="*/ 2147483647 h 410"/>
              <a:gd name="T50" fmla="*/ 2147483647 w 263"/>
              <a:gd name="T51" fmla="*/ 2147483647 h 410"/>
              <a:gd name="T52" fmla="*/ 2147483647 w 263"/>
              <a:gd name="T53" fmla="*/ 2147483647 h 410"/>
              <a:gd name="T54" fmla="*/ 2147483647 w 263"/>
              <a:gd name="T55" fmla="*/ 2147483647 h 410"/>
              <a:gd name="T56" fmla="*/ 2147483647 w 263"/>
              <a:gd name="T57" fmla="*/ 2147483647 h 410"/>
              <a:gd name="T58" fmla="*/ 2147483647 w 263"/>
              <a:gd name="T59" fmla="*/ 2147483647 h 410"/>
              <a:gd name="T60" fmla="*/ 2147483647 w 263"/>
              <a:gd name="T61" fmla="*/ 2147483647 h 410"/>
              <a:gd name="T62" fmla="*/ 2147483647 w 263"/>
              <a:gd name="T63" fmla="*/ 2147483647 h 410"/>
              <a:gd name="T64" fmla="*/ 2147483647 w 263"/>
              <a:gd name="T65" fmla="*/ 2147483647 h 410"/>
              <a:gd name="T66" fmla="*/ 2147483647 w 263"/>
              <a:gd name="T67" fmla="*/ 2147483647 h 410"/>
              <a:gd name="T68" fmla="*/ 2147483647 w 263"/>
              <a:gd name="T69" fmla="*/ 2147483647 h 410"/>
              <a:gd name="T70" fmla="*/ 2147483647 w 263"/>
              <a:gd name="T71" fmla="*/ 2147483647 h 410"/>
              <a:gd name="T72" fmla="*/ 2147483647 w 263"/>
              <a:gd name="T73" fmla="*/ 2147483647 h 410"/>
              <a:gd name="T74" fmla="*/ 2147483647 w 263"/>
              <a:gd name="T75" fmla="*/ 2147483647 h 41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63"/>
              <a:gd name="T115" fmla="*/ 0 h 410"/>
              <a:gd name="T116" fmla="*/ 263 w 263"/>
              <a:gd name="T117" fmla="*/ 410 h 410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263" h="410">
                <a:moveTo>
                  <a:pt x="111" y="28"/>
                </a:moveTo>
                <a:lnTo>
                  <a:pt x="104" y="38"/>
                </a:lnTo>
                <a:lnTo>
                  <a:pt x="106" y="34"/>
                </a:lnTo>
                <a:lnTo>
                  <a:pt x="94" y="34"/>
                </a:lnTo>
                <a:lnTo>
                  <a:pt x="78" y="54"/>
                </a:lnTo>
                <a:lnTo>
                  <a:pt x="75" y="72"/>
                </a:lnTo>
                <a:lnTo>
                  <a:pt x="51" y="96"/>
                </a:lnTo>
                <a:lnTo>
                  <a:pt x="48" y="109"/>
                </a:lnTo>
                <a:lnTo>
                  <a:pt x="44" y="97"/>
                </a:lnTo>
                <a:lnTo>
                  <a:pt x="39" y="91"/>
                </a:lnTo>
                <a:lnTo>
                  <a:pt x="40" y="110"/>
                </a:lnTo>
                <a:lnTo>
                  <a:pt x="32" y="116"/>
                </a:lnTo>
                <a:lnTo>
                  <a:pt x="27" y="126"/>
                </a:lnTo>
                <a:lnTo>
                  <a:pt x="33" y="137"/>
                </a:lnTo>
                <a:lnTo>
                  <a:pt x="38" y="160"/>
                </a:lnTo>
                <a:lnTo>
                  <a:pt x="33" y="170"/>
                </a:lnTo>
                <a:lnTo>
                  <a:pt x="34" y="188"/>
                </a:lnTo>
                <a:lnTo>
                  <a:pt x="36" y="208"/>
                </a:lnTo>
                <a:lnTo>
                  <a:pt x="39" y="210"/>
                </a:lnTo>
                <a:lnTo>
                  <a:pt x="24" y="238"/>
                </a:lnTo>
                <a:lnTo>
                  <a:pt x="11" y="244"/>
                </a:lnTo>
                <a:lnTo>
                  <a:pt x="6" y="258"/>
                </a:lnTo>
                <a:lnTo>
                  <a:pt x="0" y="262"/>
                </a:lnTo>
                <a:lnTo>
                  <a:pt x="2" y="270"/>
                </a:lnTo>
                <a:lnTo>
                  <a:pt x="20" y="283"/>
                </a:lnTo>
                <a:lnTo>
                  <a:pt x="33" y="296"/>
                </a:lnTo>
                <a:lnTo>
                  <a:pt x="54" y="296"/>
                </a:lnTo>
                <a:lnTo>
                  <a:pt x="78" y="308"/>
                </a:lnTo>
                <a:lnTo>
                  <a:pt x="80" y="307"/>
                </a:lnTo>
                <a:lnTo>
                  <a:pt x="93" y="319"/>
                </a:lnTo>
                <a:lnTo>
                  <a:pt x="105" y="331"/>
                </a:lnTo>
                <a:lnTo>
                  <a:pt x="122" y="350"/>
                </a:lnTo>
                <a:lnTo>
                  <a:pt x="126" y="362"/>
                </a:lnTo>
                <a:lnTo>
                  <a:pt x="153" y="362"/>
                </a:lnTo>
                <a:lnTo>
                  <a:pt x="170" y="364"/>
                </a:lnTo>
                <a:lnTo>
                  <a:pt x="192" y="371"/>
                </a:lnTo>
                <a:lnTo>
                  <a:pt x="184" y="401"/>
                </a:lnTo>
                <a:lnTo>
                  <a:pt x="197" y="410"/>
                </a:lnTo>
                <a:lnTo>
                  <a:pt x="202" y="376"/>
                </a:lnTo>
                <a:lnTo>
                  <a:pt x="208" y="341"/>
                </a:lnTo>
                <a:lnTo>
                  <a:pt x="198" y="316"/>
                </a:lnTo>
                <a:lnTo>
                  <a:pt x="194" y="292"/>
                </a:lnTo>
                <a:lnTo>
                  <a:pt x="209" y="290"/>
                </a:lnTo>
                <a:lnTo>
                  <a:pt x="213" y="284"/>
                </a:lnTo>
                <a:lnTo>
                  <a:pt x="201" y="280"/>
                </a:lnTo>
                <a:lnTo>
                  <a:pt x="198" y="263"/>
                </a:lnTo>
                <a:lnTo>
                  <a:pt x="218" y="263"/>
                </a:lnTo>
                <a:lnTo>
                  <a:pt x="236" y="263"/>
                </a:lnTo>
                <a:lnTo>
                  <a:pt x="233" y="259"/>
                </a:lnTo>
                <a:lnTo>
                  <a:pt x="239" y="262"/>
                </a:lnTo>
                <a:lnTo>
                  <a:pt x="251" y="253"/>
                </a:lnTo>
                <a:lnTo>
                  <a:pt x="260" y="274"/>
                </a:lnTo>
                <a:lnTo>
                  <a:pt x="263" y="276"/>
                </a:lnTo>
                <a:lnTo>
                  <a:pt x="258" y="256"/>
                </a:lnTo>
                <a:lnTo>
                  <a:pt x="246" y="236"/>
                </a:lnTo>
                <a:lnTo>
                  <a:pt x="254" y="224"/>
                </a:lnTo>
                <a:lnTo>
                  <a:pt x="243" y="194"/>
                </a:lnTo>
                <a:lnTo>
                  <a:pt x="249" y="173"/>
                </a:lnTo>
                <a:lnTo>
                  <a:pt x="254" y="152"/>
                </a:lnTo>
                <a:lnTo>
                  <a:pt x="234" y="154"/>
                </a:lnTo>
                <a:lnTo>
                  <a:pt x="215" y="155"/>
                </a:lnTo>
                <a:lnTo>
                  <a:pt x="196" y="133"/>
                </a:lnTo>
                <a:lnTo>
                  <a:pt x="179" y="132"/>
                </a:lnTo>
                <a:lnTo>
                  <a:pt x="162" y="131"/>
                </a:lnTo>
                <a:lnTo>
                  <a:pt x="147" y="122"/>
                </a:lnTo>
                <a:lnTo>
                  <a:pt x="147" y="107"/>
                </a:lnTo>
                <a:lnTo>
                  <a:pt x="136" y="79"/>
                </a:lnTo>
                <a:lnTo>
                  <a:pt x="128" y="78"/>
                </a:lnTo>
                <a:lnTo>
                  <a:pt x="136" y="58"/>
                </a:lnTo>
                <a:lnTo>
                  <a:pt x="149" y="37"/>
                </a:lnTo>
                <a:lnTo>
                  <a:pt x="161" y="17"/>
                </a:lnTo>
                <a:lnTo>
                  <a:pt x="176" y="12"/>
                </a:lnTo>
                <a:lnTo>
                  <a:pt x="178" y="0"/>
                </a:lnTo>
                <a:lnTo>
                  <a:pt x="165" y="1"/>
                </a:lnTo>
                <a:lnTo>
                  <a:pt x="144" y="13"/>
                </a:lnTo>
                <a:lnTo>
                  <a:pt x="124" y="26"/>
                </a:lnTo>
                <a:lnTo>
                  <a:pt x="111" y="28"/>
                </a:lnTo>
                <a:close/>
              </a:path>
            </a:pathLst>
          </a:custGeom>
          <a:gradFill rotWithShape="1">
            <a:gsLst>
              <a:gs pos="0">
                <a:schemeClr val="accent2"/>
              </a:gs>
              <a:gs pos="100000">
                <a:srgbClr val="2E1A38"/>
              </a:gs>
            </a:gsLst>
            <a:lin ang="5400000" scaled="1"/>
          </a:gradFill>
          <a:ln w="6350" cap="rnd">
            <a:solidFill>
              <a:srgbClr val="DDDDDD"/>
            </a:solidFill>
            <a:round/>
            <a:headEnd/>
            <a:tailEnd/>
          </a:ln>
        </p:spPr>
        <p:txBody>
          <a:bodyPr lIns="91430" tIns="45716" rIns="91430" bIns="45716"/>
          <a:lstStyle/>
          <a:p>
            <a:endParaRPr lang="en-US"/>
          </a:p>
        </p:txBody>
      </p:sp>
      <p:sp>
        <p:nvSpPr>
          <p:cNvPr id="9287" name="Freeform 69"/>
          <p:cNvSpPr>
            <a:spLocks/>
          </p:cNvSpPr>
          <p:nvPr/>
        </p:nvSpPr>
        <p:spPr bwMode="auto">
          <a:xfrm>
            <a:off x="2938463" y="4454525"/>
            <a:ext cx="141287" cy="244475"/>
          </a:xfrm>
          <a:custGeom>
            <a:avLst/>
            <a:gdLst>
              <a:gd name="T0" fmla="*/ 2147483647 w 106"/>
              <a:gd name="T1" fmla="*/ 2147483647 h 177"/>
              <a:gd name="T2" fmla="*/ 2147483647 w 106"/>
              <a:gd name="T3" fmla="*/ 2147483647 h 177"/>
              <a:gd name="T4" fmla="*/ 2147483647 w 106"/>
              <a:gd name="T5" fmla="*/ 2147483647 h 177"/>
              <a:gd name="T6" fmla="*/ 2147483647 w 106"/>
              <a:gd name="T7" fmla="*/ 2147483647 h 177"/>
              <a:gd name="T8" fmla="*/ 2147483647 w 106"/>
              <a:gd name="T9" fmla="*/ 2147483647 h 177"/>
              <a:gd name="T10" fmla="*/ 2147483647 w 106"/>
              <a:gd name="T11" fmla="*/ 2147483647 h 177"/>
              <a:gd name="T12" fmla="*/ 2147483647 w 106"/>
              <a:gd name="T13" fmla="*/ 2147483647 h 177"/>
              <a:gd name="T14" fmla="*/ 2147483647 w 106"/>
              <a:gd name="T15" fmla="*/ 2147483647 h 177"/>
              <a:gd name="T16" fmla="*/ 2147483647 w 106"/>
              <a:gd name="T17" fmla="*/ 2147483647 h 177"/>
              <a:gd name="T18" fmla="*/ 2147483647 w 106"/>
              <a:gd name="T19" fmla="*/ 2147483647 h 177"/>
              <a:gd name="T20" fmla="*/ 2147483647 w 106"/>
              <a:gd name="T21" fmla="*/ 2147483647 h 177"/>
              <a:gd name="T22" fmla="*/ 2147483647 w 106"/>
              <a:gd name="T23" fmla="*/ 2147483647 h 177"/>
              <a:gd name="T24" fmla="*/ 2147483647 w 106"/>
              <a:gd name="T25" fmla="*/ 0 h 177"/>
              <a:gd name="T26" fmla="*/ 2147483647 w 106"/>
              <a:gd name="T27" fmla="*/ 2147483647 h 177"/>
              <a:gd name="T28" fmla="*/ 2147483647 w 106"/>
              <a:gd name="T29" fmla="*/ 2147483647 h 177"/>
              <a:gd name="T30" fmla="*/ 2147483647 w 106"/>
              <a:gd name="T31" fmla="*/ 2147483647 h 177"/>
              <a:gd name="T32" fmla="*/ 2147483647 w 106"/>
              <a:gd name="T33" fmla="*/ 2147483647 h 177"/>
              <a:gd name="T34" fmla="*/ 0 w 106"/>
              <a:gd name="T35" fmla="*/ 2147483647 h 177"/>
              <a:gd name="T36" fmla="*/ 2147483647 w 106"/>
              <a:gd name="T37" fmla="*/ 2147483647 h 177"/>
              <a:gd name="T38" fmla="*/ 2147483647 w 106"/>
              <a:gd name="T39" fmla="*/ 2147483647 h 177"/>
              <a:gd name="T40" fmla="*/ 2147483647 w 106"/>
              <a:gd name="T41" fmla="*/ 2147483647 h 177"/>
              <a:gd name="T42" fmla="*/ 2147483647 w 106"/>
              <a:gd name="T43" fmla="*/ 2147483647 h 177"/>
              <a:gd name="T44" fmla="*/ 2147483647 w 106"/>
              <a:gd name="T45" fmla="*/ 2147483647 h 177"/>
              <a:gd name="T46" fmla="*/ 2147483647 w 106"/>
              <a:gd name="T47" fmla="*/ 2147483647 h 177"/>
              <a:gd name="T48" fmla="*/ 2147483647 w 106"/>
              <a:gd name="T49" fmla="*/ 2147483647 h 177"/>
              <a:gd name="T50" fmla="*/ 2147483647 w 106"/>
              <a:gd name="T51" fmla="*/ 2147483647 h 177"/>
              <a:gd name="T52" fmla="*/ 2147483647 w 106"/>
              <a:gd name="T53" fmla="*/ 2147483647 h 177"/>
              <a:gd name="T54" fmla="*/ 2147483647 w 106"/>
              <a:gd name="T55" fmla="*/ 2147483647 h 177"/>
              <a:gd name="T56" fmla="*/ 2147483647 w 106"/>
              <a:gd name="T57" fmla="*/ 2147483647 h 177"/>
              <a:gd name="T58" fmla="*/ 2147483647 w 106"/>
              <a:gd name="T59" fmla="*/ 2147483647 h 17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06"/>
              <a:gd name="T91" fmla="*/ 0 h 177"/>
              <a:gd name="T92" fmla="*/ 106 w 106"/>
              <a:gd name="T93" fmla="*/ 177 h 177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06" h="177">
                <a:moveTo>
                  <a:pt x="84" y="128"/>
                </a:moveTo>
                <a:lnTo>
                  <a:pt x="73" y="114"/>
                </a:lnTo>
                <a:lnTo>
                  <a:pt x="75" y="92"/>
                </a:lnTo>
                <a:lnTo>
                  <a:pt x="85" y="87"/>
                </a:lnTo>
                <a:lnTo>
                  <a:pt x="90" y="75"/>
                </a:lnTo>
                <a:lnTo>
                  <a:pt x="89" y="55"/>
                </a:lnTo>
                <a:lnTo>
                  <a:pt x="65" y="41"/>
                </a:lnTo>
                <a:lnTo>
                  <a:pt x="60" y="50"/>
                </a:lnTo>
                <a:lnTo>
                  <a:pt x="62" y="25"/>
                </a:lnTo>
                <a:lnTo>
                  <a:pt x="49" y="14"/>
                </a:lnTo>
                <a:lnTo>
                  <a:pt x="37" y="3"/>
                </a:lnTo>
                <a:lnTo>
                  <a:pt x="42" y="7"/>
                </a:lnTo>
                <a:lnTo>
                  <a:pt x="32" y="0"/>
                </a:lnTo>
                <a:lnTo>
                  <a:pt x="36" y="5"/>
                </a:lnTo>
                <a:lnTo>
                  <a:pt x="15" y="24"/>
                </a:lnTo>
                <a:lnTo>
                  <a:pt x="24" y="35"/>
                </a:lnTo>
                <a:lnTo>
                  <a:pt x="8" y="44"/>
                </a:lnTo>
                <a:lnTo>
                  <a:pt x="0" y="62"/>
                </a:lnTo>
                <a:lnTo>
                  <a:pt x="13" y="81"/>
                </a:lnTo>
                <a:lnTo>
                  <a:pt x="25" y="81"/>
                </a:lnTo>
                <a:lnTo>
                  <a:pt x="27" y="95"/>
                </a:lnTo>
                <a:lnTo>
                  <a:pt x="36" y="108"/>
                </a:lnTo>
                <a:lnTo>
                  <a:pt x="31" y="131"/>
                </a:lnTo>
                <a:lnTo>
                  <a:pt x="33" y="159"/>
                </a:lnTo>
                <a:lnTo>
                  <a:pt x="48" y="177"/>
                </a:lnTo>
                <a:lnTo>
                  <a:pt x="61" y="177"/>
                </a:lnTo>
                <a:lnTo>
                  <a:pt x="83" y="167"/>
                </a:lnTo>
                <a:lnTo>
                  <a:pt x="106" y="163"/>
                </a:lnTo>
                <a:lnTo>
                  <a:pt x="95" y="145"/>
                </a:lnTo>
                <a:lnTo>
                  <a:pt x="84" y="128"/>
                </a:lnTo>
                <a:close/>
              </a:path>
            </a:pathLst>
          </a:custGeom>
          <a:solidFill>
            <a:srgbClr val="F2F2F2"/>
          </a:solidFill>
          <a:ln w="6350" cap="rnd">
            <a:solidFill>
              <a:srgbClr val="DDDDDD"/>
            </a:solidFill>
            <a:round/>
            <a:headEnd/>
            <a:tailEnd/>
          </a:ln>
        </p:spPr>
        <p:txBody>
          <a:bodyPr lIns="91430" tIns="45716" rIns="91430" bIns="45716"/>
          <a:lstStyle/>
          <a:p>
            <a:endParaRPr lang="en-US"/>
          </a:p>
        </p:txBody>
      </p:sp>
      <p:sp>
        <p:nvSpPr>
          <p:cNvPr id="9288" name="Freeform 70"/>
          <p:cNvSpPr>
            <a:spLocks/>
          </p:cNvSpPr>
          <p:nvPr/>
        </p:nvSpPr>
        <p:spPr bwMode="auto">
          <a:xfrm>
            <a:off x="3036888" y="4543425"/>
            <a:ext cx="111125" cy="138113"/>
          </a:xfrm>
          <a:custGeom>
            <a:avLst/>
            <a:gdLst>
              <a:gd name="T0" fmla="*/ 2147483647 w 85"/>
              <a:gd name="T1" fmla="*/ 2147483647 h 100"/>
              <a:gd name="T2" fmla="*/ 0 w 85"/>
              <a:gd name="T3" fmla="*/ 2147483647 h 100"/>
              <a:gd name="T4" fmla="*/ 2147483647 w 85"/>
              <a:gd name="T5" fmla="*/ 2147483647 h 100"/>
              <a:gd name="T6" fmla="*/ 2147483647 w 85"/>
              <a:gd name="T7" fmla="*/ 2147483647 h 100"/>
              <a:gd name="T8" fmla="*/ 2147483647 w 85"/>
              <a:gd name="T9" fmla="*/ 2147483647 h 100"/>
              <a:gd name="T10" fmla="*/ 2147483647 w 85"/>
              <a:gd name="T11" fmla="*/ 0 h 100"/>
              <a:gd name="T12" fmla="*/ 2147483647 w 85"/>
              <a:gd name="T13" fmla="*/ 2147483647 h 100"/>
              <a:gd name="T14" fmla="*/ 2147483647 w 85"/>
              <a:gd name="T15" fmla="*/ 2147483647 h 100"/>
              <a:gd name="T16" fmla="*/ 2147483647 w 85"/>
              <a:gd name="T17" fmla="*/ 0 h 100"/>
              <a:gd name="T18" fmla="*/ 2147483647 w 85"/>
              <a:gd name="T19" fmla="*/ 2147483647 h 100"/>
              <a:gd name="T20" fmla="*/ 2147483647 w 85"/>
              <a:gd name="T21" fmla="*/ 2147483647 h 100"/>
              <a:gd name="T22" fmla="*/ 2147483647 w 85"/>
              <a:gd name="T23" fmla="*/ 2147483647 h 100"/>
              <a:gd name="T24" fmla="*/ 2147483647 w 85"/>
              <a:gd name="T25" fmla="*/ 2147483647 h 100"/>
              <a:gd name="T26" fmla="*/ 2147483647 w 85"/>
              <a:gd name="T27" fmla="*/ 2147483647 h 100"/>
              <a:gd name="T28" fmla="*/ 2147483647 w 85"/>
              <a:gd name="T29" fmla="*/ 2147483647 h 100"/>
              <a:gd name="T30" fmla="*/ 2147483647 w 85"/>
              <a:gd name="T31" fmla="*/ 2147483647 h 100"/>
              <a:gd name="T32" fmla="*/ 2147483647 w 85"/>
              <a:gd name="T33" fmla="*/ 2147483647 h 100"/>
              <a:gd name="T34" fmla="*/ 2147483647 w 85"/>
              <a:gd name="T35" fmla="*/ 2147483647 h 100"/>
              <a:gd name="T36" fmla="*/ 2147483647 w 85"/>
              <a:gd name="T37" fmla="*/ 2147483647 h 100"/>
              <a:gd name="T38" fmla="*/ 2147483647 w 85"/>
              <a:gd name="T39" fmla="*/ 2147483647 h 100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85"/>
              <a:gd name="T61" fmla="*/ 0 h 100"/>
              <a:gd name="T62" fmla="*/ 85 w 85"/>
              <a:gd name="T63" fmla="*/ 100 h 100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85" h="100">
                <a:moveTo>
                  <a:pt x="11" y="63"/>
                </a:moveTo>
                <a:lnTo>
                  <a:pt x="0" y="49"/>
                </a:lnTo>
                <a:lnTo>
                  <a:pt x="2" y="27"/>
                </a:lnTo>
                <a:lnTo>
                  <a:pt x="12" y="22"/>
                </a:lnTo>
                <a:lnTo>
                  <a:pt x="17" y="10"/>
                </a:lnTo>
                <a:lnTo>
                  <a:pt x="21" y="0"/>
                </a:lnTo>
                <a:lnTo>
                  <a:pt x="46" y="2"/>
                </a:lnTo>
                <a:lnTo>
                  <a:pt x="66" y="1"/>
                </a:lnTo>
                <a:lnTo>
                  <a:pt x="65" y="0"/>
                </a:lnTo>
                <a:lnTo>
                  <a:pt x="85" y="1"/>
                </a:lnTo>
                <a:lnTo>
                  <a:pt x="84" y="13"/>
                </a:lnTo>
                <a:lnTo>
                  <a:pt x="77" y="34"/>
                </a:lnTo>
                <a:lnTo>
                  <a:pt x="85" y="64"/>
                </a:lnTo>
                <a:lnTo>
                  <a:pt x="73" y="88"/>
                </a:lnTo>
                <a:lnTo>
                  <a:pt x="60" y="84"/>
                </a:lnTo>
                <a:lnTo>
                  <a:pt x="41" y="87"/>
                </a:lnTo>
                <a:lnTo>
                  <a:pt x="42" y="100"/>
                </a:lnTo>
                <a:lnTo>
                  <a:pt x="33" y="98"/>
                </a:lnTo>
                <a:lnTo>
                  <a:pt x="22" y="80"/>
                </a:lnTo>
                <a:lnTo>
                  <a:pt x="11" y="63"/>
                </a:lnTo>
                <a:close/>
              </a:path>
            </a:pathLst>
          </a:custGeom>
          <a:solidFill>
            <a:srgbClr val="F2F2F2"/>
          </a:solidFill>
          <a:ln w="6350" cap="rnd">
            <a:solidFill>
              <a:srgbClr val="DDDDDD"/>
            </a:solidFill>
            <a:round/>
            <a:headEnd/>
            <a:tailEnd/>
          </a:ln>
        </p:spPr>
        <p:txBody>
          <a:bodyPr lIns="91430" tIns="45716" rIns="91430" bIns="45716"/>
          <a:lstStyle/>
          <a:p>
            <a:endParaRPr lang="en-US"/>
          </a:p>
        </p:txBody>
      </p:sp>
      <p:sp>
        <p:nvSpPr>
          <p:cNvPr id="9289" name="Freeform 71"/>
          <p:cNvSpPr>
            <a:spLocks/>
          </p:cNvSpPr>
          <p:nvPr/>
        </p:nvSpPr>
        <p:spPr bwMode="auto">
          <a:xfrm>
            <a:off x="2930525" y="4379913"/>
            <a:ext cx="26988" cy="20637"/>
          </a:xfrm>
          <a:custGeom>
            <a:avLst/>
            <a:gdLst>
              <a:gd name="T0" fmla="*/ 2147483647 w 19"/>
              <a:gd name="T1" fmla="*/ 0 h 16"/>
              <a:gd name="T2" fmla="*/ 2147483647 w 19"/>
              <a:gd name="T3" fmla="*/ 0 h 16"/>
              <a:gd name="T4" fmla="*/ 2147483647 w 19"/>
              <a:gd name="T5" fmla="*/ 2147483647 h 16"/>
              <a:gd name="T6" fmla="*/ 0 w 19"/>
              <a:gd name="T7" fmla="*/ 2147483647 h 16"/>
              <a:gd name="T8" fmla="*/ 2147483647 w 19"/>
              <a:gd name="T9" fmla="*/ 2147483647 h 16"/>
              <a:gd name="T10" fmla="*/ 2147483647 w 19"/>
              <a:gd name="T11" fmla="*/ 0 h 1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9"/>
              <a:gd name="T19" fmla="*/ 0 h 16"/>
              <a:gd name="T20" fmla="*/ 19 w 19"/>
              <a:gd name="T21" fmla="*/ 16 h 1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9" h="16">
                <a:moveTo>
                  <a:pt x="5" y="0"/>
                </a:moveTo>
                <a:lnTo>
                  <a:pt x="19" y="0"/>
                </a:lnTo>
                <a:lnTo>
                  <a:pt x="13" y="16"/>
                </a:lnTo>
                <a:lnTo>
                  <a:pt x="0" y="14"/>
                </a:lnTo>
                <a:lnTo>
                  <a:pt x="8" y="4"/>
                </a:lnTo>
                <a:lnTo>
                  <a:pt x="5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90" name="Freeform 72"/>
          <p:cNvSpPr>
            <a:spLocks/>
          </p:cNvSpPr>
          <p:nvPr/>
        </p:nvSpPr>
        <p:spPr bwMode="auto">
          <a:xfrm>
            <a:off x="2592388" y="4329113"/>
            <a:ext cx="393700" cy="388937"/>
          </a:xfrm>
          <a:custGeom>
            <a:avLst/>
            <a:gdLst>
              <a:gd name="T0" fmla="*/ 2147483647 w 295"/>
              <a:gd name="T1" fmla="*/ 2147483647 h 283"/>
              <a:gd name="T2" fmla="*/ 2147483647 w 295"/>
              <a:gd name="T3" fmla="*/ 2147483647 h 283"/>
              <a:gd name="T4" fmla="*/ 2147483647 w 295"/>
              <a:gd name="T5" fmla="*/ 2147483647 h 283"/>
              <a:gd name="T6" fmla="*/ 2147483647 w 295"/>
              <a:gd name="T7" fmla="*/ 2147483647 h 283"/>
              <a:gd name="T8" fmla="*/ 2147483647 w 295"/>
              <a:gd name="T9" fmla="*/ 2147483647 h 283"/>
              <a:gd name="T10" fmla="*/ 2147483647 w 295"/>
              <a:gd name="T11" fmla="*/ 2147483647 h 283"/>
              <a:gd name="T12" fmla="*/ 2147483647 w 295"/>
              <a:gd name="T13" fmla="*/ 2147483647 h 283"/>
              <a:gd name="T14" fmla="*/ 2147483647 w 295"/>
              <a:gd name="T15" fmla="*/ 2147483647 h 283"/>
              <a:gd name="T16" fmla="*/ 2147483647 w 295"/>
              <a:gd name="T17" fmla="*/ 2147483647 h 283"/>
              <a:gd name="T18" fmla="*/ 2147483647 w 295"/>
              <a:gd name="T19" fmla="*/ 2147483647 h 283"/>
              <a:gd name="T20" fmla="*/ 2147483647 w 295"/>
              <a:gd name="T21" fmla="*/ 2147483647 h 283"/>
              <a:gd name="T22" fmla="*/ 2147483647 w 295"/>
              <a:gd name="T23" fmla="*/ 2147483647 h 283"/>
              <a:gd name="T24" fmla="*/ 2147483647 w 295"/>
              <a:gd name="T25" fmla="*/ 2147483647 h 283"/>
              <a:gd name="T26" fmla="*/ 2147483647 w 295"/>
              <a:gd name="T27" fmla="*/ 2147483647 h 283"/>
              <a:gd name="T28" fmla="*/ 2147483647 w 295"/>
              <a:gd name="T29" fmla="*/ 2147483647 h 283"/>
              <a:gd name="T30" fmla="*/ 0 w 295"/>
              <a:gd name="T31" fmla="*/ 2147483647 h 283"/>
              <a:gd name="T32" fmla="*/ 2147483647 w 295"/>
              <a:gd name="T33" fmla="*/ 2147483647 h 283"/>
              <a:gd name="T34" fmla="*/ 2147483647 w 295"/>
              <a:gd name="T35" fmla="*/ 2147483647 h 283"/>
              <a:gd name="T36" fmla="*/ 2147483647 w 295"/>
              <a:gd name="T37" fmla="*/ 2147483647 h 283"/>
              <a:gd name="T38" fmla="*/ 2147483647 w 295"/>
              <a:gd name="T39" fmla="*/ 2147483647 h 283"/>
              <a:gd name="T40" fmla="*/ 2147483647 w 295"/>
              <a:gd name="T41" fmla="*/ 2147483647 h 283"/>
              <a:gd name="T42" fmla="*/ 2147483647 w 295"/>
              <a:gd name="T43" fmla="*/ 2147483647 h 283"/>
              <a:gd name="T44" fmla="*/ 2147483647 w 295"/>
              <a:gd name="T45" fmla="*/ 2147483647 h 283"/>
              <a:gd name="T46" fmla="*/ 2147483647 w 295"/>
              <a:gd name="T47" fmla="*/ 2147483647 h 283"/>
              <a:gd name="T48" fmla="*/ 2147483647 w 295"/>
              <a:gd name="T49" fmla="*/ 2147483647 h 283"/>
              <a:gd name="T50" fmla="*/ 2147483647 w 295"/>
              <a:gd name="T51" fmla="*/ 2147483647 h 283"/>
              <a:gd name="T52" fmla="*/ 2147483647 w 295"/>
              <a:gd name="T53" fmla="*/ 2147483647 h 283"/>
              <a:gd name="T54" fmla="*/ 2147483647 w 295"/>
              <a:gd name="T55" fmla="*/ 2147483647 h 283"/>
              <a:gd name="T56" fmla="*/ 2147483647 w 295"/>
              <a:gd name="T57" fmla="*/ 2147483647 h 283"/>
              <a:gd name="T58" fmla="*/ 2147483647 w 295"/>
              <a:gd name="T59" fmla="*/ 2147483647 h 283"/>
              <a:gd name="T60" fmla="*/ 2147483647 w 295"/>
              <a:gd name="T61" fmla="*/ 2147483647 h 283"/>
              <a:gd name="T62" fmla="*/ 2147483647 w 295"/>
              <a:gd name="T63" fmla="*/ 2147483647 h 283"/>
              <a:gd name="T64" fmla="*/ 2147483647 w 295"/>
              <a:gd name="T65" fmla="*/ 2147483647 h 283"/>
              <a:gd name="T66" fmla="*/ 2147483647 w 295"/>
              <a:gd name="T67" fmla="*/ 2147483647 h 283"/>
              <a:gd name="T68" fmla="*/ 2147483647 w 295"/>
              <a:gd name="T69" fmla="*/ 2147483647 h 283"/>
              <a:gd name="T70" fmla="*/ 2147483647 w 295"/>
              <a:gd name="T71" fmla="*/ 2147483647 h 283"/>
              <a:gd name="T72" fmla="*/ 2147483647 w 295"/>
              <a:gd name="T73" fmla="*/ 2147483647 h 283"/>
              <a:gd name="T74" fmla="*/ 2147483647 w 295"/>
              <a:gd name="T75" fmla="*/ 2147483647 h 283"/>
              <a:gd name="T76" fmla="*/ 2147483647 w 295"/>
              <a:gd name="T77" fmla="*/ 2147483647 h 283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295"/>
              <a:gd name="T118" fmla="*/ 0 h 283"/>
              <a:gd name="T119" fmla="*/ 295 w 295"/>
              <a:gd name="T120" fmla="*/ 283 h 283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295" h="283">
                <a:moveTo>
                  <a:pt x="244" y="61"/>
                </a:moveTo>
                <a:lnTo>
                  <a:pt x="243" y="57"/>
                </a:lnTo>
                <a:lnTo>
                  <a:pt x="238" y="52"/>
                </a:lnTo>
                <a:lnTo>
                  <a:pt x="230" y="52"/>
                </a:lnTo>
                <a:lnTo>
                  <a:pt x="234" y="51"/>
                </a:lnTo>
                <a:lnTo>
                  <a:pt x="228" y="45"/>
                </a:lnTo>
                <a:lnTo>
                  <a:pt x="250" y="38"/>
                </a:lnTo>
                <a:lnTo>
                  <a:pt x="226" y="38"/>
                </a:lnTo>
                <a:lnTo>
                  <a:pt x="202" y="38"/>
                </a:lnTo>
                <a:lnTo>
                  <a:pt x="211" y="42"/>
                </a:lnTo>
                <a:lnTo>
                  <a:pt x="189" y="51"/>
                </a:lnTo>
                <a:lnTo>
                  <a:pt x="159" y="42"/>
                </a:lnTo>
                <a:lnTo>
                  <a:pt x="139" y="42"/>
                </a:lnTo>
                <a:lnTo>
                  <a:pt x="118" y="42"/>
                </a:lnTo>
                <a:lnTo>
                  <a:pt x="111" y="26"/>
                </a:lnTo>
                <a:lnTo>
                  <a:pt x="87" y="16"/>
                </a:lnTo>
                <a:lnTo>
                  <a:pt x="78" y="0"/>
                </a:lnTo>
                <a:lnTo>
                  <a:pt x="72" y="10"/>
                </a:lnTo>
                <a:lnTo>
                  <a:pt x="82" y="16"/>
                </a:lnTo>
                <a:lnTo>
                  <a:pt x="76" y="16"/>
                </a:lnTo>
                <a:lnTo>
                  <a:pt x="48" y="28"/>
                </a:lnTo>
                <a:lnTo>
                  <a:pt x="44" y="34"/>
                </a:lnTo>
                <a:lnTo>
                  <a:pt x="50" y="66"/>
                </a:lnTo>
                <a:lnTo>
                  <a:pt x="40" y="78"/>
                </a:lnTo>
                <a:lnTo>
                  <a:pt x="28" y="61"/>
                </a:lnTo>
                <a:lnTo>
                  <a:pt x="39" y="39"/>
                </a:lnTo>
                <a:lnTo>
                  <a:pt x="33" y="19"/>
                </a:lnTo>
                <a:lnTo>
                  <a:pt x="48" y="8"/>
                </a:lnTo>
                <a:lnTo>
                  <a:pt x="33" y="13"/>
                </a:lnTo>
                <a:lnTo>
                  <a:pt x="21" y="33"/>
                </a:lnTo>
                <a:lnTo>
                  <a:pt x="8" y="54"/>
                </a:lnTo>
                <a:lnTo>
                  <a:pt x="0" y="74"/>
                </a:lnTo>
                <a:lnTo>
                  <a:pt x="8" y="75"/>
                </a:lnTo>
                <a:lnTo>
                  <a:pt x="19" y="103"/>
                </a:lnTo>
                <a:lnTo>
                  <a:pt x="19" y="118"/>
                </a:lnTo>
                <a:lnTo>
                  <a:pt x="34" y="127"/>
                </a:lnTo>
                <a:lnTo>
                  <a:pt x="51" y="128"/>
                </a:lnTo>
                <a:lnTo>
                  <a:pt x="68" y="129"/>
                </a:lnTo>
                <a:lnTo>
                  <a:pt x="87" y="151"/>
                </a:lnTo>
                <a:lnTo>
                  <a:pt x="106" y="150"/>
                </a:lnTo>
                <a:lnTo>
                  <a:pt x="126" y="148"/>
                </a:lnTo>
                <a:lnTo>
                  <a:pt x="121" y="169"/>
                </a:lnTo>
                <a:lnTo>
                  <a:pt x="115" y="190"/>
                </a:lnTo>
                <a:lnTo>
                  <a:pt x="126" y="220"/>
                </a:lnTo>
                <a:lnTo>
                  <a:pt x="118" y="232"/>
                </a:lnTo>
                <a:lnTo>
                  <a:pt x="130" y="252"/>
                </a:lnTo>
                <a:lnTo>
                  <a:pt x="135" y="272"/>
                </a:lnTo>
                <a:lnTo>
                  <a:pt x="153" y="283"/>
                </a:lnTo>
                <a:lnTo>
                  <a:pt x="165" y="282"/>
                </a:lnTo>
                <a:lnTo>
                  <a:pt x="168" y="283"/>
                </a:lnTo>
                <a:lnTo>
                  <a:pt x="190" y="266"/>
                </a:lnTo>
                <a:lnTo>
                  <a:pt x="210" y="249"/>
                </a:lnTo>
                <a:lnTo>
                  <a:pt x="213" y="242"/>
                </a:lnTo>
                <a:lnTo>
                  <a:pt x="199" y="237"/>
                </a:lnTo>
                <a:lnTo>
                  <a:pt x="193" y="210"/>
                </a:lnTo>
                <a:lnTo>
                  <a:pt x="186" y="196"/>
                </a:lnTo>
                <a:lnTo>
                  <a:pt x="207" y="204"/>
                </a:lnTo>
                <a:lnTo>
                  <a:pt x="228" y="211"/>
                </a:lnTo>
                <a:lnTo>
                  <a:pt x="231" y="202"/>
                </a:lnTo>
                <a:lnTo>
                  <a:pt x="249" y="194"/>
                </a:lnTo>
                <a:lnTo>
                  <a:pt x="267" y="187"/>
                </a:lnTo>
                <a:lnTo>
                  <a:pt x="273" y="174"/>
                </a:lnTo>
                <a:lnTo>
                  <a:pt x="272" y="172"/>
                </a:lnTo>
                <a:lnTo>
                  <a:pt x="259" y="153"/>
                </a:lnTo>
                <a:lnTo>
                  <a:pt x="267" y="135"/>
                </a:lnTo>
                <a:lnTo>
                  <a:pt x="283" y="126"/>
                </a:lnTo>
                <a:lnTo>
                  <a:pt x="274" y="115"/>
                </a:lnTo>
                <a:lnTo>
                  <a:pt x="295" y="96"/>
                </a:lnTo>
                <a:lnTo>
                  <a:pt x="291" y="91"/>
                </a:lnTo>
                <a:lnTo>
                  <a:pt x="270" y="90"/>
                </a:lnTo>
                <a:lnTo>
                  <a:pt x="255" y="90"/>
                </a:lnTo>
                <a:lnTo>
                  <a:pt x="260" y="88"/>
                </a:lnTo>
                <a:lnTo>
                  <a:pt x="268" y="76"/>
                </a:lnTo>
                <a:lnTo>
                  <a:pt x="273" y="72"/>
                </a:lnTo>
                <a:lnTo>
                  <a:pt x="260" y="60"/>
                </a:lnTo>
                <a:lnTo>
                  <a:pt x="252" y="61"/>
                </a:lnTo>
                <a:lnTo>
                  <a:pt x="243" y="56"/>
                </a:lnTo>
                <a:lnTo>
                  <a:pt x="244" y="61"/>
                </a:lnTo>
                <a:close/>
              </a:path>
            </a:pathLst>
          </a:custGeom>
          <a:gradFill rotWithShape="1">
            <a:gsLst>
              <a:gs pos="0">
                <a:schemeClr val="accent2"/>
              </a:gs>
              <a:gs pos="100000">
                <a:srgbClr val="2E1A38"/>
              </a:gs>
            </a:gsLst>
            <a:lin ang="5400000" scaled="1"/>
          </a:gradFill>
          <a:ln w="6350" cap="rnd">
            <a:solidFill>
              <a:srgbClr val="DDDDDD"/>
            </a:solidFill>
            <a:round/>
            <a:headEnd/>
            <a:tailEnd/>
          </a:ln>
        </p:spPr>
        <p:txBody>
          <a:bodyPr lIns="91430" tIns="45716" rIns="91430" bIns="45716"/>
          <a:lstStyle/>
          <a:p>
            <a:endParaRPr lang="en-US"/>
          </a:p>
        </p:txBody>
      </p:sp>
      <p:sp>
        <p:nvSpPr>
          <p:cNvPr id="9291" name="Freeform 73"/>
          <p:cNvSpPr>
            <a:spLocks/>
          </p:cNvSpPr>
          <p:nvPr/>
        </p:nvSpPr>
        <p:spPr bwMode="auto">
          <a:xfrm>
            <a:off x="2860675" y="4368800"/>
            <a:ext cx="12700" cy="1588"/>
          </a:xfrm>
          <a:custGeom>
            <a:avLst/>
            <a:gdLst>
              <a:gd name="T0" fmla="*/ 2147483647 w 11"/>
              <a:gd name="T1" fmla="*/ 0 h 3"/>
              <a:gd name="T2" fmla="*/ 0 w 11"/>
              <a:gd name="T3" fmla="*/ 0 h 3"/>
              <a:gd name="T4" fmla="*/ 2147483647 w 11"/>
              <a:gd name="T5" fmla="*/ 0 h 3"/>
              <a:gd name="T6" fmla="*/ 0 60000 65536"/>
              <a:gd name="T7" fmla="*/ 0 60000 65536"/>
              <a:gd name="T8" fmla="*/ 0 60000 65536"/>
              <a:gd name="T9" fmla="*/ 0 w 11"/>
              <a:gd name="T10" fmla="*/ 0 h 3"/>
              <a:gd name="T11" fmla="*/ 11 w 11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" h="3">
                <a:moveTo>
                  <a:pt x="11" y="3"/>
                </a:moveTo>
                <a:lnTo>
                  <a:pt x="0" y="0"/>
                </a:lnTo>
                <a:lnTo>
                  <a:pt x="11" y="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92" name="Freeform 74"/>
          <p:cNvSpPr>
            <a:spLocks/>
          </p:cNvSpPr>
          <p:nvPr/>
        </p:nvSpPr>
        <p:spPr bwMode="auto">
          <a:xfrm>
            <a:off x="2303463" y="3956050"/>
            <a:ext cx="298450" cy="109538"/>
          </a:xfrm>
          <a:custGeom>
            <a:avLst/>
            <a:gdLst>
              <a:gd name="T0" fmla="*/ 2147483647 w 225"/>
              <a:gd name="T1" fmla="*/ 2147483647 h 81"/>
              <a:gd name="T2" fmla="*/ 2147483647 w 225"/>
              <a:gd name="T3" fmla="*/ 2147483647 h 81"/>
              <a:gd name="T4" fmla="*/ 2147483647 w 225"/>
              <a:gd name="T5" fmla="*/ 2147483647 h 81"/>
              <a:gd name="T6" fmla="*/ 2147483647 w 225"/>
              <a:gd name="T7" fmla="*/ 2147483647 h 81"/>
              <a:gd name="T8" fmla="*/ 2147483647 w 225"/>
              <a:gd name="T9" fmla="*/ 2147483647 h 81"/>
              <a:gd name="T10" fmla="*/ 2147483647 w 225"/>
              <a:gd name="T11" fmla="*/ 2147483647 h 81"/>
              <a:gd name="T12" fmla="*/ 2147483647 w 225"/>
              <a:gd name="T13" fmla="*/ 0 h 81"/>
              <a:gd name="T14" fmla="*/ 2147483647 w 225"/>
              <a:gd name="T15" fmla="*/ 2147483647 h 81"/>
              <a:gd name="T16" fmla="*/ 2147483647 w 225"/>
              <a:gd name="T17" fmla="*/ 2147483647 h 81"/>
              <a:gd name="T18" fmla="*/ 2147483647 w 225"/>
              <a:gd name="T19" fmla="*/ 2147483647 h 81"/>
              <a:gd name="T20" fmla="*/ 0 w 225"/>
              <a:gd name="T21" fmla="*/ 2147483647 h 81"/>
              <a:gd name="T22" fmla="*/ 2147483647 w 225"/>
              <a:gd name="T23" fmla="*/ 2147483647 h 81"/>
              <a:gd name="T24" fmla="*/ 2147483647 w 225"/>
              <a:gd name="T25" fmla="*/ 2147483647 h 81"/>
              <a:gd name="T26" fmla="*/ 2147483647 w 225"/>
              <a:gd name="T27" fmla="*/ 2147483647 h 81"/>
              <a:gd name="T28" fmla="*/ 2147483647 w 225"/>
              <a:gd name="T29" fmla="*/ 2147483647 h 81"/>
              <a:gd name="T30" fmla="*/ 2147483647 w 225"/>
              <a:gd name="T31" fmla="*/ 2147483647 h 81"/>
              <a:gd name="T32" fmla="*/ 2147483647 w 225"/>
              <a:gd name="T33" fmla="*/ 2147483647 h 81"/>
              <a:gd name="T34" fmla="*/ 2147483647 w 225"/>
              <a:gd name="T35" fmla="*/ 2147483647 h 81"/>
              <a:gd name="T36" fmla="*/ 2147483647 w 225"/>
              <a:gd name="T37" fmla="*/ 2147483647 h 81"/>
              <a:gd name="T38" fmla="*/ 2147483647 w 225"/>
              <a:gd name="T39" fmla="*/ 2147483647 h 81"/>
              <a:gd name="T40" fmla="*/ 2147483647 w 225"/>
              <a:gd name="T41" fmla="*/ 2147483647 h 81"/>
              <a:gd name="T42" fmla="*/ 2147483647 w 225"/>
              <a:gd name="T43" fmla="*/ 2147483647 h 81"/>
              <a:gd name="T44" fmla="*/ 2147483647 w 225"/>
              <a:gd name="T45" fmla="*/ 2147483647 h 81"/>
              <a:gd name="T46" fmla="*/ 2147483647 w 225"/>
              <a:gd name="T47" fmla="*/ 2147483647 h 81"/>
              <a:gd name="T48" fmla="*/ 2147483647 w 225"/>
              <a:gd name="T49" fmla="*/ 2147483647 h 81"/>
              <a:gd name="T50" fmla="*/ 2147483647 w 225"/>
              <a:gd name="T51" fmla="*/ 2147483647 h 81"/>
              <a:gd name="T52" fmla="*/ 2147483647 w 225"/>
              <a:gd name="T53" fmla="*/ 2147483647 h 81"/>
              <a:gd name="T54" fmla="*/ 2147483647 w 225"/>
              <a:gd name="T55" fmla="*/ 2147483647 h 81"/>
              <a:gd name="T56" fmla="*/ 2147483647 w 225"/>
              <a:gd name="T57" fmla="*/ 2147483647 h 81"/>
              <a:gd name="T58" fmla="*/ 2147483647 w 225"/>
              <a:gd name="T59" fmla="*/ 2147483647 h 81"/>
              <a:gd name="T60" fmla="*/ 2147483647 w 225"/>
              <a:gd name="T61" fmla="*/ 2147483647 h 81"/>
              <a:gd name="T62" fmla="*/ 2147483647 w 225"/>
              <a:gd name="T63" fmla="*/ 2147483647 h 81"/>
              <a:gd name="T64" fmla="*/ 2147483647 w 225"/>
              <a:gd name="T65" fmla="*/ 2147483647 h 8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25"/>
              <a:gd name="T100" fmla="*/ 0 h 81"/>
              <a:gd name="T101" fmla="*/ 225 w 225"/>
              <a:gd name="T102" fmla="*/ 81 h 81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25" h="81">
                <a:moveTo>
                  <a:pt x="157" y="33"/>
                </a:moveTo>
                <a:lnTo>
                  <a:pt x="159" y="35"/>
                </a:lnTo>
                <a:lnTo>
                  <a:pt x="136" y="24"/>
                </a:lnTo>
                <a:lnTo>
                  <a:pt x="114" y="13"/>
                </a:lnTo>
                <a:lnTo>
                  <a:pt x="97" y="5"/>
                </a:lnTo>
                <a:lnTo>
                  <a:pt x="82" y="1"/>
                </a:lnTo>
                <a:lnTo>
                  <a:pt x="73" y="0"/>
                </a:lnTo>
                <a:lnTo>
                  <a:pt x="48" y="5"/>
                </a:lnTo>
                <a:lnTo>
                  <a:pt x="22" y="11"/>
                </a:lnTo>
                <a:lnTo>
                  <a:pt x="11" y="27"/>
                </a:lnTo>
                <a:lnTo>
                  <a:pt x="0" y="34"/>
                </a:lnTo>
                <a:lnTo>
                  <a:pt x="7" y="31"/>
                </a:lnTo>
                <a:lnTo>
                  <a:pt x="25" y="23"/>
                </a:lnTo>
                <a:lnTo>
                  <a:pt x="42" y="16"/>
                </a:lnTo>
                <a:lnTo>
                  <a:pt x="71" y="15"/>
                </a:lnTo>
                <a:lnTo>
                  <a:pt x="60" y="18"/>
                </a:lnTo>
                <a:lnTo>
                  <a:pt x="79" y="24"/>
                </a:lnTo>
                <a:lnTo>
                  <a:pt x="91" y="28"/>
                </a:lnTo>
                <a:lnTo>
                  <a:pt x="97" y="31"/>
                </a:lnTo>
                <a:lnTo>
                  <a:pt x="127" y="39"/>
                </a:lnTo>
                <a:lnTo>
                  <a:pt x="133" y="53"/>
                </a:lnTo>
                <a:lnTo>
                  <a:pt x="160" y="65"/>
                </a:lnTo>
                <a:lnTo>
                  <a:pt x="147" y="81"/>
                </a:lnTo>
                <a:lnTo>
                  <a:pt x="168" y="81"/>
                </a:lnTo>
                <a:lnTo>
                  <a:pt x="190" y="79"/>
                </a:lnTo>
                <a:lnTo>
                  <a:pt x="207" y="77"/>
                </a:lnTo>
                <a:lnTo>
                  <a:pt x="225" y="75"/>
                </a:lnTo>
                <a:lnTo>
                  <a:pt x="209" y="66"/>
                </a:lnTo>
                <a:lnTo>
                  <a:pt x="192" y="58"/>
                </a:lnTo>
                <a:lnTo>
                  <a:pt x="192" y="51"/>
                </a:lnTo>
                <a:lnTo>
                  <a:pt x="177" y="45"/>
                </a:lnTo>
                <a:lnTo>
                  <a:pt x="161" y="39"/>
                </a:lnTo>
                <a:lnTo>
                  <a:pt x="157" y="3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93" name="Freeform 75"/>
          <p:cNvSpPr>
            <a:spLocks/>
          </p:cNvSpPr>
          <p:nvPr/>
        </p:nvSpPr>
        <p:spPr bwMode="auto">
          <a:xfrm>
            <a:off x="2351088" y="3997325"/>
            <a:ext cx="17462" cy="12700"/>
          </a:xfrm>
          <a:custGeom>
            <a:avLst/>
            <a:gdLst>
              <a:gd name="T0" fmla="*/ 0 w 12"/>
              <a:gd name="T1" fmla="*/ 2147483647 h 11"/>
              <a:gd name="T2" fmla="*/ 2147483647 w 12"/>
              <a:gd name="T3" fmla="*/ 2147483647 h 11"/>
              <a:gd name="T4" fmla="*/ 2147483647 w 12"/>
              <a:gd name="T5" fmla="*/ 0 h 11"/>
              <a:gd name="T6" fmla="*/ 0 w 12"/>
              <a:gd name="T7" fmla="*/ 2147483647 h 11"/>
              <a:gd name="T8" fmla="*/ 0 60000 65536"/>
              <a:gd name="T9" fmla="*/ 0 60000 65536"/>
              <a:gd name="T10" fmla="*/ 0 60000 65536"/>
              <a:gd name="T11" fmla="*/ 0 60000 65536"/>
              <a:gd name="T12" fmla="*/ 0 w 12"/>
              <a:gd name="T13" fmla="*/ 0 h 11"/>
              <a:gd name="T14" fmla="*/ 12 w 12"/>
              <a:gd name="T15" fmla="*/ 11 h 1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2" h="11">
                <a:moveTo>
                  <a:pt x="0" y="11"/>
                </a:moveTo>
                <a:lnTo>
                  <a:pt x="12" y="10"/>
                </a:lnTo>
                <a:lnTo>
                  <a:pt x="4" y="0"/>
                </a:lnTo>
                <a:lnTo>
                  <a:pt x="0" y="1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94" name="Freeform 76"/>
          <p:cNvSpPr>
            <a:spLocks/>
          </p:cNvSpPr>
          <p:nvPr/>
        </p:nvSpPr>
        <p:spPr bwMode="auto">
          <a:xfrm>
            <a:off x="2389188" y="4083050"/>
            <a:ext cx="11112" cy="4763"/>
          </a:xfrm>
          <a:custGeom>
            <a:avLst/>
            <a:gdLst>
              <a:gd name="T0" fmla="*/ 2147483647 w 7"/>
              <a:gd name="T1" fmla="*/ 2147483647 h 3"/>
              <a:gd name="T2" fmla="*/ 2147483647 w 7"/>
              <a:gd name="T3" fmla="*/ 2147483647 h 3"/>
              <a:gd name="T4" fmla="*/ 2147483647 w 7"/>
              <a:gd name="T5" fmla="*/ 2147483647 h 3"/>
              <a:gd name="T6" fmla="*/ 2147483647 w 7"/>
              <a:gd name="T7" fmla="*/ 2147483647 h 3"/>
              <a:gd name="T8" fmla="*/ 2147483647 w 7"/>
              <a:gd name="T9" fmla="*/ 0 h 3"/>
              <a:gd name="T10" fmla="*/ 2147483647 w 7"/>
              <a:gd name="T11" fmla="*/ 2147483647 h 3"/>
              <a:gd name="T12" fmla="*/ 2147483647 w 7"/>
              <a:gd name="T13" fmla="*/ 2147483647 h 3"/>
              <a:gd name="T14" fmla="*/ 2147483647 w 7"/>
              <a:gd name="T15" fmla="*/ 2147483647 h 3"/>
              <a:gd name="T16" fmla="*/ 2147483647 w 7"/>
              <a:gd name="T17" fmla="*/ 2147483647 h 3"/>
              <a:gd name="T18" fmla="*/ 2147483647 w 7"/>
              <a:gd name="T19" fmla="*/ 2147483647 h 3"/>
              <a:gd name="T20" fmla="*/ 2147483647 w 7"/>
              <a:gd name="T21" fmla="*/ 0 h 3"/>
              <a:gd name="T22" fmla="*/ 0 w 7"/>
              <a:gd name="T23" fmla="*/ 0 h 3"/>
              <a:gd name="T24" fmla="*/ 0 w 7"/>
              <a:gd name="T25" fmla="*/ 2147483647 h 3"/>
              <a:gd name="T26" fmla="*/ 0 w 7"/>
              <a:gd name="T27" fmla="*/ 2147483647 h 3"/>
              <a:gd name="T28" fmla="*/ 0 w 7"/>
              <a:gd name="T29" fmla="*/ 2147483647 h 3"/>
              <a:gd name="T30" fmla="*/ 2147483647 w 7"/>
              <a:gd name="T31" fmla="*/ 2147483647 h 3"/>
              <a:gd name="T32" fmla="*/ 2147483647 w 7"/>
              <a:gd name="T33" fmla="*/ 2147483647 h 3"/>
              <a:gd name="T34" fmla="*/ 2147483647 w 7"/>
              <a:gd name="T35" fmla="*/ 2147483647 h 3"/>
              <a:gd name="T36" fmla="*/ 2147483647 w 7"/>
              <a:gd name="T37" fmla="*/ 2147483647 h 3"/>
              <a:gd name="T38" fmla="*/ 2147483647 w 7"/>
              <a:gd name="T39" fmla="*/ 2147483647 h 3"/>
              <a:gd name="T40" fmla="*/ 2147483647 w 7"/>
              <a:gd name="T41" fmla="*/ 2147483647 h 3"/>
              <a:gd name="T42" fmla="*/ 2147483647 w 7"/>
              <a:gd name="T43" fmla="*/ 2147483647 h 3"/>
              <a:gd name="T44" fmla="*/ 2147483647 w 7"/>
              <a:gd name="T45" fmla="*/ 2147483647 h 3"/>
              <a:gd name="T46" fmla="*/ 2147483647 w 7"/>
              <a:gd name="T47" fmla="*/ 2147483647 h 3"/>
              <a:gd name="T48" fmla="*/ 2147483647 w 7"/>
              <a:gd name="T49" fmla="*/ 2147483647 h 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7"/>
              <a:gd name="T76" fmla="*/ 0 h 3"/>
              <a:gd name="T77" fmla="*/ 7 w 7"/>
              <a:gd name="T78" fmla="*/ 3 h 3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7" h="3">
                <a:moveTo>
                  <a:pt x="7" y="1"/>
                </a:moveTo>
                <a:lnTo>
                  <a:pt x="6" y="1"/>
                </a:lnTo>
                <a:lnTo>
                  <a:pt x="5" y="1"/>
                </a:lnTo>
                <a:lnTo>
                  <a:pt x="4" y="1"/>
                </a:lnTo>
                <a:lnTo>
                  <a:pt x="4" y="0"/>
                </a:lnTo>
                <a:lnTo>
                  <a:pt x="4" y="1"/>
                </a:lnTo>
                <a:lnTo>
                  <a:pt x="2" y="1"/>
                </a:lnTo>
                <a:lnTo>
                  <a:pt x="2" y="2"/>
                </a:lnTo>
                <a:lnTo>
                  <a:pt x="1" y="2"/>
                </a:lnTo>
                <a:lnTo>
                  <a:pt x="1" y="1"/>
                </a:lnTo>
                <a:lnTo>
                  <a:pt x="1" y="0"/>
                </a:lnTo>
                <a:lnTo>
                  <a:pt x="0" y="0"/>
                </a:lnTo>
                <a:lnTo>
                  <a:pt x="0" y="1"/>
                </a:lnTo>
                <a:lnTo>
                  <a:pt x="0" y="2"/>
                </a:lnTo>
                <a:lnTo>
                  <a:pt x="0" y="3"/>
                </a:lnTo>
                <a:lnTo>
                  <a:pt x="1" y="3"/>
                </a:lnTo>
                <a:lnTo>
                  <a:pt x="1" y="2"/>
                </a:lnTo>
                <a:lnTo>
                  <a:pt x="2" y="2"/>
                </a:lnTo>
                <a:lnTo>
                  <a:pt x="2" y="3"/>
                </a:lnTo>
                <a:lnTo>
                  <a:pt x="4" y="3"/>
                </a:lnTo>
                <a:lnTo>
                  <a:pt x="4" y="2"/>
                </a:lnTo>
                <a:lnTo>
                  <a:pt x="5" y="2"/>
                </a:lnTo>
                <a:lnTo>
                  <a:pt x="6" y="2"/>
                </a:lnTo>
                <a:lnTo>
                  <a:pt x="7" y="2"/>
                </a:lnTo>
                <a:lnTo>
                  <a:pt x="7" y="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95" name="Freeform 77"/>
          <p:cNvSpPr>
            <a:spLocks/>
          </p:cNvSpPr>
          <p:nvPr/>
        </p:nvSpPr>
        <p:spPr bwMode="auto">
          <a:xfrm>
            <a:off x="2433638" y="4070350"/>
            <a:ext cx="6350" cy="3175"/>
          </a:xfrm>
          <a:custGeom>
            <a:avLst/>
            <a:gdLst>
              <a:gd name="T0" fmla="*/ 2147483647 w 3"/>
              <a:gd name="T1" fmla="*/ 0 h 3"/>
              <a:gd name="T2" fmla="*/ 2147483647 w 3"/>
              <a:gd name="T3" fmla="*/ 0 h 3"/>
              <a:gd name="T4" fmla="*/ 2147483647 w 3"/>
              <a:gd name="T5" fmla="*/ 0 h 3"/>
              <a:gd name="T6" fmla="*/ 2147483647 w 3"/>
              <a:gd name="T7" fmla="*/ 0 h 3"/>
              <a:gd name="T8" fmla="*/ 2147483647 w 3"/>
              <a:gd name="T9" fmla="*/ 0 h 3"/>
              <a:gd name="T10" fmla="*/ 2147483647 w 3"/>
              <a:gd name="T11" fmla="*/ 0 h 3"/>
              <a:gd name="T12" fmla="*/ 0 w 3"/>
              <a:gd name="T13" fmla="*/ 0 h 3"/>
              <a:gd name="T14" fmla="*/ 2147483647 w 3"/>
              <a:gd name="T15" fmla="*/ 0 h 3"/>
              <a:gd name="T16" fmla="*/ 2147483647 w 3"/>
              <a:gd name="T17" fmla="*/ 0 h 3"/>
              <a:gd name="T18" fmla="*/ 2147483647 w 3"/>
              <a:gd name="T19" fmla="*/ 0 h 3"/>
              <a:gd name="T20" fmla="*/ 2147483647 w 3"/>
              <a:gd name="T21" fmla="*/ 0 h 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"/>
              <a:gd name="T34" fmla="*/ 0 h 3"/>
              <a:gd name="T35" fmla="*/ 3 w 3"/>
              <a:gd name="T36" fmla="*/ 3 h 3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" h="3">
                <a:moveTo>
                  <a:pt x="3" y="1"/>
                </a:moveTo>
                <a:lnTo>
                  <a:pt x="3" y="0"/>
                </a:lnTo>
                <a:lnTo>
                  <a:pt x="2" y="0"/>
                </a:lnTo>
                <a:lnTo>
                  <a:pt x="2" y="1"/>
                </a:lnTo>
                <a:lnTo>
                  <a:pt x="1" y="1"/>
                </a:lnTo>
                <a:lnTo>
                  <a:pt x="1" y="3"/>
                </a:lnTo>
                <a:lnTo>
                  <a:pt x="0" y="3"/>
                </a:lnTo>
                <a:lnTo>
                  <a:pt x="1" y="3"/>
                </a:lnTo>
                <a:lnTo>
                  <a:pt x="1" y="1"/>
                </a:lnTo>
                <a:lnTo>
                  <a:pt x="2" y="1"/>
                </a:lnTo>
                <a:lnTo>
                  <a:pt x="3" y="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96" name="Freeform 78"/>
          <p:cNvSpPr>
            <a:spLocks/>
          </p:cNvSpPr>
          <p:nvPr/>
        </p:nvSpPr>
        <p:spPr bwMode="auto">
          <a:xfrm>
            <a:off x="2428875" y="4070350"/>
            <a:ext cx="4763" cy="3175"/>
          </a:xfrm>
          <a:custGeom>
            <a:avLst/>
            <a:gdLst>
              <a:gd name="T0" fmla="*/ 2147483647 w 3"/>
              <a:gd name="T1" fmla="*/ 0 h 3"/>
              <a:gd name="T2" fmla="*/ 2147483647 w 3"/>
              <a:gd name="T3" fmla="*/ 0 h 3"/>
              <a:gd name="T4" fmla="*/ 2147483647 w 3"/>
              <a:gd name="T5" fmla="*/ 0 h 3"/>
              <a:gd name="T6" fmla="*/ 2147483647 w 3"/>
              <a:gd name="T7" fmla="*/ 0 h 3"/>
              <a:gd name="T8" fmla="*/ 0 w 3"/>
              <a:gd name="T9" fmla="*/ 0 h 3"/>
              <a:gd name="T10" fmla="*/ 0 w 3"/>
              <a:gd name="T11" fmla="*/ 0 h 3"/>
              <a:gd name="T12" fmla="*/ 2147483647 w 3"/>
              <a:gd name="T13" fmla="*/ 0 h 3"/>
              <a:gd name="T14" fmla="*/ 2147483647 w 3"/>
              <a:gd name="T15" fmla="*/ 0 h 3"/>
              <a:gd name="T16" fmla="*/ 2147483647 w 3"/>
              <a:gd name="T17" fmla="*/ 0 h 3"/>
              <a:gd name="T18" fmla="*/ 2147483647 w 3"/>
              <a:gd name="T19" fmla="*/ 0 h 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"/>
              <a:gd name="T31" fmla="*/ 0 h 3"/>
              <a:gd name="T32" fmla="*/ 3 w 3"/>
              <a:gd name="T33" fmla="*/ 3 h 3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" h="3">
                <a:moveTo>
                  <a:pt x="3" y="0"/>
                </a:moveTo>
                <a:lnTo>
                  <a:pt x="2" y="0"/>
                </a:lnTo>
                <a:lnTo>
                  <a:pt x="2" y="2"/>
                </a:lnTo>
                <a:lnTo>
                  <a:pt x="1" y="2"/>
                </a:lnTo>
                <a:lnTo>
                  <a:pt x="0" y="2"/>
                </a:lnTo>
                <a:lnTo>
                  <a:pt x="0" y="3"/>
                </a:lnTo>
                <a:lnTo>
                  <a:pt x="1" y="2"/>
                </a:lnTo>
                <a:lnTo>
                  <a:pt x="2" y="2"/>
                </a:lnTo>
                <a:lnTo>
                  <a:pt x="3" y="2"/>
                </a:lnTo>
                <a:lnTo>
                  <a:pt x="3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97" name="Freeform 79"/>
          <p:cNvSpPr>
            <a:spLocks/>
          </p:cNvSpPr>
          <p:nvPr/>
        </p:nvSpPr>
        <p:spPr bwMode="auto">
          <a:xfrm>
            <a:off x="2867025" y="4116388"/>
            <a:ext cx="3175" cy="1587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2147483647 h 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"/>
              <a:gd name="T28" fmla="*/ 0 h 2"/>
              <a:gd name="T29" fmla="*/ 2 w 2"/>
              <a:gd name="T30" fmla="*/ 2 h 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" h="2">
                <a:moveTo>
                  <a:pt x="2" y="1"/>
                </a:moveTo>
                <a:lnTo>
                  <a:pt x="2" y="0"/>
                </a:lnTo>
                <a:lnTo>
                  <a:pt x="1" y="0"/>
                </a:lnTo>
                <a:lnTo>
                  <a:pt x="1" y="1"/>
                </a:lnTo>
                <a:lnTo>
                  <a:pt x="0" y="1"/>
                </a:lnTo>
                <a:lnTo>
                  <a:pt x="0" y="2"/>
                </a:lnTo>
                <a:lnTo>
                  <a:pt x="1" y="2"/>
                </a:lnTo>
                <a:lnTo>
                  <a:pt x="1" y="1"/>
                </a:lnTo>
                <a:lnTo>
                  <a:pt x="2" y="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98" name="Freeform 80"/>
          <p:cNvSpPr>
            <a:spLocks/>
          </p:cNvSpPr>
          <p:nvPr/>
        </p:nvSpPr>
        <p:spPr bwMode="auto">
          <a:xfrm>
            <a:off x="2878138" y="4103688"/>
            <a:ext cx="1587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"/>
              <a:gd name="T22" fmla="*/ 0 h 2"/>
              <a:gd name="T23" fmla="*/ 2 w 2"/>
              <a:gd name="T24" fmla="*/ 2 h 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1" y="0"/>
                </a:lnTo>
                <a:lnTo>
                  <a:pt x="0" y="0"/>
                </a:lnTo>
                <a:lnTo>
                  <a:pt x="0" y="2"/>
                </a:lnTo>
                <a:lnTo>
                  <a:pt x="1" y="2"/>
                </a:lnTo>
                <a:lnTo>
                  <a:pt x="2" y="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99" name="Freeform 81"/>
          <p:cNvSpPr>
            <a:spLocks/>
          </p:cNvSpPr>
          <p:nvPr/>
        </p:nvSpPr>
        <p:spPr bwMode="auto">
          <a:xfrm>
            <a:off x="2873375" y="4111625"/>
            <a:ext cx="4763" cy="4763"/>
          </a:xfrm>
          <a:custGeom>
            <a:avLst/>
            <a:gdLst>
              <a:gd name="T0" fmla="*/ 2147483647 w 2"/>
              <a:gd name="T1" fmla="*/ 0 h 3"/>
              <a:gd name="T2" fmla="*/ 2147483647 w 2"/>
              <a:gd name="T3" fmla="*/ 2147483647 h 3"/>
              <a:gd name="T4" fmla="*/ 0 w 2"/>
              <a:gd name="T5" fmla="*/ 2147483647 h 3"/>
              <a:gd name="T6" fmla="*/ 0 w 2"/>
              <a:gd name="T7" fmla="*/ 2147483647 h 3"/>
              <a:gd name="T8" fmla="*/ 0 w 2"/>
              <a:gd name="T9" fmla="*/ 2147483647 h 3"/>
              <a:gd name="T10" fmla="*/ 0 w 2"/>
              <a:gd name="T11" fmla="*/ 0 h 3"/>
              <a:gd name="T12" fmla="*/ 2147483647 w 2"/>
              <a:gd name="T13" fmla="*/ 0 h 3"/>
              <a:gd name="T14" fmla="*/ 2147483647 w 2"/>
              <a:gd name="T15" fmla="*/ 0 h 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"/>
              <a:gd name="T25" fmla="*/ 0 h 3"/>
              <a:gd name="T26" fmla="*/ 2 w 2"/>
              <a:gd name="T27" fmla="*/ 3 h 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" h="3">
                <a:moveTo>
                  <a:pt x="2" y="0"/>
                </a:moveTo>
                <a:lnTo>
                  <a:pt x="1" y="2"/>
                </a:lnTo>
                <a:lnTo>
                  <a:pt x="0" y="2"/>
                </a:lnTo>
                <a:lnTo>
                  <a:pt x="0" y="3"/>
                </a:lnTo>
                <a:lnTo>
                  <a:pt x="0" y="2"/>
                </a:lnTo>
                <a:lnTo>
                  <a:pt x="0" y="0"/>
                </a:lnTo>
                <a:lnTo>
                  <a:pt x="1" y="0"/>
                </a:lnTo>
                <a:lnTo>
                  <a:pt x="2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00" name="Rectangle 82"/>
          <p:cNvSpPr>
            <a:spLocks noChangeArrowheads="1"/>
          </p:cNvSpPr>
          <p:nvPr/>
        </p:nvSpPr>
        <p:spPr bwMode="auto">
          <a:xfrm>
            <a:off x="2863850" y="4116388"/>
            <a:ext cx="0" cy="0"/>
          </a:xfrm>
          <a:prstGeom prst="rect">
            <a:avLst/>
          </a:pr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miter lim="800000"/>
            <a:headEnd/>
            <a:tailEnd/>
          </a:ln>
        </p:spPr>
        <p:txBody>
          <a:bodyPr lIns="91430" tIns="45716" rIns="91430" bIns="45716"/>
          <a:lstStyle/>
          <a:p>
            <a:pPr defTabSz="912813" eaLnBrk="0" hangingPunct="0"/>
            <a:endParaRPr lang="en-US" sz="1400">
              <a:latin typeface="Calibri" pitchFamily="34" charset="0"/>
            </a:endParaRPr>
          </a:p>
        </p:txBody>
      </p:sp>
      <p:sp>
        <p:nvSpPr>
          <p:cNvPr id="9301" name="Rectangle 83"/>
          <p:cNvSpPr>
            <a:spLocks noChangeArrowheads="1"/>
          </p:cNvSpPr>
          <p:nvPr/>
        </p:nvSpPr>
        <p:spPr bwMode="auto">
          <a:xfrm>
            <a:off x="2870200" y="4117975"/>
            <a:ext cx="0" cy="1588"/>
          </a:xfrm>
          <a:prstGeom prst="rect">
            <a:avLst/>
          </a:pr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miter lim="800000"/>
            <a:headEnd/>
            <a:tailEnd/>
          </a:ln>
        </p:spPr>
        <p:txBody>
          <a:bodyPr lIns="91430" tIns="45716" rIns="91430" bIns="45716"/>
          <a:lstStyle/>
          <a:p>
            <a:pPr defTabSz="912813" eaLnBrk="0" hangingPunct="0"/>
            <a:endParaRPr lang="en-US" sz="1400">
              <a:latin typeface="Calibri" pitchFamily="34" charset="0"/>
            </a:endParaRPr>
          </a:p>
        </p:txBody>
      </p:sp>
      <p:sp>
        <p:nvSpPr>
          <p:cNvPr id="9302" name="Freeform 84"/>
          <p:cNvSpPr>
            <a:spLocks/>
          </p:cNvSpPr>
          <p:nvPr/>
        </p:nvSpPr>
        <p:spPr bwMode="auto">
          <a:xfrm>
            <a:off x="2870200" y="4119563"/>
            <a:ext cx="1588" cy="4762"/>
          </a:xfrm>
          <a:custGeom>
            <a:avLst/>
            <a:gdLst>
              <a:gd name="T0" fmla="*/ 2147483647 w 1"/>
              <a:gd name="T1" fmla="*/ 0 h 2"/>
              <a:gd name="T2" fmla="*/ 0 w 1"/>
              <a:gd name="T3" fmla="*/ 0 h 2"/>
              <a:gd name="T4" fmla="*/ 2147483647 w 1"/>
              <a:gd name="T5" fmla="*/ 0 h 2"/>
              <a:gd name="T6" fmla="*/ 0 60000 65536"/>
              <a:gd name="T7" fmla="*/ 0 60000 65536"/>
              <a:gd name="T8" fmla="*/ 0 60000 65536"/>
              <a:gd name="T9" fmla="*/ 0 w 1"/>
              <a:gd name="T10" fmla="*/ 0 h 2"/>
              <a:gd name="T11" fmla="*/ 1 w 1"/>
              <a:gd name="T12" fmla="*/ 2 h 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" h="2">
                <a:moveTo>
                  <a:pt x="1" y="0"/>
                </a:move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03" name="Freeform 85"/>
          <p:cNvSpPr>
            <a:spLocks/>
          </p:cNvSpPr>
          <p:nvPr/>
        </p:nvSpPr>
        <p:spPr bwMode="auto">
          <a:xfrm>
            <a:off x="2660650" y="4065588"/>
            <a:ext cx="101600" cy="79375"/>
          </a:xfrm>
          <a:custGeom>
            <a:avLst/>
            <a:gdLst>
              <a:gd name="T0" fmla="*/ 2147483647 w 78"/>
              <a:gd name="T1" fmla="*/ 2147483647 h 56"/>
              <a:gd name="T2" fmla="*/ 2147483647 w 78"/>
              <a:gd name="T3" fmla="*/ 2147483647 h 56"/>
              <a:gd name="T4" fmla="*/ 0 w 78"/>
              <a:gd name="T5" fmla="*/ 2147483647 h 56"/>
              <a:gd name="T6" fmla="*/ 2147483647 w 78"/>
              <a:gd name="T7" fmla="*/ 2147483647 h 56"/>
              <a:gd name="T8" fmla="*/ 2147483647 w 78"/>
              <a:gd name="T9" fmla="*/ 2147483647 h 56"/>
              <a:gd name="T10" fmla="*/ 2147483647 w 78"/>
              <a:gd name="T11" fmla="*/ 2147483647 h 56"/>
              <a:gd name="T12" fmla="*/ 2147483647 w 78"/>
              <a:gd name="T13" fmla="*/ 2147483647 h 56"/>
              <a:gd name="T14" fmla="*/ 2147483647 w 78"/>
              <a:gd name="T15" fmla="*/ 2147483647 h 56"/>
              <a:gd name="T16" fmla="*/ 2147483647 w 78"/>
              <a:gd name="T17" fmla="*/ 2147483647 h 56"/>
              <a:gd name="T18" fmla="*/ 2147483647 w 78"/>
              <a:gd name="T19" fmla="*/ 2147483647 h 56"/>
              <a:gd name="T20" fmla="*/ 2147483647 w 78"/>
              <a:gd name="T21" fmla="*/ 2147483647 h 56"/>
              <a:gd name="T22" fmla="*/ 2147483647 w 78"/>
              <a:gd name="T23" fmla="*/ 2147483647 h 56"/>
              <a:gd name="T24" fmla="*/ 2147483647 w 78"/>
              <a:gd name="T25" fmla="*/ 2147483647 h 56"/>
              <a:gd name="T26" fmla="*/ 2147483647 w 78"/>
              <a:gd name="T27" fmla="*/ 0 h 56"/>
              <a:gd name="T28" fmla="*/ 2147483647 w 78"/>
              <a:gd name="T29" fmla="*/ 2147483647 h 5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78"/>
              <a:gd name="T46" fmla="*/ 0 h 56"/>
              <a:gd name="T47" fmla="*/ 78 w 78"/>
              <a:gd name="T48" fmla="*/ 56 h 5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78" h="56">
                <a:moveTo>
                  <a:pt x="7" y="5"/>
                </a:moveTo>
                <a:lnTo>
                  <a:pt x="3" y="21"/>
                </a:lnTo>
                <a:lnTo>
                  <a:pt x="0" y="31"/>
                </a:lnTo>
                <a:lnTo>
                  <a:pt x="2" y="45"/>
                </a:lnTo>
                <a:lnTo>
                  <a:pt x="8" y="56"/>
                </a:lnTo>
                <a:lnTo>
                  <a:pt x="18" y="43"/>
                </a:lnTo>
                <a:lnTo>
                  <a:pt x="29" y="37"/>
                </a:lnTo>
                <a:lnTo>
                  <a:pt x="39" y="38"/>
                </a:lnTo>
                <a:lnTo>
                  <a:pt x="67" y="39"/>
                </a:lnTo>
                <a:lnTo>
                  <a:pt x="78" y="30"/>
                </a:lnTo>
                <a:lnTo>
                  <a:pt x="53" y="19"/>
                </a:lnTo>
                <a:lnTo>
                  <a:pt x="57" y="14"/>
                </a:lnTo>
                <a:lnTo>
                  <a:pt x="47" y="8"/>
                </a:lnTo>
                <a:lnTo>
                  <a:pt x="17" y="0"/>
                </a:lnTo>
                <a:lnTo>
                  <a:pt x="7" y="5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04" name="Freeform 86"/>
          <p:cNvSpPr>
            <a:spLocks/>
          </p:cNvSpPr>
          <p:nvPr/>
        </p:nvSpPr>
        <p:spPr bwMode="auto">
          <a:xfrm>
            <a:off x="2584450" y="4068763"/>
            <a:ext cx="85725" cy="60325"/>
          </a:xfrm>
          <a:custGeom>
            <a:avLst/>
            <a:gdLst>
              <a:gd name="T0" fmla="*/ 2147483647 w 62"/>
              <a:gd name="T1" fmla="*/ 2147483647 h 44"/>
              <a:gd name="T2" fmla="*/ 2147483647 w 62"/>
              <a:gd name="T3" fmla="*/ 2147483647 h 44"/>
              <a:gd name="T4" fmla="*/ 2147483647 w 62"/>
              <a:gd name="T5" fmla="*/ 2147483647 h 44"/>
              <a:gd name="T6" fmla="*/ 2147483647 w 62"/>
              <a:gd name="T7" fmla="*/ 2147483647 h 44"/>
              <a:gd name="T8" fmla="*/ 2147483647 w 62"/>
              <a:gd name="T9" fmla="*/ 2147483647 h 44"/>
              <a:gd name="T10" fmla="*/ 2147483647 w 62"/>
              <a:gd name="T11" fmla="*/ 2147483647 h 44"/>
              <a:gd name="T12" fmla="*/ 0 w 62"/>
              <a:gd name="T13" fmla="*/ 2147483647 h 44"/>
              <a:gd name="T14" fmla="*/ 2147483647 w 62"/>
              <a:gd name="T15" fmla="*/ 2147483647 h 44"/>
              <a:gd name="T16" fmla="*/ 2147483647 w 62"/>
              <a:gd name="T17" fmla="*/ 2147483647 h 44"/>
              <a:gd name="T18" fmla="*/ 2147483647 w 62"/>
              <a:gd name="T19" fmla="*/ 2147483647 h 44"/>
              <a:gd name="T20" fmla="*/ 2147483647 w 62"/>
              <a:gd name="T21" fmla="*/ 2147483647 h 44"/>
              <a:gd name="T22" fmla="*/ 2147483647 w 62"/>
              <a:gd name="T23" fmla="*/ 2147483647 h 44"/>
              <a:gd name="T24" fmla="*/ 2147483647 w 62"/>
              <a:gd name="T25" fmla="*/ 0 h 44"/>
              <a:gd name="T26" fmla="*/ 2147483647 w 62"/>
              <a:gd name="T27" fmla="*/ 2147483647 h 44"/>
              <a:gd name="T28" fmla="*/ 2147483647 w 62"/>
              <a:gd name="T29" fmla="*/ 2147483647 h 4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62"/>
              <a:gd name="T46" fmla="*/ 0 h 44"/>
              <a:gd name="T47" fmla="*/ 62 w 62"/>
              <a:gd name="T48" fmla="*/ 44 h 44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62" h="44">
                <a:moveTo>
                  <a:pt x="62" y="4"/>
                </a:moveTo>
                <a:lnTo>
                  <a:pt x="58" y="20"/>
                </a:lnTo>
                <a:lnTo>
                  <a:pt x="55" y="30"/>
                </a:lnTo>
                <a:lnTo>
                  <a:pt x="57" y="44"/>
                </a:lnTo>
                <a:lnTo>
                  <a:pt x="34" y="43"/>
                </a:lnTo>
                <a:lnTo>
                  <a:pt x="13" y="42"/>
                </a:lnTo>
                <a:lnTo>
                  <a:pt x="0" y="35"/>
                </a:lnTo>
                <a:lnTo>
                  <a:pt x="10" y="30"/>
                </a:lnTo>
                <a:lnTo>
                  <a:pt x="28" y="31"/>
                </a:lnTo>
                <a:lnTo>
                  <a:pt x="45" y="32"/>
                </a:lnTo>
                <a:lnTo>
                  <a:pt x="38" y="13"/>
                </a:lnTo>
                <a:lnTo>
                  <a:pt x="30" y="5"/>
                </a:lnTo>
                <a:lnTo>
                  <a:pt x="27" y="0"/>
                </a:lnTo>
                <a:lnTo>
                  <a:pt x="49" y="2"/>
                </a:lnTo>
                <a:lnTo>
                  <a:pt x="62" y="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9305" name="Freeform 87"/>
          <p:cNvSpPr>
            <a:spLocks/>
          </p:cNvSpPr>
          <p:nvPr/>
        </p:nvSpPr>
        <p:spPr bwMode="auto">
          <a:xfrm>
            <a:off x="2660650" y="4000500"/>
            <a:ext cx="3175" cy="1588"/>
          </a:xfrm>
          <a:custGeom>
            <a:avLst/>
            <a:gdLst>
              <a:gd name="T0" fmla="*/ 0 w 5"/>
              <a:gd name="T1" fmla="*/ 2147483647 h 2"/>
              <a:gd name="T2" fmla="*/ 0 w 5"/>
              <a:gd name="T3" fmla="*/ 2147483647 h 2"/>
              <a:gd name="T4" fmla="*/ 0 w 5"/>
              <a:gd name="T5" fmla="*/ 0 h 2"/>
              <a:gd name="T6" fmla="*/ 0 w 5"/>
              <a:gd name="T7" fmla="*/ 2147483647 h 2"/>
              <a:gd name="T8" fmla="*/ 0 w 5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2"/>
              <a:gd name="T17" fmla="*/ 5 w 5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2">
                <a:moveTo>
                  <a:pt x="3" y="2"/>
                </a:moveTo>
                <a:lnTo>
                  <a:pt x="1" y="1"/>
                </a:lnTo>
                <a:lnTo>
                  <a:pt x="0" y="0"/>
                </a:lnTo>
                <a:lnTo>
                  <a:pt x="5" y="1"/>
                </a:lnTo>
                <a:lnTo>
                  <a:pt x="3" y="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06" name="Freeform 88"/>
          <p:cNvSpPr>
            <a:spLocks/>
          </p:cNvSpPr>
          <p:nvPr/>
        </p:nvSpPr>
        <p:spPr bwMode="auto">
          <a:xfrm>
            <a:off x="2673350" y="4000500"/>
            <a:ext cx="4763" cy="1588"/>
          </a:xfrm>
          <a:custGeom>
            <a:avLst/>
            <a:gdLst>
              <a:gd name="T0" fmla="*/ 2147483647 w 3"/>
              <a:gd name="T1" fmla="*/ 2147483647 h 1"/>
              <a:gd name="T2" fmla="*/ 2147483647 w 3"/>
              <a:gd name="T3" fmla="*/ 0 h 1"/>
              <a:gd name="T4" fmla="*/ 0 w 3"/>
              <a:gd name="T5" fmla="*/ 0 h 1"/>
              <a:gd name="T6" fmla="*/ 2147483647 w 3"/>
              <a:gd name="T7" fmla="*/ 2147483647 h 1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1"/>
              <a:gd name="T14" fmla="*/ 3 w 3"/>
              <a:gd name="T15" fmla="*/ 1 h 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1">
                <a:moveTo>
                  <a:pt x="3" y="1"/>
                </a:moveTo>
                <a:lnTo>
                  <a:pt x="3" y="0"/>
                </a:lnTo>
                <a:lnTo>
                  <a:pt x="0" y="0"/>
                </a:lnTo>
                <a:lnTo>
                  <a:pt x="3" y="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07" name="Freeform 89"/>
          <p:cNvSpPr>
            <a:spLocks/>
          </p:cNvSpPr>
          <p:nvPr/>
        </p:nvSpPr>
        <p:spPr bwMode="auto">
          <a:xfrm>
            <a:off x="2235200" y="4368800"/>
            <a:ext cx="93663" cy="101600"/>
          </a:xfrm>
          <a:custGeom>
            <a:avLst/>
            <a:gdLst>
              <a:gd name="T0" fmla="*/ 2147483647 w 71"/>
              <a:gd name="T1" fmla="*/ 2147483647 h 76"/>
              <a:gd name="T2" fmla="*/ 0 w 71"/>
              <a:gd name="T3" fmla="*/ 2147483647 h 76"/>
              <a:gd name="T4" fmla="*/ 2147483647 w 71"/>
              <a:gd name="T5" fmla="*/ 2147483647 h 76"/>
              <a:gd name="T6" fmla="*/ 2147483647 w 71"/>
              <a:gd name="T7" fmla="*/ 2147483647 h 76"/>
              <a:gd name="T8" fmla="*/ 2147483647 w 71"/>
              <a:gd name="T9" fmla="*/ 0 h 76"/>
              <a:gd name="T10" fmla="*/ 2147483647 w 71"/>
              <a:gd name="T11" fmla="*/ 2147483647 h 76"/>
              <a:gd name="T12" fmla="*/ 2147483647 w 71"/>
              <a:gd name="T13" fmla="*/ 2147483647 h 76"/>
              <a:gd name="T14" fmla="*/ 2147483647 w 71"/>
              <a:gd name="T15" fmla="*/ 2147483647 h 76"/>
              <a:gd name="T16" fmla="*/ 2147483647 w 71"/>
              <a:gd name="T17" fmla="*/ 2147483647 h 76"/>
              <a:gd name="T18" fmla="*/ 2147483647 w 71"/>
              <a:gd name="T19" fmla="*/ 2147483647 h 76"/>
              <a:gd name="T20" fmla="*/ 2147483647 w 71"/>
              <a:gd name="T21" fmla="*/ 2147483647 h 76"/>
              <a:gd name="T22" fmla="*/ 2147483647 w 71"/>
              <a:gd name="T23" fmla="*/ 2147483647 h 76"/>
              <a:gd name="T24" fmla="*/ 2147483647 w 71"/>
              <a:gd name="T25" fmla="*/ 2147483647 h 76"/>
              <a:gd name="T26" fmla="*/ 2147483647 w 71"/>
              <a:gd name="T27" fmla="*/ 2147483647 h 76"/>
              <a:gd name="T28" fmla="*/ 2147483647 w 71"/>
              <a:gd name="T29" fmla="*/ 2147483647 h 76"/>
              <a:gd name="T30" fmla="*/ 2147483647 w 71"/>
              <a:gd name="T31" fmla="*/ 2147483647 h 76"/>
              <a:gd name="T32" fmla="*/ 2147483647 w 71"/>
              <a:gd name="T33" fmla="*/ 2147483647 h 76"/>
              <a:gd name="T34" fmla="*/ 2147483647 w 71"/>
              <a:gd name="T35" fmla="*/ 2147483647 h 76"/>
              <a:gd name="T36" fmla="*/ 2147483647 w 71"/>
              <a:gd name="T37" fmla="*/ 2147483647 h 76"/>
              <a:gd name="T38" fmla="*/ 2147483647 w 71"/>
              <a:gd name="T39" fmla="*/ 2147483647 h 7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71"/>
              <a:gd name="T61" fmla="*/ 0 h 76"/>
              <a:gd name="T62" fmla="*/ 71 w 71"/>
              <a:gd name="T63" fmla="*/ 76 h 7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71" h="76">
                <a:moveTo>
                  <a:pt x="15" y="37"/>
                </a:moveTo>
                <a:lnTo>
                  <a:pt x="0" y="18"/>
                </a:lnTo>
                <a:lnTo>
                  <a:pt x="3" y="7"/>
                </a:lnTo>
                <a:lnTo>
                  <a:pt x="3" y="4"/>
                </a:lnTo>
                <a:lnTo>
                  <a:pt x="5" y="0"/>
                </a:lnTo>
                <a:lnTo>
                  <a:pt x="36" y="6"/>
                </a:lnTo>
                <a:lnTo>
                  <a:pt x="50" y="4"/>
                </a:lnTo>
                <a:lnTo>
                  <a:pt x="60" y="21"/>
                </a:lnTo>
                <a:lnTo>
                  <a:pt x="71" y="37"/>
                </a:lnTo>
                <a:lnTo>
                  <a:pt x="63" y="40"/>
                </a:lnTo>
                <a:lnTo>
                  <a:pt x="63" y="57"/>
                </a:lnTo>
                <a:lnTo>
                  <a:pt x="62" y="76"/>
                </a:lnTo>
                <a:lnTo>
                  <a:pt x="51" y="59"/>
                </a:lnTo>
                <a:lnTo>
                  <a:pt x="51" y="66"/>
                </a:lnTo>
                <a:lnTo>
                  <a:pt x="46" y="58"/>
                </a:lnTo>
                <a:lnTo>
                  <a:pt x="41" y="45"/>
                </a:lnTo>
                <a:lnTo>
                  <a:pt x="26" y="33"/>
                </a:lnTo>
                <a:lnTo>
                  <a:pt x="14" y="21"/>
                </a:lnTo>
                <a:lnTo>
                  <a:pt x="18" y="34"/>
                </a:lnTo>
                <a:lnTo>
                  <a:pt x="15" y="3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9308" name="Freeform 90"/>
          <p:cNvSpPr>
            <a:spLocks/>
          </p:cNvSpPr>
          <p:nvPr/>
        </p:nvSpPr>
        <p:spPr bwMode="auto">
          <a:xfrm>
            <a:off x="2697163" y="4313238"/>
            <a:ext cx="4762" cy="7937"/>
          </a:xfrm>
          <a:custGeom>
            <a:avLst/>
            <a:gdLst>
              <a:gd name="T0" fmla="*/ 2147483647 w 4"/>
              <a:gd name="T1" fmla="*/ 0 h 5"/>
              <a:gd name="T2" fmla="*/ 0 w 4"/>
              <a:gd name="T3" fmla="*/ 2147483647 h 5"/>
              <a:gd name="T4" fmla="*/ 2147483647 w 4"/>
              <a:gd name="T5" fmla="*/ 2147483647 h 5"/>
              <a:gd name="T6" fmla="*/ 2147483647 w 4"/>
              <a:gd name="T7" fmla="*/ 0 h 5"/>
              <a:gd name="T8" fmla="*/ 0 60000 65536"/>
              <a:gd name="T9" fmla="*/ 0 60000 65536"/>
              <a:gd name="T10" fmla="*/ 0 60000 65536"/>
              <a:gd name="T11" fmla="*/ 0 60000 65536"/>
              <a:gd name="T12" fmla="*/ 0 w 4"/>
              <a:gd name="T13" fmla="*/ 0 h 5"/>
              <a:gd name="T14" fmla="*/ 4 w 4"/>
              <a:gd name="T15" fmla="*/ 5 h 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" h="5">
                <a:moveTo>
                  <a:pt x="2" y="0"/>
                </a:moveTo>
                <a:lnTo>
                  <a:pt x="0" y="1"/>
                </a:lnTo>
                <a:lnTo>
                  <a:pt x="4" y="5"/>
                </a:lnTo>
                <a:lnTo>
                  <a:pt x="2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09" name="Freeform 91"/>
          <p:cNvSpPr>
            <a:spLocks/>
          </p:cNvSpPr>
          <p:nvPr/>
        </p:nvSpPr>
        <p:spPr bwMode="auto">
          <a:xfrm>
            <a:off x="2120900" y="4252913"/>
            <a:ext cx="63500" cy="42862"/>
          </a:xfrm>
          <a:custGeom>
            <a:avLst/>
            <a:gdLst>
              <a:gd name="T0" fmla="*/ 2147483647 w 48"/>
              <a:gd name="T1" fmla="*/ 2147483647 h 33"/>
              <a:gd name="T2" fmla="*/ 2147483647 w 48"/>
              <a:gd name="T3" fmla="*/ 2147483647 h 33"/>
              <a:gd name="T4" fmla="*/ 2147483647 w 48"/>
              <a:gd name="T5" fmla="*/ 2147483647 h 33"/>
              <a:gd name="T6" fmla="*/ 2147483647 w 48"/>
              <a:gd name="T7" fmla="*/ 2147483647 h 33"/>
              <a:gd name="T8" fmla="*/ 0 w 48"/>
              <a:gd name="T9" fmla="*/ 2147483647 h 33"/>
              <a:gd name="T10" fmla="*/ 2147483647 w 48"/>
              <a:gd name="T11" fmla="*/ 0 h 33"/>
              <a:gd name="T12" fmla="*/ 2147483647 w 48"/>
              <a:gd name="T13" fmla="*/ 2147483647 h 33"/>
              <a:gd name="T14" fmla="*/ 2147483647 w 48"/>
              <a:gd name="T15" fmla="*/ 2147483647 h 33"/>
              <a:gd name="T16" fmla="*/ 2147483647 w 48"/>
              <a:gd name="T17" fmla="*/ 2147483647 h 3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8"/>
              <a:gd name="T28" fmla="*/ 0 h 33"/>
              <a:gd name="T29" fmla="*/ 48 w 48"/>
              <a:gd name="T30" fmla="*/ 33 h 3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8" h="33">
                <a:moveTo>
                  <a:pt x="48" y="25"/>
                </a:moveTo>
                <a:lnTo>
                  <a:pt x="43" y="33"/>
                </a:lnTo>
                <a:lnTo>
                  <a:pt x="31" y="30"/>
                </a:lnTo>
                <a:lnTo>
                  <a:pt x="16" y="24"/>
                </a:lnTo>
                <a:lnTo>
                  <a:pt x="0" y="18"/>
                </a:lnTo>
                <a:lnTo>
                  <a:pt x="17" y="0"/>
                </a:lnTo>
                <a:lnTo>
                  <a:pt x="31" y="11"/>
                </a:lnTo>
                <a:lnTo>
                  <a:pt x="48" y="15"/>
                </a:lnTo>
                <a:lnTo>
                  <a:pt x="48" y="25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10" name="Freeform 92"/>
          <p:cNvSpPr>
            <a:spLocks/>
          </p:cNvSpPr>
          <p:nvPr/>
        </p:nvSpPr>
        <p:spPr bwMode="auto">
          <a:xfrm>
            <a:off x="2141538" y="4203700"/>
            <a:ext cx="182562" cy="98425"/>
          </a:xfrm>
          <a:custGeom>
            <a:avLst/>
            <a:gdLst>
              <a:gd name="T0" fmla="*/ 2147483647 w 137"/>
              <a:gd name="T1" fmla="*/ 2147483647 h 72"/>
              <a:gd name="T2" fmla="*/ 2147483647 w 137"/>
              <a:gd name="T3" fmla="*/ 2147483647 h 72"/>
              <a:gd name="T4" fmla="*/ 2147483647 w 137"/>
              <a:gd name="T5" fmla="*/ 2147483647 h 72"/>
              <a:gd name="T6" fmla="*/ 2147483647 w 137"/>
              <a:gd name="T7" fmla="*/ 2147483647 h 72"/>
              <a:gd name="T8" fmla="*/ 2147483647 w 137"/>
              <a:gd name="T9" fmla="*/ 2147483647 h 72"/>
              <a:gd name="T10" fmla="*/ 2147483647 w 137"/>
              <a:gd name="T11" fmla="*/ 2147483647 h 72"/>
              <a:gd name="T12" fmla="*/ 2147483647 w 137"/>
              <a:gd name="T13" fmla="*/ 2147483647 h 72"/>
              <a:gd name="T14" fmla="*/ 2147483647 w 137"/>
              <a:gd name="T15" fmla="*/ 2147483647 h 72"/>
              <a:gd name="T16" fmla="*/ 2147483647 w 137"/>
              <a:gd name="T17" fmla="*/ 2147483647 h 72"/>
              <a:gd name="T18" fmla="*/ 0 w 137"/>
              <a:gd name="T19" fmla="*/ 2147483647 h 72"/>
              <a:gd name="T20" fmla="*/ 2147483647 w 137"/>
              <a:gd name="T21" fmla="*/ 2147483647 h 72"/>
              <a:gd name="T22" fmla="*/ 2147483647 w 137"/>
              <a:gd name="T23" fmla="*/ 2147483647 h 72"/>
              <a:gd name="T24" fmla="*/ 2147483647 w 137"/>
              <a:gd name="T25" fmla="*/ 2147483647 h 72"/>
              <a:gd name="T26" fmla="*/ 2147483647 w 137"/>
              <a:gd name="T27" fmla="*/ 2147483647 h 72"/>
              <a:gd name="T28" fmla="*/ 2147483647 w 137"/>
              <a:gd name="T29" fmla="*/ 0 h 72"/>
              <a:gd name="T30" fmla="*/ 2147483647 w 137"/>
              <a:gd name="T31" fmla="*/ 2147483647 h 72"/>
              <a:gd name="T32" fmla="*/ 2147483647 w 137"/>
              <a:gd name="T33" fmla="*/ 2147483647 h 72"/>
              <a:gd name="T34" fmla="*/ 2147483647 w 137"/>
              <a:gd name="T35" fmla="*/ 2147483647 h 72"/>
              <a:gd name="T36" fmla="*/ 2147483647 w 137"/>
              <a:gd name="T37" fmla="*/ 2147483647 h 72"/>
              <a:gd name="T38" fmla="*/ 2147483647 w 137"/>
              <a:gd name="T39" fmla="*/ 2147483647 h 72"/>
              <a:gd name="T40" fmla="*/ 2147483647 w 137"/>
              <a:gd name="T41" fmla="*/ 2147483647 h 72"/>
              <a:gd name="T42" fmla="*/ 2147483647 w 137"/>
              <a:gd name="T43" fmla="*/ 2147483647 h 72"/>
              <a:gd name="T44" fmla="*/ 2147483647 w 137"/>
              <a:gd name="T45" fmla="*/ 2147483647 h 72"/>
              <a:gd name="T46" fmla="*/ 2147483647 w 137"/>
              <a:gd name="T47" fmla="*/ 2147483647 h 72"/>
              <a:gd name="T48" fmla="*/ 2147483647 w 137"/>
              <a:gd name="T49" fmla="*/ 2147483647 h 7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37"/>
              <a:gd name="T76" fmla="*/ 0 h 72"/>
              <a:gd name="T77" fmla="*/ 137 w 137"/>
              <a:gd name="T78" fmla="*/ 72 h 72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37" h="72">
                <a:moveTo>
                  <a:pt x="74" y="49"/>
                </a:moveTo>
                <a:lnTo>
                  <a:pt x="66" y="53"/>
                </a:lnTo>
                <a:lnTo>
                  <a:pt x="55" y="58"/>
                </a:lnTo>
                <a:lnTo>
                  <a:pt x="48" y="72"/>
                </a:lnTo>
                <a:lnTo>
                  <a:pt x="42" y="72"/>
                </a:lnTo>
                <a:lnTo>
                  <a:pt x="40" y="64"/>
                </a:lnTo>
                <a:lnTo>
                  <a:pt x="31" y="61"/>
                </a:lnTo>
                <a:lnTo>
                  <a:pt x="31" y="51"/>
                </a:lnTo>
                <a:lnTo>
                  <a:pt x="14" y="47"/>
                </a:lnTo>
                <a:lnTo>
                  <a:pt x="0" y="36"/>
                </a:lnTo>
                <a:lnTo>
                  <a:pt x="13" y="17"/>
                </a:lnTo>
                <a:lnTo>
                  <a:pt x="29" y="5"/>
                </a:lnTo>
                <a:lnTo>
                  <a:pt x="31" y="5"/>
                </a:lnTo>
                <a:lnTo>
                  <a:pt x="53" y="3"/>
                </a:lnTo>
                <a:lnTo>
                  <a:pt x="73" y="0"/>
                </a:lnTo>
                <a:lnTo>
                  <a:pt x="91" y="1"/>
                </a:lnTo>
                <a:lnTo>
                  <a:pt x="108" y="1"/>
                </a:lnTo>
                <a:lnTo>
                  <a:pt x="122" y="11"/>
                </a:lnTo>
                <a:lnTo>
                  <a:pt x="119" y="10"/>
                </a:lnTo>
                <a:lnTo>
                  <a:pt x="121" y="15"/>
                </a:lnTo>
                <a:lnTo>
                  <a:pt x="128" y="15"/>
                </a:lnTo>
                <a:lnTo>
                  <a:pt x="137" y="23"/>
                </a:lnTo>
                <a:lnTo>
                  <a:pt x="119" y="25"/>
                </a:lnTo>
                <a:lnTo>
                  <a:pt x="101" y="29"/>
                </a:lnTo>
                <a:lnTo>
                  <a:pt x="74" y="49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11" name="Freeform 93"/>
          <p:cNvSpPr>
            <a:spLocks/>
          </p:cNvSpPr>
          <p:nvPr/>
        </p:nvSpPr>
        <p:spPr bwMode="auto">
          <a:xfrm>
            <a:off x="2185988" y="4233863"/>
            <a:ext cx="138112" cy="141287"/>
          </a:xfrm>
          <a:custGeom>
            <a:avLst/>
            <a:gdLst>
              <a:gd name="T0" fmla="*/ 2147483647 w 103"/>
              <a:gd name="T1" fmla="*/ 2147483647 h 103"/>
              <a:gd name="T2" fmla="*/ 2147483647 w 103"/>
              <a:gd name="T3" fmla="*/ 2147483647 h 103"/>
              <a:gd name="T4" fmla="*/ 2147483647 w 103"/>
              <a:gd name="T5" fmla="*/ 2147483647 h 103"/>
              <a:gd name="T6" fmla="*/ 2147483647 w 103"/>
              <a:gd name="T7" fmla="*/ 2147483647 h 103"/>
              <a:gd name="T8" fmla="*/ 2147483647 w 103"/>
              <a:gd name="T9" fmla="*/ 2147483647 h 103"/>
              <a:gd name="T10" fmla="*/ 0 w 103"/>
              <a:gd name="T11" fmla="*/ 2147483647 h 103"/>
              <a:gd name="T12" fmla="*/ 2147483647 w 103"/>
              <a:gd name="T13" fmla="*/ 2147483647 h 103"/>
              <a:gd name="T14" fmla="*/ 2147483647 w 103"/>
              <a:gd name="T15" fmla="*/ 2147483647 h 103"/>
              <a:gd name="T16" fmla="*/ 2147483647 w 103"/>
              <a:gd name="T17" fmla="*/ 2147483647 h 103"/>
              <a:gd name="T18" fmla="*/ 2147483647 w 103"/>
              <a:gd name="T19" fmla="*/ 2147483647 h 103"/>
              <a:gd name="T20" fmla="*/ 2147483647 w 103"/>
              <a:gd name="T21" fmla="*/ 2147483647 h 103"/>
              <a:gd name="T22" fmla="*/ 2147483647 w 103"/>
              <a:gd name="T23" fmla="*/ 2147483647 h 103"/>
              <a:gd name="T24" fmla="*/ 2147483647 w 103"/>
              <a:gd name="T25" fmla="*/ 2147483647 h 103"/>
              <a:gd name="T26" fmla="*/ 2147483647 w 103"/>
              <a:gd name="T27" fmla="*/ 2147483647 h 103"/>
              <a:gd name="T28" fmla="*/ 2147483647 w 103"/>
              <a:gd name="T29" fmla="*/ 2147483647 h 103"/>
              <a:gd name="T30" fmla="*/ 2147483647 w 103"/>
              <a:gd name="T31" fmla="*/ 2147483647 h 103"/>
              <a:gd name="T32" fmla="*/ 2147483647 w 103"/>
              <a:gd name="T33" fmla="*/ 2147483647 h 103"/>
              <a:gd name="T34" fmla="*/ 2147483647 w 103"/>
              <a:gd name="T35" fmla="*/ 0 h 103"/>
              <a:gd name="T36" fmla="*/ 2147483647 w 103"/>
              <a:gd name="T37" fmla="*/ 2147483647 h 103"/>
              <a:gd name="T38" fmla="*/ 2147483647 w 103"/>
              <a:gd name="T39" fmla="*/ 2147483647 h 103"/>
              <a:gd name="T40" fmla="*/ 2147483647 w 103"/>
              <a:gd name="T41" fmla="*/ 2147483647 h 10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103"/>
              <a:gd name="T64" fmla="*/ 0 h 103"/>
              <a:gd name="T65" fmla="*/ 103 w 103"/>
              <a:gd name="T66" fmla="*/ 103 h 103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103" h="103">
                <a:moveTo>
                  <a:pt x="40" y="26"/>
                </a:moveTo>
                <a:lnTo>
                  <a:pt x="32" y="30"/>
                </a:lnTo>
                <a:lnTo>
                  <a:pt x="21" y="35"/>
                </a:lnTo>
                <a:lnTo>
                  <a:pt x="14" y="49"/>
                </a:lnTo>
                <a:lnTo>
                  <a:pt x="8" y="49"/>
                </a:lnTo>
                <a:lnTo>
                  <a:pt x="0" y="52"/>
                </a:lnTo>
                <a:lnTo>
                  <a:pt x="20" y="74"/>
                </a:lnTo>
                <a:lnTo>
                  <a:pt x="39" y="97"/>
                </a:lnTo>
                <a:lnTo>
                  <a:pt x="70" y="103"/>
                </a:lnTo>
                <a:lnTo>
                  <a:pt x="84" y="101"/>
                </a:lnTo>
                <a:lnTo>
                  <a:pt x="84" y="85"/>
                </a:lnTo>
                <a:lnTo>
                  <a:pt x="85" y="72"/>
                </a:lnTo>
                <a:lnTo>
                  <a:pt x="88" y="58"/>
                </a:lnTo>
                <a:lnTo>
                  <a:pt x="90" y="62"/>
                </a:lnTo>
                <a:lnTo>
                  <a:pt x="93" y="43"/>
                </a:lnTo>
                <a:lnTo>
                  <a:pt x="97" y="23"/>
                </a:lnTo>
                <a:lnTo>
                  <a:pt x="97" y="5"/>
                </a:lnTo>
                <a:lnTo>
                  <a:pt x="103" y="0"/>
                </a:lnTo>
                <a:lnTo>
                  <a:pt x="85" y="2"/>
                </a:lnTo>
                <a:lnTo>
                  <a:pt x="67" y="6"/>
                </a:lnTo>
                <a:lnTo>
                  <a:pt x="40" y="26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12" name="Freeform 94"/>
          <p:cNvSpPr>
            <a:spLocks/>
          </p:cNvSpPr>
          <p:nvPr/>
        </p:nvSpPr>
        <p:spPr bwMode="auto">
          <a:xfrm>
            <a:off x="2152650" y="4116388"/>
            <a:ext cx="39688" cy="87312"/>
          </a:xfrm>
          <a:custGeom>
            <a:avLst/>
            <a:gdLst>
              <a:gd name="T0" fmla="*/ 2147483647 w 30"/>
              <a:gd name="T1" fmla="*/ 2147483647 h 63"/>
              <a:gd name="T2" fmla="*/ 2147483647 w 30"/>
              <a:gd name="T3" fmla="*/ 2147483647 h 63"/>
              <a:gd name="T4" fmla="*/ 0 w 30"/>
              <a:gd name="T5" fmla="*/ 2147483647 h 63"/>
              <a:gd name="T6" fmla="*/ 2147483647 w 30"/>
              <a:gd name="T7" fmla="*/ 2147483647 h 63"/>
              <a:gd name="T8" fmla="*/ 2147483647 w 30"/>
              <a:gd name="T9" fmla="*/ 2147483647 h 63"/>
              <a:gd name="T10" fmla="*/ 2147483647 w 30"/>
              <a:gd name="T11" fmla="*/ 0 h 63"/>
              <a:gd name="T12" fmla="*/ 2147483647 w 30"/>
              <a:gd name="T13" fmla="*/ 2147483647 h 63"/>
              <a:gd name="T14" fmla="*/ 2147483647 w 30"/>
              <a:gd name="T15" fmla="*/ 2147483647 h 63"/>
              <a:gd name="T16" fmla="*/ 2147483647 w 30"/>
              <a:gd name="T17" fmla="*/ 2147483647 h 6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0"/>
              <a:gd name="T28" fmla="*/ 0 h 63"/>
              <a:gd name="T29" fmla="*/ 30 w 30"/>
              <a:gd name="T30" fmla="*/ 63 h 6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0" h="63">
                <a:moveTo>
                  <a:pt x="18" y="51"/>
                </a:moveTo>
                <a:lnTo>
                  <a:pt x="7" y="63"/>
                </a:lnTo>
                <a:lnTo>
                  <a:pt x="0" y="63"/>
                </a:lnTo>
                <a:lnTo>
                  <a:pt x="4" y="39"/>
                </a:lnTo>
                <a:lnTo>
                  <a:pt x="9" y="15"/>
                </a:lnTo>
                <a:lnTo>
                  <a:pt x="28" y="0"/>
                </a:lnTo>
                <a:lnTo>
                  <a:pt x="30" y="3"/>
                </a:lnTo>
                <a:lnTo>
                  <a:pt x="24" y="27"/>
                </a:lnTo>
                <a:lnTo>
                  <a:pt x="18" y="5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13" name="Freeform 95"/>
          <p:cNvSpPr>
            <a:spLocks/>
          </p:cNvSpPr>
          <p:nvPr/>
        </p:nvSpPr>
        <p:spPr bwMode="auto">
          <a:xfrm>
            <a:off x="2060575" y="4137025"/>
            <a:ext cx="120650" cy="141288"/>
          </a:xfrm>
          <a:custGeom>
            <a:avLst/>
            <a:gdLst>
              <a:gd name="T0" fmla="*/ 2147483647 w 91"/>
              <a:gd name="T1" fmla="*/ 2147483647 h 102"/>
              <a:gd name="T2" fmla="*/ 0 w 91"/>
              <a:gd name="T3" fmla="*/ 2147483647 h 102"/>
              <a:gd name="T4" fmla="*/ 2147483647 w 91"/>
              <a:gd name="T5" fmla="*/ 2147483647 h 102"/>
              <a:gd name="T6" fmla="*/ 2147483647 w 91"/>
              <a:gd name="T7" fmla="*/ 2147483647 h 102"/>
              <a:gd name="T8" fmla="*/ 2147483647 w 91"/>
              <a:gd name="T9" fmla="*/ 2147483647 h 102"/>
              <a:gd name="T10" fmla="*/ 2147483647 w 91"/>
              <a:gd name="T11" fmla="*/ 2147483647 h 102"/>
              <a:gd name="T12" fmla="*/ 2147483647 w 91"/>
              <a:gd name="T13" fmla="*/ 2147483647 h 102"/>
              <a:gd name="T14" fmla="*/ 2147483647 w 91"/>
              <a:gd name="T15" fmla="*/ 0 h 102"/>
              <a:gd name="T16" fmla="*/ 2147483647 w 91"/>
              <a:gd name="T17" fmla="*/ 0 h 102"/>
              <a:gd name="T18" fmla="*/ 2147483647 w 91"/>
              <a:gd name="T19" fmla="*/ 0 h 102"/>
              <a:gd name="T20" fmla="*/ 2147483647 w 91"/>
              <a:gd name="T21" fmla="*/ 2147483647 h 102"/>
              <a:gd name="T22" fmla="*/ 2147483647 w 91"/>
              <a:gd name="T23" fmla="*/ 2147483647 h 102"/>
              <a:gd name="T24" fmla="*/ 2147483647 w 91"/>
              <a:gd name="T25" fmla="*/ 2147483647 h 102"/>
              <a:gd name="T26" fmla="*/ 2147483647 w 91"/>
              <a:gd name="T27" fmla="*/ 2147483647 h 102"/>
              <a:gd name="T28" fmla="*/ 2147483647 w 91"/>
              <a:gd name="T29" fmla="*/ 2147483647 h 102"/>
              <a:gd name="T30" fmla="*/ 2147483647 w 91"/>
              <a:gd name="T31" fmla="*/ 2147483647 h 102"/>
              <a:gd name="T32" fmla="*/ 2147483647 w 91"/>
              <a:gd name="T33" fmla="*/ 2147483647 h 102"/>
              <a:gd name="T34" fmla="*/ 2147483647 w 91"/>
              <a:gd name="T35" fmla="*/ 2147483647 h 102"/>
              <a:gd name="T36" fmla="*/ 2147483647 w 91"/>
              <a:gd name="T37" fmla="*/ 2147483647 h 102"/>
              <a:gd name="T38" fmla="*/ 2147483647 w 91"/>
              <a:gd name="T39" fmla="*/ 2147483647 h 102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91"/>
              <a:gd name="T61" fmla="*/ 0 h 102"/>
              <a:gd name="T62" fmla="*/ 91 w 91"/>
              <a:gd name="T63" fmla="*/ 102 h 102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91" h="102">
                <a:moveTo>
                  <a:pt x="8" y="90"/>
                </a:moveTo>
                <a:lnTo>
                  <a:pt x="0" y="82"/>
                </a:lnTo>
                <a:lnTo>
                  <a:pt x="2" y="64"/>
                </a:lnTo>
                <a:lnTo>
                  <a:pt x="15" y="45"/>
                </a:lnTo>
                <a:lnTo>
                  <a:pt x="44" y="40"/>
                </a:lnTo>
                <a:lnTo>
                  <a:pt x="28" y="17"/>
                </a:lnTo>
                <a:lnTo>
                  <a:pt x="36" y="15"/>
                </a:lnTo>
                <a:lnTo>
                  <a:pt x="37" y="0"/>
                </a:lnTo>
                <a:lnTo>
                  <a:pt x="57" y="0"/>
                </a:lnTo>
                <a:lnTo>
                  <a:pt x="78" y="0"/>
                </a:lnTo>
                <a:lnTo>
                  <a:pt x="73" y="24"/>
                </a:lnTo>
                <a:lnTo>
                  <a:pt x="69" y="48"/>
                </a:lnTo>
                <a:lnTo>
                  <a:pt x="76" y="48"/>
                </a:lnTo>
                <a:lnTo>
                  <a:pt x="84" y="49"/>
                </a:lnTo>
                <a:lnTo>
                  <a:pt x="91" y="53"/>
                </a:lnTo>
                <a:lnTo>
                  <a:pt x="75" y="65"/>
                </a:lnTo>
                <a:lnTo>
                  <a:pt x="62" y="84"/>
                </a:lnTo>
                <a:lnTo>
                  <a:pt x="45" y="102"/>
                </a:lnTo>
                <a:lnTo>
                  <a:pt x="27" y="96"/>
                </a:lnTo>
                <a:lnTo>
                  <a:pt x="8" y="9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14" name="Freeform 96"/>
          <p:cNvSpPr>
            <a:spLocks/>
          </p:cNvSpPr>
          <p:nvPr/>
        </p:nvSpPr>
        <p:spPr bwMode="auto">
          <a:xfrm>
            <a:off x="2473325" y="4116388"/>
            <a:ext cx="60325" cy="20637"/>
          </a:xfrm>
          <a:custGeom>
            <a:avLst/>
            <a:gdLst>
              <a:gd name="T0" fmla="*/ 2147483647 w 47"/>
              <a:gd name="T1" fmla="*/ 0 h 16"/>
              <a:gd name="T2" fmla="*/ 0 w 47"/>
              <a:gd name="T3" fmla="*/ 2147483647 h 16"/>
              <a:gd name="T4" fmla="*/ 2147483647 w 47"/>
              <a:gd name="T5" fmla="*/ 2147483647 h 16"/>
              <a:gd name="T6" fmla="*/ 2147483647 w 47"/>
              <a:gd name="T7" fmla="*/ 2147483647 h 16"/>
              <a:gd name="T8" fmla="*/ 2147483647 w 47"/>
              <a:gd name="T9" fmla="*/ 0 h 1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7"/>
              <a:gd name="T16" fmla="*/ 0 h 16"/>
              <a:gd name="T17" fmla="*/ 47 w 47"/>
              <a:gd name="T18" fmla="*/ 16 h 1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7" h="16">
                <a:moveTo>
                  <a:pt x="18" y="0"/>
                </a:moveTo>
                <a:lnTo>
                  <a:pt x="0" y="6"/>
                </a:lnTo>
                <a:lnTo>
                  <a:pt x="26" y="16"/>
                </a:lnTo>
                <a:lnTo>
                  <a:pt x="47" y="13"/>
                </a:lnTo>
                <a:lnTo>
                  <a:pt x="18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15" name="Freeform 97"/>
          <p:cNvSpPr>
            <a:spLocks/>
          </p:cNvSpPr>
          <p:nvPr/>
        </p:nvSpPr>
        <p:spPr bwMode="auto">
          <a:xfrm>
            <a:off x="2794000" y="4111625"/>
            <a:ext cx="46038" cy="20638"/>
          </a:xfrm>
          <a:custGeom>
            <a:avLst/>
            <a:gdLst>
              <a:gd name="T0" fmla="*/ 2147483647 w 33"/>
              <a:gd name="T1" fmla="*/ 2147483647 h 14"/>
              <a:gd name="T2" fmla="*/ 2147483647 w 33"/>
              <a:gd name="T3" fmla="*/ 2147483647 h 14"/>
              <a:gd name="T4" fmla="*/ 2147483647 w 33"/>
              <a:gd name="T5" fmla="*/ 2147483647 h 14"/>
              <a:gd name="T6" fmla="*/ 0 w 33"/>
              <a:gd name="T7" fmla="*/ 2147483647 h 14"/>
              <a:gd name="T8" fmla="*/ 2147483647 w 33"/>
              <a:gd name="T9" fmla="*/ 0 h 14"/>
              <a:gd name="T10" fmla="*/ 2147483647 w 33"/>
              <a:gd name="T11" fmla="*/ 2147483647 h 1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3"/>
              <a:gd name="T19" fmla="*/ 0 h 14"/>
              <a:gd name="T20" fmla="*/ 33 w 33"/>
              <a:gd name="T21" fmla="*/ 14 h 1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3" h="14">
                <a:moveTo>
                  <a:pt x="33" y="8"/>
                </a:moveTo>
                <a:lnTo>
                  <a:pt x="31" y="9"/>
                </a:lnTo>
                <a:lnTo>
                  <a:pt x="8" y="14"/>
                </a:lnTo>
                <a:lnTo>
                  <a:pt x="0" y="11"/>
                </a:lnTo>
                <a:lnTo>
                  <a:pt x="2" y="0"/>
                </a:lnTo>
                <a:lnTo>
                  <a:pt x="33" y="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16" name="Freeform 98"/>
          <p:cNvSpPr>
            <a:spLocks/>
          </p:cNvSpPr>
          <p:nvPr/>
        </p:nvSpPr>
        <p:spPr bwMode="auto">
          <a:xfrm>
            <a:off x="2859088" y="4137025"/>
            <a:ext cx="11112" cy="1588"/>
          </a:xfrm>
          <a:custGeom>
            <a:avLst/>
            <a:gdLst>
              <a:gd name="T0" fmla="*/ 2147483647 w 7"/>
              <a:gd name="T1" fmla="*/ 0 h 3"/>
              <a:gd name="T2" fmla="*/ 2147483647 w 7"/>
              <a:gd name="T3" fmla="*/ 0 h 3"/>
              <a:gd name="T4" fmla="*/ 0 w 7"/>
              <a:gd name="T5" fmla="*/ 0 h 3"/>
              <a:gd name="T6" fmla="*/ 2147483647 w 7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7"/>
              <a:gd name="T13" fmla="*/ 0 h 3"/>
              <a:gd name="T14" fmla="*/ 7 w 7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" h="3">
                <a:moveTo>
                  <a:pt x="7" y="2"/>
                </a:moveTo>
                <a:lnTo>
                  <a:pt x="2" y="0"/>
                </a:lnTo>
                <a:lnTo>
                  <a:pt x="0" y="3"/>
                </a:lnTo>
                <a:lnTo>
                  <a:pt x="7" y="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17" name="Freeform 99"/>
          <p:cNvSpPr>
            <a:spLocks/>
          </p:cNvSpPr>
          <p:nvPr/>
        </p:nvSpPr>
        <p:spPr bwMode="auto">
          <a:xfrm>
            <a:off x="1477963" y="3630613"/>
            <a:ext cx="766762" cy="615950"/>
          </a:xfrm>
          <a:custGeom>
            <a:avLst/>
            <a:gdLst>
              <a:gd name="T0" fmla="*/ 2147483647 w 580"/>
              <a:gd name="T1" fmla="*/ 2147483647 h 449"/>
              <a:gd name="T2" fmla="*/ 2147483647 w 580"/>
              <a:gd name="T3" fmla="*/ 2147483647 h 449"/>
              <a:gd name="T4" fmla="*/ 2147483647 w 580"/>
              <a:gd name="T5" fmla="*/ 2147483647 h 449"/>
              <a:gd name="T6" fmla="*/ 2147483647 w 580"/>
              <a:gd name="T7" fmla="*/ 2147483647 h 449"/>
              <a:gd name="T8" fmla="*/ 2147483647 w 580"/>
              <a:gd name="T9" fmla="*/ 2147483647 h 449"/>
              <a:gd name="T10" fmla="*/ 2147483647 w 580"/>
              <a:gd name="T11" fmla="*/ 0 h 449"/>
              <a:gd name="T12" fmla="*/ 2147483647 w 580"/>
              <a:gd name="T13" fmla="*/ 2147483647 h 449"/>
              <a:gd name="T14" fmla="*/ 2147483647 w 580"/>
              <a:gd name="T15" fmla="*/ 2147483647 h 449"/>
              <a:gd name="T16" fmla="*/ 2147483647 w 580"/>
              <a:gd name="T17" fmla="*/ 2147483647 h 449"/>
              <a:gd name="T18" fmla="*/ 2147483647 w 580"/>
              <a:gd name="T19" fmla="*/ 2147483647 h 449"/>
              <a:gd name="T20" fmla="*/ 2147483647 w 580"/>
              <a:gd name="T21" fmla="*/ 2147483647 h 449"/>
              <a:gd name="T22" fmla="*/ 2147483647 w 580"/>
              <a:gd name="T23" fmla="*/ 2147483647 h 449"/>
              <a:gd name="T24" fmla="*/ 2147483647 w 580"/>
              <a:gd name="T25" fmla="*/ 2147483647 h 449"/>
              <a:gd name="T26" fmla="*/ 2147483647 w 580"/>
              <a:gd name="T27" fmla="*/ 2147483647 h 449"/>
              <a:gd name="T28" fmla="*/ 2147483647 w 580"/>
              <a:gd name="T29" fmla="*/ 2147483647 h 449"/>
              <a:gd name="T30" fmla="*/ 2147483647 w 580"/>
              <a:gd name="T31" fmla="*/ 2147483647 h 449"/>
              <a:gd name="T32" fmla="*/ 2147483647 w 580"/>
              <a:gd name="T33" fmla="*/ 2147483647 h 449"/>
              <a:gd name="T34" fmla="*/ 2147483647 w 580"/>
              <a:gd name="T35" fmla="*/ 2147483647 h 449"/>
              <a:gd name="T36" fmla="*/ 2147483647 w 580"/>
              <a:gd name="T37" fmla="*/ 2147483647 h 449"/>
              <a:gd name="T38" fmla="*/ 2147483647 w 580"/>
              <a:gd name="T39" fmla="*/ 2147483647 h 449"/>
              <a:gd name="T40" fmla="*/ 2147483647 w 580"/>
              <a:gd name="T41" fmla="*/ 2147483647 h 449"/>
              <a:gd name="T42" fmla="*/ 2147483647 w 580"/>
              <a:gd name="T43" fmla="*/ 2147483647 h 449"/>
              <a:gd name="T44" fmla="*/ 2147483647 w 580"/>
              <a:gd name="T45" fmla="*/ 2147483647 h 449"/>
              <a:gd name="T46" fmla="*/ 2147483647 w 580"/>
              <a:gd name="T47" fmla="*/ 2147483647 h 449"/>
              <a:gd name="T48" fmla="*/ 2147483647 w 580"/>
              <a:gd name="T49" fmla="*/ 2147483647 h 449"/>
              <a:gd name="T50" fmla="*/ 2147483647 w 580"/>
              <a:gd name="T51" fmla="*/ 2147483647 h 449"/>
              <a:gd name="T52" fmla="*/ 2147483647 w 580"/>
              <a:gd name="T53" fmla="*/ 2147483647 h 449"/>
              <a:gd name="T54" fmla="*/ 2147483647 w 580"/>
              <a:gd name="T55" fmla="*/ 2147483647 h 449"/>
              <a:gd name="T56" fmla="*/ 2147483647 w 580"/>
              <a:gd name="T57" fmla="*/ 2147483647 h 449"/>
              <a:gd name="T58" fmla="*/ 2147483647 w 580"/>
              <a:gd name="T59" fmla="*/ 2147483647 h 449"/>
              <a:gd name="T60" fmla="*/ 2147483647 w 580"/>
              <a:gd name="T61" fmla="*/ 2147483647 h 449"/>
              <a:gd name="T62" fmla="*/ 2147483647 w 580"/>
              <a:gd name="T63" fmla="*/ 2147483647 h 449"/>
              <a:gd name="T64" fmla="*/ 2147483647 w 580"/>
              <a:gd name="T65" fmla="*/ 2147483647 h 449"/>
              <a:gd name="T66" fmla="*/ 2147483647 w 580"/>
              <a:gd name="T67" fmla="*/ 2147483647 h 449"/>
              <a:gd name="T68" fmla="*/ 2147483647 w 580"/>
              <a:gd name="T69" fmla="*/ 2147483647 h 449"/>
              <a:gd name="T70" fmla="*/ 2147483647 w 580"/>
              <a:gd name="T71" fmla="*/ 2147483647 h 449"/>
              <a:gd name="T72" fmla="*/ 2147483647 w 580"/>
              <a:gd name="T73" fmla="*/ 2147483647 h 449"/>
              <a:gd name="T74" fmla="*/ 2147483647 w 580"/>
              <a:gd name="T75" fmla="*/ 2147483647 h 449"/>
              <a:gd name="T76" fmla="*/ 2147483647 w 580"/>
              <a:gd name="T77" fmla="*/ 2147483647 h 449"/>
              <a:gd name="T78" fmla="*/ 2147483647 w 580"/>
              <a:gd name="T79" fmla="*/ 2147483647 h 449"/>
              <a:gd name="T80" fmla="*/ 2147483647 w 580"/>
              <a:gd name="T81" fmla="*/ 2147483647 h 449"/>
              <a:gd name="T82" fmla="*/ 2147483647 w 580"/>
              <a:gd name="T83" fmla="*/ 2147483647 h 449"/>
              <a:gd name="T84" fmla="*/ 2147483647 w 580"/>
              <a:gd name="T85" fmla="*/ 2147483647 h 44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580"/>
              <a:gd name="T130" fmla="*/ 0 h 449"/>
              <a:gd name="T131" fmla="*/ 580 w 580"/>
              <a:gd name="T132" fmla="*/ 449 h 449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580" h="449">
                <a:moveTo>
                  <a:pt x="101" y="233"/>
                </a:moveTo>
                <a:lnTo>
                  <a:pt x="85" y="240"/>
                </a:lnTo>
                <a:lnTo>
                  <a:pt x="73" y="216"/>
                </a:lnTo>
                <a:lnTo>
                  <a:pt x="53" y="194"/>
                </a:lnTo>
                <a:lnTo>
                  <a:pt x="55" y="175"/>
                </a:lnTo>
                <a:lnTo>
                  <a:pt x="48" y="156"/>
                </a:lnTo>
                <a:lnTo>
                  <a:pt x="41" y="143"/>
                </a:lnTo>
                <a:lnTo>
                  <a:pt x="29" y="143"/>
                </a:lnTo>
                <a:lnTo>
                  <a:pt x="18" y="131"/>
                </a:lnTo>
                <a:lnTo>
                  <a:pt x="9" y="119"/>
                </a:lnTo>
                <a:lnTo>
                  <a:pt x="25" y="122"/>
                </a:lnTo>
                <a:lnTo>
                  <a:pt x="29" y="97"/>
                </a:lnTo>
                <a:lnTo>
                  <a:pt x="18" y="80"/>
                </a:lnTo>
                <a:lnTo>
                  <a:pt x="6" y="64"/>
                </a:lnTo>
                <a:lnTo>
                  <a:pt x="4" y="34"/>
                </a:lnTo>
                <a:lnTo>
                  <a:pt x="0" y="2"/>
                </a:lnTo>
                <a:lnTo>
                  <a:pt x="25" y="1"/>
                </a:lnTo>
                <a:lnTo>
                  <a:pt x="51" y="0"/>
                </a:lnTo>
                <a:lnTo>
                  <a:pt x="67" y="8"/>
                </a:lnTo>
                <a:lnTo>
                  <a:pt x="84" y="16"/>
                </a:lnTo>
                <a:lnTo>
                  <a:pt x="100" y="24"/>
                </a:lnTo>
                <a:lnTo>
                  <a:pt x="117" y="32"/>
                </a:lnTo>
                <a:lnTo>
                  <a:pt x="147" y="32"/>
                </a:lnTo>
                <a:lnTo>
                  <a:pt x="177" y="32"/>
                </a:lnTo>
                <a:lnTo>
                  <a:pt x="180" y="22"/>
                </a:lnTo>
                <a:lnTo>
                  <a:pt x="215" y="22"/>
                </a:lnTo>
                <a:lnTo>
                  <a:pt x="233" y="46"/>
                </a:lnTo>
                <a:lnTo>
                  <a:pt x="240" y="70"/>
                </a:lnTo>
                <a:lnTo>
                  <a:pt x="253" y="80"/>
                </a:lnTo>
                <a:lnTo>
                  <a:pt x="265" y="91"/>
                </a:lnTo>
                <a:lnTo>
                  <a:pt x="281" y="72"/>
                </a:lnTo>
                <a:lnTo>
                  <a:pt x="310" y="74"/>
                </a:lnTo>
                <a:lnTo>
                  <a:pt x="319" y="97"/>
                </a:lnTo>
                <a:lnTo>
                  <a:pt x="329" y="120"/>
                </a:lnTo>
                <a:lnTo>
                  <a:pt x="336" y="149"/>
                </a:lnTo>
                <a:lnTo>
                  <a:pt x="351" y="161"/>
                </a:lnTo>
                <a:lnTo>
                  <a:pt x="376" y="166"/>
                </a:lnTo>
                <a:lnTo>
                  <a:pt x="363" y="199"/>
                </a:lnTo>
                <a:lnTo>
                  <a:pt x="351" y="232"/>
                </a:lnTo>
                <a:lnTo>
                  <a:pt x="347" y="265"/>
                </a:lnTo>
                <a:lnTo>
                  <a:pt x="354" y="288"/>
                </a:lnTo>
                <a:lnTo>
                  <a:pt x="362" y="312"/>
                </a:lnTo>
                <a:lnTo>
                  <a:pt x="369" y="328"/>
                </a:lnTo>
                <a:lnTo>
                  <a:pt x="375" y="343"/>
                </a:lnTo>
                <a:lnTo>
                  <a:pt x="377" y="344"/>
                </a:lnTo>
                <a:lnTo>
                  <a:pt x="400" y="356"/>
                </a:lnTo>
                <a:lnTo>
                  <a:pt x="419" y="354"/>
                </a:lnTo>
                <a:lnTo>
                  <a:pt x="443" y="349"/>
                </a:lnTo>
                <a:lnTo>
                  <a:pt x="458" y="349"/>
                </a:lnTo>
                <a:lnTo>
                  <a:pt x="467" y="352"/>
                </a:lnTo>
                <a:lnTo>
                  <a:pt x="474" y="346"/>
                </a:lnTo>
                <a:lnTo>
                  <a:pt x="472" y="341"/>
                </a:lnTo>
                <a:lnTo>
                  <a:pt x="489" y="323"/>
                </a:lnTo>
                <a:lnTo>
                  <a:pt x="500" y="293"/>
                </a:lnTo>
                <a:lnTo>
                  <a:pt x="522" y="281"/>
                </a:lnTo>
                <a:lnTo>
                  <a:pt x="543" y="278"/>
                </a:lnTo>
                <a:lnTo>
                  <a:pt x="564" y="276"/>
                </a:lnTo>
                <a:lnTo>
                  <a:pt x="569" y="276"/>
                </a:lnTo>
                <a:lnTo>
                  <a:pt x="578" y="281"/>
                </a:lnTo>
                <a:lnTo>
                  <a:pt x="580" y="286"/>
                </a:lnTo>
                <a:lnTo>
                  <a:pt x="560" y="316"/>
                </a:lnTo>
                <a:lnTo>
                  <a:pt x="556" y="325"/>
                </a:lnTo>
                <a:lnTo>
                  <a:pt x="556" y="328"/>
                </a:lnTo>
                <a:lnTo>
                  <a:pt x="556" y="330"/>
                </a:lnTo>
                <a:lnTo>
                  <a:pt x="545" y="354"/>
                </a:lnTo>
                <a:lnTo>
                  <a:pt x="542" y="346"/>
                </a:lnTo>
                <a:lnTo>
                  <a:pt x="537" y="352"/>
                </a:lnTo>
                <a:lnTo>
                  <a:pt x="518" y="367"/>
                </a:lnTo>
                <a:lnTo>
                  <a:pt x="497" y="367"/>
                </a:lnTo>
                <a:lnTo>
                  <a:pt x="477" y="367"/>
                </a:lnTo>
                <a:lnTo>
                  <a:pt x="476" y="382"/>
                </a:lnTo>
                <a:lnTo>
                  <a:pt x="468" y="384"/>
                </a:lnTo>
                <a:lnTo>
                  <a:pt x="484" y="407"/>
                </a:lnTo>
                <a:lnTo>
                  <a:pt x="455" y="412"/>
                </a:lnTo>
                <a:lnTo>
                  <a:pt x="442" y="431"/>
                </a:lnTo>
                <a:lnTo>
                  <a:pt x="440" y="449"/>
                </a:lnTo>
                <a:lnTo>
                  <a:pt x="419" y="427"/>
                </a:lnTo>
                <a:lnTo>
                  <a:pt x="398" y="406"/>
                </a:lnTo>
                <a:lnTo>
                  <a:pt x="407" y="413"/>
                </a:lnTo>
                <a:lnTo>
                  <a:pt x="394" y="406"/>
                </a:lnTo>
                <a:lnTo>
                  <a:pt x="384" y="407"/>
                </a:lnTo>
                <a:lnTo>
                  <a:pt x="388" y="408"/>
                </a:lnTo>
                <a:lnTo>
                  <a:pt x="368" y="414"/>
                </a:lnTo>
                <a:lnTo>
                  <a:pt x="346" y="420"/>
                </a:lnTo>
                <a:lnTo>
                  <a:pt x="322" y="409"/>
                </a:lnTo>
                <a:lnTo>
                  <a:pt x="298" y="397"/>
                </a:lnTo>
                <a:lnTo>
                  <a:pt x="274" y="386"/>
                </a:lnTo>
                <a:lnTo>
                  <a:pt x="250" y="374"/>
                </a:lnTo>
                <a:lnTo>
                  <a:pt x="235" y="365"/>
                </a:lnTo>
                <a:lnTo>
                  <a:pt x="220" y="358"/>
                </a:lnTo>
                <a:lnTo>
                  <a:pt x="204" y="349"/>
                </a:lnTo>
                <a:lnTo>
                  <a:pt x="190" y="334"/>
                </a:lnTo>
                <a:lnTo>
                  <a:pt x="174" y="319"/>
                </a:lnTo>
                <a:lnTo>
                  <a:pt x="172" y="301"/>
                </a:lnTo>
                <a:lnTo>
                  <a:pt x="179" y="298"/>
                </a:lnTo>
                <a:lnTo>
                  <a:pt x="177" y="292"/>
                </a:lnTo>
                <a:lnTo>
                  <a:pt x="183" y="276"/>
                </a:lnTo>
                <a:lnTo>
                  <a:pt x="174" y="257"/>
                </a:lnTo>
                <a:lnTo>
                  <a:pt x="167" y="238"/>
                </a:lnTo>
                <a:lnTo>
                  <a:pt x="155" y="220"/>
                </a:lnTo>
                <a:lnTo>
                  <a:pt x="142" y="203"/>
                </a:lnTo>
                <a:lnTo>
                  <a:pt x="148" y="205"/>
                </a:lnTo>
                <a:lnTo>
                  <a:pt x="138" y="192"/>
                </a:lnTo>
                <a:lnTo>
                  <a:pt x="135" y="188"/>
                </a:lnTo>
                <a:lnTo>
                  <a:pt x="137" y="187"/>
                </a:lnTo>
                <a:lnTo>
                  <a:pt x="120" y="178"/>
                </a:lnTo>
                <a:lnTo>
                  <a:pt x="124" y="172"/>
                </a:lnTo>
                <a:lnTo>
                  <a:pt x="115" y="172"/>
                </a:lnTo>
                <a:lnTo>
                  <a:pt x="123" y="157"/>
                </a:lnTo>
                <a:lnTo>
                  <a:pt x="114" y="148"/>
                </a:lnTo>
                <a:lnTo>
                  <a:pt x="100" y="124"/>
                </a:lnTo>
                <a:lnTo>
                  <a:pt x="100" y="118"/>
                </a:lnTo>
                <a:lnTo>
                  <a:pt x="87" y="107"/>
                </a:lnTo>
                <a:lnTo>
                  <a:pt x="78" y="85"/>
                </a:lnTo>
                <a:lnTo>
                  <a:pt x="70" y="64"/>
                </a:lnTo>
                <a:lnTo>
                  <a:pt x="70" y="35"/>
                </a:lnTo>
                <a:lnTo>
                  <a:pt x="57" y="28"/>
                </a:lnTo>
                <a:lnTo>
                  <a:pt x="40" y="18"/>
                </a:lnTo>
                <a:lnTo>
                  <a:pt x="37" y="44"/>
                </a:lnTo>
                <a:lnTo>
                  <a:pt x="35" y="71"/>
                </a:lnTo>
                <a:lnTo>
                  <a:pt x="46" y="91"/>
                </a:lnTo>
                <a:lnTo>
                  <a:pt x="57" y="112"/>
                </a:lnTo>
                <a:lnTo>
                  <a:pt x="63" y="130"/>
                </a:lnTo>
                <a:lnTo>
                  <a:pt x="69" y="148"/>
                </a:lnTo>
                <a:lnTo>
                  <a:pt x="71" y="144"/>
                </a:lnTo>
                <a:lnTo>
                  <a:pt x="75" y="174"/>
                </a:lnTo>
                <a:lnTo>
                  <a:pt x="79" y="203"/>
                </a:lnTo>
                <a:lnTo>
                  <a:pt x="87" y="208"/>
                </a:lnTo>
                <a:lnTo>
                  <a:pt x="97" y="221"/>
                </a:lnTo>
                <a:lnTo>
                  <a:pt x="101" y="23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18" name="Freeform 100"/>
          <p:cNvSpPr>
            <a:spLocks/>
          </p:cNvSpPr>
          <p:nvPr/>
        </p:nvSpPr>
        <p:spPr bwMode="auto">
          <a:xfrm>
            <a:off x="2525713" y="3825875"/>
            <a:ext cx="22225" cy="33338"/>
          </a:xfrm>
          <a:custGeom>
            <a:avLst/>
            <a:gdLst>
              <a:gd name="T0" fmla="*/ 2147483647 w 16"/>
              <a:gd name="T1" fmla="*/ 2147483647 h 24"/>
              <a:gd name="T2" fmla="*/ 2147483647 w 16"/>
              <a:gd name="T3" fmla="*/ 2147483647 h 24"/>
              <a:gd name="T4" fmla="*/ 0 w 16"/>
              <a:gd name="T5" fmla="*/ 0 h 24"/>
              <a:gd name="T6" fmla="*/ 2147483647 w 16"/>
              <a:gd name="T7" fmla="*/ 2147483647 h 24"/>
              <a:gd name="T8" fmla="*/ 2147483647 w 16"/>
              <a:gd name="T9" fmla="*/ 2147483647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"/>
              <a:gd name="T16" fmla="*/ 0 h 24"/>
              <a:gd name="T17" fmla="*/ 16 w 16"/>
              <a:gd name="T18" fmla="*/ 24 h 2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" h="24">
                <a:moveTo>
                  <a:pt x="7" y="24"/>
                </a:moveTo>
                <a:lnTo>
                  <a:pt x="11" y="13"/>
                </a:lnTo>
                <a:lnTo>
                  <a:pt x="0" y="0"/>
                </a:lnTo>
                <a:lnTo>
                  <a:pt x="16" y="15"/>
                </a:lnTo>
                <a:lnTo>
                  <a:pt x="7" y="2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19" name="Freeform 101"/>
          <p:cNvSpPr>
            <a:spLocks/>
          </p:cNvSpPr>
          <p:nvPr/>
        </p:nvSpPr>
        <p:spPr bwMode="auto">
          <a:xfrm>
            <a:off x="2619375" y="4016375"/>
            <a:ext cx="19050" cy="12700"/>
          </a:xfrm>
          <a:custGeom>
            <a:avLst/>
            <a:gdLst>
              <a:gd name="T0" fmla="*/ 2147483647 w 14"/>
              <a:gd name="T1" fmla="*/ 0 h 9"/>
              <a:gd name="T2" fmla="*/ 2147483647 w 14"/>
              <a:gd name="T3" fmla="*/ 2147483647 h 9"/>
              <a:gd name="T4" fmla="*/ 0 w 14"/>
              <a:gd name="T5" fmla="*/ 2147483647 h 9"/>
              <a:gd name="T6" fmla="*/ 2147483647 w 14"/>
              <a:gd name="T7" fmla="*/ 0 h 9"/>
              <a:gd name="T8" fmla="*/ 0 60000 65536"/>
              <a:gd name="T9" fmla="*/ 0 60000 65536"/>
              <a:gd name="T10" fmla="*/ 0 60000 65536"/>
              <a:gd name="T11" fmla="*/ 0 60000 65536"/>
              <a:gd name="T12" fmla="*/ 0 w 14"/>
              <a:gd name="T13" fmla="*/ 0 h 9"/>
              <a:gd name="T14" fmla="*/ 14 w 14"/>
              <a:gd name="T15" fmla="*/ 9 h 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" h="9">
                <a:moveTo>
                  <a:pt x="14" y="0"/>
                </a:moveTo>
                <a:lnTo>
                  <a:pt x="13" y="3"/>
                </a:lnTo>
                <a:lnTo>
                  <a:pt x="0" y="9"/>
                </a:lnTo>
                <a:lnTo>
                  <a:pt x="14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20" name="Freeform 102"/>
          <p:cNvSpPr>
            <a:spLocks/>
          </p:cNvSpPr>
          <p:nvPr/>
        </p:nvSpPr>
        <p:spPr bwMode="auto">
          <a:xfrm>
            <a:off x="2609850" y="3971925"/>
            <a:ext cx="9525" cy="11113"/>
          </a:xfrm>
          <a:custGeom>
            <a:avLst/>
            <a:gdLst>
              <a:gd name="T0" fmla="*/ 2147483647 w 7"/>
              <a:gd name="T1" fmla="*/ 2147483647 h 9"/>
              <a:gd name="T2" fmla="*/ 2147483647 w 7"/>
              <a:gd name="T3" fmla="*/ 0 h 9"/>
              <a:gd name="T4" fmla="*/ 0 w 7"/>
              <a:gd name="T5" fmla="*/ 2147483647 h 9"/>
              <a:gd name="T6" fmla="*/ 2147483647 w 7"/>
              <a:gd name="T7" fmla="*/ 2147483647 h 9"/>
              <a:gd name="T8" fmla="*/ 0 60000 65536"/>
              <a:gd name="T9" fmla="*/ 0 60000 65536"/>
              <a:gd name="T10" fmla="*/ 0 60000 65536"/>
              <a:gd name="T11" fmla="*/ 0 60000 65536"/>
              <a:gd name="T12" fmla="*/ 0 w 7"/>
              <a:gd name="T13" fmla="*/ 0 h 9"/>
              <a:gd name="T14" fmla="*/ 7 w 7"/>
              <a:gd name="T15" fmla="*/ 9 h 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" h="9">
                <a:moveTo>
                  <a:pt x="7" y="3"/>
                </a:moveTo>
                <a:lnTo>
                  <a:pt x="3" y="0"/>
                </a:lnTo>
                <a:lnTo>
                  <a:pt x="0" y="9"/>
                </a:lnTo>
                <a:lnTo>
                  <a:pt x="7" y="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21" name="Freeform 103"/>
          <p:cNvSpPr>
            <a:spLocks/>
          </p:cNvSpPr>
          <p:nvPr/>
        </p:nvSpPr>
        <p:spPr bwMode="auto">
          <a:xfrm>
            <a:off x="4751388" y="5324475"/>
            <a:ext cx="390525" cy="404813"/>
          </a:xfrm>
          <a:custGeom>
            <a:avLst/>
            <a:gdLst>
              <a:gd name="T0" fmla="*/ 2147483647 w 293"/>
              <a:gd name="T1" fmla="*/ 2147483647 h 295"/>
              <a:gd name="T2" fmla="*/ 2147483647 w 293"/>
              <a:gd name="T3" fmla="*/ 2147483647 h 295"/>
              <a:gd name="T4" fmla="*/ 2147483647 w 293"/>
              <a:gd name="T5" fmla="*/ 2147483647 h 295"/>
              <a:gd name="T6" fmla="*/ 2147483647 w 293"/>
              <a:gd name="T7" fmla="*/ 2147483647 h 295"/>
              <a:gd name="T8" fmla="*/ 2147483647 w 293"/>
              <a:gd name="T9" fmla="*/ 2147483647 h 295"/>
              <a:gd name="T10" fmla="*/ 2147483647 w 293"/>
              <a:gd name="T11" fmla="*/ 2147483647 h 295"/>
              <a:gd name="T12" fmla="*/ 2147483647 w 293"/>
              <a:gd name="T13" fmla="*/ 2147483647 h 295"/>
              <a:gd name="T14" fmla="*/ 2147483647 w 293"/>
              <a:gd name="T15" fmla="*/ 2147483647 h 295"/>
              <a:gd name="T16" fmla="*/ 2147483647 w 293"/>
              <a:gd name="T17" fmla="*/ 2147483647 h 295"/>
              <a:gd name="T18" fmla="*/ 2147483647 w 293"/>
              <a:gd name="T19" fmla="*/ 2147483647 h 295"/>
              <a:gd name="T20" fmla="*/ 2147483647 w 293"/>
              <a:gd name="T21" fmla="*/ 2147483647 h 295"/>
              <a:gd name="T22" fmla="*/ 2147483647 w 293"/>
              <a:gd name="T23" fmla="*/ 2147483647 h 295"/>
              <a:gd name="T24" fmla="*/ 2147483647 w 293"/>
              <a:gd name="T25" fmla="*/ 2147483647 h 295"/>
              <a:gd name="T26" fmla="*/ 2147483647 w 293"/>
              <a:gd name="T27" fmla="*/ 2147483647 h 295"/>
              <a:gd name="T28" fmla="*/ 2147483647 w 293"/>
              <a:gd name="T29" fmla="*/ 2147483647 h 295"/>
              <a:gd name="T30" fmla="*/ 2147483647 w 293"/>
              <a:gd name="T31" fmla="*/ 2147483647 h 295"/>
              <a:gd name="T32" fmla="*/ 2147483647 w 293"/>
              <a:gd name="T33" fmla="*/ 2147483647 h 295"/>
              <a:gd name="T34" fmla="*/ 2147483647 w 293"/>
              <a:gd name="T35" fmla="*/ 2147483647 h 295"/>
              <a:gd name="T36" fmla="*/ 2147483647 w 293"/>
              <a:gd name="T37" fmla="*/ 2147483647 h 295"/>
              <a:gd name="T38" fmla="*/ 2147483647 w 293"/>
              <a:gd name="T39" fmla="*/ 2147483647 h 295"/>
              <a:gd name="T40" fmla="*/ 2147483647 w 293"/>
              <a:gd name="T41" fmla="*/ 2147483647 h 295"/>
              <a:gd name="T42" fmla="*/ 2147483647 w 293"/>
              <a:gd name="T43" fmla="*/ 2147483647 h 295"/>
              <a:gd name="T44" fmla="*/ 2147483647 w 293"/>
              <a:gd name="T45" fmla="*/ 2147483647 h 295"/>
              <a:gd name="T46" fmla="*/ 2147483647 w 293"/>
              <a:gd name="T47" fmla="*/ 2147483647 h 295"/>
              <a:gd name="T48" fmla="*/ 2147483647 w 293"/>
              <a:gd name="T49" fmla="*/ 0 h 295"/>
              <a:gd name="T50" fmla="*/ 2147483647 w 293"/>
              <a:gd name="T51" fmla="*/ 2147483647 h 295"/>
              <a:gd name="T52" fmla="*/ 0 w 293"/>
              <a:gd name="T53" fmla="*/ 2147483647 h 295"/>
              <a:gd name="T54" fmla="*/ 2147483647 w 293"/>
              <a:gd name="T55" fmla="*/ 2147483647 h 295"/>
              <a:gd name="T56" fmla="*/ 2147483647 w 293"/>
              <a:gd name="T57" fmla="*/ 2147483647 h 295"/>
              <a:gd name="T58" fmla="*/ 2147483647 w 293"/>
              <a:gd name="T59" fmla="*/ 2147483647 h 295"/>
              <a:gd name="T60" fmla="*/ 2147483647 w 293"/>
              <a:gd name="T61" fmla="*/ 2147483647 h 295"/>
              <a:gd name="T62" fmla="*/ 2147483647 w 293"/>
              <a:gd name="T63" fmla="*/ 2147483647 h 295"/>
              <a:gd name="T64" fmla="*/ 2147483647 w 293"/>
              <a:gd name="T65" fmla="*/ 2147483647 h 295"/>
              <a:gd name="T66" fmla="*/ 2147483647 w 293"/>
              <a:gd name="T67" fmla="*/ 2147483647 h 295"/>
              <a:gd name="T68" fmla="*/ 2147483647 w 293"/>
              <a:gd name="T69" fmla="*/ 2147483647 h 295"/>
              <a:gd name="T70" fmla="*/ 2147483647 w 293"/>
              <a:gd name="T71" fmla="*/ 2147483647 h 295"/>
              <a:gd name="T72" fmla="*/ 2147483647 w 293"/>
              <a:gd name="T73" fmla="*/ 2147483647 h 295"/>
              <a:gd name="T74" fmla="*/ 2147483647 w 293"/>
              <a:gd name="T75" fmla="*/ 2147483647 h 295"/>
              <a:gd name="T76" fmla="*/ 2147483647 w 293"/>
              <a:gd name="T77" fmla="*/ 2147483647 h 295"/>
              <a:gd name="T78" fmla="*/ 2147483647 w 293"/>
              <a:gd name="T79" fmla="*/ 2147483647 h 295"/>
              <a:gd name="T80" fmla="*/ 2147483647 w 293"/>
              <a:gd name="T81" fmla="*/ 2147483647 h 295"/>
              <a:gd name="T82" fmla="*/ 2147483647 w 293"/>
              <a:gd name="T83" fmla="*/ 2147483647 h 295"/>
              <a:gd name="T84" fmla="*/ 2147483647 w 293"/>
              <a:gd name="T85" fmla="*/ 2147483647 h 295"/>
              <a:gd name="T86" fmla="*/ 2147483647 w 293"/>
              <a:gd name="T87" fmla="*/ 2147483647 h 295"/>
              <a:gd name="T88" fmla="*/ 2147483647 w 293"/>
              <a:gd name="T89" fmla="*/ 2147483647 h 295"/>
              <a:gd name="T90" fmla="*/ 2147483647 w 293"/>
              <a:gd name="T91" fmla="*/ 2147483647 h 295"/>
              <a:gd name="T92" fmla="*/ 2147483647 w 293"/>
              <a:gd name="T93" fmla="*/ 2147483647 h 295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293"/>
              <a:gd name="T142" fmla="*/ 0 h 295"/>
              <a:gd name="T143" fmla="*/ 293 w 293"/>
              <a:gd name="T144" fmla="*/ 295 h 295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293" h="295">
                <a:moveTo>
                  <a:pt x="174" y="193"/>
                </a:moveTo>
                <a:lnTo>
                  <a:pt x="176" y="160"/>
                </a:lnTo>
                <a:lnTo>
                  <a:pt x="177" y="125"/>
                </a:lnTo>
                <a:lnTo>
                  <a:pt x="198" y="125"/>
                </a:lnTo>
                <a:lnTo>
                  <a:pt x="198" y="102"/>
                </a:lnTo>
                <a:lnTo>
                  <a:pt x="200" y="79"/>
                </a:lnTo>
                <a:lnTo>
                  <a:pt x="200" y="57"/>
                </a:lnTo>
                <a:lnTo>
                  <a:pt x="201" y="34"/>
                </a:lnTo>
                <a:lnTo>
                  <a:pt x="226" y="30"/>
                </a:lnTo>
                <a:lnTo>
                  <a:pt x="251" y="28"/>
                </a:lnTo>
                <a:lnTo>
                  <a:pt x="260" y="36"/>
                </a:lnTo>
                <a:lnTo>
                  <a:pt x="276" y="27"/>
                </a:lnTo>
                <a:lnTo>
                  <a:pt x="293" y="21"/>
                </a:lnTo>
                <a:lnTo>
                  <a:pt x="269" y="13"/>
                </a:lnTo>
                <a:lnTo>
                  <a:pt x="255" y="17"/>
                </a:lnTo>
                <a:lnTo>
                  <a:pt x="222" y="21"/>
                </a:lnTo>
                <a:lnTo>
                  <a:pt x="190" y="24"/>
                </a:lnTo>
                <a:lnTo>
                  <a:pt x="170" y="19"/>
                </a:lnTo>
                <a:lnTo>
                  <a:pt x="149" y="16"/>
                </a:lnTo>
                <a:lnTo>
                  <a:pt x="145" y="11"/>
                </a:lnTo>
                <a:lnTo>
                  <a:pt x="120" y="10"/>
                </a:lnTo>
                <a:lnTo>
                  <a:pt x="95" y="9"/>
                </a:lnTo>
                <a:lnTo>
                  <a:pt x="70" y="9"/>
                </a:lnTo>
                <a:lnTo>
                  <a:pt x="45" y="7"/>
                </a:lnTo>
                <a:lnTo>
                  <a:pt x="28" y="0"/>
                </a:lnTo>
                <a:lnTo>
                  <a:pt x="1" y="7"/>
                </a:lnTo>
                <a:lnTo>
                  <a:pt x="0" y="22"/>
                </a:lnTo>
                <a:lnTo>
                  <a:pt x="15" y="52"/>
                </a:lnTo>
                <a:lnTo>
                  <a:pt x="30" y="82"/>
                </a:lnTo>
                <a:lnTo>
                  <a:pt x="45" y="112"/>
                </a:lnTo>
                <a:lnTo>
                  <a:pt x="59" y="142"/>
                </a:lnTo>
                <a:lnTo>
                  <a:pt x="61" y="155"/>
                </a:lnTo>
                <a:lnTo>
                  <a:pt x="57" y="153"/>
                </a:lnTo>
                <a:lnTo>
                  <a:pt x="60" y="179"/>
                </a:lnTo>
                <a:lnTo>
                  <a:pt x="64" y="204"/>
                </a:lnTo>
                <a:lnTo>
                  <a:pt x="67" y="229"/>
                </a:lnTo>
                <a:lnTo>
                  <a:pt x="71" y="255"/>
                </a:lnTo>
                <a:lnTo>
                  <a:pt x="83" y="271"/>
                </a:lnTo>
                <a:lnTo>
                  <a:pt x="95" y="288"/>
                </a:lnTo>
                <a:lnTo>
                  <a:pt x="107" y="275"/>
                </a:lnTo>
                <a:lnTo>
                  <a:pt x="114" y="291"/>
                </a:lnTo>
                <a:lnTo>
                  <a:pt x="147" y="295"/>
                </a:lnTo>
                <a:lnTo>
                  <a:pt x="166" y="286"/>
                </a:lnTo>
                <a:lnTo>
                  <a:pt x="168" y="263"/>
                </a:lnTo>
                <a:lnTo>
                  <a:pt x="170" y="240"/>
                </a:lnTo>
                <a:lnTo>
                  <a:pt x="172" y="217"/>
                </a:lnTo>
                <a:lnTo>
                  <a:pt x="174" y="19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22" name="Freeform 104"/>
          <p:cNvSpPr>
            <a:spLocks/>
          </p:cNvSpPr>
          <p:nvPr/>
        </p:nvSpPr>
        <p:spPr bwMode="auto">
          <a:xfrm>
            <a:off x="2708275" y="5078413"/>
            <a:ext cx="361950" cy="444500"/>
          </a:xfrm>
          <a:custGeom>
            <a:avLst/>
            <a:gdLst>
              <a:gd name="T0" fmla="*/ 2147483647 w 274"/>
              <a:gd name="T1" fmla="*/ 2147483647 h 324"/>
              <a:gd name="T2" fmla="*/ 2147483647 w 274"/>
              <a:gd name="T3" fmla="*/ 2147483647 h 324"/>
              <a:gd name="T4" fmla="*/ 2147483647 w 274"/>
              <a:gd name="T5" fmla="*/ 2147483647 h 324"/>
              <a:gd name="T6" fmla="*/ 2147483647 w 274"/>
              <a:gd name="T7" fmla="*/ 2147483647 h 324"/>
              <a:gd name="T8" fmla="*/ 2147483647 w 274"/>
              <a:gd name="T9" fmla="*/ 2147483647 h 324"/>
              <a:gd name="T10" fmla="*/ 2147483647 w 274"/>
              <a:gd name="T11" fmla="*/ 2147483647 h 324"/>
              <a:gd name="T12" fmla="*/ 2147483647 w 274"/>
              <a:gd name="T13" fmla="*/ 2147483647 h 324"/>
              <a:gd name="T14" fmla="*/ 2147483647 w 274"/>
              <a:gd name="T15" fmla="*/ 2147483647 h 324"/>
              <a:gd name="T16" fmla="*/ 2147483647 w 274"/>
              <a:gd name="T17" fmla="*/ 2147483647 h 324"/>
              <a:gd name="T18" fmla="*/ 2147483647 w 274"/>
              <a:gd name="T19" fmla="*/ 2147483647 h 324"/>
              <a:gd name="T20" fmla="*/ 2147483647 w 274"/>
              <a:gd name="T21" fmla="*/ 2147483647 h 324"/>
              <a:gd name="T22" fmla="*/ 2147483647 w 274"/>
              <a:gd name="T23" fmla="*/ 2147483647 h 324"/>
              <a:gd name="T24" fmla="*/ 2147483647 w 274"/>
              <a:gd name="T25" fmla="*/ 2147483647 h 324"/>
              <a:gd name="T26" fmla="*/ 2147483647 w 274"/>
              <a:gd name="T27" fmla="*/ 2147483647 h 324"/>
              <a:gd name="T28" fmla="*/ 2147483647 w 274"/>
              <a:gd name="T29" fmla="*/ 2147483647 h 324"/>
              <a:gd name="T30" fmla="*/ 2147483647 w 274"/>
              <a:gd name="T31" fmla="*/ 2147483647 h 324"/>
              <a:gd name="T32" fmla="*/ 2147483647 w 274"/>
              <a:gd name="T33" fmla="*/ 2147483647 h 324"/>
              <a:gd name="T34" fmla="*/ 2147483647 w 274"/>
              <a:gd name="T35" fmla="*/ 2147483647 h 324"/>
              <a:gd name="T36" fmla="*/ 2147483647 w 274"/>
              <a:gd name="T37" fmla="*/ 2147483647 h 324"/>
              <a:gd name="T38" fmla="*/ 2147483647 w 274"/>
              <a:gd name="T39" fmla="*/ 2147483647 h 324"/>
              <a:gd name="T40" fmla="*/ 2147483647 w 274"/>
              <a:gd name="T41" fmla="*/ 2147483647 h 324"/>
              <a:gd name="T42" fmla="*/ 2147483647 w 274"/>
              <a:gd name="T43" fmla="*/ 2147483647 h 324"/>
              <a:gd name="T44" fmla="*/ 2147483647 w 274"/>
              <a:gd name="T45" fmla="*/ 2147483647 h 324"/>
              <a:gd name="T46" fmla="*/ 2147483647 w 274"/>
              <a:gd name="T47" fmla="*/ 2147483647 h 324"/>
              <a:gd name="T48" fmla="*/ 2147483647 w 274"/>
              <a:gd name="T49" fmla="*/ 2147483647 h 324"/>
              <a:gd name="T50" fmla="*/ 2147483647 w 274"/>
              <a:gd name="T51" fmla="*/ 2147483647 h 324"/>
              <a:gd name="T52" fmla="*/ 2147483647 w 274"/>
              <a:gd name="T53" fmla="*/ 2147483647 h 324"/>
              <a:gd name="T54" fmla="*/ 0 w 274"/>
              <a:gd name="T55" fmla="*/ 2147483647 h 324"/>
              <a:gd name="T56" fmla="*/ 2147483647 w 274"/>
              <a:gd name="T57" fmla="*/ 2147483647 h 324"/>
              <a:gd name="T58" fmla="*/ 2147483647 w 274"/>
              <a:gd name="T59" fmla="*/ 2147483647 h 324"/>
              <a:gd name="T60" fmla="*/ 2147483647 w 274"/>
              <a:gd name="T61" fmla="*/ 2147483647 h 324"/>
              <a:gd name="T62" fmla="*/ 2147483647 w 274"/>
              <a:gd name="T63" fmla="*/ 0 h 324"/>
              <a:gd name="T64" fmla="*/ 2147483647 w 274"/>
              <a:gd name="T65" fmla="*/ 2147483647 h 324"/>
              <a:gd name="T66" fmla="*/ 2147483647 w 274"/>
              <a:gd name="T67" fmla="*/ 2147483647 h 324"/>
              <a:gd name="T68" fmla="*/ 2147483647 w 274"/>
              <a:gd name="T69" fmla="*/ 2147483647 h 324"/>
              <a:gd name="T70" fmla="*/ 2147483647 w 274"/>
              <a:gd name="T71" fmla="*/ 2147483647 h 324"/>
              <a:gd name="T72" fmla="*/ 2147483647 w 274"/>
              <a:gd name="T73" fmla="*/ 2147483647 h 324"/>
              <a:gd name="T74" fmla="*/ 2147483647 w 274"/>
              <a:gd name="T75" fmla="*/ 2147483647 h 324"/>
              <a:gd name="T76" fmla="*/ 2147483647 w 274"/>
              <a:gd name="T77" fmla="*/ 2147483647 h 324"/>
              <a:gd name="T78" fmla="*/ 2147483647 w 274"/>
              <a:gd name="T79" fmla="*/ 2147483647 h 324"/>
              <a:gd name="T80" fmla="*/ 2147483647 w 274"/>
              <a:gd name="T81" fmla="*/ 2147483647 h 324"/>
              <a:gd name="T82" fmla="*/ 2147483647 w 274"/>
              <a:gd name="T83" fmla="*/ 2147483647 h 324"/>
              <a:gd name="T84" fmla="*/ 2147483647 w 274"/>
              <a:gd name="T85" fmla="*/ 2147483647 h 324"/>
              <a:gd name="T86" fmla="*/ 2147483647 w 274"/>
              <a:gd name="T87" fmla="*/ 2147483647 h 324"/>
              <a:gd name="T88" fmla="*/ 2147483647 w 274"/>
              <a:gd name="T89" fmla="*/ 2147483647 h 324"/>
              <a:gd name="T90" fmla="*/ 2147483647 w 274"/>
              <a:gd name="T91" fmla="*/ 2147483647 h 324"/>
              <a:gd name="T92" fmla="*/ 2147483647 w 274"/>
              <a:gd name="T93" fmla="*/ 2147483647 h 324"/>
              <a:gd name="T94" fmla="*/ 2147483647 w 274"/>
              <a:gd name="T95" fmla="*/ 2147483647 h 324"/>
              <a:gd name="T96" fmla="*/ 2147483647 w 274"/>
              <a:gd name="T97" fmla="*/ 2147483647 h 324"/>
              <a:gd name="T98" fmla="*/ 2147483647 w 274"/>
              <a:gd name="T99" fmla="*/ 2147483647 h 324"/>
              <a:gd name="T100" fmla="*/ 2147483647 w 274"/>
              <a:gd name="T101" fmla="*/ 2147483647 h 324"/>
              <a:gd name="T102" fmla="*/ 2147483647 w 274"/>
              <a:gd name="T103" fmla="*/ 2147483647 h 324"/>
              <a:gd name="T104" fmla="*/ 2147483647 w 274"/>
              <a:gd name="T105" fmla="*/ 2147483647 h 324"/>
              <a:gd name="T106" fmla="*/ 2147483647 w 274"/>
              <a:gd name="T107" fmla="*/ 2147483647 h 324"/>
              <a:gd name="T108" fmla="*/ 2147483647 w 274"/>
              <a:gd name="T109" fmla="*/ 2147483647 h 324"/>
              <a:gd name="T110" fmla="*/ 2147483647 w 274"/>
              <a:gd name="T111" fmla="*/ 2147483647 h 324"/>
              <a:gd name="T112" fmla="*/ 2147483647 w 274"/>
              <a:gd name="T113" fmla="*/ 2147483647 h 324"/>
              <a:gd name="T114" fmla="*/ 2147483647 w 274"/>
              <a:gd name="T115" fmla="*/ 2147483647 h 324"/>
              <a:gd name="T116" fmla="*/ 2147483647 w 274"/>
              <a:gd name="T117" fmla="*/ 2147483647 h 32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74"/>
              <a:gd name="T178" fmla="*/ 0 h 324"/>
              <a:gd name="T179" fmla="*/ 274 w 274"/>
              <a:gd name="T180" fmla="*/ 324 h 324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74" h="324">
                <a:moveTo>
                  <a:pt x="183" y="256"/>
                </a:moveTo>
                <a:lnTo>
                  <a:pt x="179" y="284"/>
                </a:lnTo>
                <a:lnTo>
                  <a:pt x="173" y="310"/>
                </a:lnTo>
                <a:lnTo>
                  <a:pt x="169" y="304"/>
                </a:lnTo>
                <a:lnTo>
                  <a:pt x="144" y="308"/>
                </a:lnTo>
                <a:lnTo>
                  <a:pt x="137" y="322"/>
                </a:lnTo>
                <a:lnTo>
                  <a:pt x="126" y="308"/>
                </a:lnTo>
                <a:lnTo>
                  <a:pt x="99" y="302"/>
                </a:lnTo>
                <a:lnTo>
                  <a:pt x="95" y="299"/>
                </a:lnTo>
                <a:lnTo>
                  <a:pt x="77" y="324"/>
                </a:lnTo>
                <a:lnTo>
                  <a:pt x="62" y="322"/>
                </a:lnTo>
                <a:lnTo>
                  <a:pt x="53" y="299"/>
                </a:lnTo>
                <a:lnTo>
                  <a:pt x="44" y="278"/>
                </a:lnTo>
                <a:lnTo>
                  <a:pt x="38" y="256"/>
                </a:lnTo>
                <a:lnTo>
                  <a:pt x="38" y="238"/>
                </a:lnTo>
                <a:lnTo>
                  <a:pt x="26" y="221"/>
                </a:lnTo>
                <a:lnTo>
                  <a:pt x="20" y="204"/>
                </a:lnTo>
                <a:lnTo>
                  <a:pt x="14" y="192"/>
                </a:lnTo>
                <a:lnTo>
                  <a:pt x="14" y="183"/>
                </a:lnTo>
                <a:lnTo>
                  <a:pt x="24" y="161"/>
                </a:lnTo>
                <a:lnTo>
                  <a:pt x="17" y="159"/>
                </a:lnTo>
                <a:lnTo>
                  <a:pt x="14" y="138"/>
                </a:lnTo>
                <a:lnTo>
                  <a:pt x="14" y="118"/>
                </a:lnTo>
                <a:lnTo>
                  <a:pt x="18" y="105"/>
                </a:lnTo>
                <a:lnTo>
                  <a:pt x="18" y="74"/>
                </a:lnTo>
                <a:lnTo>
                  <a:pt x="21" y="69"/>
                </a:lnTo>
                <a:lnTo>
                  <a:pt x="11" y="50"/>
                </a:lnTo>
                <a:lnTo>
                  <a:pt x="0" y="29"/>
                </a:lnTo>
                <a:lnTo>
                  <a:pt x="27" y="30"/>
                </a:lnTo>
                <a:lnTo>
                  <a:pt x="38" y="23"/>
                </a:lnTo>
                <a:lnTo>
                  <a:pt x="56" y="12"/>
                </a:lnTo>
                <a:lnTo>
                  <a:pt x="74" y="0"/>
                </a:lnTo>
                <a:lnTo>
                  <a:pt x="91" y="3"/>
                </a:lnTo>
                <a:lnTo>
                  <a:pt x="93" y="23"/>
                </a:lnTo>
                <a:lnTo>
                  <a:pt x="95" y="44"/>
                </a:lnTo>
                <a:lnTo>
                  <a:pt x="111" y="62"/>
                </a:lnTo>
                <a:lnTo>
                  <a:pt x="128" y="68"/>
                </a:lnTo>
                <a:lnTo>
                  <a:pt x="147" y="77"/>
                </a:lnTo>
                <a:lnTo>
                  <a:pt x="171" y="94"/>
                </a:lnTo>
                <a:lnTo>
                  <a:pt x="197" y="98"/>
                </a:lnTo>
                <a:lnTo>
                  <a:pt x="203" y="108"/>
                </a:lnTo>
                <a:lnTo>
                  <a:pt x="206" y="132"/>
                </a:lnTo>
                <a:lnTo>
                  <a:pt x="201" y="132"/>
                </a:lnTo>
                <a:lnTo>
                  <a:pt x="210" y="142"/>
                </a:lnTo>
                <a:lnTo>
                  <a:pt x="213" y="161"/>
                </a:lnTo>
                <a:lnTo>
                  <a:pt x="233" y="164"/>
                </a:lnTo>
                <a:lnTo>
                  <a:pt x="253" y="166"/>
                </a:lnTo>
                <a:lnTo>
                  <a:pt x="255" y="188"/>
                </a:lnTo>
                <a:lnTo>
                  <a:pt x="269" y="201"/>
                </a:lnTo>
                <a:lnTo>
                  <a:pt x="274" y="210"/>
                </a:lnTo>
                <a:lnTo>
                  <a:pt x="269" y="230"/>
                </a:lnTo>
                <a:lnTo>
                  <a:pt x="264" y="248"/>
                </a:lnTo>
                <a:lnTo>
                  <a:pt x="268" y="256"/>
                </a:lnTo>
                <a:lnTo>
                  <a:pt x="264" y="258"/>
                </a:lnTo>
                <a:lnTo>
                  <a:pt x="265" y="255"/>
                </a:lnTo>
                <a:lnTo>
                  <a:pt x="242" y="238"/>
                </a:lnTo>
                <a:lnTo>
                  <a:pt x="215" y="242"/>
                </a:lnTo>
                <a:lnTo>
                  <a:pt x="186" y="245"/>
                </a:lnTo>
                <a:lnTo>
                  <a:pt x="183" y="256"/>
                </a:lnTo>
                <a:close/>
              </a:path>
            </a:pathLst>
          </a:custGeom>
          <a:gradFill rotWithShape="1">
            <a:gsLst>
              <a:gs pos="0">
                <a:schemeClr val="accent2"/>
              </a:gs>
              <a:gs pos="100000">
                <a:srgbClr val="2E1A38"/>
              </a:gs>
            </a:gsLst>
            <a:lin ang="5400000" scaled="1"/>
          </a:gradFill>
          <a:ln w="6350" cap="rnd">
            <a:solidFill>
              <a:srgbClr val="DDDDDD"/>
            </a:solidFill>
            <a:round/>
            <a:headEnd/>
            <a:tailEnd/>
          </a:ln>
        </p:spPr>
        <p:txBody>
          <a:bodyPr lIns="91430" tIns="45716" rIns="91430" bIns="45716"/>
          <a:lstStyle/>
          <a:p>
            <a:endParaRPr lang="en-US"/>
          </a:p>
        </p:txBody>
      </p:sp>
      <p:sp>
        <p:nvSpPr>
          <p:cNvPr id="9323" name="Freeform 105"/>
          <p:cNvSpPr>
            <a:spLocks/>
          </p:cNvSpPr>
          <p:nvPr/>
        </p:nvSpPr>
        <p:spPr bwMode="auto">
          <a:xfrm>
            <a:off x="4983163" y="5353050"/>
            <a:ext cx="268287" cy="306388"/>
          </a:xfrm>
          <a:custGeom>
            <a:avLst/>
            <a:gdLst>
              <a:gd name="T0" fmla="*/ 0 w 202"/>
              <a:gd name="T1" fmla="*/ 2147483647 h 224"/>
              <a:gd name="T2" fmla="*/ 2147483647 w 202"/>
              <a:gd name="T3" fmla="*/ 2147483647 h 224"/>
              <a:gd name="T4" fmla="*/ 2147483647 w 202"/>
              <a:gd name="T5" fmla="*/ 2147483647 h 224"/>
              <a:gd name="T6" fmla="*/ 2147483647 w 202"/>
              <a:gd name="T7" fmla="*/ 2147483647 h 224"/>
              <a:gd name="T8" fmla="*/ 2147483647 w 202"/>
              <a:gd name="T9" fmla="*/ 2147483647 h 224"/>
              <a:gd name="T10" fmla="*/ 2147483647 w 202"/>
              <a:gd name="T11" fmla="*/ 2147483647 h 224"/>
              <a:gd name="T12" fmla="*/ 2147483647 w 202"/>
              <a:gd name="T13" fmla="*/ 2147483647 h 224"/>
              <a:gd name="T14" fmla="*/ 2147483647 w 202"/>
              <a:gd name="T15" fmla="*/ 2147483647 h 224"/>
              <a:gd name="T16" fmla="*/ 2147483647 w 202"/>
              <a:gd name="T17" fmla="*/ 2147483647 h 224"/>
              <a:gd name="T18" fmla="*/ 2147483647 w 202"/>
              <a:gd name="T19" fmla="*/ 2147483647 h 224"/>
              <a:gd name="T20" fmla="*/ 2147483647 w 202"/>
              <a:gd name="T21" fmla="*/ 2147483647 h 224"/>
              <a:gd name="T22" fmla="*/ 2147483647 w 202"/>
              <a:gd name="T23" fmla="*/ 2147483647 h 224"/>
              <a:gd name="T24" fmla="*/ 2147483647 w 202"/>
              <a:gd name="T25" fmla="*/ 0 h 224"/>
              <a:gd name="T26" fmla="*/ 2147483647 w 202"/>
              <a:gd name="T27" fmla="*/ 2147483647 h 224"/>
              <a:gd name="T28" fmla="*/ 2147483647 w 202"/>
              <a:gd name="T29" fmla="*/ 2147483647 h 224"/>
              <a:gd name="T30" fmla="*/ 2147483647 w 202"/>
              <a:gd name="T31" fmla="*/ 2147483647 h 224"/>
              <a:gd name="T32" fmla="*/ 2147483647 w 202"/>
              <a:gd name="T33" fmla="*/ 2147483647 h 224"/>
              <a:gd name="T34" fmla="*/ 2147483647 w 202"/>
              <a:gd name="T35" fmla="*/ 2147483647 h 224"/>
              <a:gd name="T36" fmla="*/ 2147483647 w 202"/>
              <a:gd name="T37" fmla="*/ 2147483647 h 224"/>
              <a:gd name="T38" fmla="*/ 2147483647 w 202"/>
              <a:gd name="T39" fmla="*/ 2147483647 h 224"/>
              <a:gd name="T40" fmla="*/ 2147483647 w 202"/>
              <a:gd name="T41" fmla="*/ 2147483647 h 224"/>
              <a:gd name="T42" fmla="*/ 2147483647 w 202"/>
              <a:gd name="T43" fmla="*/ 2147483647 h 224"/>
              <a:gd name="T44" fmla="*/ 2147483647 w 202"/>
              <a:gd name="T45" fmla="*/ 2147483647 h 224"/>
              <a:gd name="T46" fmla="*/ 2147483647 w 202"/>
              <a:gd name="T47" fmla="*/ 2147483647 h 224"/>
              <a:gd name="T48" fmla="*/ 2147483647 w 202"/>
              <a:gd name="T49" fmla="*/ 2147483647 h 224"/>
              <a:gd name="T50" fmla="*/ 2147483647 w 202"/>
              <a:gd name="T51" fmla="*/ 2147483647 h 224"/>
              <a:gd name="T52" fmla="*/ 2147483647 w 202"/>
              <a:gd name="T53" fmla="*/ 2147483647 h 224"/>
              <a:gd name="T54" fmla="*/ 2147483647 w 202"/>
              <a:gd name="T55" fmla="*/ 2147483647 h 224"/>
              <a:gd name="T56" fmla="*/ 2147483647 w 202"/>
              <a:gd name="T57" fmla="*/ 2147483647 h 224"/>
              <a:gd name="T58" fmla="*/ 2147483647 w 202"/>
              <a:gd name="T59" fmla="*/ 2147483647 h 224"/>
              <a:gd name="T60" fmla="*/ 2147483647 w 202"/>
              <a:gd name="T61" fmla="*/ 2147483647 h 224"/>
              <a:gd name="T62" fmla="*/ 2147483647 w 202"/>
              <a:gd name="T63" fmla="*/ 2147483647 h 224"/>
              <a:gd name="T64" fmla="*/ 2147483647 w 202"/>
              <a:gd name="T65" fmla="*/ 2147483647 h 224"/>
              <a:gd name="T66" fmla="*/ 2147483647 w 202"/>
              <a:gd name="T67" fmla="*/ 2147483647 h 224"/>
              <a:gd name="T68" fmla="*/ 0 w 202"/>
              <a:gd name="T69" fmla="*/ 2147483647 h 22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202"/>
              <a:gd name="T106" fmla="*/ 0 h 224"/>
              <a:gd name="T107" fmla="*/ 202 w 202"/>
              <a:gd name="T108" fmla="*/ 224 h 224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202" h="224">
                <a:moveTo>
                  <a:pt x="0" y="172"/>
                </a:moveTo>
                <a:lnTo>
                  <a:pt x="2" y="139"/>
                </a:lnTo>
                <a:lnTo>
                  <a:pt x="3" y="104"/>
                </a:lnTo>
                <a:lnTo>
                  <a:pt x="24" y="104"/>
                </a:lnTo>
                <a:lnTo>
                  <a:pt x="24" y="81"/>
                </a:lnTo>
                <a:lnTo>
                  <a:pt x="26" y="58"/>
                </a:lnTo>
                <a:lnTo>
                  <a:pt x="26" y="36"/>
                </a:lnTo>
                <a:lnTo>
                  <a:pt x="27" y="13"/>
                </a:lnTo>
                <a:lnTo>
                  <a:pt x="52" y="9"/>
                </a:lnTo>
                <a:lnTo>
                  <a:pt x="77" y="7"/>
                </a:lnTo>
                <a:lnTo>
                  <a:pt x="86" y="15"/>
                </a:lnTo>
                <a:lnTo>
                  <a:pt x="102" y="6"/>
                </a:lnTo>
                <a:lnTo>
                  <a:pt x="119" y="0"/>
                </a:lnTo>
                <a:lnTo>
                  <a:pt x="132" y="24"/>
                </a:lnTo>
                <a:lnTo>
                  <a:pt x="144" y="48"/>
                </a:lnTo>
                <a:lnTo>
                  <a:pt x="160" y="61"/>
                </a:lnTo>
                <a:lnTo>
                  <a:pt x="165" y="66"/>
                </a:lnTo>
                <a:lnTo>
                  <a:pt x="170" y="73"/>
                </a:lnTo>
                <a:lnTo>
                  <a:pt x="177" y="93"/>
                </a:lnTo>
                <a:lnTo>
                  <a:pt x="196" y="103"/>
                </a:lnTo>
                <a:lnTo>
                  <a:pt x="202" y="106"/>
                </a:lnTo>
                <a:lnTo>
                  <a:pt x="201" y="109"/>
                </a:lnTo>
                <a:lnTo>
                  <a:pt x="172" y="128"/>
                </a:lnTo>
                <a:lnTo>
                  <a:pt x="150" y="146"/>
                </a:lnTo>
                <a:lnTo>
                  <a:pt x="138" y="168"/>
                </a:lnTo>
                <a:lnTo>
                  <a:pt x="125" y="176"/>
                </a:lnTo>
                <a:lnTo>
                  <a:pt x="113" y="198"/>
                </a:lnTo>
                <a:lnTo>
                  <a:pt x="81" y="193"/>
                </a:lnTo>
                <a:lnTo>
                  <a:pt x="64" y="187"/>
                </a:lnTo>
                <a:lnTo>
                  <a:pt x="52" y="202"/>
                </a:lnTo>
                <a:lnTo>
                  <a:pt x="41" y="219"/>
                </a:lnTo>
                <a:lnTo>
                  <a:pt x="18" y="224"/>
                </a:lnTo>
                <a:lnTo>
                  <a:pt x="11" y="220"/>
                </a:lnTo>
                <a:lnTo>
                  <a:pt x="15" y="196"/>
                </a:lnTo>
                <a:lnTo>
                  <a:pt x="0" y="17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24" name="Freeform 106"/>
          <p:cNvSpPr>
            <a:spLocks/>
          </p:cNvSpPr>
          <p:nvPr/>
        </p:nvSpPr>
        <p:spPr bwMode="auto">
          <a:xfrm>
            <a:off x="5173663" y="5721350"/>
            <a:ext cx="65087" cy="68263"/>
          </a:xfrm>
          <a:custGeom>
            <a:avLst/>
            <a:gdLst>
              <a:gd name="T0" fmla="*/ 2147483647 w 48"/>
              <a:gd name="T1" fmla="*/ 2147483647 h 50"/>
              <a:gd name="T2" fmla="*/ 0 w 48"/>
              <a:gd name="T3" fmla="*/ 2147483647 h 50"/>
              <a:gd name="T4" fmla="*/ 2147483647 w 48"/>
              <a:gd name="T5" fmla="*/ 2147483647 h 50"/>
              <a:gd name="T6" fmla="*/ 2147483647 w 48"/>
              <a:gd name="T7" fmla="*/ 2147483647 h 50"/>
              <a:gd name="T8" fmla="*/ 2147483647 w 48"/>
              <a:gd name="T9" fmla="*/ 2147483647 h 50"/>
              <a:gd name="T10" fmla="*/ 2147483647 w 48"/>
              <a:gd name="T11" fmla="*/ 2147483647 h 50"/>
              <a:gd name="T12" fmla="*/ 2147483647 w 48"/>
              <a:gd name="T13" fmla="*/ 0 h 50"/>
              <a:gd name="T14" fmla="*/ 2147483647 w 48"/>
              <a:gd name="T15" fmla="*/ 2147483647 h 5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8"/>
              <a:gd name="T25" fmla="*/ 0 h 50"/>
              <a:gd name="T26" fmla="*/ 48 w 48"/>
              <a:gd name="T27" fmla="*/ 50 h 5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8" h="50">
                <a:moveTo>
                  <a:pt x="21" y="6"/>
                </a:moveTo>
                <a:lnTo>
                  <a:pt x="0" y="28"/>
                </a:lnTo>
                <a:lnTo>
                  <a:pt x="15" y="50"/>
                </a:lnTo>
                <a:lnTo>
                  <a:pt x="23" y="42"/>
                </a:lnTo>
                <a:lnTo>
                  <a:pt x="44" y="27"/>
                </a:lnTo>
                <a:lnTo>
                  <a:pt x="48" y="12"/>
                </a:lnTo>
                <a:lnTo>
                  <a:pt x="29" y="0"/>
                </a:lnTo>
                <a:lnTo>
                  <a:pt x="21" y="6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25" name="Freeform 107"/>
          <p:cNvSpPr>
            <a:spLocks/>
          </p:cNvSpPr>
          <p:nvPr/>
        </p:nvSpPr>
        <p:spPr bwMode="auto">
          <a:xfrm>
            <a:off x="5649913" y="5157788"/>
            <a:ext cx="219075" cy="458787"/>
          </a:xfrm>
          <a:custGeom>
            <a:avLst/>
            <a:gdLst>
              <a:gd name="T0" fmla="*/ 2147483647 w 167"/>
              <a:gd name="T1" fmla="*/ 2147483647 h 334"/>
              <a:gd name="T2" fmla="*/ 2147483647 w 167"/>
              <a:gd name="T3" fmla="*/ 2147483647 h 334"/>
              <a:gd name="T4" fmla="*/ 2147483647 w 167"/>
              <a:gd name="T5" fmla="*/ 2147483647 h 334"/>
              <a:gd name="T6" fmla="*/ 2147483647 w 167"/>
              <a:gd name="T7" fmla="*/ 2147483647 h 334"/>
              <a:gd name="T8" fmla="*/ 2147483647 w 167"/>
              <a:gd name="T9" fmla="*/ 2147483647 h 334"/>
              <a:gd name="T10" fmla="*/ 2147483647 w 167"/>
              <a:gd name="T11" fmla="*/ 2147483647 h 334"/>
              <a:gd name="T12" fmla="*/ 2147483647 w 167"/>
              <a:gd name="T13" fmla="*/ 2147483647 h 334"/>
              <a:gd name="T14" fmla="*/ 2147483647 w 167"/>
              <a:gd name="T15" fmla="*/ 2147483647 h 334"/>
              <a:gd name="T16" fmla="*/ 2147483647 w 167"/>
              <a:gd name="T17" fmla="*/ 2147483647 h 334"/>
              <a:gd name="T18" fmla="*/ 0 w 167"/>
              <a:gd name="T19" fmla="*/ 2147483647 h 334"/>
              <a:gd name="T20" fmla="*/ 2147483647 w 167"/>
              <a:gd name="T21" fmla="*/ 2147483647 h 334"/>
              <a:gd name="T22" fmla="*/ 2147483647 w 167"/>
              <a:gd name="T23" fmla="*/ 2147483647 h 334"/>
              <a:gd name="T24" fmla="*/ 2147483647 w 167"/>
              <a:gd name="T25" fmla="*/ 2147483647 h 334"/>
              <a:gd name="T26" fmla="*/ 2147483647 w 167"/>
              <a:gd name="T27" fmla="*/ 2147483647 h 334"/>
              <a:gd name="T28" fmla="*/ 2147483647 w 167"/>
              <a:gd name="T29" fmla="*/ 2147483647 h 334"/>
              <a:gd name="T30" fmla="*/ 2147483647 w 167"/>
              <a:gd name="T31" fmla="*/ 2147483647 h 334"/>
              <a:gd name="T32" fmla="*/ 2147483647 w 167"/>
              <a:gd name="T33" fmla="*/ 2147483647 h 334"/>
              <a:gd name="T34" fmla="*/ 2147483647 w 167"/>
              <a:gd name="T35" fmla="*/ 2147483647 h 334"/>
              <a:gd name="T36" fmla="*/ 2147483647 w 167"/>
              <a:gd name="T37" fmla="*/ 2147483647 h 334"/>
              <a:gd name="T38" fmla="*/ 2147483647 w 167"/>
              <a:gd name="T39" fmla="*/ 2147483647 h 334"/>
              <a:gd name="T40" fmla="*/ 2147483647 w 167"/>
              <a:gd name="T41" fmla="*/ 2147483647 h 334"/>
              <a:gd name="T42" fmla="*/ 2147483647 w 167"/>
              <a:gd name="T43" fmla="*/ 2147483647 h 334"/>
              <a:gd name="T44" fmla="*/ 2147483647 w 167"/>
              <a:gd name="T45" fmla="*/ 2147483647 h 334"/>
              <a:gd name="T46" fmla="*/ 2147483647 w 167"/>
              <a:gd name="T47" fmla="*/ 2147483647 h 334"/>
              <a:gd name="T48" fmla="*/ 2147483647 w 167"/>
              <a:gd name="T49" fmla="*/ 2147483647 h 334"/>
              <a:gd name="T50" fmla="*/ 2147483647 w 167"/>
              <a:gd name="T51" fmla="*/ 2147483647 h 334"/>
              <a:gd name="T52" fmla="*/ 2147483647 w 167"/>
              <a:gd name="T53" fmla="*/ 2147483647 h 334"/>
              <a:gd name="T54" fmla="*/ 2147483647 w 167"/>
              <a:gd name="T55" fmla="*/ 2147483647 h 334"/>
              <a:gd name="T56" fmla="*/ 2147483647 w 167"/>
              <a:gd name="T57" fmla="*/ 2147483647 h 334"/>
              <a:gd name="T58" fmla="*/ 2147483647 w 167"/>
              <a:gd name="T59" fmla="*/ 2147483647 h 334"/>
              <a:gd name="T60" fmla="*/ 2147483647 w 167"/>
              <a:gd name="T61" fmla="*/ 0 h 334"/>
              <a:gd name="T62" fmla="*/ 2147483647 w 167"/>
              <a:gd name="T63" fmla="*/ 2147483647 h 334"/>
              <a:gd name="T64" fmla="*/ 2147483647 w 167"/>
              <a:gd name="T65" fmla="*/ 2147483647 h 334"/>
              <a:gd name="T66" fmla="*/ 2147483647 w 167"/>
              <a:gd name="T67" fmla="*/ 2147483647 h 334"/>
              <a:gd name="T68" fmla="*/ 2147483647 w 167"/>
              <a:gd name="T69" fmla="*/ 2147483647 h 334"/>
              <a:gd name="T70" fmla="*/ 2147483647 w 167"/>
              <a:gd name="T71" fmla="*/ 2147483647 h 334"/>
              <a:gd name="T72" fmla="*/ 2147483647 w 167"/>
              <a:gd name="T73" fmla="*/ 2147483647 h 334"/>
              <a:gd name="T74" fmla="*/ 2147483647 w 167"/>
              <a:gd name="T75" fmla="*/ 2147483647 h 334"/>
              <a:gd name="T76" fmla="*/ 2147483647 w 167"/>
              <a:gd name="T77" fmla="*/ 2147483647 h 334"/>
              <a:gd name="T78" fmla="*/ 2147483647 w 167"/>
              <a:gd name="T79" fmla="*/ 2147483647 h 334"/>
              <a:gd name="T80" fmla="*/ 2147483647 w 167"/>
              <a:gd name="T81" fmla="*/ 2147483647 h 334"/>
              <a:gd name="T82" fmla="*/ 2147483647 w 167"/>
              <a:gd name="T83" fmla="*/ 2147483647 h 334"/>
              <a:gd name="T84" fmla="*/ 2147483647 w 167"/>
              <a:gd name="T85" fmla="*/ 2147483647 h 334"/>
              <a:gd name="T86" fmla="*/ 2147483647 w 167"/>
              <a:gd name="T87" fmla="*/ 2147483647 h 334"/>
              <a:gd name="T88" fmla="*/ 2147483647 w 167"/>
              <a:gd name="T89" fmla="*/ 2147483647 h 334"/>
              <a:gd name="T90" fmla="*/ 2147483647 w 167"/>
              <a:gd name="T91" fmla="*/ 2147483647 h 334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167"/>
              <a:gd name="T139" fmla="*/ 0 h 334"/>
              <a:gd name="T140" fmla="*/ 167 w 167"/>
              <a:gd name="T141" fmla="*/ 334 h 334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167" h="334">
                <a:moveTo>
                  <a:pt x="61" y="95"/>
                </a:moveTo>
                <a:lnTo>
                  <a:pt x="53" y="96"/>
                </a:lnTo>
                <a:lnTo>
                  <a:pt x="34" y="106"/>
                </a:lnTo>
                <a:lnTo>
                  <a:pt x="28" y="126"/>
                </a:lnTo>
                <a:lnTo>
                  <a:pt x="23" y="145"/>
                </a:lnTo>
                <a:lnTo>
                  <a:pt x="26" y="170"/>
                </a:lnTo>
                <a:lnTo>
                  <a:pt x="29" y="196"/>
                </a:lnTo>
                <a:lnTo>
                  <a:pt x="18" y="212"/>
                </a:lnTo>
                <a:lnTo>
                  <a:pt x="6" y="229"/>
                </a:lnTo>
                <a:lnTo>
                  <a:pt x="0" y="263"/>
                </a:lnTo>
                <a:lnTo>
                  <a:pt x="5" y="290"/>
                </a:lnTo>
                <a:lnTo>
                  <a:pt x="13" y="322"/>
                </a:lnTo>
                <a:lnTo>
                  <a:pt x="41" y="334"/>
                </a:lnTo>
                <a:lnTo>
                  <a:pt x="60" y="324"/>
                </a:lnTo>
                <a:lnTo>
                  <a:pt x="79" y="314"/>
                </a:lnTo>
                <a:lnTo>
                  <a:pt x="86" y="292"/>
                </a:lnTo>
                <a:lnTo>
                  <a:pt x="95" y="270"/>
                </a:lnTo>
                <a:lnTo>
                  <a:pt x="102" y="247"/>
                </a:lnTo>
                <a:lnTo>
                  <a:pt x="110" y="224"/>
                </a:lnTo>
                <a:lnTo>
                  <a:pt x="119" y="202"/>
                </a:lnTo>
                <a:lnTo>
                  <a:pt x="126" y="179"/>
                </a:lnTo>
                <a:lnTo>
                  <a:pt x="133" y="156"/>
                </a:lnTo>
                <a:lnTo>
                  <a:pt x="142" y="134"/>
                </a:lnTo>
                <a:lnTo>
                  <a:pt x="150" y="119"/>
                </a:lnTo>
                <a:lnTo>
                  <a:pt x="150" y="84"/>
                </a:lnTo>
                <a:lnTo>
                  <a:pt x="162" y="94"/>
                </a:lnTo>
                <a:lnTo>
                  <a:pt x="167" y="80"/>
                </a:lnTo>
                <a:lnTo>
                  <a:pt x="160" y="49"/>
                </a:lnTo>
                <a:lnTo>
                  <a:pt x="152" y="18"/>
                </a:lnTo>
                <a:lnTo>
                  <a:pt x="146" y="1"/>
                </a:lnTo>
                <a:lnTo>
                  <a:pt x="142" y="0"/>
                </a:lnTo>
                <a:lnTo>
                  <a:pt x="136" y="8"/>
                </a:lnTo>
                <a:lnTo>
                  <a:pt x="131" y="34"/>
                </a:lnTo>
                <a:lnTo>
                  <a:pt x="122" y="37"/>
                </a:lnTo>
                <a:lnTo>
                  <a:pt x="119" y="41"/>
                </a:lnTo>
                <a:lnTo>
                  <a:pt x="113" y="37"/>
                </a:lnTo>
                <a:lnTo>
                  <a:pt x="115" y="52"/>
                </a:lnTo>
                <a:lnTo>
                  <a:pt x="109" y="61"/>
                </a:lnTo>
                <a:lnTo>
                  <a:pt x="112" y="64"/>
                </a:lnTo>
                <a:lnTo>
                  <a:pt x="101" y="72"/>
                </a:lnTo>
                <a:lnTo>
                  <a:pt x="102" y="64"/>
                </a:lnTo>
                <a:lnTo>
                  <a:pt x="95" y="80"/>
                </a:lnTo>
                <a:lnTo>
                  <a:pt x="91" y="83"/>
                </a:lnTo>
                <a:lnTo>
                  <a:pt x="86" y="80"/>
                </a:lnTo>
                <a:lnTo>
                  <a:pt x="78" y="94"/>
                </a:lnTo>
                <a:lnTo>
                  <a:pt x="61" y="95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9326" name="Freeform 108"/>
          <p:cNvSpPr>
            <a:spLocks/>
          </p:cNvSpPr>
          <p:nvPr/>
        </p:nvSpPr>
        <p:spPr bwMode="auto">
          <a:xfrm>
            <a:off x="5359400" y="5064125"/>
            <a:ext cx="90488" cy="263525"/>
          </a:xfrm>
          <a:custGeom>
            <a:avLst/>
            <a:gdLst>
              <a:gd name="T0" fmla="*/ 2147483647 w 67"/>
              <a:gd name="T1" fmla="*/ 2147483647 h 192"/>
              <a:gd name="T2" fmla="*/ 2147483647 w 67"/>
              <a:gd name="T3" fmla="*/ 2147483647 h 192"/>
              <a:gd name="T4" fmla="*/ 2147483647 w 67"/>
              <a:gd name="T5" fmla="*/ 2147483647 h 192"/>
              <a:gd name="T6" fmla="*/ 2147483647 w 67"/>
              <a:gd name="T7" fmla="*/ 2147483647 h 192"/>
              <a:gd name="T8" fmla="*/ 2147483647 w 67"/>
              <a:gd name="T9" fmla="*/ 2147483647 h 192"/>
              <a:gd name="T10" fmla="*/ 2147483647 w 67"/>
              <a:gd name="T11" fmla="*/ 2147483647 h 192"/>
              <a:gd name="T12" fmla="*/ 2147483647 w 67"/>
              <a:gd name="T13" fmla="*/ 2147483647 h 192"/>
              <a:gd name="T14" fmla="*/ 2147483647 w 67"/>
              <a:gd name="T15" fmla="*/ 2147483647 h 192"/>
              <a:gd name="T16" fmla="*/ 2147483647 w 67"/>
              <a:gd name="T17" fmla="*/ 2147483647 h 192"/>
              <a:gd name="T18" fmla="*/ 2147483647 w 67"/>
              <a:gd name="T19" fmla="*/ 2147483647 h 192"/>
              <a:gd name="T20" fmla="*/ 2147483647 w 67"/>
              <a:gd name="T21" fmla="*/ 2147483647 h 192"/>
              <a:gd name="T22" fmla="*/ 2147483647 w 67"/>
              <a:gd name="T23" fmla="*/ 2147483647 h 192"/>
              <a:gd name="T24" fmla="*/ 2147483647 w 67"/>
              <a:gd name="T25" fmla="*/ 2147483647 h 192"/>
              <a:gd name="T26" fmla="*/ 2147483647 w 67"/>
              <a:gd name="T27" fmla="*/ 2147483647 h 192"/>
              <a:gd name="T28" fmla="*/ 2147483647 w 67"/>
              <a:gd name="T29" fmla="*/ 2147483647 h 192"/>
              <a:gd name="T30" fmla="*/ 2147483647 w 67"/>
              <a:gd name="T31" fmla="*/ 2147483647 h 192"/>
              <a:gd name="T32" fmla="*/ 2147483647 w 67"/>
              <a:gd name="T33" fmla="*/ 0 h 192"/>
              <a:gd name="T34" fmla="*/ 2147483647 w 67"/>
              <a:gd name="T35" fmla="*/ 2147483647 h 192"/>
              <a:gd name="T36" fmla="*/ 2147483647 w 67"/>
              <a:gd name="T37" fmla="*/ 2147483647 h 192"/>
              <a:gd name="T38" fmla="*/ 2147483647 w 67"/>
              <a:gd name="T39" fmla="*/ 2147483647 h 192"/>
              <a:gd name="T40" fmla="*/ 2147483647 w 67"/>
              <a:gd name="T41" fmla="*/ 2147483647 h 192"/>
              <a:gd name="T42" fmla="*/ 2147483647 w 67"/>
              <a:gd name="T43" fmla="*/ 2147483647 h 192"/>
              <a:gd name="T44" fmla="*/ 2147483647 w 67"/>
              <a:gd name="T45" fmla="*/ 2147483647 h 192"/>
              <a:gd name="T46" fmla="*/ 0 w 67"/>
              <a:gd name="T47" fmla="*/ 2147483647 h 192"/>
              <a:gd name="T48" fmla="*/ 2147483647 w 67"/>
              <a:gd name="T49" fmla="*/ 2147483647 h 192"/>
              <a:gd name="T50" fmla="*/ 2147483647 w 67"/>
              <a:gd name="T51" fmla="*/ 2147483647 h 192"/>
              <a:gd name="T52" fmla="*/ 2147483647 w 67"/>
              <a:gd name="T53" fmla="*/ 2147483647 h 192"/>
              <a:gd name="T54" fmla="*/ 2147483647 w 67"/>
              <a:gd name="T55" fmla="*/ 2147483647 h 192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67"/>
              <a:gd name="T85" fmla="*/ 0 h 192"/>
              <a:gd name="T86" fmla="*/ 67 w 67"/>
              <a:gd name="T87" fmla="*/ 192 h 192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67" h="192">
                <a:moveTo>
                  <a:pt x="39" y="134"/>
                </a:moveTo>
                <a:lnTo>
                  <a:pt x="31" y="159"/>
                </a:lnTo>
                <a:lnTo>
                  <a:pt x="42" y="176"/>
                </a:lnTo>
                <a:lnTo>
                  <a:pt x="51" y="192"/>
                </a:lnTo>
                <a:lnTo>
                  <a:pt x="49" y="177"/>
                </a:lnTo>
                <a:lnTo>
                  <a:pt x="61" y="167"/>
                </a:lnTo>
                <a:lnTo>
                  <a:pt x="65" y="149"/>
                </a:lnTo>
                <a:lnTo>
                  <a:pt x="67" y="131"/>
                </a:lnTo>
                <a:lnTo>
                  <a:pt x="55" y="116"/>
                </a:lnTo>
                <a:lnTo>
                  <a:pt x="42" y="102"/>
                </a:lnTo>
                <a:lnTo>
                  <a:pt x="38" y="78"/>
                </a:lnTo>
                <a:lnTo>
                  <a:pt x="42" y="59"/>
                </a:lnTo>
                <a:lnTo>
                  <a:pt x="50" y="54"/>
                </a:lnTo>
                <a:lnTo>
                  <a:pt x="44" y="35"/>
                </a:lnTo>
                <a:lnTo>
                  <a:pt x="38" y="8"/>
                </a:lnTo>
                <a:lnTo>
                  <a:pt x="30" y="3"/>
                </a:lnTo>
                <a:lnTo>
                  <a:pt x="7" y="0"/>
                </a:lnTo>
                <a:lnTo>
                  <a:pt x="9" y="6"/>
                </a:lnTo>
                <a:lnTo>
                  <a:pt x="23" y="26"/>
                </a:lnTo>
                <a:lnTo>
                  <a:pt x="17" y="35"/>
                </a:lnTo>
                <a:lnTo>
                  <a:pt x="17" y="54"/>
                </a:lnTo>
                <a:lnTo>
                  <a:pt x="15" y="73"/>
                </a:lnTo>
                <a:lnTo>
                  <a:pt x="12" y="80"/>
                </a:lnTo>
                <a:lnTo>
                  <a:pt x="0" y="104"/>
                </a:lnTo>
                <a:lnTo>
                  <a:pt x="11" y="115"/>
                </a:lnTo>
                <a:lnTo>
                  <a:pt x="17" y="126"/>
                </a:lnTo>
                <a:lnTo>
                  <a:pt x="31" y="126"/>
                </a:lnTo>
                <a:lnTo>
                  <a:pt x="39" y="13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9327" name="Freeform 109"/>
          <p:cNvSpPr>
            <a:spLocks/>
          </p:cNvSpPr>
          <p:nvPr/>
        </p:nvSpPr>
        <p:spPr bwMode="auto">
          <a:xfrm>
            <a:off x="5287963" y="5103813"/>
            <a:ext cx="303212" cy="555625"/>
          </a:xfrm>
          <a:custGeom>
            <a:avLst/>
            <a:gdLst>
              <a:gd name="T0" fmla="*/ 2147483647 w 229"/>
              <a:gd name="T1" fmla="*/ 2147483647 h 406"/>
              <a:gd name="T2" fmla="*/ 2147483647 w 229"/>
              <a:gd name="T3" fmla="*/ 2147483647 h 406"/>
              <a:gd name="T4" fmla="*/ 2147483647 w 229"/>
              <a:gd name="T5" fmla="*/ 2147483647 h 406"/>
              <a:gd name="T6" fmla="*/ 2147483647 w 229"/>
              <a:gd name="T7" fmla="*/ 2147483647 h 406"/>
              <a:gd name="T8" fmla="*/ 2147483647 w 229"/>
              <a:gd name="T9" fmla="*/ 2147483647 h 406"/>
              <a:gd name="T10" fmla="*/ 2147483647 w 229"/>
              <a:gd name="T11" fmla="*/ 2147483647 h 406"/>
              <a:gd name="T12" fmla="*/ 2147483647 w 229"/>
              <a:gd name="T13" fmla="*/ 2147483647 h 406"/>
              <a:gd name="T14" fmla="*/ 2147483647 w 229"/>
              <a:gd name="T15" fmla="*/ 0 h 406"/>
              <a:gd name="T16" fmla="*/ 2147483647 w 229"/>
              <a:gd name="T17" fmla="*/ 2147483647 h 406"/>
              <a:gd name="T18" fmla="*/ 2147483647 w 229"/>
              <a:gd name="T19" fmla="*/ 2147483647 h 406"/>
              <a:gd name="T20" fmla="*/ 2147483647 w 229"/>
              <a:gd name="T21" fmla="*/ 2147483647 h 406"/>
              <a:gd name="T22" fmla="*/ 2147483647 w 229"/>
              <a:gd name="T23" fmla="*/ 2147483647 h 406"/>
              <a:gd name="T24" fmla="*/ 2147483647 w 229"/>
              <a:gd name="T25" fmla="*/ 2147483647 h 406"/>
              <a:gd name="T26" fmla="*/ 2147483647 w 229"/>
              <a:gd name="T27" fmla="*/ 2147483647 h 406"/>
              <a:gd name="T28" fmla="*/ 2147483647 w 229"/>
              <a:gd name="T29" fmla="*/ 2147483647 h 406"/>
              <a:gd name="T30" fmla="*/ 2147483647 w 229"/>
              <a:gd name="T31" fmla="*/ 2147483647 h 406"/>
              <a:gd name="T32" fmla="*/ 2147483647 w 229"/>
              <a:gd name="T33" fmla="*/ 2147483647 h 406"/>
              <a:gd name="T34" fmla="*/ 2147483647 w 229"/>
              <a:gd name="T35" fmla="*/ 2147483647 h 406"/>
              <a:gd name="T36" fmla="*/ 2147483647 w 229"/>
              <a:gd name="T37" fmla="*/ 2147483647 h 406"/>
              <a:gd name="T38" fmla="*/ 2147483647 w 229"/>
              <a:gd name="T39" fmla="*/ 2147483647 h 406"/>
              <a:gd name="T40" fmla="*/ 2147483647 w 229"/>
              <a:gd name="T41" fmla="*/ 2147483647 h 406"/>
              <a:gd name="T42" fmla="*/ 2147483647 w 229"/>
              <a:gd name="T43" fmla="*/ 2147483647 h 406"/>
              <a:gd name="T44" fmla="*/ 2147483647 w 229"/>
              <a:gd name="T45" fmla="*/ 2147483647 h 406"/>
              <a:gd name="T46" fmla="*/ 2147483647 w 229"/>
              <a:gd name="T47" fmla="*/ 2147483647 h 406"/>
              <a:gd name="T48" fmla="*/ 2147483647 w 229"/>
              <a:gd name="T49" fmla="*/ 2147483647 h 406"/>
              <a:gd name="T50" fmla="*/ 2147483647 w 229"/>
              <a:gd name="T51" fmla="*/ 2147483647 h 406"/>
              <a:gd name="T52" fmla="*/ 2147483647 w 229"/>
              <a:gd name="T53" fmla="*/ 2147483647 h 406"/>
              <a:gd name="T54" fmla="*/ 2147483647 w 229"/>
              <a:gd name="T55" fmla="*/ 2147483647 h 406"/>
              <a:gd name="T56" fmla="*/ 2147483647 w 229"/>
              <a:gd name="T57" fmla="*/ 2147483647 h 406"/>
              <a:gd name="T58" fmla="*/ 2147483647 w 229"/>
              <a:gd name="T59" fmla="*/ 2147483647 h 406"/>
              <a:gd name="T60" fmla="*/ 2147483647 w 229"/>
              <a:gd name="T61" fmla="*/ 2147483647 h 406"/>
              <a:gd name="T62" fmla="*/ 2147483647 w 229"/>
              <a:gd name="T63" fmla="*/ 2147483647 h 406"/>
              <a:gd name="T64" fmla="*/ 2147483647 w 229"/>
              <a:gd name="T65" fmla="*/ 2147483647 h 406"/>
              <a:gd name="T66" fmla="*/ 2147483647 w 229"/>
              <a:gd name="T67" fmla="*/ 2147483647 h 406"/>
              <a:gd name="T68" fmla="*/ 2147483647 w 229"/>
              <a:gd name="T69" fmla="*/ 2147483647 h 406"/>
              <a:gd name="T70" fmla="*/ 2147483647 w 229"/>
              <a:gd name="T71" fmla="*/ 2147483647 h 40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229"/>
              <a:gd name="T109" fmla="*/ 0 h 406"/>
              <a:gd name="T110" fmla="*/ 229 w 229"/>
              <a:gd name="T111" fmla="*/ 406 h 40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229" h="406">
                <a:moveTo>
                  <a:pt x="93" y="254"/>
                </a:moveTo>
                <a:lnTo>
                  <a:pt x="92" y="237"/>
                </a:lnTo>
                <a:lnTo>
                  <a:pt x="91" y="230"/>
                </a:lnTo>
                <a:lnTo>
                  <a:pt x="100" y="230"/>
                </a:lnTo>
                <a:lnTo>
                  <a:pt x="124" y="209"/>
                </a:lnTo>
                <a:lnTo>
                  <a:pt x="140" y="188"/>
                </a:lnTo>
                <a:lnTo>
                  <a:pt x="159" y="176"/>
                </a:lnTo>
                <a:lnTo>
                  <a:pt x="178" y="165"/>
                </a:lnTo>
                <a:lnTo>
                  <a:pt x="206" y="148"/>
                </a:lnTo>
                <a:lnTo>
                  <a:pt x="224" y="117"/>
                </a:lnTo>
                <a:lnTo>
                  <a:pt x="229" y="98"/>
                </a:lnTo>
                <a:lnTo>
                  <a:pt x="226" y="99"/>
                </a:lnTo>
                <a:lnTo>
                  <a:pt x="224" y="63"/>
                </a:lnTo>
                <a:lnTo>
                  <a:pt x="226" y="51"/>
                </a:lnTo>
                <a:lnTo>
                  <a:pt x="226" y="17"/>
                </a:lnTo>
                <a:lnTo>
                  <a:pt x="228" y="0"/>
                </a:lnTo>
                <a:lnTo>
                  <a:pt x="225" y="0"/>
                </a:lnTo>
                <a:lnTo>
                  <a:pt x="202" y="11"/>
                </a:lnTo>
                <a:lnTo>
                  <a:pt x="180" y="22"/>
                </a:lnTo>
                <a:lnTo>
                  <a:pt x="168" y="23"/>
                </a:lnTo>
                <a:lnTo>
                  <a:pt x="152" y="29"/>
                </a:lnTo>
                <a:lnTo>
                  <a:pt x="127" y="26"/>
                </a:lnTo>
                <a:lnTo>
                  <a:pt x="115" y="27"/>
                </a:lnTo>
                <a:lnTo>
                  <a:pt x="105" y="27"/>
                </a:lnTo>
                <a:lnTo>
                  <a:pt x="97" y="32"/>
                </a:lnTo>
                <a:lnTo>
                  <a:pt x="93" y="51"/>
                </a:lnTo>
                <a:lnTo>
                  <a:pt x="97" y="75"/>
                </a:lnTo>
                <a:lnTo>
                  <a:pt x="110" y="89"/>
                </a:lnTo>
                <a:lnTo>
                  <a:pt x="122" y="104"/>
                </a:lnTo>
                <a:lnTo>
                  <a:pt x="120" y="122"/>
                </a:lnTo>
                <a:lnTo>
                  <a:pt x="116" y="140"/>
                </a:lnTo>
                <a:lnTo>
                  <a:pt x="104" y="150"/>
                </a:lnTo>
                <a:lnTo>
                  <a:pt x="106" y="165"/>
                </a:lnTo>
                <a:lnTo>
                  <a:pt x="97" y="149"/>
                </a:lnTo>
                <a:lnTo>
                  <a:pt x="86" y="132"/>
                </a:lnTo>
                <a:lnTo>
                  <a:pt x="94" y="107"/>
                </a:lnTo>
                <a:lnTo>
                  <a:pt x="86" y="99"/>
                </a:lnTo>
                <a:lnTo>
                  <a:pt x="72" y="99"/>
                </a:lnTo>
                <a:lnTo>
                  <a:pt x="66" y="88"/>
                </a:lnTo>
                <a:lnTo>
                  <a:pt x="49" y="95"/>
                </a:lnTo>
                <a:lnTo>
                  <a:pt x="32" y="101"/>
                </a:lnTo>
                <a:lnTo>
                  <a:pt x="15" y="108"/>
                </a:lnTo>
                <a:lnTo>
                  <a:pt x="0" y="114"/>
                </a:lnTo>
                <a:lnTo>
                  <a:pt x="3" y="128"/>
                </a:lnTo>
                <a:lnTo>
                  <a:pt x="2" y="137"/>
                </a:lnTo>
                <a:lnTo>
                  <a:pt x="14" y="137"/>
                </a:lnTo>
                <a:lnTo>
                  <a:pt x="34" y="146"/>
                </a:lnTo>
                <a:lnTo>
                  <a:pt x="56" y="155"/>
                </a:lnTo>
                <a:lnTo>
                  <a:pt x="56" y="185"/>
                </a:lnTo>
                <a:lnTo>
                  <a:pt x="51" y="206"/>
                </a:lnTo>
                <a:lnTo>
                  <a:pt x="54" y="228"/>
                </a:lnTo>
                <a:lnTo>
                  <a:pt x="46" y="250"/>
                </a:lnTo>
                <a:lnTo>
                  <a:pt x="42" y="270"/>
                </a:lnTo>
                <a:lnTo>
                  <a:pt x="28" y="284"/>
                </a:lnTo>
                <a:lnTo>
                  <a:pt x="14" y="297"/>
                </a:lnTo>
                <a:lnTo>
                  <a:pt x="19" y="314"/>
                </a:lnTo>
                <a:lnTo>
                  <a:pt x="22" y="332"/>
                </a:lnTo>
                <a:lnTo>
                  <a:pt x="24" y="358"/>
                </a:lnTo>
                <a:lnTo>
                  <a:pt x="24" y="384"/>
                </a:lnTo>
                <a:lnTo>
                  <a:pt x="26" y="406"/>
                </a:lnTo>
                <a:lnTo>
                  <a:pt x="42" y="406"/>
                </a:lnTo>
                <a:lnTo>
                  <a:pt x="43" y="390"/>
                </a:lnTo>
                <a:lnTo>
                  <a:pt x="37" y="384"/>
                </a:lnTo>
                <a:lnTo>
                  <a:pt x="62" y="363"/>
                </a:lnTo>
                <a:lnTo>
                  <a:pt x="81" y="353"/>
                </a:lnTo>
                <a:lnTo>
                  <a:pt x="99" y="342"/>
                </a:lnTo>
                <a:lnTo>
                  <a:pt x="99" y="333"/>
                </a:lnTo>
                <a:lnTo>
                  <a:pt x="102" y="310"/>
                </a:lnTo>
                <a:lnTo>
                  <a:pt x="105" y="288"/>
                </a:lnTo>
                <a:lnTo>
                  <a:pt x="100" y="296"/>
                </a:lnTo>
                <a:lnTo>
                  <a:pt x="97" y="275"/>
                </a:lnTo>
                <a:lnTo>
                  <a:pt x="93" y="25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28" name="Freeform 110"/>
          <p:cNvSpPr>
            <a:spLocks/>
          </p:cNvSpPr>
          <p:nvPr/>
        </p:nvSpPr>
        <p:spPr bwMode="auto">
          <a:xfrm>
            <a:off x="4879975" y="5499100"/>
            <a:ext cx="463550" cy="430213"/>
          </a:xfrm>
          <a:custGeom>
            <a:avLst/>
            <a:gdLst>
              <a:gd name="T0" fmla="*/ 2147483647 w 351"/>
              <a:gd name="T1" fmla="*/ 2147483647 h 312"/>
              <a:gd name="T2" fmla="*/ 2147483647 w 351"/>
              <a:gd name="T3" fmla="*/ 2147483647 h 312"/>
              <a:gd name="T4" fmla="*/ 2147483647 w 351"/>
              <a:gd name="T5" fmla="*/ 2147483647 h 312"/>
              <a:gd name="T6" fmla="*/ 2147483647 w 351"/>
              <a:gd name="T7" fmla="*/ 2147483647 h 312"/>
              <a:gd name="T8" fmla="*/ 2147483647 w 351"/>
              <a:gd name="T9" fmla="*/ 2147483647 h 312"/>
              <a:gd name="T10" fmla="*/ 2147483647 w 351"/>
              <a:gd name="T11" fmla="*/ 2147483647 h 312"/>
              <a:gd name="T12" fmla="*/ 2147483647 w 351"/>
              <a:gd name="T13" fmla="*/ 2147483647 h 312"/>
              <a:gd name="T14" fmla="*/ 2147483647 w 351"/>
              <a:gd name="T15" fmla="*/ 2147483647 h 312"/>
              <a:gd name="T16" fmla="*/ 2147483647 w 351"/>
              <a:gd name="T17" fmla="*/ 2147483647 h 312"/>
              <a:gd name="T18" fmla="*/ 2147483647 w 351"/>
              <a:gd name="T19" fmla="*/ 2147483647 h 312"/>
              <a:gd name="T20" fmla="*/ 2147483647 w 351"/>
              <a:gd name="T21" fmla="*/ 2147483647 h 312"/>
              <a:gd name="T22" fmla="*/ 2147483647 w 351"/>
              <a:gd name="T23" fmla="*/ 2147483647 h 312"/>
              <a:gd name="T24" fmla="*/ 2147483647 w 351"/>
              <a:gd name="T25" fmla="*/ 2147483647 h 312"/>
              <a:gd name="T26" fmla="*/ 2147483647 w 351"/>
              <a:gd name="T27" fmla="*/ 2147483647 h 312"/>
              <a:gd name="T28" fmla="*/ 2147483647 w 351"/>
              <a:gd name="T29" fmla="*/ 2147483647 h 312"/>
              <a:gd name="T30" fmla="*/ 2147483647 w 351"/>
              <a:gd name="T31" fmla="*/ 2147483647 h 312"/>
              <a:gd name="T32" fmla="*/ 2147483647 w 351"/>
              <a:gd name="T33" fmla="*/ 2147483647 h 312"/>
              <a:gd name="T34" fmla="*/ 2147483647 w 351"/>
              <a:gd name="T35" fmla="*/ 2147483647 h 312"/>
              <a:gd name="T36" fmla="*/ 2147483647 w 351"/>
              <a:gd name="T37" fmla="*/ 2147483647 h 312"/>
              <a:gd name="T38" fmla="*/ 2147483647 w 351"/>
              <a:gd name="T39" fmla="*/ 2147483647 h 312"/>
              <a:gd name="T40" fmla="*/ 2147483647 w 351"/>
              <a:gd name="T41" fmla="*/ 2147483647 h 312"/>
              <a:gd name="T42" fmla="*/ 2147483647 w 351"/>
              <a:gd name="T43" fmla="*/ 2147483647 h 312"/>
              <a:gd name="T44" fmla="*/ 2147483647 w 351"/>
              <a:gd name="T45" fmla="*/ 2147483647 h 312"/>
              <a:gd name="T46" fmla="*/ 2147483647 w 351"/>
              <a:gd name="T47" fmla="*/ 0 h 312"/>
              <a:gd name="T48" fmla="*/ 2147483647 w 351"/>
              <a:gd name="T49" fmla="*/ 2147483647 h 312"/>
              <a:gd name="T50" fmla="*/ 2147483647 w 351"/>
              <a:gd name="T51" fmla="*/ 2147483647 h 312"/>
              <a:gd name="T52" fmla="*/ 2147483647 w 351"/>
              <a:gd name="T53" fmla="*/ 2147483647 h 312"/>
              <a:gd name="T54" fmla="*/ 2147483647 w 351"/>
              <a:gd name="T55" fmla="*/ 2147483647 h 312"/>
              <a:gd name="T56" fmla="*/ 2147483647 w 351"/>
              <a:gd name="T57" fmla="*/ 2147483647 h 312"/>
              <a:gd name="T58" fmla="*/ 2147483647 w 351"/>
              <a:gd name="T59" fmla="*/ 2147483647 h 312"/>
              <a:gd name="T60" fmla="*/ 2147483647 w 351"/>
              <a:gd name="T61" fmla="*/ 2147483647 h 312"/>
              <a:gd name="T62" fmla="*/ 2147483647 w 351"/>
              <a:gd name="T63" fmla="*/ 2147483647 h 312"/>
              <a:gd name="T64" fmla="*/ 2147483647 w 351"/>
              <a:gd name="T65" fmla="*/ 2147483647 h 312"/>
              <a:gd name="T66" fmla="*/ 2147483647 w 351"/>
              <a:gd name="T67" fmla="*/ 2147483647 h 312"/>
              <a:gd name="T68" fmla="*/ 2147483647 w 351"/>
              <a:gd name="T69" fmla="*/ 2147483647 h 31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51"/>
              <a:gd name="T106" fmla="*/ 0 h 312"/>
              <a:gd name="T107" fmla="*/ 351 w 351"/>
              <a:gd name="T108" fmla="*/ 312 h 312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51" h="312">
                <a:moveTo>
                  <a:pt x="79" y="63"/>
                </a:moveTo>
                <a:lnTo>
                  <a:pt x="77" y="87"/>
                </a:lnTo>
                <a:lnTo>
                  <a:pt x="75" y="110"/>
                </a:lnTo>
                <a:lnTo>
                  <a:pt x="73" y="133"/>
                </a:lnTo>
                <a:lnTo>
                  <a:pt x="71" y="156"/>
                </a:lnTo>
                <a:lnTo>
                  <a:pt x="52" y="165"/>
                </a:lnTo>
                <a:lnTo>
                  <a:pt x="19" y="161"/>
                </a:lnTo>
                <a:lnTo>
                  <a:pt x="12" y="145"/>
                </a:lnTo>
                <a:lnTo>
                  <a:pt x="0" y="158"/>
                </a:lnTo>
                <a:lnTo>
                  <a:pt x="10" y="181"/>
                </a:lnTo>
                <a:lnTo>
                  <a:pt x="18" y="204"/>
                </a:lnTo>
                <a:lnTo>
                  <a:pt x="26" y="228"/>
                </a:lnTo>
                <a:lnTo>
                  <a:pt x="35" y="251"/>
                </a:lnTo>
                <a:lnTo>
                  <a:pt x="26" y="261"/>
                </a:lnTo>
                <a:lnTo>
                  <a:pt x="29" y="273"/>
                </a:lnTo>
                <a:lnTo>
                  <a:pt x="35" y="299"/>
                </a:lnTo>
                <a:lnTo>
                  <a:pt x="42" y="297"/>
                </a:lnTo>
                <a:lnTo>
                  <a:pt x="53" y="305"/>
                </a:lnTo>
                <a:lnTo>
                  <a:pt x="67" y="312"/>
                </a:lnTo>
                <a:lnTo>
                  <a:pt x="89" y="305"/>
                </a:lnTo>
                <a:lnTo>
                  <a:pt x="111" y="296"/>
                </a:lnTo>
                <a:lnTo>
                  <a:pt x="133" y="296"/>
                </a:lnTo>
                <a:lnTo>
                  <a:pt x="155" y="295"/>
                </a:lnTo>
                <a:lnTo>
                  <a:pt x="184" y="291"/>
                </a:lnTo>
                <a:lnTo>
                  <a:pt x="198" y="287"/>
                </a:lnTo>
                <a:lnTo>
                  <a:pt x="221" y="273"/>
                </a:lnTo>
                <a:lnTo>
                  <a:pt x="244" y="260"/>
                </a:lnTo>
                <a:lnTo>
                  <a:pt x="257" y="246"/>
                </a:lnTo>
                <a:lnTo>
                  <a:pt x="271" y="231"/>
                </a:lnTo>
                <a:lnTo>
                  <a:pt x="285" y="217"/>
                </a:lnTo>
                <a:lnTo>
                  <a:pt x="299" y="201"/>
                </a:lnTo>
                <a:lnTo>
                  <a:pt x="315" y="183"/>
                </a:lnTo>
                <a:lnTo>
                  <a:pt x="330" y="164"/>
                </a:lnTo>
                <a:lnTo>
                  <a:pt x="341" y="140"/>
                </a:lnTo>
                <a:lnTo>
                  <a:pt x="351" y="115"/>
                </a:lnTo>
                <a:lnTo>
                  <a:pt x="335" y="115"/>
                </a:lnTo>
                <a:lnTo>
                  <a:pt x="330" y="126"/>
                </a:lnTo>
                <a:lnTo>
                  <a:pt x="310" y="119"/>
                </a:lnTo>
                <a:lnTo>
                  <a:pt x="311" y="101"/>
                </a:lnTo>
                <a:lnTo>
                  <a:pt x="322" y="87"/>
                </a:lnTo>
                <a:lnTo>
                  <a:pt x="333" y="93"/>
                </a:lnTo>
                <a:lnTo>
                  <a:pt x="333" y="67"/>
                </a:lnTo>
                <a:lnTo>
                  <a:pt x="331" y="41"/>
                </a:lnTo>
                <a:lnTo>
                  <a:pt x="328" y="23"/>
                </a:lnTo>
                <a:lnTo>
                  <a:pt x="323" y="6"/>
                </a:lnTo>
                <a:lnTo>
                  <a:pt x="303" y="2"/>
                </a:lnTo>
                <a:lnTo>
                  <a:pt x="282" y="0"/>
                </a:lnTo>
                <a:lnTo>
                  <a:pt x="280" y="0"/>
                </a:lnTo>
                <a:lnTo>
                  <a:pt x="251" y="19"/>
                </a:lnTo>
                <a:lnTo>
                  <a:pt x="229" y="37"/>
                </a:lnTo>
                <a:lnTo>
                  <a:pt x="217" y="59"/>
                </a:lnTo>
                <a:lnTo>
                  <a:pt x="204" y="67"/>
                </a:lnTo>
                <a:lnTo>
                  <a:pt x="192" y="89"/>
                </a:lnTo>
                <a:lnTo>
                  <a:pt x="160" y="84"/>
                </a:lnTo>
                <a:lnTo>
                  <a:pt x="143" y="78"/>
                </a:lnTo>
                <a:lnTo>
                  <a:pt x="131" y="93"/>
                </a:lnTo>
                <a:lnTo>
                  <a:pt x="120" y="110"/>
                </a:lnTo>
                <a:lnTo>
                  <a:pt x="97" y="115"/>
                </a:lnTo>
                <a:lnTo>
                  <a:pt x="90" y="111"/>
                </a:lnTo>
                <a:lnTo>
                  <a:pt x="94" y="87"/>
                </a:lnTo>
                <a:lnTo>
                  <a:pt x="79" y="63"/>
                </a:lnTo>
                <a:lnTo>
                  <a:pt x="244" y="165"/>
                </a:lnTo>
                <a:lnTo>
                  <a:pt x="223" y="187"/>
                </a:lnTo>
                <a:lnTo>
                  <a:pt x="238" y="209"/>
                </a:lnTo>
                <a:lnTo>
                  <a:pt x="246" y="201"/>
                </a:lnTo>
                <a:lnTo>
                  <a:pt x="267" y="186"/>
                </a:lnTo>
                <a:lnTo>
                  <a:pt x="271" y="171"/>
                </a:lnTo>
                <a:lnTo>
                  <a:pt x="252" y="159"/>
                </a:lnTo>
                <a:lnTo>
                  <a:pt x="244" y="165"/>
                </a:lnTo>
                <a:lnTo>
                  <a:pt x="79" y="6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29" name="Freeform 111"/>
          <p:cNvSpPr>
            <a:spLocks/>
          </p:cNvSpPr>
          <p:nvPr/>
        </p:nvSpPr>
        <p:spPr bwMode="auto">
          <a:xfrm>
            <a:off x="4879975" y="5499100"/>
            <a:ext cx="463550" cy="430213"/>
          </a:xfrm>
          <a:custGeom>
            <a:avLst/>
            <a:gdLst>
              <a:gd name="T0" fmla="*/ 2147483647 w 351"/>
              <a:gd name="T1" fmla="*/ 2147483647 h 312"/>
              <a:gd name="T2" fmla="*/ 2147483647 w 351"/>
              <a:gd name="T3" fmla="*/ 2147483647 h 312"/>
              <a:gd name="T4" fmla="*/ 2147483647 w 351"/>
              <a:gd name="T5" fmla="*/ 2147483647 h 312"/>
              <a:gd name="T6" fmla="*/ 2147483647 w 351"/>
              <a:gd name="T7" fmla="*/ 2147483647 h 312"/>
              <a:gd name="T8" fmla="*/ 2147483647 w 351"/>
              <a:gd name="T9" fmla="*/ 2147483647 h 312"/>
              <a:gd name="T10" fmla="*/ 2147483647 w 351"/>
              <a:gd name="T11" fmla="*/ 2147483647 h 312"/>
              <a:gd name="T12" fmla="*/ 2147483647 w 351"/>
              <a:gd name="T13" fmla="*/ 2147483647 h 312"/>
              <a:gd name="T14" fmla="*/ 2147483647 w 351"/>
              <a:gd name="T15" fmla="*/ 2147483647 h 312"/>
              <a:gd name="T16" fmla="*/ 0 w 351"/>
              <a:gd name="T17" fmla="*/ 2147483647 h 312"/>
              <a:gd name="T18" fmla="*/ 2147483647 w 351"/>
              <a:gd name="T19" fmla="*/ 2147483647 h 312"/>
              <a:gd name="T20" fmla="*/ 2147483647 w 351"/>
              <a:gd name="T21" fmla="*/ 2147483647 h 312"/>
              <a:gd name="T22" fmla="*/ 2147483647 w 351"/>
              <a:gd name="T23" fmla="*/ 2147483647 h 312"/>
              <a:gd name="T24" fmla="*/ 2147483647 w 351"/>
              <a:gd name="T25" fmla="*/ 2147483647 h 312"/>
              <a:gd name="T26" fmla="*/ 2147483647 w 351"/>
              <a:gd name="T27" fmla="*/ 2147483647 h 312"/>
              <a:gd name="T28" fmla="*/ 2147483647 w 351"/>
              <a:gd name="T29" fmla="*/ 2147483647 h 312"/>
              <a:gd name="T30" fmla="*/ 2147483647 w 351"/>
              <a:gd name="T31" fmla="*/ 2147483647 h 312"/>
              <a:gd name="T32" fmla="*/ 2147483647 w 351"/>
              <a:gd name="T33" fmla="*/ 2147483647 h 312"/>
              <a:gd name="T34" fmla="*/ 2147483647 w 351"/>
              <a:gd name="T35" fmla="*/ 2147483647 h 312"/>
              <a:gd name="T36" fmla="*/ 2147483647 w 351"/>
              <a:gd name="T37" fmla="*/ 2147483647 h 312"/>
              <a:gd name="T38" fmla="*/ 2147483647 w 351"/>
              <a:gd name="T39" fmla="*/ 2147483647 h 312"/>
              <a:gd name="T40" fmla="*/ 2147483647 w 351"/>
              <a:gd name="T41" fmla="*/ 2147483647 h 312"/>
              <a:gd name="T42" fmla="*/ 2147483647 w 351"/>
              <a:gd name="T43" fmla="*/ 2147483647 h 312"/>
              <a:gd name="T44" fmla="*/ 2147483647 w 351"/>
              <a:gd name="T45" fmla="*/ 2147483647 h 312"/>
              <a:gd name="T46" fmla="*/ 2147483647 w 351"/>
              <a:gd name="T47" fmla="*/ 2147483647 h 312"/>
              <a:gd name="T48" fmla="*/ 2147483647 w 351"/>
              <a:gd name="T49" fmla="*/ 2147483647 h 312"/>
              <a:gd name="T50" fmla="*/ 2147483647 w 351"/>
              <a:gd name="T51" fmla="*/ 2147483647 h 312"/>
              <a:gd name="T52" fmla="*/ 2147483647 w 351"/>
              <a:gd name="T53" fmla="*/ 2147483647 h 312"/>
              <a:gd name="T54" fmla="*/ 2147483647 w 351"/>
              <a:gd name="T55" fmla="*/ 2147483647 h 312"/>
              <a:gd name="T56" fmla="*/ 2147483647 w 351"/>
              <a:gd name="T57" fmla="*/ 2147483647 h 312"/>
              <a:gd name="T58" fmla="*/ 2147483647 w 351"/>
              <a:gd name="T59" fmla="*/ 2147483647 h 312"/>
              <a:gd name="T60" fmla="*/ 2147483647 w 351"/>
              <a:gd name="T61" fmla="*/ 2147483647 h 312"/>
              <a:gd name="T62" fmla="*/ 2147483647 w 351"/>
              <a:gd name="T63" fmla="*/ 2147483647 h 312"/>
              <a:gd name="T64" fmla="*/ 2147483647 w 351"/>
              <a:gd name="T65" fmla="*/ 2147483647 h 312"/>
              <a:gd name="T66" fmla="*/ 2147483647 w 351"/>
              <a:gd name="T67" fmla="*/ 2147483647 h 312"/>
              <a:gd name="T68" fmla="*/ 2147483647 w 351"/>
              <a:gd name="T69" fmla="*/ 2147483647 h 312"/>
              <a:gd name="T70" fmla="*/ 2147483647 w 351"/>
              <a:gd name="T71" fmla="*/ 2147483647 h 312"/>
              <a:gd name="T72" fmla="*/ 2147483647 w 351"/>
              <a:gd name="T73" fmla="*/ 2147483647 h 312"/>
              <a:gd name="T74" fmla="*/ 2147483647 w 351"/>
              <a:gd name="T75" fmla="*/ 2147483647 h 312"/>
              <a:gd name="T76" fmla="*/ 2147483647 w 351"/>
              <a:gd name="T77" fmla="*/ 2147483647 h 312"/>
              <a:gd name="T78" fmla="*/ 2147483647 w 351"/>
              <a:gd name="T79" fmla="*/ 2147483647 h 312"/>
              <a:gd name="T80" fmla="*/ 2147483647 w 351"/>
              <a:gd name="T81" fmla="*/ 2147483647 h 312"/>
              <a:gd name="T82" fmla="*/ 2147483647 w 351"/>
              <a:gd name="T83" fmla="*/ 2147483647 h 312"/>
              <a:gd name="T84" fmla="*/ 2147483647 w 351"/>
              <a:gd name="T85" fmla="*/ 2147483647 h 312"/>
              <a:gd name="T86" fmla="*/ 2147483647 w 351"/>
              <a:gd name="T87" fmla="*/ 2147483647 h 312"/>
              <a:gd name="T88" fmla="*/ 2147483647 w 351"/>
              <a:gd name="T89" fmla="*/ 2147483647 h 312"/>
              <a:gd name="T90" fmla="*/ 2147483647 w 351"/>
              <a:gd name="T91" fmla="*/ 2147483647 h 312"/>
              <a:gd name="T92" fmla="*/ 2147483647 w 351"/>
              <a:gd name="T93" fmla="*/ 0 h 312"/>
              <a:gd name="T94" fmla="*/ 2147483647 w 351"/>
              <a:gd name="T95" fmla="*/ 0 h 312"/>
              <a:gd name="T96" fmla="*/ 2147483647 w 351"/>
              <a:gd name="T97" fmla="*/ 2147483647 h 312"/>
              <a:gd name="T98" fmla="*/ 2147483647 w 351"/>
              <a:gd name="T99" fmla="*/ 2147483647 h 312"/>
              <a:gd name="T100" fmla="*/ 2147483647 w 351"/>
              <a:gd name="T101" fmla="*/ 2147483647 h 312"/>
              <a:gd name="T102" fmla="*/ 2147483647 w 351"/>
              <a:gd name="T103" fmla="*/ 2147483647 h 312"/>
              <a:gd name="T104" fmla="*/ 2147483647 w 351"/>
              <a:gd name="T105" fmla="*/ 2147483647 h 312"/>
              <a:gd name="T106" fmla="*/ 2147483647 w 351"/>
              <a:gd name="T107" fmla="*/ 2147483647 h 312"/>
              <a:gd name="T108" fmla="*/ 2147483647 w 351"/>
              <a:gd name="T109" fmla="*/ 2147483647 h 312"/>
              <a:gd name="T110" fmla="*/ 2147483647 w 351"/>
              <a:gd name="T111" fmla="*/ 2147483647 h 312"/>
              <a:gd name="T112" fmla="*/ 2147483647 w 351"/>
              <a:gd name="T113" fmla="*/ 2147483647 h 312"/>
              <a:gd name="T114" fmla="*/ 2147483647 w 351"/>
              <a:gd name="T115" fmla="*/ 2147483647 h 312"/>
              <a:gd name="T116" fmla="*/ 2147483647 w 351"/>
              <a:gd name="T117" fmla="*/ 2147483647 h 312"/>
              <a:gd name="T118" fmla="*/ 2147483647 w 351"/>
              <a:gd name="T119" fmla="*/ 2147483647 h 312"/>
              <a:gd name="T120" fmla="*/ 2147483647 w 351"/>
              <a:gd name="T121" fmla="*/ 2147483647 h 312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351"/>
              <a:gd name="T184" fmla="*/ 0 h 312"/>
              <a:gd name="T185" fmla="*/ 351 w 351"/>
              <a:gd name="T186" fmla="*/ 312 h 312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351" h="312">
                <a:moveTo>
                  <a:pt x="79" y="63"/>
                </a:moveTo>
                <a:lnTo>
                  <a:pt x="77" y="87"/>
                </a:lnTo>
                <a:lnTo>
                  <a:pt x="75" y="110"/>
                </a:lnTo>
                <a:lnTo>
                  <a:pt x="73" y="133"/>
                </a:lnTo>
                <a:lnTo>
                  <a:pt x="71" y="156"/>
                </a:lnTo>
                <a:lnTo>
                  <a:pt x="52" y="165"/>
                </a:lnTo>
                <a:lnTo>
                  <a:pt x="19" y="161"/>
                </a:lnTo>
                <a:lnTo>
                  <a:pt x="12" y="145"/>
                </a:lnTo>
                <a:lnTo>
                  <a:pt x="0" y="158"/>
                </a:lnTo>
                <a:lnTo>
                  <a:pt x="10" y="181"/>
                </a:lnTo>
                <a:lnTo>
                  <a:pt x="18" y="204"/>
                </a:lnTo>
                <a:lnTo>
                  <a:pt x="26" y="228"/>
                </a:lnTo>
                <a:lnTo>
                  <a:pt x="35" y="251"/>
                </a:lnTo>
                <a:lnTo>
                  <a:pt x="26" y="261"/>
                </a:lnTo>
                <a:lnTo>
                  <a:pt x="29" y="273"/>
                </a:lnTo>
                <a:lnTo>
                  <a:pt x="35" y="299"/>
                </a:lnTo>
                <a:lnTo>
                  <a:pt x="42" y="297"/>
                </a:lnTo>
                <a:lnTo>
                  <a:pt x="53" y="305"/>
                </a:lnTo>
                <a:lnTo>
                  <a:pt x="67" y="312"/>
                </a:lnTo>
                <a:lnTo>
                  <a:pt x="89" y="305"/>
                </a:lnTo>
                <a:lnTo>
                  <a:pt x="111" y="296"/>
                </a:lnTo>
                <a:lnTo>
                  <a:pt x="133" y="296"/>
                </a:lnTo>
                <a:lnTo>
                  <a:pt x="155" y="295"/>
                </a:lnTo>
                <a:lnTo>
                  <a:pt x="184" y="291"/>
                </a:lnTo>
                <a:lnTo>
                  <a:pt x="198" y="287"/>
                </a:lnTo>
                <a:lnTo>
                  <a:pt x="221" y="273"/>
                </a:lnTo>
                <a:lnTo>
                  <a:pt x="244" y="260"/>
                </a:lnTo>
                <a:lnTo>
                  <a:pt x="257" y="246"/>
                </a:lnTo>
                <a:lnTo>
                  <a:pt x="271" y="231"/>
                </a:lnTo>
                <a:lnTo>
                  <a:pt x="285" y="217"/>
                </a:lnTo>
                <a:lnTo>
                  <a:pt x="299" y="201"/>
                </a:lnTo>
                <a:lnTo>
                  <a:pt x="315" y="183"/>
                </a:lnTo>
                <a:lnTo>
                  <a:pt x="330" y="164"/>
                </a:lnTo>
                <a:lnTo>
                  <a:pt x="341" y="140"/>
                </a:lnTo>
                <a:lnTo>
                  <a:pt x="351" y="115"/>
                </a:lnTo>
                <a:lnTo>
                  <a:pt x="335" y="115"/>
                </a:lnTo>
                <a:lnTo>
                  <a:pt x="330" y="126"/>
                </a:lnTo>
                <a:lnTo>
                  <a:pt x="310" y="119"/>
                </a:lnTo>
                <a:lnTo>
                  <a:pt x="311" y="101"/>
                </a:lnTo>
                <a:lnTo>
                  <a:pt x="322" y="87"/>
                </a:lnTo>
                <a:lnTo>
                  <a:pt x="333" y="93"/>
                </a:lnTo>
                <a:lnTo>
                  <a:pt x="333" y="67"/>
                </a:lnTo>
                <a:lnTo>
                  <a:pt x="331" y="41"/>
                </a:lnTo>
                <a:lnTo>
                  <a:pt x="328" y="23"/>
                </a:lnTo>
                <a:lnTo>
                  <a:pt x="323" y="6"/>
                </a:lnTo>
                <a:lnTo>
                  <a:pt x="303" y="2"/>
                </a:lnTo>
                <a:lnTo>
                  <a:pt x="282" y="0"/>
                </a:lnTo>
                <a:lnTo>
                  <a:pt x="280" y="0"/>
                </a:lnTo>
                <a:lnTo>
                  <a:pt x="251" y="19"/>
                </a:lnTo>
                <a:lnTo>
                  <a:pt x="229" y="37"/>
                </a:lnTo>
                <a:lnTo>
                  <a:pt x="217" y="59"/>
                </a:lnTo>
                <a:lnTo>
                  <a:pt x="204" y="67"/>
                </a:lnTo>
                <a:lnTo>
                  <a:pt x="192" y="89"/>
                </a:lnTo>
                <a:lnTo>
                  <a:pt x="160" y="84"/>
                </a:lnTo>
                <a:lnTo>
                  <a:pt x="143" y="78"/>
                </a:lnTo>
                <a:lnTo>
                  <a:pt x="131" y="93"/>
                </a:lnTo>
                <a:lnTo>
                  <a:pt x="120" y="110"/>
                </a:lnTo>
                <a:lnTo>
                  <a:pt x="97" y="115"/>
                </a:lnTo>
                <a:lnTo>
                  <a:pt x="90" y="111"/>
                </a:lnTo>
                <a:lnTo>
                  <a:pt x="94" y="87"/>
                </a:lnTo>
                <a:lnTo>
                  <a:pt x="79" y="6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30" name="Freeform 112"/>
          <p:cNvSpPr>
            <a:spLocks/>
          </p:cNvSpPr>
          <p:nvPr/>
        </p:nvSpPr>
        <p:spPr bwMode="auto">
          <a:xfrm>
            <a:off x="5173663" y="5721350"/>
            <a:ext cx="65087" cy="68263"/>
          </a:xfrm>
          <a:custGeom>
            <a:avLst/>
            <a:gdLst>
              <a:gd name="T0" fmla="*/ 2147483647 w 48"/>
              <a:gd name="T1" fmla="*/ 2147483647 h 50"/>
              <a:gd name="T2" fmla="*/ 0 w 48"/>
              <a:gd name="T3" fmla="*/ 2147483647 h 50"/>
              <a:gd name="T4" fmla="*/ 2147483647 w 48"/>
              <a:gd name="T5" fmla="*/ 2147483647 h 50"/>
              <a:gd name="T6" fmla="*/ 2147483647 w 48"/>
              <a:gd name="T7" fmla="*/ 2147483647 h 50"/>
              <a:gd name="T8" fmla="*/ 2147483647 w 48"/>
              <a:gd name="T9" fmla="*/ 2147483647 h 50"/>
              <a:gd name="T10" fmla="*/ 2147483647 w 48"/>
              <a:gd name="T11" fmla="*/ 2147483647 h 50"/>
              <a:gd name="T12" fmla="*/ 2147483647 w 48"/>
              <a:gd name="T13" fmla="*/ 0 h 50"/>
              <a:gd name="T14" fmla="*/ 2147483647 w 48"/>
              <a:gd name="T15" fmla="*/ 2147483647 h 5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8"/>
              <a:gd name="T25" fmla="*/ 0 h 50"/>
              <a:gd name="T26" fmla="*/ 48 w 48"/>
              <a:gd name="T27" fmla="*/ 50 h 5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8" h="50">
                <a:moveTo>
                  <a:pt x="21" y="6"/>
                </a:moveTo>
                <a:lnTo>
                  <a:pt x="0" y="28"/>
                </a:lnTo>
                <a:lnTo>
                  <a:pt x="15" y="50"/>
                </a:lnTo>
                <a:lnTo>
                  <a:pt x="23" y="42"/>
                </a:lnTo>
                <a:lnTo>
                  <a:pt x="44" y="27"/>
                </a:lnTo>
                <a:lnTo>
                  <a:pt x="48" y="12"/>
                </a:lnTo>
                <a:lnTo>
                  <a:pt x="29" y="0"/>
                </a:lnTo>
                <a:lnTo>
                  <a:pt x="21" y="6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31" name="Freeform 113"/>
          <p:cNvSpPr>
            <a:spLocks/>
          </p:cNvSpPr>
          <p:nvPr/>
        </p:nvSpPr>
        <p:spPr bwMode="auto">
          <a:xfrm>
            <a:off x="4826000" y="5518150"/>
            <a:ext cx="7938" cy="19050"/>
          </a:xfrm>
          <a:custGeom>
            <a:avLst/>
            <a:gdLst>
              <a:gd name="T0" fmla="*/ 2147483647 w 4"/>
              <a:gd name="T1" fmla="*/ 2147483647 h 13"/>
              <a:gd name="T2" fmla="*/ 0 w 4"/>
              <a:gd name="T3" fmla="*/ 2147483647 h 13"/>
              <a:gd name="T4" fmla="*/ 2147483647 w 4"/>
              <a:gd name="T5" fmla="*/ 0 h 13"/>
              <a:gd name="T6" fmla="*/ 2147483647 w 4"/>
              <a:gd name="T7" fmla="*/ 2147483647 h 13"/>
              <a:gd name="T8" fmla="*/ 0 60000 65536"/>
              <a:gd name="T9" fmla="*/ 0 60000 65536"/>
              <a:gd name="T10" fmla="*/ 0 60000 65536"/>
              <a:gd name="T11" fmla="*/ 0 60000 65536"/>
              <a:gd name="T12" fmla="*/ 0 w 4"/>
              <a:gd name="T13" fmla="*/ 0 h 13"/>
              <a:gd name="T14" fmla="*/ 4 w 4"/>
              <a:gd name="T15" fmla="*/ 13 h 1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" h="13">
                <a:moveTo>
                  <a:pt x="4" y="13"/>
                </a:moveTo>
                <a:lnTo>
                  <a:pt x="0" y="11"/>
                </a:lnTo>
                <a:lnTo>
                  <a:pt x="2" y="0"/>
                </a:lnTo>
                <a:lnTo>
                  <a:pt x="4" y="1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32" name="Freeform 114"/>
          <p:cNvSpPr>
            <a:spLocks/>
          </p:cNvSpPr>
          <p:nvPr/>
        </p:nvSpPr>
        <p:spPr bwMode="auto">
          <a:xfrm>
            <a:off x="5287963" y="5621338"/>
            <a:ext cx="34925" cy="52387"/>
          </a:xfrm>
          <a:custGeom>
            <a:avLst/>
            <a:gdLst>
              <a:gd name="T0" fmla="*/ 2147483647 w 25"/>
              <a:gd name="T1" fmla="*/ 0 h 39"/>
              <a:gd name="T2" fmla="*/ 2147483647 w 25"/>
              <a:gd name="T3" fmla="*/ 2147483647 h 39"/>
              <a:gd name="T4" fmla="*/ 0 w 25"/>
              <a:gd name="T5" fmla="*/ 2147483647 h 39"/>
              <a:gd name="T6" fmla="*/ 2147483647 w 25"/>
              <a:gd name="T7" fmla="*/ 2147483647 h 39"/>
              <a:gd name="T8" fmla="*/ 2147483647 w 25"/>
              <a:gd name="T9" fmla="*/ 2147483647 h 39"/>
              <a:gd name="T10" fmla="*/ 2147483647 w 25"/>
              <a:gd name="T11" fmla="*/ 2147483647 h 39"/>
              <a:gd name="T12" fmla="*/ 2147483647 w 25"/>
              <a:gd name="T13" fmla="*/ 0 h 3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5"/>
              <a:gd name="T22" fmla="*/ 0 h 39"/>
              <a:gd name="T23" fmla="*/ 25 w 25"/>
              <a:gd name="T24" fmla="*/ 39 h 3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5" h="39">
                <a:moveTo>
                  <a:pt x="12" y="0"/>
                </a:moveTo>
                <a:lnTo>
                  <a:pt x="1" y="14"/>
                </a:lnTo>
                <a:lnTo>
                  <a:pt x="0" y="32"/>
                </a:lnTo>
                <a:lnTo>
                  <a:pt x="20" y="39"/>
                </a:lnTo>
                <a:lnTo>
                  <a:pt x="25" y="28"/>
                </a:lnTo>
                <a:lnTo>
                  <a:pt x="23" y="6"/>
                </a:lnTo>
                <a:lnTo>
                  <a:pt x="12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33" name="Freeform 115"/>
          <p:cNvSpPr>
            <a:spLocks/>
          </p:cNvSpPr>
          <p:nvPr/>
        </p:nvSpPr>
        <p:spPr bwMode="auto">
          <a:xfrm>
            <a:off x="4754563" y="4945063"/>
            <a:ext cx="355600" cy="412750"/>
          </a:xfrm>
          <a:custGeom>
            <a:avLst/>
            <a:gdLst>
              <a:gd name="T0" fmla="*/ 2147483647 w 269"/>
              <a:gd name="T1" fmla="*/ 2147483647 h 300"/>
              <a:gd name="T2" fmla="*/ 2147483647 w 269"/>
              <a:gd name="T3" fmla="*/ 2147483647 h 300"/>
              <a:gd name="T4" fmla="*/ 2147483647 w 269"/>
              <a:gd name="T5" fmla="*/ 2147483647 h 300"/>
              <a:gd name="T6" fmla="*/ 2147483647 w 269"/>
              <a:gd name="T7" fmla="*/ 2147483647 h 300"/>
              <a:gd name="T8" fmla="*/ 2147483647 w 269"/>
              <a:gd name="T9" fmla="*/ 2147483647 h 300"/>
              <a:gd name="T10" fmla="*/ 2147483647 w 269"/>
              <a:gd name="T11" fmla="*/ 2147483647 h 300"/>
              <a:gd name="T12" fmla="*/ 2147483647 w 269"/>
              <a:gd name="T13" fmla="*/ 2147483647 h 300"/>
              <a:gd name="T14" fmla="*/ 2147483647 w 269"/>
              <a:gd name="T15" fmla="*/ 2147483647 h 300"/>
              <a:gd name="T16" fmla="*/ 2147483647 w 269"/>
              <a:gd name="T17" fmla="*/ 2147483647 h 300"/>
              <a:gd name="T18" fmla="*/ 2147483647 w 269"/>
              <a:gd name="T19" fmla="*/ 2147483647 h 300"/>
              <a:gd name="T20" fmla="*/ 2147483647 w 269"/>
              <a:gd name="T21" fmla="*/ 2147483647 h 300"/>
              <a:gd name="T22" fmla="*/ 2147483647 w 269"/>
              <a:gd name="T23" fmla="*/ 2147483647 h 300"/>
              <a:gd name="T24" fmla="*/ 2147483647 w 269"/>
              <a:gd name="T25" fmla="*/ 2147483647 h 300"/>
              <a:gd name="T26" fmla="*/ 2147483647 w 269"/>
              <a:gd name="T27" fmla="*/ 2147483647 h 300"/>
              <a:gd name="T28" fmla="*/ 2147483647 w 269"/>
              <a:gd name="T29" fmla="*/ 2147483647 h 300"/>
              <a:gd name="T30" fmla="*/ 2147483647 w 269"/>
              <a:gd name="T31" fmla="*/ 2147483647 h 300"/>
              <a:gd name="T32" fmla="*/ 2147483647 w 269"/>
              <a:gd name="T33" fmla="*/ 2147483647 h 300"/>
              <a:gd name="T34" fmla="*/ 2147483647 w 269"/>
              <a:gd name="T35" fmla="*/ 2147483647 h 300"/>
              <a:gd name="T36" fmla="*/ 2147483647 w 269"/>
              <a:gd name="T37" fmla="*/ 2147483647 h 300"/>
              <a:gd name="T38" fmla="*/ 0 w 269"/>
              <a:gd name="T39" fmla="*/ 2147483647 h 300"/>
              <a:gd name="T40" fmla="*/ 2147483647 w 269"/>
              <a:gd name="T41" fmla="*/ 2147483647 h 300"/>
              <a:gd name="T42" fmla="*/ 2147483647 w 269"/>
              <a:gd name="T43" fmla="*/ 2147483647 h 300"/>
              <a:gd name="T44" fmla="*/ 2147483647 w 269"/>
              <a:gd name="T45" fmla="*/ 2147483647 h 300"/>
              <a:gd name="T46" fmla="*/ 2147483647 w 269"/>
              <a:gd name="T47" fmla="*/ 2147483647 h 300"/>
              <a:gd name="T48" fmla="*/ 2147483647 w 269"/>
              <a:gd name="T49" fmla="*/ 2147483647 h 300"/>
              <a:gd name="T50" fmla="*/ 2147483647 w 269"/>
              <a:gd name="T51" fmla="*/ 2147483647 h 300"/>
              <a:gd name="T52" fmla="*/ 2147483647 w 269"/>
              <a:gd name="T53" fmla="*/ 2147483647 h 300"/>
              <a:gd name="T54" fmla="*/ 2147483647 w 269"/>
              <a:gd name="T55" fmla="*/ 2147483647 h 300"/>
              <a:gd name="T56" fmla="*/ 2147483647 w 269"/>
              <a:gd name="T57" fmla="*/ 2147483647 h 300"/>
              <a:gd name="T58" fmla="*/ 2147483647 w 269"/>
              <a:gd name="T59" fmla="*/ 2147483647 h 300"/>
              <a:gd name="T60" fmla="*/ 2147483647 w 269"/>
              <a:gd name="T61" fmla="*/ 2147483647 h 300"/>
              <a:gd name="T62" fmla="*/ 2147483647 w 269"/>
              <a:gd name="T63" fmla="*/ 2147483647 h 300"/>
              <a:gd name="T64" fmla="*/ 2147483647 w 269"/>
              <a:gd name="T65" fmla="*/ 0 h 300"/>
              <a:gd name="T66" fmla="*/ 2147483647 w 269"/>
              <a:gd name="T67" fmla="*/ 2147483647 h 300"/>
              <a:gd name="T68" fmla="*/ 2147483647 w 269"/>
              <a:gd name="T69" fmla="*/ 2147483647 h 300"/>
              <a:gd name="T70" fmla="*/ 2147483647 w 269"/>
              <a:gd name="T71" fmla="*/ 2147483647 h 300"/>
              <a:gd name="T72" fmla="*/ 2147483647 w 269"/>
              <a:gd name="T73" fmla="*/ 2147483647 h 300"/>
              <a:gd name="T74" fmla="*/ 2147483647 w 269"/>
              <a:gd name="T75" fmla="*/ 2147483647 h 300"/>
              <a:gd name="T76" fmla="*/ 2147483647 w 269"/>
              <a:gd name="T77" fmla="*/ 2147483647 h 300"/>
              <a:gd name="T78" fmla="*/ 2147483647 w 269"/>
              <a:gd name="T79" fmla="*/ 2147483647 h 300"/>
              <a:gd name="T80" fmla="*/ 2147483647 w 269"/>
              <a:gd name="T81" fmla="*/ 2147483647 h 300"/>
              <a:gd name="T82" fmla="*/ 2147483647 w 269"/>
              <a:gd name="T83" fmla="*/ 2147483647 h 300"/>
              <a:gd name="T84" fmla="*/ 2147483647 w 269"/>
              <a:gd name="T85" fmla="*/ 2147483647 h 300"/>
              <a:gd name="T86" fmla="*/ 2147483647 w 269"/>
              <a:gd name="T87" fmla="*/ 2147483647 h 300"/>
              <a:gd name="T88" fmla="*/ 2147483647 w 269"/>
              <a:gd name="T89" fmla="*/ 2147483647 h 300"/>
              <a:gd name="T90" fmla="*/ 2147483647 w 269"/>
              <a:gd name="T91" fmla="*/ 2147483647 h 300"/>
              <a:gd name="T92" fmla="*/ 2147483647 w 269"/>
              <a:gd name="T93" fmla="*/ 2147483647 h 300"/>
              <a:gd name="T94" fmla="*/ 2147483647 w 269"/>
              <a:gd name="T95" fmla="*/ 2147483647 h 300"/>
              <a:gd name="T96" fmla="*/ 2147483647 w 269"/>
              <a:gd name="T97" fmla="*/ 2147483647 h 300"/>
              <a:gd name="T98" fmla="*/ 2147483647 w 269"/>
              <a:gd name="T99" fmla="*/ 2147483647 h 300"/>
              <a:gd name="T100" fmla="*/ 2147483647 w 269"/>
              <a:gd name="T101" fmla="*/ 2147483647 h 300"/>
              <a:gd name="T102" fmla="*/ 2147483647 w 269"/>
              <a:gd name="T103" fmla="*/ 2147483647 h 300"/>
              <a:gd name="T104" fmla="*/ 2147483647 w 269"/>
              <a:gd name="T105" fmla="*/ 2147483647 h 3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69"/>
              <a:gd name="T160" fmla="*/ 0 h 300"/>
              <a:gd name="T161" fmla="*/ 269 w 269"/>
              <a:gd name="T162" fmla="*/ 300 h 30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69" h="300">
                <a:moveTo>
                  <a:pt x="268" y="177"/>
                </a:moveTo>
                <a:lnTo>
                  <a:pt x="247" y="177"/>
                </a:lnTo>
                <a:lnTo>
                  <a:pt x="225" y="178"/>
                </a:lnTo>
                <a:lnTo>
                  <a:pt x="225" y="197"/>
                </a:lnTo>
                <a:lnTo>
                  <a:pt x="224" y="217"/>
                </a:lnTo>
                <a:lnTo>
                  <a:pt x="224" y="237"/>
                </a:lnTo>
                <a:lnTo>
                  <a:pt x="223" y="256"/>
                </a:lnTo>
                <a:lnTo>
                  <a:pt x="238" y="275"/>
                </a:lnTo>
                <a:lnTo>
                  <a:pt x="254" y="293"/>
                </a:lnTo>
                <a:lnTo>
                  <a:pt x="221" y="297"/>
                </a:lnTo>
                <a:lnTo>
                  <a:pt x="189" y="300"/>
                </a:lnTo>
                <a:lnTo>
                  <a:pt x="169" y="295"/>
                </a:lnTo>
                <a:lnTo>
                  <a:pt x="148" y="292"/>
                </a:lnTo>
                <a:lnTo>
                  <a:pt x="144" y="287"/>
                </a:lnTo>
                <a:lnTo>
                  <a:pt x="119" y="286"/>
                </a:lnTo>
                <a:lnTo>
                  <a:pt x="94" y="285"/>
                </a:lnTo>
                <a:lnTo>
                  <a:pt x="69" y="285"/>
                </a:lnTo>
                <a:lnTo>
                  <a:pt x="44" y="283"/>
                </a:lnTo>
                <a:lnTo>
                  <a:pt x="27" y="276"/>
                </a:lnTo>
                <a:lnTo>
                  <a:pt x="0" y="283"/>
                </a:lnTo>
                <a:lnTo>
                  <a:pt x="3" y="263"/>
                </a:lnTo>
                <a:lnTo>
                  <a:pt x="4" y="244"/>
                </a:lnTo>
                <a:lnTo>
                  <a:pt x="15" y="213"/>
                </a:lnTo>
                <a:lnTo>
                  <a:pt x="24" y="181"/>
                </a:lnTo>
                <a:lnTo>
                  <a:pt x="35" y="165"/>
                </a:lnTo>
                <a:lnTo>
                  <a:pt x="47" y="148"/>
                </a:lnTo>
                <a:lnTo>
                  <a:pt x="42" y="115"/>
                </a:lnTo>
                <a:lnTo>
                  <a:pt x="36" y="96"/>
                </a:lnTo>
                <a:lnTo>
                  <a:pt x="30" y="77"/>
                </a:lnTo>
                <a:lnTo>
                  <a:pt x="39" y="65"/>
                </a:lnTo>
                <a:lnTo>
                  <a:pt x="27" y="35"/>
                </a:lnTo>
                <a:lnTo>
                  <a:pt x="16" y="6"/>
                </a:lnTo>
                <a:lnTo>
                  <a:pt x="34" y="0"/>
                </a:lnTo>
                <a:lnTo>
                  <a:pt x="53" y="1"/>
                </a:lnTo>
                <a:lnTo>
                  <a:pt x="72" y="3"/>
                </a:lnTo>
                <a:lnTo>
                  <a:pt x="90" y="3"/>
                </a:lnTo>
                <a:lnTo>
                  <a:pt x="110" y="4"/>
                </a:lnTo>
                <a:lnTo>
                  <a:pt x="118" y="27"/>
                </a:lnTo>
                <a:lnTo>
                  <a:pt x="126" y="51"/>
                </a:lnTo>
                <a:lnTo>
                  <a:pt x="142" y="57"/>
                </a:lnTo>
                <a:lnTo>
                  <a:pt x="169" y="51"/>
                </a:lnTo>
                <a:lnTo>
                  <a:pt x="173" y="29"/>
                </a:lnTo>
                <a:lnTo>
                  <a:pt x="196" y="30"/>
                </a:lnTo>
                <a:lnTo>
                  <a:pt x="195" y="36"/>
                </a:lnTo>
                <a:lnTo>
                  <a:pt x="224" y="40"/>
                </a:lnTo>
                <a:lnTo>
                  <a:pt x="225" y="69"/>
                </a:lnTo>
                <a:lnTo>
                  <a:pt x="225" y="97"/>
                </a:lnTo>
                <a:lnTo>
                  <a:pt x="232" y="123"/>
                </a:lnTo>
                <a:lnTo>
                  <a:pt x="233" y="132"/>
                </a:lnTo>
                <a:lnTo>
                  <a:pt x="251" y="129"/>
                </a:lnTo>
                <a:lnTo>
                  <a:pt x="269" y="125"/>
                </a:lnTo>
                <a:lnTo>
                  <a:pt x="269" y="150"/>
                </a:lnTo>
                <a:lnTo>
                  <a:pt x="268" y="17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34" name="Freeform 116"/>
          <p:cNvSpPr>
            <a:spLocks/>
          </p:cNvSpPr>
          <p:nvPr/>
        </p:nvSpPr>
        <p:spPr bwMode="auto">
          <a:xfrm>
            <a:off x="4768850" y="4897438"/>
            <a:ext cx="26988" cy="46037"/>
          </a:xfrm>
          <a:custGeom>
            <a:avLst/>
            <a:gdLst>
              <a:gd name="T0" fmla="*/ 2147483647 w 23"/>
              <a:gd name="T1" fmla="*/ 2147483647 h 32"/>
              <a:gd name="T2" fmla="*/ 0 w 23"/>
              <a:gd name="T3" fmla="*/ 2147483647 h 32"/>
              <a:gd name="T4" fmla="*/ 2147483647 w 23"/>
              <a:gd name="T5" fmla="*/ 0 h 32"/>
              <a:gd name="T6" fmla="*/ 2147483647 w 23"/>
              <a:gd name="T7" fmla="*/ 2147483647 h 32"/>
              <a:gd name="T8" fmla="*/ 2147483647 w 23"/>
              <a:gd name="T9" fmla="*/ 2147483647 h 32"/>
              <a:gd name="T10" fmla="*/ 2147483647 w 23"/>
              <a:gd name="T11" fmla="*/ 2147483647 h 32"/>
              <a:gd name="T12" fmla="*/ 2147483647 w 23"/>
              <a:gd name="T13" fmla="*/ 2147483647 h 3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3"/>
              <a:gd name="T22" fmla="*/ 0 h 32"/>
              <a:gd name="T23" fmla="*/ 23 w 23"/>
              <a:gd name="T24" fmla="*/ 32 h 3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3" h="32">
                <a:moveTo>
                  <a:pt x="4" y="32"/>
                </a:moveTo>
                <a:lnTo>
                  <a:pt x="0" y="13"/>
                </a:lnTo>
                <a:lnTo>
                  <a:pt x="14" y="0"/>
                </a:lnTo>
                <a:lnTo>
                  <a:pt x="23" y="3"/>
                </a:lnTo>
                <a:lnTo>
                  <a:pt x="12" y="10"/>
                </a:lnTo>
                <a:lnTo>
                  <a:pt x="11" y="30"/>
                </a:lnTo>
                <a:lnTo>
                  <a:pt x="4" y="3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35" name="Freeform 118"/>
          <p:cNvSpPr>
            <a:spLocks/>
          </p:cNvSpPr>
          <p:nvPr/>
        </p:nvSpPr>
        <p:spPr bwMode="auto">
          <a:xfrm>
            <a:off x="3244850" y="4746625"/>
            <a:ext cx="66675" cy="61913"/>
          </a:xfrm>
          <a:custGeom>
            <a:avLst/>
            <a:gdLst>
              <a:gd name="T0" fmla="*/ 2147483647 w 52"/>
              <a:gd name="T1" fmla="*/ 2147483647 h 44"/>
              <a:gd name="T2" fmla="*/ 2147483647 w 52"/>
              <a:gd name="T3" fmla="*/ 2147483647 h 44"/>
              <a:gd name="T4" fmla="*/ 2147483647 w 52"/>
              <a:gd name="T5" fmla="*/ 2147483647 h 44"/>
              <a:gd name="T6" fmla="*/ 2147483647 w 52"/>
              <a:gd name="T7" fmla="*/ 2147483647 h 44"/>
              <a:gd name="T8" fmla="*/ 0 w 52"/>
              <a:gd name="T9" fmla="*/ 2147483647 h 44"/>
              <a:gd name="T10" fmla="*/ 2147483647 w 52"/>
              <a:gd name="T11" fmla="*/ 2147483647 h 44"/>
              <a:gd name="T12" fmla="*/ 2147483647 w 52"/>
              <a:gd name="T13" fmla="*/ 2147483647 h 44"/>
              <a:gd name="T14" fmla="*/ 2147483647 w 52"/>
              <a:gd name="T15" fmla="*/ 0 h 44"/>
              <a:gd name="T16" fmla="*/ 2147483647 w 52"/>
              <a:gd name="T17" fmla="*/ 2147483647 h 44"/>
              <a:gd name="T18" fmla="*/ 2147483647 w 52"/>
              <a:gd name="T19" fmla="*/ 2147483647 h 44"/>
              <a:gd name="T20" fmla="*/ 2147483647 w 52"/>
              <a:gd name="T21" fmla="*/ 2147483647 h 44"/>
              <a:gd name="T22" fmla="*/ 2147483647 w 52"/>
              <a:gd name="T23" fmla="*/ 2147483647 h 44"/>
              <a:gd name="T24" fmla="*/ 2147483647 w 52"/>
              <a:gd name="T25" fmla="*/ 2147483647 h 44"/>
              <a:gd name="T26" fmla="*/ 2147483647 w 52"/>
              <a:gd name="T27" fmla="*/ 2147483647 h 44"/>
              <a:gd name="T28" fmla="*/ 2147483647 w 52"/>
              <a:gd name="T29" fmla="*/ 2147483647 h 4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52"/>
              <a:gd name="T46" fmla="*/ 0 h 44"/>
              <a:gd name="T47" fmla="*/ 52 w 52"/>
              <a:gd name="T48" fmla="*/ 44 h 44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52" h="44">
                <a:moveTo>
                  <a:pt x="27" y="40"/>
                </a:moveTo>
                <a:lnTo>
                  <a:pt x="23" y="42"/>
                </a:lnTo>
                <a:lnTo>
                  <a:pt x="11" y="36"/>
                </a:lnTo>
                <a:lnTo>
                  <a:pt x="8" y="44"/>
                </a:lnTo>
                <a:lnTo>
                  <a:pt x="0" y="26"/>
                </a:lnTo>
                <a:lnTo>
                  <a:pt x="3" y="24"/>
                </a:lnTo>
                <a:lnTo>
                  <a:pt x="2" y="14"/>
                </a:lnTo>
                <a:lnTo>
                  <a:pt x="9" y="0"/>
                </a:lnTo>
                <a:lnTo>
                  <a:pt x="30" y="4"/>
                </a:lnTo>
                <a:lnTo>
                  <a:pt x="52" y="8"/>
                </a:lnTo>
                <a:lnTo>
                  <a:pt x="42" y="28"/>
                </a:lnTo>
                <a:lnTo>
                  <a:pt x="40" y="30"/>
                </a:lnTo>
                <a:lnTo>
                  <a:pt x="38" y="36"/>
                </a:lnTo>
                <a:lnTo>
                  <a:pt x="34" y="36"/>
                </a:lnTo>
                <a:lnTo>
                  <a:pt x="27" y="4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36" name="Freeform 119"/>
          <p:cNvSpPr>
            <a:spLocks/>
          </p:cNvSpPr>
          <p:nvPr/>
        </p:nvSpPr>
        <p:spPr bwMode="auto">
          <a:xfrm>
            <a:off x="4691063" y="4665663"/>
            <a:ext cx="55562" cy="42862"/>
          </a:xfrm>
          <a:custGeom>
            <a:avLst/>
            <a:gdLst>
              <a:gd name="T0" fmla="*/ 2147483647 w 40"/>
              <a:gd name="T1" fmla="*/ 2147483647 h 34"/>
              <a:gd name="T2" fmla="*/ 0 w 40"/>
              <a:gd name="T3" fmla="*/ 2147483647 h 34"/>
              <a:gd name="T4" fmla="*/ 2147483647 w 40"/>
              <a:gd name="T5" fmla="*/ 2147483647 h 34"/>
              <a:gd name="T6" fmla="*/ 2147483647 w 40"/>
              <a:gd name="T7" fmla="*/ 0 h 34"/>
              <a:gd name="T8" fmla="*/ 2147483647 w 40"/>
              <a:gd name="T9" fmla="*/ 2147483647 h 34"/>
              <a:gd name="T10" fmla="*/ 2147483647 w 40"/>
              <a:gd name="T11" fmla="*/ 2147483647 h 34"/>
              <a:gd name="T12" fmla="*/ 2147483647 w 40"/>
              <a:gd name="T13" fmla="*/ 2147483647 h 34"/>
              <a:gd name="T14" fmla="*/ 2147483647 w 40"/>
              <a:gd name="T15" fmla="*/ 2147483647 h 34"/>
              <a:gd name="T16" fmla="*/ 2147483647 w 40"/>
              <a:gd name="T17" fmla="*/ 2147483647 h 3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0"/>
              <a:gd name="T28" fmla="*/ 0 h 34"/>
              <a:gd name="T29" fmla="*/ 40 w 40"/>
              <a:gd name="T30" fmla="*/ 34 h 3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0" h="34">
                <a:moveTo>
                  <a:pt x="7" y="34"/>
                </a:moveTo>
                <a:lnTo>
                  <a:pt x="0" y="31"/>
                </a:lnTo>
                <a:lnTo>
                  <a:pt x="2" y="22"/>
                </a:lnTo>
                <a:lnTo>
                  <a:pt x="7" y="0"/>
                </a:lnTo>
                <a:lnTo>
                  <a:pt x="24" y="3"/>
                </a:lnTo>
                <a:lnTo>
                  <a:pt x="40" y="5"/>
                </a:lnTo>
                <a:lnTo>
                  <a:pt x="40" y="34"/>
                </a:lnTo>
                <a:lnTo>
                  <a:pt x="24" y="34"/>
                </a:lnTo>
                <a:lnTo>
                  <a:pt x="7" y="3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37" name="Freeform 120"/>
          <p:cNvSpPr>
            <a:spLocks/>
          </p:cNvSpPr>
          <p:nvPr/>
        </p:nvSpPr>
        <p:spPr bwMode="auto">
          <a:xfrm>
            <a:off x="4664075" y="4616450"/>
            <a:ext cx="12700" cy="17463"/>
          </a:xfrm>
          <a:custGeom>
            <a:avLst/>
            <a:gdLst>
              <a:gd name="T0" fmla="*/ 2147483647 w 11"/>
              <a:gd name="T1" fmla="*/ 2147483647 h 14"/>
              <a:gd name="T2" fmla="*/ 2147483647 w 11"/>
              <a:gd name="T3" fmla="*/ 0 h 14"/>
              <a:gd name="T4" fmla="*/ 0 w 11"/>
              <a:gd name="T5" fmla="*/ 2147483647 h 14"/>
              <a:gd name="T6" fmla="*/ 2147483647 w 11"/>
              <a:gd name="T7" fmla="*/ 2147483647 h 14"/>
              <a:gd name="T8" fmla="*/ 0 60000 65536"/>
              <a:gd name="T9" fmla="*/ 0 60000 65536"/>
              <a:gd name="T10" fmla="*/ 0 60000 65536"/>
              <a:gd name="T11" fmla="*/ 0 60000 65536"/>
              <a:gd name="T12" fmla="*/ 0 w 11"/>
              <a:gd name="T13" fmla="*/ 0 h 14"/>
              <a:gd name="T14" fmla="*/ 11 w 11"/>
              <a:gd name="T15" fmla="*/ 14 h 1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1" h="14">
                <a:moveTo>
                  <a:pt x="11" y="2"/>
                </a:moveTo>
                <a:lnTo>
                  <a:pt x="7" y="0"/>
                </a:lnTo>
                <a:lnTo>
                  <a:pt x="0" y="14"/>
                </a:lnTo>
                <a:lnTo>
                  <a:pt x="11" y="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38" name="Freeform 121"/>
          <p:cNvSpPr>
            <a:spLocks/>
          </p:cNvSpPr>
          <p:nvPr/>
        </p:nvSpPr>
        <p:spPr bwMode="auto">
          <a:xfrm>
            <a:off x="4672013" y="4670425"/>
            <a:ext cx="168275" cy="209550"/>
          </a:xfrm>
          <a:custGeom>
            <a:avLst/>
            <a:gdLst>
              <a:gd name="T0" fmla="*/ 2147483647 w 125"/>
              <a:gd name="T1" fmla="*/ 2147483647 h 152"/>
              <a:gd name="T2" fmla="*/ 2147483647 w 125"/>
              <a:gd name="T3" fmla="*/ 2147483647 h 152"/>
              <a:gd name="T4" fmla="*/ 2147483647 w 125"/>
              <a:gd name="T5" fmla="*/ 2147483647 h 152"/>
              <a:gd name="T6" fmla="*/ 2147483647 w 125"/>
              <a:gd name="T7" fmla="*/ 2147483647 h 152"/>
              <a:gd name="T8" fmla="*/ 2147483647 w 125"/>
              <a:gd name="T9" fmla="*/ 2147483647 h 152"/>
              <a:gd name="T10" fmla="*/ 2147483647 w 125"/>
              <a:gd name="T11" fmla="*/ 2147483647 h 152"/>
              <a:gd name="T12" fmla="*/ 0 w 125"/>
              <a:gd name="T13" fmla="*/ 2147483647 h 152"/>
              <a:gd name="T14" fmla="*/ 2147483647 w 125"/>
              <a:gd name="T15" fmla="*/ 2147483647 h 152"/>
              <a:gd name="T16" fmla="*/ 2147483647 w 125"/>
              <a:gd name="T17" fmla="*/ 2147483647 h 152"/>
              <a:gd name="T18" fmla="*/ 2147483647 w 125"/>
              <a:gd name="T19" fmla="*/ 2147483647 h 152"/>
              <a:gd name="T20" fmla="*/ 2147483647 w 125"/>
              <a:gd name="T21" fmla="*/ 2147483647 h 152"/>
              <a:gd name="T22" fmla="*/ 2147483647 w 125"/>
              <a:gd name="T23" fmla="*/ 2147483647 h 152"/>
              <a:gd name="T24" fmla="*/ 2147483647 w 125"/>
              <a:gd name="T25" fmla="*/ 2147483647 h 152"/>
              <a:gd name="T26" fmla="*/ 2147483647 w 125"/>
              <a:gd name="T27" fmla="*/ 2147483647 h 152"/>
              <a:gd name="T28" fmla="*/ 2147483647 w 125"/>
              <a:gd name="T29" fmla="*/ 2147483647 h 152"/>
              <a:gd name="T30" fmla="*/ 2147483647 w 125"/>
              <a:gd name="T31" fmla="*/ 2147483647 h 152"/>
              <a:gd name="T32" fmla="*/ 2147483647 w 125"/>
              <a:gd name="T33" fmla="*/ 2147483647 h 152"/>
              <a:gd name="T34" fmla="*/ 2147483647 w 125"/>
              <a:gd name="T35" fmla="*/ 2147483647 h 152"/>
              <a:gd name="T36" fmla="*/ 2147483647 w 125"/>
              <a:gd name="T37" fmla="*/ 2147483647 h 152"/>
              <a:gd name="T38" fmla="*/ 2147483647 w 125"/>
              <a:gd name="T39" fmla="*/ 2147483647 h 152"/>
              <a:gd name="T40" fmla="*/ 2147483647 w 125"/>
              <a:gd name="T41" fmla="*/ 2147483647 h 152"/>
              <a:gd name="T42" fmla="*/ 2147483647 w 125"/>
              <a:gd name="T43" fmla="*/ 2147483647 h 152"/>
              <a:gd name="T44" fmla="*/ 2147483647 w 125"/>
              <a:gd name="T45" fmla="*/ 2147483647 h 152"/>
              <a:gd name="T46" fmla="*/ 2147483647 w 125"/>
              <a:gd name="T47" fmla="*/ 2147483647 h 152"/>
              <a:gd name="T48" fmla="*/ 2147483647 w 125"/>
              <a:gd name="T49" fmla="*/ 2147483647 h 152"/>
              <a:gd name="T50" fmla="*/ 2147483647 w 125"/>
              <a:gd name="T51" fmla="*/ 2147483647 h 152"/>
              <a:gd name="T52" fmla="*/ 2147483647 w 125"/>
              <a:gd name="T53" fmla="*/ 2147483647 h 152"/>
              <a:gd name="T54" fmla="*/ 2147483647 w 125"/>
              <a:gd name="T55" fmla="*/ 2147483647 h 152"/>
              <a:gd name="T56" fmla="*/ 2147483647 w 125"/>
              <a:gd name="T57" fmla="*/ 2147483647 h 152"/>
              <a:gd name="T58" fmla="*/ 2147483647 w 125"/>
              <a:gd name="T59" fmla="*/ 2147483647 h 152"/>
              <a:gd name="T60" fmla="*/ 2147483647 w 125"/>
              <a:gd name="T61" fmla="*/ 2147483647 h 152"/>
              <a:gd name="T62" fmla="*/ 2147483647 w 125"/>
              <a:gd name="T63" fmla="*/ 2147483647 h 152"/>
              <a:gd name="T64" fmla="*/ 2147483647 w 125"/>
              <a:gd name="T65" fmla="*/ 2147483647 h 152"/>
              <a:gd name="T66" fmla="*/ 2147483647 w 125"/>
              <a:gd name="T67" fmla="*/ 0 h 152"/>
              <a:gd name="T68" fmla="*/ 2147483647 w 125"/>
              <a:gd name="T69" fmla="*/ 0 h 152"/>
              <a:gd name="T70" fmla="*/ 2147483647 w 125"/>
              <a:gd name="T71" fmla="*/ 0 h 152"/>
              <a:gd name="T72" fmla="*/ 2147483647 w 125"/>
              <a:gd name="T73" fmla="*/ 2147483647 h 152"/>
              <a:gd name="T74" fmla="*/ 2147483647 w 125"/>
              <a:gd name="T75" fmla="*/ 2147483647 h 152"/>
              <a:gd name="T76" fmla="*/ 2147483647 w 125"/>
              <a:gd name="T77" fmla="*/ 2147483647 h 152"/>
              <a:gd name="T78" fmla="*/ 2147483647 w 125"/>
              <a:gd name="T79" fmla="*/ 2147483647 h 152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25"/>
              <a:gd name="T121" fmla="*/ 0 h 152"/>
              <a:gd name="T122" fmla="*/ 125 w 125"/>
              <a:gd name="T123" fmla="*/ 152 h 152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25" h="152">
                <a:moveTo>
                  <a:pt x="21" y="29"/>
                </a:moveTo>
                <a:lnTo>
                  <a:pt x="18" y="38"/>
                </a:lnTo>
                <a:lnTo>
                  <a:pt x="11" y="38"/>
                </a:lnTo>
                <a:lnTo>
                  <a:pt x="25" y="50"/>
                </a:lnTo>
                <a:lnTo>
                  <a:pt x="12" y="49"/>
                </a:lnTo>
                <a:lnTo>
                  <a:pt x="5" y="72"/>
                </a:lnTo>
                <a:lnTo>
                  <a:pt x="0" y="72"/>
                </a:lnTo>
                <a:lnTo>
                  <a:pt x="9" y="89"/>
                </a:lnTo>
                <a:lnTo>
                  <a:pt x="13" y="94"/>
                </a:lnTo>
                <a:lnTo>
                  <a:pt x="6" y="88"/>
                </a:lnTo>
                <a:lnTo>
                  <a:pt x="16" y="102"/>
                </a:lnTo>
                <a:lnTo>
                  <a:pt x="12" y="102"/>
                </a:lnTo>
                <a:lnTo>
                  <a:pt x="27" y="118"/>
                </a:lnTo>
                <a:lnTo>
                  <a:pt x="23" y="116"/>
                </a:lnTo>
                <a:lnTo>
                  <a:pt x="37" y="134"/>
                </a:lnTo>
                <a:lnTo>
                  <a:pt x="52" y="152"/>
                </a:lnTo>
                <a:lnTo>
                  <a:pt x="59" y="142"/>
                </a:lnTo>
                <a:lnTo>
                  <a:pt x="64" y="145"/>
                </a:lnTo>
                <a:lnTo>
                  <a:pt x="69" y="140"/>
                </a:lnTo>
                <a:lnTo>
                  <a:pt x="65" y="130"/>
                </a:lnTo>
                <a:lnTo>
                  <a:pt x="61" y="124"/>
                </a:lnTo>
                <a:lnTo>
                  <a:pt x="61" y="116"/>
                </a:lnTo>
                <a:lnTo>
                  <a:pt x="81" y="114"/>
                </a:lnTo>
                <a:lnTo>
                  <a:pt x="83" y="100"/>
                </a:lnTo>
                <a:lnTo>
                  <a:pt x="95" y="113"/>
                </a:lnTo>
                <a:lnTo>
                  <a:pt x="108" y="108"/>
                </a:lnTo>
                <a:lnTo>
                  <a:pt x="112" y="115"/>
                </a:lnTo>
                <a:lnTo>
                  <a:pt x="119" y="109"/>
                </a:lnTo>
                <a:lnTo>
                  <a:pt x="125" y="74"/>
                </a:lnTo>
                <a:lnTo>
                  <a:pt x="112" y="53"/>
                </a:lnTo>
                <a:lnTo>
                  <a:pt x="123" y="38"/>
                </a:lnTo>
                <a:lnTo>
                  <a:pt x="120" y="22"/>
                </a:lnTo>
                <a:lnTo>
                  <a:pt x="96" y="24"/>
                </a:lnTo>
                <a:lnTo>
                  <a:pt x="99" y="0"/>
                </a:lnTo>
                <a:lnTo>
                  <a:pt x="77" y="0"/>
                </a:lnTo>
                <a:lnTo>
                  <a:pt x="55" y="0"/>
                </a:lnTo>
                <a:lnTo>
                  <a:pt x="55" y="29"/>
                </a:lnTo>
                <a:lnTo>
                  <a:pt x="39" y="29"/>
                </a:lnTo>
                <a:lnTo>
                  <a:pt x="22" y="29"/>
                </a:lnTo>
                <a:lnTo>
                  <a:pt x="21" y="29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39" name="Freeform 122"/>
          <p:cNvSpPr>
            <a:spLocks/>
          </p:cNvSpPr>
          <p:nvPr/>
        </p:nvSpPr>
        <p:spPr bwMode="auto">
          <a:xfrm>
            <a:off x="2936875" y="5403850"/>
            <a:ext cx="242888" cy="277813"/>
          </a:xfrm>
          <a:custGeom>
            <a:avLst/>
            <a:gdLst>
              <a:gd name="T0" fmla="*/ 2147483647 w 182"/>
              <a:gd name="T1" fmla="*/ 2147483647 h 202"/>
              <a:gd name="T2" fmla="*/ 2147483647 w 182"/>
              <a:gd name="T3" fmla="*/ 2147483647 h 202"/>
              <a:gd name="T4" fmla="*/ 0 w 182"/>
              <a:gd name="T5" fmla="*/ 2147483647 h 202"/>
              <a:gd name="T6" fmla="*/ 2147483647 w 182"/>
              <a:gd name="T7" fmla="*/ 2147483647 h 202"/>
              <a:gd name="T8" fmla="*/ 2147483647 w 182"/>
              <a:gd name="T9" fmla="*/ 2147483647 h 202"/>
              <a:gd name="T10" fmla="*/ 2147483647 w 182"/>
              <a:gd name="T11" fmla="*/ 2147483647 h 202"/>
              <a:gd name="T12" fmla="*/ 2147483647 w 182"/>
              <a:gd name="T13" fmla="*/ 2147483647 h 202"/>
              <a:gd name="T14" fmla="*/ 2147483647 w 182"/>
              <a:gd name="T15" fmla="*/ 2147483647 h 202"/>
              <a:gd name="T16" fmla="*/ 2147483647 w 182"/>
              <a:gd name="T17" fmla="*/ 2147483647 h 202"/>
              <a:gd name="T18" fmla="*/ 2147483647 w 182"/>
              <a:gd name="T19" fmla="*/ 2147483647 h 202"/>
              <a:gd name="T20" fmla="*/ 2147483647 w 182"/>
              <a:gd name="T21" fmla="*/ 2147483647 h 202"/>
              <a:gd name="T22" fmla="*/ 2147483647 w 182"/>
              <a:gd name="T23" fmla="*/ 2147483647 h 202"/>
              <a:gd name="T24" fmla="*/ 2147483647 w 182"/>
              <a:gd name="T25" fmla="*/ 2147483647 h 202"/>
              <a:gd name="T26" fmla="*/ 2147483647 w 182"/>
              <a:gd name="T27" fmla="*/ 2147483647 h 202"/>
              <a:gd name="T28" fmla="*/ 2147483647 w 182"/>
              <a:gd name="T29" fmla="*/ 2147483647 h 202"/>
              <a:gd name="T30" fmla="*/ 2147483647 w 182"/>
              <a:gd name="T31" fmla="*/ 2147483647 h 202"/>
              <a:gd name="T32" fmla="*/ 2147483647 w 182"/>
              <a:gd name="T33" fmla="*/ 2147483647 h 202"/>
              <a:gd name="T34" fmla="*/ 2147483647 w 182"/>
              <a:gd name="T35" fmla="*/ 2147483647 h 202"/>
              <a:gd name="T36" fmla="*/ 2147483647 w 182"/>
              <a:gd name="T37" fmla="*/ 2147483647 h 202"/>
              <a:gd name="T38" fmla="*/ 2147483647 w 182"/>
              <a:gd name="T39" fmla="*/ 2147483647 h 202"/>
              <a:gd name="T40" fmla="*/ 2147483647 w 182"/>
              <a:gd name="T41" fmla="*/ 2147483647 h 202"/>
              <a:gd name="T42" fmla="*/ 2147483647 w 182"/>
              <a:gd name="T43" fmla="*/ 2147483647 h 202"/>
              <a:gd name="T44" fmla="*/ 2147483647 w 182"/>
              <a:gd name="T45" fmla="*/ 2147483647 h 202"/>
              <a:gd name="T46" fmla="*/ 2147483647 w 182"/>
              <a:gd name="T47" fmla="*/ 2147483647 h 202"/>
              <a:gd name="T48" fmla="*/ 2147483647 w 182"/>
              <a:gd name="T49" fmla="*/ 2147483647 h 202"/>
              <a:gd name="T50" fmla="*/ 2147483647 w 182"/>
              <a:gd name="T51" fmla="*/ 2147483647 h 202"/>
              <a:gd name="T52" fmla="*/ 2147483647 w 182"/>
              <a:gd name="T53" fmla="*/ 2147483647 h 202"/>
              <a:gd name="T54" fmla="*/ 2147483647 w 182"/>
              <a:gd name="T55" fmla="*/ 0 h 202"/>
              <a:gd name="T56" fmla="*/ 2147483647 w 182"/>
              <a:gd name="T57" fmla="*/ 2147483647 h 202"/>
              <a:gd name="T58" fmla="*/ 2147483647 w 182"/>
              <a:gd name="T59" fmla="*/ 2147483647 h 202"/>
              <a:gd name="T60" fmla="*/ 2147483647 w 182"/>
              <a:gd name="T61" fmla="*/ 2147483647 h 20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82"/>
              <a:gd name="T94" fmla="*/ 0 h 202"/>
              <a:gd name="T95" fmla="*/ 182 w 182"/>
              <a:gd name="T96" fmla="*/ 202 h 202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82" h="202">
                <a:moveTo>
                  <a:pt x="10" y="18"/>
                </a:moveTo>
                <a:lnTo>
                  <a:pt x="6" y="46"/>
                </a:lnTo>
                <a:lnTo>
                  <a:pt x="0" y="72"/>
                </a:lnTo>
                <a:lnTo>
                  <a:pt x="21" y="92"/>
                </a:lnTo>
                <a:lnTo>
                  <a:pt x="43" y="113"/>
                </a:lnTo>
                <a:lnTo>
                  <a:pt x="61" y="120"/>
                </a:lnTo>
                <a:lnTo>
                  <a:pt x="79" y="128"/>
                </a:lnTo>
                <a:lnTo>
                  <a:pt x="98" y="140"/>
                </a:lnTo>
                <a:lnTo>
                  <a:pt x="117" y="151"/>
                </a:lnTo>
                <a:lnTo>
                  <a:pt x="109" y="175"/>
                </a:lnTo>
                <a:lnTo>
                  <a:pt x="101" y="198"/>
                </a:lnTo>
                <a:lnTo>
                  <a:pt x="126" y="200"/>
                </a:lnTo>
                <a:lnTo>
                  <a:pt x="151" y="202"/>
                </a:lnTo>
                <a:lnTo>
                  <a:pt x="165" y="197"/>
                </a:lnTo>
                <a:lnTo>
                  <a:pt x="182" y="170"/>
                </a:lnTo>
                <a:lnTo>
                  <a:pt x="181" y="155"/>
                </a:lnTo>
                <a:lnTo>
                  <a:pt x="181" y="134"/>
                </a:lnTo>
                <a:lnTo>
                  <a:pt x="182" y="115"/>
                </a:lnTo>
                <a:lnTo>
                  <a:pt x="170" y="114"/>
                </a:lnTo>
                <a:lnTo>
                  <a:pt x="159" y="114"/>
                </a:lnTo>
                <a:lnTo>
                  <a:pt x="152" y="94"/>
                </a:lnTo>
                <a:lnTo>
                  <a:pt x="146" y="73"/>
                </a:lnTo>
                <a:lnTo>
                  <a:pt x="131" y="71"/>
                </a:lnTo>
                <a:lnTo>
                  <a:pt x="99" y="66"/>
                </a:lnTo>
                <a:lnTo>
                  <a:pt x="96" y="31"/>
                </a:lnTo>
                <a:lnTo>
                  <a:pt x="91" y="20"/>
                </a:lnTo>
                <a:lnTo>
                  <a:pt x="92" y="17"/>
                </a:lnTo>
                <a:lnTo>
                  <a:pt x="69" y="0"/>
                </a:lnTo>
                <a:lnTo>
                  <a:pt x="42" y="4"/>
                </a:lnTo>
                <a:lnTo>
                  <a:pt x="13" y="7"/>
                </a:lnTo>
                <a:lnTo>
                  <a:pt x="10" y="18"/>
                </a:lnTo>
                <a:close/>
              </a:path>
            </a:pathLst>
          </a:custGeom>
          <a:solidFill>
            <a:srgbClr val="F2F2F2"/>
          </a:solidFill>
          <a:ln w="6350" cap="rnd">
            <a:solidFill>
              <a:srgbClr val="DDDDDD"/>
            </a:solidFill>
            <a:round/>
            <a:headEnd/>
            <a:tailEnd/>
          </a:ln>
        </p:spPr>
        <p:txBody>
          <a:bodyPr lIns="91430" tIns="45716" rIns="91430" bIns="45716"/>
          <a:lstStyle/>
          <a:p>
            <a:endParaRPr lang="en-US"/>
          </a:p>
        </p:txBody>
      </p:sp>
      <p:sp>
        <p:nvSpPr>
          <p:cNvPr id="9340" name="Freeform 123"/>
          <p:cNvSpPr>
            <a:spLocks/>
          </p:cNvSpPr>
          <p:nvPr/>
        </p:nvSpPr>
        <p:spPr bwMode="auto">
          <a:xfrm>
            <a:off x="4603750" y="4732338"/>
            <a:ext cx="9525" cy="9525"/>
          </a:xfrm>
          <a:custGeom>
            <a:avLst/>
            <a:gdLst>
              <a:gd name="T0" fmla="*/ 2147483647 w 7"/>
              <a:gd name="T1" fmla="*/ 2147483647 h 9"/>
              <a:gd name="T2" fmla="*/ 2147483647 w 7"/>
              <a:gd name="T3" fmla="*/ 2147483647 h 9"/>
              <a:gd name="T4" fmla="*/ 0 w 7"/>
              <a:gd name="T5" fmla="*/ 2147483647 h 9"/>
              <a:gd name="T6" fmla="*/ 2147483647 w 7"/>
              <a:gd name="T7" fmla="*/ 0 h 9"/>
              <a:gd name="T8" fmla="*/ 2147483647 w 7"/>
              <a:gd name="T9" fmla="*/ 2147483647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"/>
              <a:gd name="T16" fmla="*/ 0 h 9"/>
              <a:gd name="T17" fmla="*/ 7 w 7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" h="9">
                <a:moveTo>
                  <a:pt x="7" y="3"/>
                </a:moveTo>
                <a:lnTo>
                  <a:pt x="2" y="9"/>
                </a:lnTo>
                <a:lnTo>
                  <a:pt x="0" y="5"/>
                </a:lnTo>
                <a:lnTo>
                  <a:pt x="3" y="0"/>
                </a:lnTo>
                <a:lnTo>
                  <a:pt x="7" y="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41" name="Freeform 124"/>
          <p:cNvSpPr>
            <a:spLocks/>
          </p:cNvSpPr>
          <p:nvPr/>
        </p:nvSpPr>
        <p:spPr bwMode="auto">
          <a:xfrm>
            <a:off x="4632325" y="4686300"/>
            <a:ext cx="3175" cy="6350"/>
          </a:xfrm>
          <a:custGeom>
            <a:avLst/>
            <a:gdLst>
              <a:gd name="T0" fmla="*/ 0 w 1"/>
              <a:gd name="T1" fmla="*/ 2147483647 h 4"/>
              <a:gd name="T2" fmla="*/ 0 w 1"/>
              <a:gd name="T3" fmla="*/ 2147483647 h 4"/>
              <a:gd name="T4" fmla="*/ 2147483647 w 1"/>
              <a:gd name="T5" fmla="*/ 0 h 4"/>
              <a:gd name="T6" fmla="*/ 0 w 1"/>
              <a:gd name="T7" fmla="*/ 2147483647 h 4"/>
              <a:gd name="T8" fmla="*/ 0 60000 65536"/>
              <a:gd name="T9" fmla="*/ 0 60000 65536"/>
              <a:gd name="T10" fmla="*/ 0 60000 65536"/>
              <a:gd name="T11" fmla="*/ 0 60000 65536"/>
              <a:gd name="T12" fmla="*/ 0 w 1"/>
              <a:gd name="T13" fmla="*/ 0 h 4"/>
              <a:gd name="T14" fmla="*/ 1 w 1"/>
              <a:gd name="T15" fmla="*/ 4 h 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" h="4">
                <a:moveTo>
                  <a:pt x="0" y="4"/>
                </a:moveTo>
                <a:lnTo>
                  <a:pt x="0" y="1"/>
                </a:lnTo>
                <a:lnTo>
                  <a:pt x="1" y="0"/>
                </a:lnTo>
                <a:lnTo>
                  <a:pt x="0" y="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42" name="Freeform 125"/>
          <p:cNvSpPr>
            <a:spLocks/>
          </p:cNvSpPr>
          <p:nvPr/>
        </p:nvSpPr>
        <p:spPr bwMode="auto">
          <a:xfrm>
            <a:off x="5272088" y="4779963"/>
            <a:ext cx="315912" cy="363537"/>
          </a:xfrm>
          <a:custGeom>
            <a:avLst/>
            <a:gdLst>
              <a:gd name="T0" fmla="*/ 2147483647 w 237"/>
              <a:gd name="T1" fmla="*/ 2147483647 h 264"/>
              <a:gd name="T2" fmla="*/ 2147483647 w 237"/>
              <a:gd name="T3" fmla="*/ 2147483647 h 264"/>
              <a:gd name="T4" fmla="*/ 2147483647 w 237"/>
              <a:gd name="T5" fmla="*/ 2147483647 h 264"/>
              <a:gd name="T6" fmla="*/ 2147483647 w 237"/>
              <a:gd name="T7" fmla="*/ 2147483647 h 264"/>
              <a:gd name="T8" fmla="*/ 2147483647 w 237"/>
              <a:gd name="T9" fmla="*/ 2147483647 h 264"/>
              <a:gd name="T10" fmla="*/ 2147483647 w 237"/>
              <a:gd name="T11" fmla="*/ 0 h 264"/>
              <a:gd name="T12" fmla="*/ 2147483647 w 237"/>
              <a:gd name="T13" fmla="*/ 0 h 264"/>
              <a:gd name="T14" fmla="*/ 2147483647 w 237"/>
              <a:gd name="T15" fmla="*/ 0 h 264"/>
              <a:gd name="T16" fmla="*/ 2147483647 w 237"/>
              <a:gd name="T17" fmla="*/ 2147483647 h 264"/>
              <a:gd name="T18" fmla="*/ 2147483647 w 237"/>
              <a:gd name="T19" fmla="*/ 2147483647 h 264"/>
              <a:gd name="T20" fmla="*/ 2147483647 w 237"/>
              <a:gd name="T21" fmla="*/ 2147483647 h 264"/>
              <a:gd name="T22" fmla="*/ 2147483647 w 237"/>
              <a:gd name="T23" fmla="*/ 2147483647 h 264"/>
              <a:gd name="T24" fmla="*/ 2147483647 w 237"/>
              <a:gd name="T25" fmla="*/ 2147483647 h 264"/>
              <a:gd name="T26" fmla="*/ 2147483647 w 237"/>
              <a:gd name="T27" fmla="*/ 2147483647 h 264"/>
              <a:gd name="T28" fmla="*/ 2147483647 w 237"/>
              <a:gd name="T29" fmla="*/ 2147483647 h 264"/>
              <a:gd name="T30" fmla="*/ 2147483647 w 237"/>
              <a:gd name="T31" fmla="*/ 2147483647 h 264"/>
              <a:gd name="T32" fmla="*/ 0 w 237"/>
              <a:gd name="T33" fmla="*/ 2147483647 h 264"/>
              <a:gd name="T34" fmla="*/ 2147483647 w 237"/>
              <a:gd name="T35" fmla="*/ 2147483647 h 264"/>
              <a:gd name="T36" fmla="*/ 2147483647 w 237"/>
              <a:gd name="T37" fmla="*/ 2147483647 h 264"/>
              <a:gd name="T38" fmla="*/ 2147483647 w 237"/>
              <a:gd name="T39" fmla="*/ 2147483647 h 264"/>
              <a:gd name="T40" fmla="*/ 2147483647 w 237"/>
              <a:gd name="T41" fmla="*/ 2147483647 h 264"/>
              <a:gd name="T42" fmla="*/ 2147483647 w 237"/>
              <a:gd name="T43" fmla="*/ 2147483647 h 264"/>
              <a:gd name="T44" fmla="*/ 2147483647 w 237"/>
              <a:gd name="T45" fmla="*/ 2147483647 h 264"/>
              <a:gd name="T46" fmla="*/ 2147483647 w 237"/>
              <a:gd name="T47" fmla="*/ 2147483647 h 264"/>
              <a:gd name="T48" fmla="*/ 2147483647 w 237"/>
              <a:gd name="T49" fmla="*/ 2147483647 h 264"/>
              <a:gd name="T50" fmla="*/ 2147483647 w 237"/>
              <a:gd name="T51" fmla="*/ 2147483647 h 264"/>
              <a:gd name="T52" fmla="*/ 2147483647 w 237"/>
              <a:gd name="T53" fmla="*/ 2147483647 h 264"/>
              <a:gd name="T54" fmla="*/ 2147483647 w 237"/>
              <a:gd name="T55" fmla="*/ 2147483647 h 264"/>
              <a:gd name="T56" fmla="*/ 2147483647 w 237"/>
              <a:gd name="T57" fmla="*/ 2147483647 h 264"/>
              <a:gd name="T58" fmla="*/ 2147483647 w 237"/>
              <a:gd name="T59" fmla="*/ 2147483647 h 264"/>
              <a:gd name="T60" fmla="*/ 2147483647 w 237"/>
              <a:gd name="T61" fmla="*/ 2147483647 h 264"/>
              <a:gd name="T62" fmla="*/ 2147483647 w 237"/>
              <a:gd name="T63" fmla="*/ 2147483647 h 264"/>
              <a:gd name="T64" fmla="*/ 2147483647 w 237"/>
              <a:gd name="T65" fmla="*/ 2147483647 h 264"/>
              <a:gd name="T66" fmla="*/ 2147483647 w 237"/>
              <a:gd name="T67" fmla="*/ 2147483647 h 264"/>
              <a:gd name="T68" fmla="*/ 2147483647 w 237"/>
              <a:gd name="T69" fmla="*/ 2147483647 h 264"/>
              <a:gd name="T70" fmla="*/ 2147483647 w 237"/>
              <a:gd name="T71" fmla="*/ 2147483647 h 264"/>
              <a:gd name="T72" fmla="*/ 2147483647 w 237"/>
              <a:gd name="T73" fmla="*/ 2147483647 h 264"/>
              <a:gd name="T74" fmla="*/ 2147483647 w 237"/>
              <a:gd name="T75" fmla="*/ 2147483647 h 264"/>
              <a:gd name="T76" fmla="*/ 2147483647 w 237"/>
              <a:gd name="T77" fmla="*/ 2147483647 h 264"/>
              <a:gd name="T78" fmla="*/ 2147483647 w 237"/>
              <a:gd name="T79" fmla="*/ 2147483647 h 264"/>
              <a:gd name="T80" fmla="*/ 2147483647 w 237"/>
              <a:gd name="T81" fmla="*/ 2147483647 h 264"/>
              <a:gd name="T82" fmla="*/ 2147483647 w 237"/>
              <a:gd name="T83" fmla="*/ 2147483647 h 264"/>
              <a:gd name="T84" fmla="*/ 2147483647 w 237"/>
              <a:gd name="T85" fmla="*/ 2147483647 h 264"/>
              <a:gd name="T86" fmla="*/ 2147483647 w 237"/>
              <a:gd name="T87" fmla="*/ 2147483647 h 264"/>
              <a:gd name="T88" fmla="*/ 2147483647 w 237"/>
              <a:gd name="T89" fmla="*/ 2147483647 h 264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237"/>
              <a:gd name="T136" fmla="*/ 0 h 264"/>
              <a:gd name="T137" fmla="*/ 237 w 237"/>
              <a:gd name="T138" fmla="*/ 264 h 264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237" h="264">
                <a:moveTo>
                  <a:pt x="181" y="58"/>
                </a:moveTo>
                <a:lnTo>
                  <a:pt x="180" y="49"/>
                </a:lnTo>
                <a:lnTo>
                  <a:pt x="159" y="37"/>
                </a:lnTo>
                <a:lnTo>
                  <a:pt x="139" y="24"/>
                </a:lnTo>
                <a:lnTo>
                  <a:pt x="118" y="12"/>
                </a:lnTo>
                <a:lnTo>
                  <a:pt x="99" y="0"/>
                </a:lnTo>
                <a:lnTo>
                  <a:pt x="80" y="0"/>
                </a:lnTo>
                <a:lnTo>
                  <a:pt x="61" y="0"/>
                </a:lnTo>
                <a:lnTo>
                  <a:pt x="43" y="1"/>
                </a:lnTo>
                <a:lnTo>
                  <a:pt x="24" y="1"/>
                </a:lnTo>
                <a:lnTo>
                  <a:pt x="31" y="33"/>
                </a:lnTo>
                <a:lnTo>
                  <a:pt x="25" y="35"/>
                </a:lnTo>
                <a:lnTo>
                  <a:pt x="25" y="47"/>
                </a:lnTo>
                <a:lnTo>
                  <a:pt x="31" y="55"/>
                </a:lnTo>
                <a:lnTo>
                  <a:pt x="18" y="70"/>
                </a:lnTo>
                <a:lnTo>
                  <a:pt x="4" y="85"/>
                </a:lnTo>
                <a:lnTo>
                  <a:pt x="0" y="85"/>
                </a:lnTo>
                <a:lnTo>
                  <a:pt x="1" y="103"/>
                </a:lnTo>
                <a:lnTo>
                  <a:pt x="1" y="121"/>
                </a:lnTo>
                <a:lnTo>
                  <a:pt x="9" y="143"/>
                </a:lnTo>
                <a:lnTo>
                  <a:pt x="19" y="160"/>
                </a:lnTo>
                <a:lnTo>
                  <a:pt x="27" y="178"/>
                </a:lnTo>
                <a:lnTo>
                  <a:pt x="28" y="183"/>
                </a:lnTo>
                <a:lnTo>
                  <a:pt x="51" y="196"/>
                </a:lnTo>
                <a:lnTo>
                  <a:pt x="74" y="208"/>
                </a:lnTo>
                <a:lnTo>
                  <a:pt x="97" y="211"/>
                </a:lnTo>
                <a:lnTo>
                  <a:pt x="105" y="216"/>
                </a:lnTo>
                <a:lnTo>
                  <a:pt x="111" y="243"/>
                </a:lnTo>
                <a:lnTo>
                  <a:pt x="117" y="262"/>
                </a:lnTo>
                <a:lnTo>
                  <a:pt x="127" y="262"/>
                </a:lnTo>
                <a:lnTo>
                  <a:pt x="139" y="261"/>
                </a:lnTo>
                <a:lnTo>
                  <a:pt x="164" y="264"/>
                </a:lnTo>
                <a:lnTo>
                  <a:pt x="180" y="258"/>
                </a:lnTo>
                <a:lnTo>
                  <a:pt x="192" y="257"/>
                </a:lnTo>
                <a:lnTo>
                  <a:pt x="214" y="246"/>
                </a:lnTo>
                <a:lnTo>
                  <a:pt x="237" y="235"/>
                </a:lnTo>
                <a:lnTo>
                  <a:pt x="223" y="220"/>
                </a:lnTo>
                <a:lnTo>
                  <a:pt x="218" y="196"/>
                </a:lnTo>
                <a:lnTo>
                  <a:pt x="216" y="177"/>
                </a:lnTo>
                <a:lnTo>
                  <a:pt x="214" y="169"/>
                </a:lnTo>
                <a:lnTo>
                  <a:pt x="218" y="145"/>
                </a:lnTo>
                <a:lnTo>
                  <a:pt x="204" y="124"/>
                </a:lnTo>
                <a:lnTo>
                  <a:pt x="213" y="91"/>
                </a:lnTo>
                <a:lnTo>
                  <a:pt x="198" y="75"/>
                </a:lnTo>
                <a:lnTo>
                  <a:pt x="181" y="5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43" name="Freeform 126"/>
          <p:cNvSpPr>
            <a:spLocks/>
          </p:cNvSpPr>
          <p:nvPr/>
        </p:nvSpPr>
        <p:spPr bwMode="auto">
          <a:xfrm>
            <a:off x="5278438" y="4602163"/>
            <a:ext cx="157162" cy="190500"/>
          </a:xfrm>
          <a:custGeom>
            <a:avLst/>
            <a:gdLst>
              <a:gd name="T0" fmla="*/ 2147483647 w 118"/>
              <a:gd name="T1" fmla="*/ 2147483647 h 139"/>
              <a:gd name="T2" fmla="*/ 2147483647 w 118"/>
              <a:gd name="T3" fmla="*/ 0 h 139"/>
              <a:gd name="T4" fmla="*/ 2147483647 w 118"/>
              <a:gd name="T5" fmla="*/ 2147483647 h 139"/>
              <a:gd name="T6" fmla="*/ 2147483647 w 118"/>
              <a:gd name="T7" fmla="*/ 2147483647 h 139"/>
              <a:gd name="T8" fmla="*/ 2147483647 w 118"/>
              <a:gd name="T9" fmla="*/ 2147483647 h 139"/>
              <a:gd name="T10" fmla="*/ 2147483647 w 118"/>
              <a:gd name="T11" fmla="*/ 2147483647 h 139"/>
              <a:gd name="T12" fmla="*/ 2147483647 w 118"/>
              <a:gd name="T13" fmla="*/ 2147483647 h 139"/>
              <a:gd name="T14" fmla="*/ 2147483647 w 118"/>
              <a:gd name="T15" fmla="*/ 2147483647 h 139"/>
              <a:gd name="T16" fmla="*/ 2147483647 w 118"/>
              <a:gd name="T17" fmla="*/ 2147483647 h 139"/>
              <a:gd name="T18" fmla="*/ 2147483647 w 118"/>
              <a:gd name="T19" fmla="*/ 2147483647 h 139"/>
              <a:gd name="T20" fmla="*/ 2147483647 w 118"/>
              <a:gd name="T21" fmla="*/ 2147483647 h 139"/>
              <a:gd name="T22" fmla="*/ 2147483647 w 118"/>
              <a:gd name="T23" fmla="*/ 2147483647 h 139"/>
              <a:gd name="T24" fmla="*/ 2147483647 w 118"/>
              <a:gd name="T25" fmla="*/ 2147483647 h 139"/>
              <a:gd name="T26" fmla="*/ 0 w 118"/>
              <a:gd name="T27" fmla="*/ 2147483647 h 139"/>
              <a:gd name="T28" fmla="*/ 2147483647 w 118"/>
              <a:gd name="T29" fmla="*/ 2147483647 h 139"/>
              <a:gd name="T30" fmla="*/ 2147483647 w 118"/>
              <a:gd name="T31" fmla="*/ 2147483647 h 139"/>
              <a:gd name="T32" fmla="*/ 2147483647 w 118"/>
              <a:gd name="T33" fmla="*/ 2147483647 h 139"/>
              <a:gd name="T34" fmla="*/ 2147483647 w 118"/>
              <a:gd name="T35" fmla="*/ 2147483647 h 139"/>
              <a:gd name="T36" fmla="*/ 2147483647 w 118"/>
              <a:gd name="T37" fmla="*/ 2147483647 h 139"/>
              <a:gd name="T38" fmla="*/ 2147483647 w 118"/>
              <a:gd name="T39" fmla="*/ 2147483647 h 139"/>
              <a:gd name="T40" fmla="*/ 2147483647 w 118"/>
              <a:gd name="T41" fmla="*/ 2147483647 h 139"/>
              <a:gd name="T42" fmla="*/ 2147483647 w 118"/>
              <a:gd name="T43" fmla="*/ 2147483647 h 139"/>
              <a:gd name="T44" fmla="*/ 2147483647 w 118"/>
              <a:gd name="T45" fmla="*/ 2147483647 h 139"/>
              <a:gd name="T46" fmla="*/ 2147483647 w 118"/>
              <a:gd name="T47" fmla="*/ 2147483647 h 139"/>
              <a:gd name="T48" fmla="*/ 2147483647 w 118"/>
              <a:gd name="T49" fmla="*/ 2147483647 h 139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18"/>
              <a:gd name="T76" fmla="*/ 0 h 139"/>
              <a:gd name="T77" fmla="*/ 118 w 118"/>
              <a:gd name="T78" fmla="*/ 139 h 139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18" h="139">
                <a:moveTo>
                  <a:pt x="105" y="19"/>
                </a:moveTo>
                <a:lnTo>
                  <a:pt x="96" y="0"/>
                </a:lnTo>
                <a:lnTo>
                  <a:pt x="86" y="10"/>
                </a:lnTo>
                <a:lnTo>
                  <a:pt x="60" y="10"/>
                </a:lnTo>
                <a:lnTo>
                  <a:pt x="51" y="15"/>
                </a:lnTo>
                <a:lnTo>
                  <a:pt x="46" y="12"/>
                </a:lnTo>
                <a:lnTo>
                  <a:pt x="29" y="13"/>
                </a:lnTo>
                <a:lnTo>
                  <a:pt x="28" y="18"/>
                </a:lnTo>
                <a:lnTo>
                  <a:pt x="26" y="39"/>
                </a:lnTo>
                <a:lnTo>
                  <a:pt x="38" y="50"/>
                </a:lnTo>
                <a:lnTo>
                  <a:pt x="23" y="67"/>
                </a:lnTo>
                <a:lnTo>
                  <a:pt x="9" y="82"/>
                </a:lnTo>
                <a:lnTo>
                  <a:pt x="5" y="110"/>
                </a:lnTo>
                <a:lnTo>
                  <a:pt x="0" y="139"/>
                </a:lnTo>
                <a:lnTo>
                  <a:pt x="6" y="139"/>
                </a:lnTo>
                <a:lnTo>
                  <a:pt x="20" y="130"/>
                </a:lnTo>
                <a:lnTo>
                  <a:pt x="39" y="130"/>
                </a:lnTo>
                <a:lnTo>
                  <a:pt x="57" y="129"/>
                </a:lnTo>
                <a:lnTo>
                  <a:pt x="76" y="129"/>
                </a:lnTo>
                <a:lnTo>
                  <a:pt x="95" y="129"/>
                </a:lnTo>
                <a:lnTo>
                  <a:pt x="94" y="102"/>
                </a:lnTo>
                <a:lnTo>
                  <a:pt x="110" y="76"/>
                </a:lnTo>
                <a:lnTo>
                  <a:pt x="118" y="57"/>
                </a:lnTo>
                <a:lnTo>
                  <a:pt x="112" y="38"/>
                </a:lnTo>
                <a:lnTo>
                  <a:pt x="105" y="19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44" name="Freeform 127"/>
          <p:cNvSpPr>
            <a:spLocks/>
          </p:cNvSpPr>
          <p:nvPr/>
        </p:nvSpPr>
        <p:spPr bwMode="auto">
          <a:xfrm>
            <a:off x="4770438" y="4565650"/>
            <a:ext cx="558800" cy="639763"/>
          </a:xfrm>
          <a:custGeom>
            <a:avLst/>
            <a:gdLst>
              <a:gd name="T0" fmla="*/ 2147483647 w 419"/>
              <a:gd name="T1" fmla="*/ 2147483647 h 465"/>
              <a:gd name="T2" fmla="*/ 2147483647 w 419"/>
              <a:gd name="T3" fmla="*/ 2147483647 h 465"/>
              <a:gd name="T4" fmla="*/ 2147483647 w 419"/>
              <a:gd name="T5" fmla="*/ 2147483647 h 465"/>
              <a:gd name="T6" fmla="*/ 2147483647 w 419"/>
              <a:gd name="T7" fmla="*/ 2147483647 h 465"/>
              <a:gd name="T8" fmla="*/ 2147483647 w 419"/>
              <a:gd name="T9" fmla="*/ 2147483647 h 465"/>
              <a:gd name="T10" fmla="*/ 2147483647 w 419"/>
              <a:gd name="T11" fmla="*/ 2147483647 h 465"/>
              <a:gd name="T12" fmla="*/ 2147483647 w 419"/>
              <a:gd name="T13" fmla="*/ 2147483647 h 465"/>
              <a:gd name="T14" fmla="*/ 2147483647 w 419"/>
              <a:gd name="T15" fmla="*/ 2147483647 h 465"/>
              <a:gd name="T16" fmla="*/ 2147483647 w 419"/>
              <a:gd name="T17" fmla="*/ 2147483647 h 465"/>
              <a:gd name="T18" fmla="*/ 2147483647 w 419"/>
              <a:gd name="T19" fmla="*/ 2147483647 h 465"/>
              <a:gd name="T20" fmla="*/ 2147483647 w 419"/>
              <a:gd name="T21" fmla="*/ 2147483647 h 465"/>
              <a:gd name="T22" fmla="*/ 2147483647 w 419"/>
              <a:gd name="T23" fmla="*/ 2147483647 h 465"/>
              <a:gd name="T24" fmla="*/ 2147483647 w 419"/>
              <a:gd name="T25" fmla="*/ 2147483647 h 465"/>
              <a:gd name="T26" fmla="*/ 2147483647 w 419"/>
              <a:gd name="T27" fmla="*/ 2147483647 h 465"/>
              <a:gd name="T28" fmla="*/ 2147483647 w 419"/>
              <a:gd name="T29" fmla="*/ 2147483647 h 465"/>
              <a:gd name="T30" fmla="*/ 2147483647 w 419"/>
              <a:gd name="T31" fmla="*/ 2147483647 h 465"/>
              <a:gd name="T32" fmla="*/ 2147483647 w 419"/>
              <a:gd name="T33" fmla="*/ 2147483647 h 465"/>
              <a:gd name="T34" fmla="*/ 2147483647 w 419"/>
              <a:gd name="T35" fmla="*/ 2147483647 h 465"/>
              <a:gd name="T36" fmla="*/ 2147483647 w 419"/>
              <a:gd name="T37" fmla="*/ 2147483647 h 465"/>
              <a:gd name="T38" fmla="*/ 2147483647 w 419"/>
              <a:gd name="T39" fmla="*/ 2147483647 h 465"/>
              <a:gd name="T40" fmla="*/ 2147483647 w 419"/>
              <a:gd name="T41" fmla="*/ 2147483647 h 465"/>
              <a:gd name="T42" fmla="*/ 2147483647 w 419"/>
              <a:gd name="T43" fmla="*/ 2147483647 h 465"/>
              <a:gd name="T44" fmla="*/ 2147483647 w 419"/>
              <a:gd name="T45" fmla="*/ 2147483647 h 465"/>
              <a:gd name="T46" fmla="*/ 2147483647 w 419"/>
              <a:gd name="T47" fmla="*/ 2147483647 h 465"/>
              <a:gd name="T48" fmla="*/ 2147483647 w 419"/>
              <a:gd name="T49" fmla="*/ 2147483647 h 465"/>
              <a:gd name="T50" fmla="*/ 0 w 419"/>
              <a:gd name="T51" fmla="*/ 2147483647 h 465"/>
              <a:gd name="T52" fmla="*/ 2147483647 w 419"/>
              <a:gd name="T53" fmla="*/ 2147483647 h 465"/>
              <a:gd name="T54" fmla="*/ 2147483647 w 419"/>
              <a:gd name="T55" fmla="*/ 2147483647 h 465"/>
              <a:gd name="T56" fmla="*/ 2147483647 w 419"/>
              <a:gd name="T57" fmla="*/ 2147483647 h 465"/>
              <a:gd name="T58" fmla="*/ 2147483647 w 419"/>
              <a:gd name="T59" fmla="*/ 2147483647 h 465"/>
              <a:gd name="T60" fmla="*/ 2147483647 w 419"/>
              <a:gd name="T61" fmla="*/ 2147483647 h 465"/>
              <a:gd name="T62" fmla="*/ 2147483647 w 419"/>
              <a:gd name="T63" fmla="*/ 2147483647 h 465"/>
              <a:gd name="T64" fmla="*/ 2147483647 w 419"/>
              <a:gd name="T65" fmla="*/ 2147483647 h 465"/>
              <a:gd name="T66" fmla="*/ 2147483647 w 419"/>
              <a:gd name="T67" fmla="*/ 2147483647 h 465"/>
              <a:gd name="T68" fmla="*/ 2147483647 w 419"/>
              <a:gd name="T69" fmla="*/ 2147483647 h 465"/>
              <a:gd name="T70" fmla="*/ 2147483647 w 419"/>
              <a:gd name="T71" fmla="*/ 2147483647 h 465"/>
              <a:gd name="T72" fmla="*/ 2147483647 w 419"/>
              <a:gd name="T73" fmla="*/ 2147483647 h 465"/>
              <a:gd name="T74" fmla="*/ 2147483647 w 419"/>
              <a:gd name="T75" fmla="*/ 2147483647 h 465"/>
              <a:gd name="T76" fmla="*/ 2147483647 w 419"/>
              <a:gd name="T77" fmla="*/ 2147483647 h 465"/>
              <a:gd name="T78" fmla="*/ 2147483647 w 419"/>
              <a:gd name="T79" fmla="*/ 0 h 465"/>
              <a:gd name="T80" fmla="*/ 2147483647 w 419"/>
              <a:gd name="T81" fmla="*/ 2147483647 h 465"/>
              <a:gd name="T82" fmla="*/ 2147483647 w 419"/>
              <a:gd name="T83" fmla="*/ 2147483647 h 465"/>
              <a:gd name="T84" fmla="*/ 2147483647 w 419"/>
              <a:gd name="T85" fmla="*/ 2147483647 h 465"/>
              <a:gd name="T86" fmla="*/ 2147483647 w 419"/>
              <a:gd name="T87" fmla="*/ 2147483647 h 465"/>
              <a:gd name="T88" fmla="*/ 2147483647 w 419"/>
              <a:gd name="T89" fmla="*/ 2147483647 h 465"/>
              <a:gd name="T90" fmla="*/ 2147483647 w 419"/>
              <a:gd name="T91" fmla="*/ 2147483647 h 465"/>
              <a:gd name="T92" fmla="*/ 2147483647 w 419"/>
              <a:gd name="T93" fmla="*/ 2147483647 h 465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419"/>
              <a:gd name="T142" fmla="*/ 0 h 465"/>
              <a:gd name="T143" fmla="*/ 419 w 419"/>
              <a:gd name="T144" fmla="*/ 465 h 465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419" h="465">
                <a:moveTo>
                  <a:pt x="381" y="166"/>
                </a:moveTo>
                <a:lnTo>
                  <a:pt x="372" y="183"/>
                </a:lnTo>
                <a:lnTo>
                  <a:pt x="366" y="198"/>
                </a:lnTo>
                <a:lnTo>
                  <a:pt x="367" y="198"/>
                </a:lnTo>
                <a:lnTo>
                  <a:pt x="368" y="199"/>
                </a:lnTo>
                <a:lnTo>
                  <a:pt x="368" y="201"/>
                </a:lnTo>
                <a:lnTo>
                  <a:pt x="373" y="221"/>
                </a:lnTo>
                <a:lnTo>
                  <a:pt x="377" y="241"/>
                </a:lnTo>
                <a:lnTo>
                  <a:pt x="378" y="259"/>
                </a:lnTo>
                <a:lnTo>
                  <a:pt x="378" y="277"/>
                </a:lnTo>
                <a:lnTo>
                  <a:pt x="386" y="299"/>
                </a:lnTo>
                <a:lnTo>
                  <a:pt x="396" y="316"/>
                </a:lnTo>
                <a:lnTo>
                  <a:pt x="404" y="334"/>
                </a:lnTo>
                <a:lnTo>
                  <a:pt x="385" y="339"/>
                </a:lnTo>
                <a:lnTo>
                  <a:pt x="365" y="343"/>
                </a:lnTo>
                <a:lnTo>
                  <a:pt x="353" y="361"/>
                </a:lnTo>
                <a:lnTo>
                  <a:pt x="356" y="383"/>
                </a:lnTo>
                <a:lnTo>
                  <a:pt x="355" y="405"/>
                </a:lnTo>
                <a:lnTo>
                  <a:pt x="353" y="425"/>
                </a:lnTo>
                <a:lnTo>
                  <a:pt x="374" y="441"/>
                </a:lnTo>
                <a:lnTo>
                  <a:pt x="381" y="432"/>
                </a:lnTo>
                <a:lnTo>
                  <a:pt x="377" y="465"/>
                </a:lnTo>
                <a:lnTo>
                  <a:pt x="372" y="462"/>
                </a:lnTo>
                <a:lnTo>
                  <a:pt x="362" y="462"/>
                </a:lnTo>
                <a:lnTo>
                  <a:pt x="344" y="438"/>
                </a:lnTo>
                <a:lnTo>
                  <a:pt x="331" y="429"/>
                </a:lnTo>
                <a:lnTo>
                  <a:pt x="321" y="419"/>
                </a:lnTo>
                <a:lnTo>
                  <a:pt x="313" y="429"/>
                </a:lnTo>
                <a:lnTo>
                  <a:pt x="284" y="418"/>
                </a:lnTo>
                <a:lnTo>
                  <a:pt x="281" y="411"/>
                </a:lnTo>
                <a:lnTo>
                  <a:pt x="264" y="413"/>
                </a:lnTo>
                <a:lnTo>
                  <a:pt x="255" y="401"/>
                </a:lnTo>
                <a:lnTo>
                  <a:pt x="237" y="405"/>
                </a:lnTo>
                <a:lnTo>
                  <a:pt x="219" y="408"/>
                </a:lnTo>
                <a:lnTo>
                  <a:pt x="218" y="399"/>
                </a:lnTo>
                <a:lnTo>
                  <a:pt x="211" y="373"/>
                </a:lnTo>
                <a:lnTo>
                  <a:pt x="211" y="345"/>
                </a:lnTo>
                <a:lnTo>
                  <a:pt x="210" y="316"/>
                </a:lnTo>
                <a:lnTo>
                  <a:pt x="181" y="312"/>
                </a:lnTo>
                <a:lnTo>
                  <a:pt x="182" y="306"/>
                </a:lnTo>
                <a:lnTo>
                  <a:pt x="159" y="305"/>
                </a:lnTo>
                <a:lnTo>
                  <a:pt x="155" y="327"/>
                </a:lnTo>
                <a:lnTo>
                  <a:pt x="128" y="333"/>
                </a:lnTo>
                <a:lnTo>
                  <a:pt x="112" y="327"/>
                </a:lnTo>
                <a:lnTo>
                  <a:pt x="104" y="303"/>
                </a:lnTo>
                <a:lnTo>
                  <a:pt x="96" y="280"/>
                </a:lnTo>
                <a:lnTo>
                  <a:pt x="76" y="279"/>
                </a:lnTo>
                <a:lnTo>
                  <a:pt x="58" y="279"/>
                </a:lnTo>
                <a:lnTo>
                  <a:pt x="39" y="277"/>
                </a:lnTo>
                <a:lnTo>
                  <a:pt x="20" y="276"/>
                </a:lnTo>
                <a:lnTo>
                  <a:pt x="3" y="279"/>
                </a:lnTo>
                <a:lnTo>
                  <a:pt x="0" y="275"/>
                </a:lnTo>
                <a:lnTo>
                  <a:pt x="7" y="273"/>
                </a:lnTo>
                <a:lnTo>
                  <a:pt x="8" y="253"/>
                </a:lnTo>
                <a:lnTo>
                  <a:pt x="19" y="246"/>
                </a:lnTo>
                <a:lnTo>
                  <a:pt x="30" y="250"/>
                </a:lnTo>
                <a:lnTo>
                  <a:pt x="36" y="243"/>
                </a:lnTo>
                <a:lnTo>
                  <a:pt x="49" y="241"/>
                </a:lnTo>
                <a:lnTo>
                  <a:pt x="51" y="252"/>
                </a:lnTo>
                <a:lnTo>
                  <a:pt x="68" y="235"/>
                </a:lnTo>
                <a:lnTo>
                  <a:pt x="85" y="220"/>
                </a:lnTo>
                <a:lnTo>
                  <a:pt x="87" y="201"/>
                </a:lnTo>
                <a:lnTo>
                  <a:pt x="91" y="181"/>
                </a:lnTo>
                <a:lnTo>
                  <a:pt x="106" y="161"/>
                </a:lnTo>
                <a:lnTo>
                  <a:pt x="121" y="141"/>
                </a:lnTo>
                <a:lnTo>
                  <a:pt x="124" y="121"/>
                </a:lnTo>
                <a:lnTo>
                  <a:pt x="128" y="103"/>
                </a:lnTo>
                <a:lnTo>
                  <a:pt x="130" y="84"/>
                </a:lnTo>
                <a:lnTo>
                  <a:pt x="134" y="66"/>
                </a:lnTo>
                <a:lnTo>
                  <a:pt x="140" y="45"/>
                </a:lnTo>
                <a:lnTo>
                  <a:pt x="139" y="25"/>
                </a:lnTo>
                <a:lnTo>
                  <a:pt x="157" y="4"/>
                </a:lnTo>
                <a:lnTo>
                  <a:pt x="180" y="17"/>
                </a:lnTo>
                <a:lnTo>
                  <a:pt x="200" y="23"/>
                </a:lnTo>
                <a:lnTo>
                  <a:pt x="222" y="29"/>
                </a:lnTo>
                <a:lnTo>
                  <a:pt x="231" y="13"/>
                </a:lnTo>
                <a:lnTo>
                  <a:pt x="241" y="15"/>
                </a:lnTo>
                <a:lnTo>
                  <a:pt x="264" y="7"/>
                </a:lnTo>
                <a:lnTo>
                  <a:pt x="279" y="7"/>
                </a:lnTo>
                <a:lnTo>
                  <a:pt x="288" y="0"/>
                </a:lnTo>
                <a:lnTo>
                  <a:pt x="305" y="1"/>
                </a:lnTo>
                <a:lnTo>
                  <a:pt x="321" y="4"/>
                </a:lnTo>
                <a:lnTo>
                  <a:pt x="333" y="6"/>
                </a:lnTo>
                <a:lnTo>
                  <a:pt x="339" y="12"/>
                </a:lnTo>
                <a:lnTo>
                  <a:pt x="356" y="23"/>
                </a:lnTo>
                <a:lnTo>
                  <a:pt x="369" y="21"/>
                </a:lnTo>
                <a:lnTo>
                  <a:pt x="378" y="15"/>
                </a:lnTo>
                <a:lnTo>
                  <a:pt x="393" y="30"/>
                </a:lnTo>
                <a:lnTo>
                  <a:pt x="409" y="45"/>
                </a:lnTo>
                <a:lnTo>
                  <a:pt x="407" y="66"/>
                </a:lnTo>
                <a:lnTo>
                  <a:pt x="419" y="77"/>
                </a:lnTo>
                <a:lnTo>
                  <a:pt x="404" y="94"/>
                </a:lnTo>
                <a:lnTo>
                  <a:pt x="390" y="109"/>
                </a:lnTo>
                <a:lnTo>
                  <a:pt x="386" y="137"/>
                </a:lnTo>
                <a:lnTo>
                  <a:pt x="381" y="166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9345" name="Freeform 128"/>
          <p:cNvSpPr>
            <a:spLocks/>
          </p:cNvSpPr>
          <p:nvPr/>
        </p:nvSpPr>
        <p:spPr bwMode="auto">
          <a:xfrm>
            <a:off x="5049838" y="5022850"/>
            <a:ext cx="341312" cy="338138"/>
          </a:xfrm>
          <a:custGeom>
            <a:avLst/>
            <a:gdLst>
              <a:gd name="T0" fmla="*/ 2147483647 w 258"/>
              <a:gd name="T1" fmla="*/ 2147483647 h 246"/>
              <a:gd name="T2" fmla="*/ 2147483647 w 258"/>
              <a:gd name="T3" fmla="*/ 2147483647 h 246"/>
              <a:gd name="T4" fmla="*/ 2147483647 w 258"/>
              <a:gd name="T5" fmla="*/ 2147483647 h 246"/>
              <a:gd name="T6" fmla="*/ 2147483647 w 258"/>
              <a:gd name="T7" fmla="*/ 2147483647 h 246"/>
              <a:gd name="T8" fmla="*/ 2147483647 w 258"/>
              <a:gd name="T9" fmla="*/ 2147483647 h 246"/>
              <a:gd name="T10" fmla="*/ 2147483647 w 258"/>
              <a:gd name="T11" fmla="*/ 2147483647 h 246"/>
              <a:gd name="T12" fmla="*/ 0 w 258"/>
              <a:gd name="T13" fmla="*/ 2147483647 h 246"/>
              <a:gd name="T14" fmla="*/ 2147483647 w 258"/>
              <a:gd name="T15" fmla="*/ 2147483647 h 246"/>
              <a:gd name="T16" fmla="*/ 2147483647 w 258"/>
              <a:gd name="T17" fmla="*/ 2147483647 h 246"/>
              <a:gd name="T18" fmla="*/ 2147483647 w 258"/>
              <a:gd name="T19" fmla="*/ 2147483647 h 246"/>
              <a:gd name="T20" fmla="*/ 2147483647 w 258"/>
              <a:gd name="T21" fmla="*/ 2147483647 h 246"/>
              <a:gd name="T22" fmla="*/ 2147483647 w 258"/>
              <a:gd name="T23" fmla="*/ 2147483647 h 246"/>
              <a:gd name="T24" fmla="*/ 2147483647 w 258"/>
              <a:gd name="T25" fmla="*/ 2147483647 h 246"/>
              <a:gd name="T26" fmla="*/ 2147483647 w 258"/>
              <a:gd name="T27" fmla="*/ 2147483647 h 246"/>
              <a:gd name="T28" fmla="*/ 2147483647 w 258"/>
              <a:gd name="T29" fmla="*/ 2147483647 h 246"/>
              <a:gd name="T30" fmla="*/ 2147483647 w 258"/>
              <a:gd name="T31" fmla="*/ 2147483647 h 246"/>
              <a:gd name="T32" fmla="*/ 2147483647 w 258"/>
              <a:gd name="T33" fmla="*/ 2147483647 h 246"/>
              <a:gd name="T34" fmla="*/ 2147483647 w 258"/>
              <a:gd name="T35" fmla="*/ 2147483647 h 246"/>
              <a:gd name="T36" fmla="*/ 2147483647 w 258"/>
              <a:gd name="T37" fmla="*/ 2147483647 h 246"/>
              <a:gd name="T38" fmla="*/ 2147483647 w 258"/>
              <a:gd name="T39" fmla="*/ 2147483647 h 246"/>
              <a:gd name="T40" fmla="*/ 2147483647 w 258"/>
              <a:gd name="T41" fmla="*/ 2147483647 h 246"/>
              <a:gd name="T42" fmla="*/ 2147483647 w 258"/>
              <a:gd name="T43" fmla="*/ 2147483647 h 246"/>
              <a:gd name="T44" fmla="*/ 2147483647 w 258"/>
              <a:gd name="T45" fmla="*/ 2147483647 h 246"/>
              <a:gd name="T46" fmla="*/ 2147483647 w 258"/>
              <a:gd name="T47" fmla="*/ 2147483647 h 246"/>
              <a:gd name="T48" fmla="*/ 2147483647 w 258"/>
              <a:gd name="T49" fmla="*/ 2147483647 h 246"/>
              <a:gd name="T50" fmla="*/ 2147483647 w 258"/>
              <a:gd name="T51" fmla="*/ 2147483647 h 246"/>
              <a:gd name="T52" fmla="*/ 2147483647 w 258"/>
              <a:gd name="T53" fmla="*/ 2147483647 h 246"/>
              <a:gd name="T54" fmla="*/ 2147483647 w 258"/>
              <a:gd name="T55" fmla="*/ 2147483647 h 246"/>
              <a:gd name="T56" fmla="*/ 2147483647 w 258"/>
              <a:gd name="T57" fmla="*/ 2147483647 h 246"/>
              <a:gd name="T58" fmla="*/ 2147483647 w 258"/>
              <a:gd name="T59" fmla="*/ 2147483647 h 246"/>
              <a:gd name="T60" fmla="*/ 2147483647 w 258"/>
              <a:gd name="T61" fmla="*/ 2147483647 h 246"/>
              <a:gd name="T62" fmla="*/ 2147483647 w 258"/>
              <a:gd name="T63" fmla="*/ 2147483647 h 246"/>
              <a:gd name="T64" fmla="*/ 2147483647 w 258"/>
              <a:gd name="T65" fmla="*/ 0 h 246"/>
              <a:gd name="T66" fmla="*/ 2147483647 w 258"/>
              <a:gd name="T67" fmla="*/ 2147483647 h 246"/>
              <a:gd name="T68" fmla="*/ 2147483647 w 258"/>
              <a:gd name="T69" fmla="*/ 2147483647 h 246"/>
              <a:gd name="T70" fmla="*/ 2147483647 w 258"/>
              <a:gd name="T71" fmla="*/ 2147483647 h 246"/>
              <a:gd name="T72" fmla="*/ 2147483647 w 258"/>
              <a:gd name="T73" fmla="*/ 2147483647 h 246"/>
              <a:gd name="T74" fmla="*/ 2147483647 w 258"/>
              <a:gd name="T75" fmla="*/ 2147483647 h 246"/>
              <a:gd name="T76" fmla="*/ 2147483647 w 258"/>
              <a:gd name="T77" fmla="*/ 2147483647 h 246"/>
              <a:gd name="T78" fmla="*/ 2147483647 w 258"/>
              <a:gd name="T79" fmla="*/ 2147483647 h 246"/>
              <a:gd name="T80" fmla="*/ 2147483647 w 258"/>
              <a:gd name="T81" fmla="*/ 2147483647 h 246"/>
              <a:gd name="T82" fmla="*/ 2147483647 w 258"/>
              <a:gd name="T83" fmla="*/ 2147483647 h 246"/>
              <a:gd name="T84" fmla="*/ 2147483647 w 258"/>
              <a:gd name="T85" fmla="*/ 2147483647 h 246"/>
              <a:gd name="T86" fmla="*/ 2147483647 w 258"/>
              <a:gd name="T87" fmla="*/ 2147483647 h 246"/>
              <a:gd name="T88" fmla="*/ 2147483647 w 258"/>
              <a:gd name="T89" fmla="*/ 2147483647 h 246"/>
              <a:gd name="T90" fmla="*/ 2147483647 w 258"/>
              <a:gd name="T91" fmla="*/ 2147483647 h 246"/>
              <a:gd name="T92" fmla="*/ 2147483647 w 258"/>
              <a:gd name="T93" fmla="*/ 2147483647 h 246"/>
              <a:gd name="T94" fmla="*/ 2147483647 w 258"/>
              <a:gd name="T95" fmla="*/ 2147483647 h 246"/>
              <a:gd name="T96" fmla="*/ 2147483647 w 258"/>
              <a:gd name="T97" fmla="*/ 2147483647 h 246"/>
              <a:gd name="T98" fmla="*/ 2147483647 w 258"/>
              <a:gd name="T99" fmla="*/ 2147483647 h 246"/>
              <a:gd name="T100" fmla="*/ 2147483647 w 258"/>
              <a:gd name="T101" fmla="*/ 2147483647 h 246"/>
              <a:gd name="T102" fmla="*/ 2147483647 w 258"/>
              <a:gd name="T103" fmla="*/ 2147483647 h 246"/>
              <a:gd name="T104" fmla="*/ 2147483647 w 258"/>
              <a:gd name="T105" fmla="*/ 2147483647 h 246"/>
              <a:gd name="T106" fmla="*/ 2147483647 w 258"/>
              <a:gd name="T107" fmla="*/ 2147483647 h 24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58"/>
              <a:gd name="T163" fmla="*/ 0 h 246"/>
              <a:gd name="T164" fmla="*/ 258 w 258"/>
              <a:gd name="T165" fmla="*/ 246 h 24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58" h="246">
                <a:moveTo>
                  <a:pt x="45" y="119"/>
                </a:moveTo>
                <a:lnTo>
                  <a:pt x="24" y="119"/>
                </a:lnTo>
                <a:lnTo>
                  <a:pt x="2" y="120"/>
                </a:lnTo>
                <a:lnTo>
                  <a:pt x="2" y="139"/>
                </a:lnTo>
                <a:lnTo>
                  <a:pt x="1" y="159"/>
                </a:lnTo>
                <a:lnTo>
                  <a:pt x="1" y="179"/>
                </a:lnTo>
                <a:lnTo>
                  <a:pt x="0" y="198"/>
                </a:lnTo>
                <a:lnTo>
                  <a:pt x="15" y="217"/>
                </a:lnTo>
                <a:lnTo>
                  <a:pt x="31" y="235"/>
                </a:lnTo>
                <a:lnTo>
                  <a:pt x="45" y="231"/>
                </a:lnTo>
                <a:lnTo>
                  <a:pt x="69" y="239"/>
                </a:lnTo>
                <a:lnTo>
                  <a:pt x="100" y="246"/>
                </a:lnTo>
                <a:lnTo>
                  <a:pt x="121" y="228"/>
                </a:lnTo>
                <a:lnTo>
                  <a:pt x="144" y="209"/>
                </a:lnTo>
                <a:lnTo>
                  <a:pt x="151" y="193"/>
                </a:lnTo>
                <a:lnTo>
                  <a:pt x="166" y="189"/>
                </a:lnTo>
                <a:lnTo>
                  <a:pt x="183" y="185"/>
                </a:lnTo>
                <a:lnTo>
                  <a:pt x="180" y="171"/>
                </a:lnTo>
                <a:lnTo>
                  <a:pt x="195" y="165"/>
                </a:lnTo>
                <a:lnTo>
                  <a:pt x="212" y="158"/>
                </a:lnTo>
                <a:lnTo>
                  <a:pt x="229" y="152"/>
                </a:lnTo>
                <a:lnTo>
                  <a:pt x="246" y="145"/>
                </a:lnTo>
                <a:lnTo>
                  <a:pt x="235" y="134"/>
                </a:lnTo>
                <a:lnTo>
                  <a:pt x="247" y="110"/>
                </a:lnTo>
                <a:lnTo>
                  <a:pt x="250" y="103"/>
                </a:lnTo>
                <a:lnTo>
                  <a:pt x="252" y="84"/>
                </a:lnTo>
                <a:lnTo>
                  <a:pt x="252" y="65"/>
                </a:lnTo>
                <a:lnTo>
                  <a:pt x="258" y="56"/>
                </a:lnTo>
                <a:lnTo>
                  <a:pt x="244" y="36"/>
                </a:lnTo>
                <a:lnTo>
                  <a:pt x="242" y="30"/>
                </a:lnTo>
                <a:lnTo>
                  <a:pt x="219" y="18"/>
                </a:lnTo>
                <a:lnTo>
                  <a:pt x="196" y="5"/>
                </a:lnTo>
                <a:lnTo>
                  <a:pt x="195" y="0"/>
                </a:lnTo>
                <a:lnTo>
                  <a:pt x="176" y="5"/>
                </a:lnTo>
                <a:lnTo>
                  <a:pt x="156" y="9"/>
                </a:lnTo>
                <a:lnTo>
                  <a:pt x="144" y="27"/>
                </a:lnTo>
                <a:lnTo>
                  <a:pt x="147" y="49"/>
                </a:lnTo>
                <a:lnTo>
                  <a:pt x="146" y="71"/>
                </a:lnTo>
                <a:lnTo>
                  <a:pt x="144" y="91"/>
                </a:lnTo>
                <a:lnTo>
                  <a:pt x="165" y="107"/>
                </a:lnTo>
                <a:lnTo>
                  <a:pt x="172" y="98"/>
                </a:lnTo>
                <a:lnTo>
                  <a:pt x="168" y="131"/>
                </a:lnTo>
                <a:lnTo>
                  <a:pt x="163" y="128"/>
                </a:lnTo>
                <a:lnTo>
                  <a:pt x="153" y="128"/>
                </a:lnTo>
                <a:lnTo>
                  <a:pt x="135" y="104"/>
                </a:lnTo>
                <a:lnTo>
                  <a:pt x="122" y="95"/>
                </a:lnTo>
                <a:lnTo>
                  <a:pt x="112" y="85"/>
                </a:lnTo>
                <a:lnTo>
                  <a:pt x="104" y="95"/>
                </a:lnTo>
                <a:lnTo>
                  <a:pt x="75" y="84"/>
                </a:lnTo>
                <a:lnTo>
                  <a:pt x="72" y="77"/>
                </a:lnTo>
                <a:lnTo>
                  <a:pt x="55" y="79"/>
                </a:lnTo>
                <a:lnTo>
                  <a:pt x="46" y="67"/>
                </a:lnTo>
                <a:lnTo>
                  <a:pt x="46" y="92"/>
                </a:lnTo>
                <a:lnTo>
                  <a:pt x="45" y="119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46" name="Freeform 129"/>
          <p:cNvSpPr>
            <a:spLocks/>
          </p:cNvSpPr>
          <p:nvPr/>
        </p:nvSpPr>
        <p:spPr bwMode="auto">
          <a:xfrm>
            <a:off x="5141913" y="5278438"/>
            <a:ext cx="220662" cy="231775"/>
          </a:xfrm>
          <a:custGeom>
            <a:avLst/>
            <a:gdLst>
              <a:gd name="T0" fmla="*/ 2147483647 w 167"/>
              <a:gd name="T1" fmla="*/ 2147483647 h 169"/>
              <a:gd name="T2" fmla="*/ 2147483647 w 167"/>
              <a:gd name="T3" fmla="*/ 2147483647 h 169"/>
              <a:gd name="T4" fmla="*/ 2147483647 w 167"/>
              <a:gd name="T5" fmla="*/ 2147483647 h 169"/>
              <a:gd name="T6" fmla="*/ 2147483647 w 167"/>
              <a:gd name="T7" fmla="*/ 2147483647 h 169"/>
              <a:gd name="T8" fmla="*/ 2147483647 w 167"/>
              <a:gd name="T9" fmla="*/ 2147483647 h 169"/>
              <a:gd name="T10" fmla="*/ 2147483647 w 167"/>
              <a:gd name="T11" fmla="*/ 2147483647 h 169"/>
              <a:gd name="T12" fmla="*/ 2147483647 w 167"/>
              <a:gd name="T13" fmla="*/ 2147483647 h 169"/>
              <a:gd name="T14" fmla="*/ 2147483647 w 167"/>
              <a:gd name="T15" fmla="*/ 2147483647 h 169"/>
              <a:gd name="T16" fmla="*/ 0 w 167"/>
              <a:gd name="T17" fmla="*/ 2147483647 h 169"/>
              <a:gd name="T18" fmla="*/ 2147483647 w 167"/>
              <a:gd name="T19" fmla="*/ 2147483647 h 169"/>
              <a:gd name="T20" fmla="*/ 2147483647 w 167"/>
              <a:gd name="T21" fmla="*/ 2147483647 h 169"/>
              <a:gd name="T22" fmla="*/ 2147483647 w 167"/>
              <a:gd name="T23" fmla="*/ 2147483647 h 169"/>
              <a:gd name="T24" fmla="*/ 2147483647 w 167"/>
              <a:gd name="T25" fmla="*/ 2147483647 h 169"/>
              <a:gd name="T26" fmla="*/ 2147483647 w 167"/>
              <a:gd name="T27" fmla="*/ 2147483647 h 169"/>
              <a:gd name="T28" fmla="*/ 2147483647 w 167"/>
              <a:gd name="T29" fmla="*/ 0 h 169"/>
              <a:gd name="T30" fmla="*/ 2147483647 w 167"/>
              <a:gd name="T31" fmla="*/ 2147483647 h 169"/>
              <a:gd name="T32" fmla="*/ 2147483647 w 167"/>
              <a:gd name="T33" fmla="*/ 2147483647 h 169"/>
              <a:gd name="T34" fmla="*/ 2147483647 w 167"/>
              <a:gd name="T35" fmla="*/ 2147483647 h 169"/>
              <a:gd name="T36" fmla="*/ 2147483647 w 167"/>
              <a:gd name="T37" fmla="*/ 2147483647 h 169"/>
              <a:gd name="T38" fmla="*/ 2147483647 w 167"/>
              <a:gd name="T39" fmla="*/ 2147483647 h 169"/>
              <a:gd name="T40" fmla="*/ 2147483647 w 167"/>
              <a:gd name="T41" fmla="*/ 2147483647 h 169"/>
              <a:gd name="T42" fmla="*/ 2147483647 w 167"/>
              <a:gd name="T43" fmla="*/ 2147483647 h 169"/>
              <a:gd name="T44" fmla="*/ 2147483647 w 167"/>
              <a:gd name="T45" fmla="*/ 2147483647 h 169"/>
              <a:gd name="T46" fmla="*/ 2147483647 w 167"/>
              <a:gd name="T47" fmla="*/ 2147483647 h 169"/>
              <a:gd name="T48" fmla="*/ 2147483647 w 167"/>
              <a:gd name="T49" fmla="*/ 2147483647 h 169"/>
              <a:gd name="T50" fmla="*/ 2147483647 w 167"/>
              <a:gd name="T51" fmla="*/ 2147483647 h 169"/>
              <a:gd name="T52" fmla="*/ 2147483647 w 167"/>
              <a:gd name="T53" fmla="*/ 2147483647 h 169"/>
              <a:gd name="T54" fmla="*/ 2147483647 w 167"/>
              <a:gd name="T55" fmla="*/ 2147483647 h 169"/>
              <a:gd name="T56" fmla="*/ 2147483647 w 167"/>
              <a:gd name="T57" fmla="*/ 2147483647 h 16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67"/>
              <a:gd name="T88" fmla="*/ 0 h 169"/>
              <a:gd name="T89" fmla="*/ 167 w 167"/>
              <a:gd name="T90" fmla="*/ 169 h 169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67" h="169">
                <a:moveTo>
                  <a:pt x="83" y="160"/>
                </a:moveTo>
                <a:lnTo>
                  <a:pt x="77" y="157"/>
                </a:lnTo>
                <a:lnTo>
                  <a:pt x="58" y="147"/>
                </a:lnTo>
                <a:lnTo>
                  <a:pt x="51" y="127"/>
                </a:lnTo>
                <a:lnTo>
                  <a:pt x="46" y="120"/>
                </a:lnTo>
                <a:lnTo>
                  <a:pt x="41" y="115"/>
                </a:lnTo>
                <a:lnTo>
                  <a:pt x="25" y="102"/>
                </a:lnTo>
                <a:lnTo>
                  <a:pt x="13" y="78"/>
                </a:lnTo>
                <a:lnTo>
                  <a:pt x="0" y="54"/>
                </a:lnTo>
                <a:lnTo>
                  <a:pt x="31" y="61"/>
                </a:lnTo>
                <a:lnTo>
                  <a:pt x="52" y="43"/>
                </a:lnTo>
                <a:lnTo>
                  <a:pt x="75" y="24"/>
                </a:lnTo>
                <a:lnTo>
                  <a:pt x="82" y="8"/>
                </a:lnTo>
                <a:lnTo>
                  <a:pt x="97" y="4"/>
                </a:lnTo>
                <a:lnTo>
                  <a:pt x="114" y="0"/>
                </a:lnTo>
                <a:lnTo>
                  <a:pt x="113" y="9"/>
                </a:lnTo>
                <a:lnTo>
                  <a:pt x="125" y="9"/>
                </a:lnTo>
                <a:lnTo>
                  <a:pt x="145" y="18"/>
                </a:lnTo>
                <a:lnTo>
                  <a:pt x="167" y="27"/>
                </a:lnTo>
                <a:lnTo>
                  <a:pt x="167" y="57"/>
                </a:lnTo>
                <a:lnTo>
                  <a:pt x="162" y="78"/>
                </a:lnTo>
                <a:lnTo>
                  <a:pt x="165" y="100"/>
                </a:lnTo>
                <a:lnTo>
                  <a:pt x="157" y="122"/>
                </a:lnTo>
                <a:lnTo>
                  <a:pt x="153" y="142"/>
                </a:lnTo>
                <a:lnTo>
                  <a:pt x="139" y="156"/>
                </a:lnTo>
                <a:lnTo>
                  <a:pt x="125" y="169"/>
                </a:lnTo>
                <a:lnTo>
                  <a:pt x="105" y="165"/>
                </a:lnTo>
                <a:lnTo>
                  <a:pt x="84" y="163"/>
                </a:lnTo>
                <a:lnTo>
                  <a:pt x="83" y="16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334982" name="Freeform 130"/>
          <p:cNvSpPr>
            <a:spLocks/>
          </p:cNvSpPr>
          <p:nvPr/>
        </p:nvSpPr>
        <p:spPr bwMode="auto">
          <a:xfrm>
            <a:off x="3108325" y="5773738"/>
            <a:ext cx="141288" cy="161925"/>
          </a:xfrm>
          <a:custGeom>
            <a:avLst/>
            <a:gdLst>
              <a:gd name="T0" fmla="*/ 6 w 106"/>
              <a:gd name="T1" fmla="*/ 4 h 118"/>
              <a:gd name="T2" fmla="*/ 6 w 106"/>
              <a:gd name="T3" fmla="*/ 3 h 118"/>
              <a:gd name="T4" fmla="*/ 4 w 106"/>
              <a:gd name="T5" fmla="*/ 2 h 118"/>
              <a:gd name="T6" fmla="*/ 3 w 106"/>
              <a:gd name="T7" fmla="*/ 1 h 118"/>
              <a:gd name="T8" fmla="*/ 3 w 106"/>
              <a:gd name="T9" fmla="*/ 1 h 118"/>
              <a:gd name="T10" fmla="*/ 1 w 106"/>
              <a:gd name="T11" fmla="*/ 0 h 118"/>
              <a:gd name="T12" fmla="*/ 1 w 106"/>
              <a:gd name="T13" fmla="*/ 1 h 118"/>
              <a:gd name="T14" fmla="*/ 1 w 106"/>
              <a:gd name="T15" fmla="*/ 1 h 118"/>
              <a:gd name="T16" fmla="*/ 1 w 106"/>
              <a:gd name="T17" fmla="*/ 2 h 118"/>
              <a:gd name="T18" fmla="*/ 0 w 106"/>
              <a:gd name="T19" fmla="*/ 4 h 118"/>
              <a:gd name="T20" fmla="*/ 1 w 106"/>
              <a:gd name="T21" fmla="*/ 4 h 118"/>
              <a:gd name="T22" fmla="*/ 0 w 106"/>
              <a:gd name="T23" fmla="*/ 5 h 118"/>
              <a:gd name="T24" fmla="*/ 1 w 106"/>
              <a:gd name="T25" fmla="*/ 6 h 118"/>
              <a:gd name="T26" fmla="*/ 2 w 106"/>
              <a:gd name="T27" fmla="*/ 6 h 118"/>
              <a:gd name="T28" fmla="*/ 4 w 106"/>
              <a:gd name="T29" fmla="*/ 7 h 118"/>
              <a:gd name="T30" fmla="*/ 6 w 106"/>
              <a:gd name="T31" fmla="*/ 6 h 118"/>
              <a:gd name="T32" fmla="*/ 6 w 106"/>
              <a:gd name="T33" fmla="*/ 6 h 118"/>
              <a:gd name="T34" fmla="*/ 6 w 106"/>
              <a:gd name="T35" fmla="*/ 4 h 118"/>
              <a:gd name="T36" fmla="*/ 6 w 106"/>
              <a:gd name="T37" fmla="*/ 4 h 118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06"/>
              <a:gd name="T58" fmla="*/ 0 h 118"/>
              <a:gd name="T59" fmla="*/ 106 w 106"/>
              <a:gd name="T60" fmla="*/ 118 h 118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06" h="118">
                <a:moveTo>
                  <a:pt x="104" y="61"/>
                </a:moveTo>
                <a:lnTo>
                  <a:pt x="82" y="44"/>
                </a:lnTo>
                <a:lnTo>
                  <a:pt x="59" y="28"/>
                </a:lnTo>
                <a:lnTo>
                  <a:pt x="46" y="20"/>
                </a:lnTo>
                <a:lnTo>
                  <a:pt x="40" y="20"/>
                </a:lnTo>
                <a:lnTo>
                  <a:pt x="14" y="0"/>
                </a:lnTo>
                <a:lnTo>
                  <a:pt x="3" y="2"/>
                </a:lnTo>
                <a:lnTo>
                  <a:pt x="3" y="3"/>
                </a:lnTo>
                <a:lnTo>
                  <a:pt x="2" y="31"/>
                </a:lnTo>
                <a:lnTo>
                  <a:pt x="0" y="57"/>
                </a:lnTo>
                <a:lnTo>
                  <a:pt x="2" y="61"/>
                </a:lnTo>
                <a:lnTo>
                  <a:pt x="0" y="81"/>
                </a:lnTo>
                <a:lnTo>
                  <a:pt x="11" y="102"/>
                </a:lnTo>
                <a:lnTo>
                  <a:pt x="38" y="112"/>
                </a:lnTo>
                <a:lnTo>
                  <a:pt x="72" y="118"/>
                </a:lnTo>
                <a:lnTo>
                  <a:pt x="92" y="110"/>
                </a:lnTo>
                <a:lnTo>
                  <a:pt x="106" y="90"/>
                </a:lnTo>
                <a:lnTo>
                  <a:pt x="101" y="73"/>
                </a:lnTo>
                <a:lnTo>
                  <a:pt x="104" y="6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 cmpd="sng">
            <a:solidFill>
              <a:srgbClr val="DDDDDD"/>
            </a:solidFill>
            <a:prstDash val="solid"/>
            <a:round/>
            <a:headEnd/>
            <a:tailEnd/>
          </a:ln>
          <a:effectLst/>
        </p:spPr>
        <p:txBody>
          <a:bodyPr lIns="91430" tIns="45716" rIns="91430" bIns="45716"/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</a:endParaRPr>
          </a:p>
        </p:txBody>
      </p:sp>
      <p:sp>
        <p:nvSpPr>
          <p:cNvPr id="334983" name="Freeform 131"/>
          <p:cNvSpPr>
            <a:spLocks/>
          </p:cNvSpPr>
          <p:nvPr/>
        </p:nvSpPr>
        <p:spPr bwMode="auto">
          <a:xfrm>
            <a:off x="2760663" y="5489575"/>
            <a:ext cx="446087" cy="1030288"/>
          </a:xfrm>
          <a:custGeom>
            <a:avLst/>
            <a:gdLst>
              <a:gd name="T0" fmla="*/ 11 w 336"/>
              <a:gd name="T1" fmla="*/ 28 h 751"/>
              <a:gd name="T2" fmla="*/ 11 w 336"/>
              <a:gd name="T3" fmla="*/ 29 h 751"/>
              <a:gd name="T4" fmla="*/ 12 w 336"/>
              <a:gd name="T5" fmla="*/ 29 h 751"/>
              <a:gd name="T6" fmla="*/ 13 w 336"/>
              <a:gd name="T7" fmla="*/ 31 h 751"/>
              <a:gd name="T8" fmla="*/ 11 w 336"/>
              <a:gd name="T9" fmla="*/ 31 h 751"/>
              <a:gd name="T10" fmla="*/ 11 w 336"/>
              <a:gd name="T11" fmla="*/ 32 h 751"/>
              <a:gd name="T12" fmla="*/ 11 w 336"/>
              <a:gd name="T13" fmla="*/ 34 h 751"/>
              <a:gd name="T14" fmla="*/ 9 w 336"/>
              <a:gd name="T15" fmla="*/ 36 h 751"/>
              <a:gd name="T16" fmla="*/ 12 w 336"/>
              <a:gd name="T17" fmla="*/ 37 h 751"/>
              <a:gd name="T18" fmla="*/ 12 w 336"/>
              <a:gd name="T19" fmla="*/ 37 h 751"/>
              <a:gd name="T20" fmla="*/ 11 w 336"/>
              <a:gd name="T21" fmla="*/ 40 h 751"/>
              <a:gd name="T22" fmla="*/ 10 w 336"/>
              <a:gd name="T23" fmla="*/ 41 h 751"/>
              <a:gd name="T24" fmla="*/ 11 w 336"/>
              <a:gd name="T25" fmla="*/ 41 h 751"/>
              <a:gd name="T26" fmla="*/ 10 w 336"/>
              <a:gd name="T27" fmla="*/ 42 h 751"/>
              <a:gd name="T28" fmla="*/ 10 w 336"/>
              <a:gd name="T29" fmla="*/ 44 h 751"/>
              <a:gd name="T30" fmla="*/ 12 w 336"/>
              <a:gd name="T31" fmla="*/ 44 h 751"/>
              <a:gd name="T32" fmla="*/ 8 w 336"/>
              <a:gd name="T33" fmla="*/ 44 h 751"/>
              <a:gd name="T34" fmla="*/ 6 w 336"/>
              <a:gd name="T35" fmla="*/ 42 h 751"/>
              <a:gd name="T36" fmla="*/ 4 w 336"/>
              <a:gd name="T37" fmla="*/ 40 h 751"/>
              <a:gd name="T38" fmla="*/ 4 w 336"/>
              <a:gd name="T39" fmla="*/ 37 h 751"/>
              <a:gd name="T40" fmla="*/ 4 w 336"/>
              <a:gd name="T41" fmla="*/ 34 h 751"/>
              <a:gd name="T42" fmla="*/ 4 w 336"/>
              <a:gd name="T43" fmla="*/ 34 h 751"/>
              <a:gd name="T44" fmla="*/ 4 w 336"/>
              <a:gd name="T45" fmla="*/ 33 h 751"/>
              <a:gd name="T46" fmla="*/ 2 w 336"/>
              <a:gd name="T47" fmla="*/ 31 h 751"/>
              <a:gd name="T48" fmla="*/ 2 w 336"/>
              <a:gd name="T49" fmla="*/ 27 h 751"/>
              <a:gd name="T50" fmla="*/ 2 w 336"/>
              <a:gd name="T51" fmla="*/ 25 h 751"/>
              <a:gd name="T52" fmla="*/ 1 w 336"/>
              <a:gd name="T53" fmla="*/ 22 h 751"/>
              <a:gd name="T54" fmla="*/ 1 w 336"/>
              <a:gd name="T55" fmla="*/ 20 h 751"/>
              <a:gd name="T56" fmla="*/ 1 w 336"/>
              <a:gd name="T57" fmla="*/ 18 h 751"/>
              <a:gd name="T58" fmla="*/ 1 w 336"/>
              <a:gd name="T59" fmla="*/ 15 h 751"/>
              <a:gd name="T60" fmla="*/ 1 w 336"/>
              <a:gd name="T61" fmla="*/ 13 h 751"/>
              <a:gd name="T62" fmla="*/ 1 w 336"/>
              <a:gd name="T63" fmla="*/ 12 h 751"/>
              <a:gd name="T64" fmla="*/ 1 w 336"/>
              <a:gd name="T65" fmla="*/ 9 h 751"/>
              <a:gd name="T66" fmla="*/ 1 w 336"/>
              <a:gd name="T67" fmla="*/ 8 h 751"/>
              <a:gd name="T68" fmla="*/ 1 w 336"/>
              <a:gd name="T69" fmla="*/ 4 h 751"/>
              <a:gd name="T70" fmla="*/ 2 w 336"/>
              <a:gd name="T71" fmla="*/ 3 h 751"/>
              <a:gd name="T72" fmla="*/ 2 w 336"/>
              <a:gd name="T73" fmla="*/ 1 h 751"/>
              <a:gd name="T74" fmla="*/ 4 w 336"/>
              <a:gd name="T75" fmla="*/ 1 h 751"/>
              <a:gd name="T76" fmla="*/ 6 w 336"/>
              <a:gd name="T77" fmla="*/ 1 h 751"/>
              <a:gd name="T78" fmla="*/ 8 w 336"/>
              <a:gd name="T79" fmla="*/ 1 h 751"/>
              <a:gd name="T80" fmla="*/ 9 w 336"/>
              <a:gd name="T81" fmla="*/ 2 h 751"/>
              <a:gd name="T82" fmla="*/ 11 w 336"/>
              <a:gd name="T83" fmla="*/ 4 h 751"/>
              <a:gd name="T84" fmla="*/ 13 w 336"/>
              <a:gd name="T85" fmla="*/ 4 h 751"/>
              <a:gd name="T86" fmla="*/ 14 w 336"/>
              <a:gd name="T87" fmla="*/ 6 h 751"/>
              <a:gd name="T88" fmla="*/ 15 w 336"/>
              <a:gd name="T89" fmla="*/ 8 h 751"/>
              <a:gd name="T90" fmla="*/ 18 w 336"/>
              <a:gd name="T91" fmla="*/ 8 h 751"/>
              <a:gd name="T92" fmla="*/ 19 w 336"/>
              <a:gd name="T93" fmla="*/ 6 h 751"/>
              <a:gd name="T94" fmla="*/ 20 w 336"/>
              <a:gd name="T95" fmla="*/ 8 h 751"/>
              <a:gd name="T96" fmla="*/ 18 w 336"/>
              <a:gd name="T97" fmla="*/ 9 h 751"/>
              <a:gd name="T98" fmla="*/ 17 w 336"/>
              <a:gd name="T99" fmla="*/ 11 h 751"/>
              <a:gd name="T100" fmla="*/ 15 w 336"/>
              <a:gd name="T101" fmla="*/ 13 h 751"/>
              <a:gd name="T102" fmla="*/ 15 w 336"/>
              <a:gd name="T103" fmla="*/ 14 h 751"/>
              <a:gd name="T104" fmla="*/ 15 w 336"/>
              <a:gd name="T105" fmla="*/ 17 h 751"/>
              <a:gd name="T106" fmla="*/ 15 w 336"/>
              <a:gd name="T107" fmla="*/ 19 h 751"/>
              <a:gd name="T108" fmla="*/ 18 w 336"/>
              <a:gd name="T109" fmla="*/ 21 h 751"/>
              <a:gd name="T110" fmla="*/ 18 w 336"/>
              <a:gd name="T111" fmla="*/ 22 h 751"/>
              <a:gd name="T112" fmla="*/ 16 w 336"/>
              <a:gd name="T113" fmla="*/ 24 h 751"/>
              <a:gd name="T114" fmla="*/ 14 w 336"/>
              <a:gd name="T115" fmla="*/ 25 h 751"/>
              <a:gd name="T116" fmla="*/ 13 w 336"/>
              <a:gd name="T117" fmla="*/ 25 h 751"/>
              <a:gd name="T118" fmla="*/ 13 w 336"/>
              <a:gd name="T119" fmla="*/ 27 h 751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336"/>
              <a:gd name="T181" fmla="*/ 0 h 751"/>
              <a:gd name="T182" fmla="*/ 336 w 336"/>
              <a:gd name="T183" fmla="*/ 751 h 751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336" h="751">
                <a:moveTo>
                  <a:pt x="216" y="477"/>
                </a:moveTo>
                <a:lnTo>
                  <a:pt x="187" y="477"/>
                </a:lnTo>
                <a:lnTo>
                  <a:pt x="165" y="472"/>
                </a:lnTo>
                <a:lnTo>
                  <a:pt x="182" y="505"/>
                </a:lnTo>
                <a:lnTo>
                  <a:pt x="188" y="508"/>
                </a:lnTo>
                <a:lnTo>
                  <a:pt x="196" y="507"/>
                </a:lnTo>
                <a:lnTo>
                  <a:pt x="202" y="503"/>
                </a:lnTo>
                <a:lnTo>
                  <a:pt x="208" y="521"/>
                </a:lnTo>
                <a:lnTo>
                  <a:pt x="196" y="517"/>
                </a:lnTo>
                <a:lnTo>
                  <a:pt x="182" y="517"/>
                </a:lnTo>
                <a:lnTo>
                  <a:pt x="198" y="525"/>
                </a:lnTo>
                <a:lnTo>
                  <a:pt x="183" y="544"/>
                </a:lnTo>
                <a:lnTo>
                  <a:pt x="184" y="564"/>
                </a:lnTo>
                <a:lnTo>
                  <a:pt x="182" y="575"/>
                </a:lnTo>
                <a:lnTo>
                  <a:pt x="159" y="586"/>
                </a:lnTo>
                <a:lnTo>
                  <a:pt x="160" y="609"/>
                </a:lnTo>
                <a:lnTo>
                  <a:pt x="192" y="625"/>
                </a:lnTo>
                <a:lnTo>
                  <a:pt x="204" y="631"/>
                </a:lnTo>
                <a:lnTo>
                  <a:pt x="196" y="643"/>
                </a:lnTo>
                <a:lnTo>
                  <a:pt x="204" y="646"/>
                </a:lnTo>
                <a:lnTo>
                  <a:pt x="193" y="661"/>
                </a:lnTo>
                <a:lnTo>
                  <a:pt x="182" y="677"/>
                </a:lnTo>
                <a:lnTo>
                  <a:pt x="181" y="696"/>
                </a:lnTo>
                <a:lnTo>
                  <a:pt x="170" y="693"/>
                </a:lnTo>
                <a:lnTo>
                  <a:pt x="165" y="695"/>
                </a:lnTo>
                <a:lnTo>
                  <a:pt x="176" y="700"/>
                </a:lnTo>
                <a:lnTo>
                  <a:pt x="166" y="713"/>
                </a:lnTo>
                <a:lnTo>
                  <a:pt x="166" y="719"/>
                </a:lnTo>
                <a:lnTo>
                  <a:pt x="176" y="733"/>
                </a:lnTo>
                <a:lnTo>
                  <a:pt x="171" y="733"/>
                </a:lnTo>
                <a:lnTo>
                  <a:pt x="184" y="739"/>
                </a:lnTo>
                <a:lnTo>
                  <a:pt x="196" y="751"/>
                </a:lnTo>
                <a:lnTo>
                  <a:pt x="164" y="743"/>
                </a:lnTo>
                <a:lnTo>
                  <a:pt x="126" y="739"/>
                </a:lnTo>
                <a:lnTo>
                  <a:pt x="114" y="729"/>
                </a:lnTo>
                <a:lnTo>
                  <a:pt x="102" y="709"/>
                </a:lnTo>
                <a:lnTo>
                  <a:pt x="90" y="711"/>
                </a:lnTo>
                <a:lnTo>
                  <a:pt x="72" y="678"/>
                </a:lnTo>
                <a:lnTo>
                  <a:pt x="84" y="664"/>
                </a:lnTo>
                <a:lnTo>
                  <a:pt x="80" y="631"/>
                </a:lnTo>
                <a:lnTo>
                  <a:pt x="76" y="604"/>
                </a:lnTo>
                <a:lnTo>
                  <a:pt x="74" y="585"/>
                </a:lnTo>
                <a:lnTo>
                  <a:pt x="69" y="574"/>
                </a:lnTo>
                <a:lnTo>
                  <a:pt x="61" y="569"/>
                </a:lnTo>
                <a:lnTo>
                  <a:pt x="74" y="564"/>
                </a:lnTo>
                <a:lnTo>
                  <a:pt x="58" y="555"/>
                </a:lnTo>
                <a:lnTo>
                  <a:pt x="49" y="528"/>
                </a:lnTo>
                <a:lnTo>
                  <a:pt x="38" y="515"/>
                </a:lnTo>
                <a:lnTo>
                  <a:pt x="38" y="495"/>
                </a:lnTo>
                <a:lnTo>
                  <a:pt x="30" y="462"/>
                </a:lnTo>
                <a:lnTo>
                  <a:pt x="27" y="436"/>
                </a:lnTo>
                <a:lnTo>
                  <a:pt x="32" y="420"/>
                </a:lnTo>
                <a:lnTo>
                  <a:pt x="28" y="406"/>
                </a:lnTo>
                <a:lnTo>
                  <a:pt x="22" y="385"/>
                </a:lnTo>
                <a:lnTo>
                  <a:pt x="16" y="364"/>
                </a:lnTo>
                <a:lnTo>
                  <a:pt x="27" y="348"/>
                </a:lnTo>
                <a:lnTo>
                  <a:pt x="22" y="331"/>
                </a:lnTo>
                <a:lnTo>
                  <a:pt x="25" y="300"/>
                </a:lnTo>
                <a:lnTo>
                  <a:pt x="20" y="286"/>
                </a:lnTo>
                <a:lnTo>
                  <a:pt x="9" y="265"/>
                </a:lnTo>
                <a:lnTo>
                  <a:pt x="0" y="245"/>
                </a:lnTo>
                <a:lnTo>
                  <a:pt x="1" y="229"/>
                </a:lnTo>
                <a:lnTo>
                  <a:pt x="3" y="214"/>
                </a:lnTo>
                <a:lnTo>
                  <a:pt x="2" y="196"/>
                </a:lnTo>
                <a:lnTo>
                  <a:pt x="2" y="178"/>
                </a:lnTo>
                <a:lnTo>
                  <a:pt x="10" y="155"/>
                </a:lnTo>
                <a:lnTo>
                  <a:pt x="20" y="133"/>
                </a:lnTo>
                <a:lnTo>
                  <a:pt x="26" y="126"/>
                </a:lnTo>
                <a:lnTo>
                  <a:pt x="18" y="112"/>
                </a:lnTo>
                <a:lnTo>
                  <a:pt x="14" y="77"/>
                </a:lnTo>
                <a:lnTo>
                  <a:pt x="18" y="65"/>
                </a:lnTo>
                <a:lnTo>
                  <a:pt x="37" y="55"/>
                </a:lnTo>
                <a:lnTo>
                  <a:pt x="40" y="30"/>
                </a:lnTo>
                <a:lnTo>
                  <a:pt x="36" y="25"/>
                </a:lnTo>
                <a:lnTo>
                  <a:pt x="54" y="0"/>
                </a:lnTo>
                <a:lnTo>
                  <a:pt x="58" y="3"/>
                </a:lnTo>
                <a:lnTo>
                  <a:pt x="85" y="9"/>
                </a:lnTo>
                <a:lnTo>
                  <a:pt x="96" y="23"/>
                </a:lnTo>
                <a:lnTo>
                  <a:pt x="103" y="9"/>
                </a:lnTo>
                <a:lnTo>
                  <a:pt x="128" y="5"/>
                </a:lnTo>
                <a:lnTo>
                  <a:pt x="132" y="11"/>
                </a:lnTo>
                <a:lnTo>
                  <a:pt x="153" y="31"/>
                </a:lnTo>
                <a:lnTo>
                  <a:pt x="175" y="52"/>
                </a:lnTo>
                <a:lnTo>
                  <a:pt x="193" y="59"/>
                </a:lnTo>
                <a:lnTo>
                  <a:pt x="211" y="67"/>
                </a:lnTo>
                <a:lnTo>
                  <a:pt x="230" y="79"/>
                </a:lnTo>
                <a:lnTo>
                  <a:pt x="249" y="90"/>
                </a:lnTo>
                <a:lnTo>
                  <a:pt x="241" y="114"/>
                </a:lnTo>
                <a:lnTo>
                  <a:pt x="233" y="137"/>
                </a:lnTo>
                <a:lnTo>
                  <a:pt x="258" y="139"/>
                </a:lnTo>
                <a:lnTo>
                  <a:pt x="283" y="141"/>
                </a:lnTo>
                <a:lnTo>
                  <a:pt x="297" y="136"/>
                </a:lnTo>
                <a:lnTo>
                  <a:pt x="314" y="109"/>
                </a:lnTo>
                <a:lnTo>
                  <a:pt x="313" y="94"/>
                </a:lnTo>
                <a:lnTo>
                  <a:pt x="326" y="94"/>
                </a:lnTo>
                <a:lnTo>
                  <a:pt x="336" y="126"/>
                </a:lnTo>
                <a:lnTo>
                  <a:pt x="323" y="138"/>
                </a:lnTo>
                <a:lnTo>
                  <a:pt x="309" y="150"/>
                </a:lnTo>
                <a:lnTo>
                  <a:pt x="297" y="165"/>
                </a:lnTo>
                <a:lnTo>
                  <a:pt x="285" y="179"/>
                </a:lnTo>
                <a:lnTo>
                  <a:pt x="275" y="193"/>
                </a:lnTo>
                <a:lnTo>
                  <a:pt x="264" y="208"/>
                </a:lnTo>
                <a:lnTo>
                  <a:pt x="264" y="210"/>
                </a:lnTo>
                <a:lnTo>
                  <a:pt x="263" y="238"/>
                </a:lnTo>
                <a:lnTo>
                  <a:pt x="261" y="264"/>
                </a:lnTo>
                <a:lnTo>
                  <a:pt x="264" y="281"/>
                </a:lnTo>
                <a:lnTo>
                  <a:pt x="259" y="291"/>
                </a:lnTo>
                <a:lnTo>
                  <a:pt x="269" y="319"/>
                </a:lnTo>
                <a:lnTo>
                  <a:pt x="297" y="340"/>
                </a:lnTo>
                <a:lnTo>
                  <a:pt x="299" y="357"/>
                </a:lnTo>
                <a:lnTo>
                  <a:pt x="313" y="367"/>
                </a:lnTo>
                <a:lnTo>
                  <a:pt x="305" y="388"/>
                </a:lnTo>
                <a:lnTo>
                  <a:pt x="296" y="409"/>
                </a:lnTo>
                <a:lnTo>
                  <a:pt x="278" y="414"/>
                </a:lnTo>
                <a:lnTo>
                  <a:pt x="261" y="419"/>
                </a:lnTo>
                <a:lnTo>
                  <a:pt x="243" y="423"/>
                </a:lnTo>
                <a:lnTo>
                  <a:pt x="227" y="427"/>
                </a:lnTo>
                <a:lnTo>
                  <a:pt x="210" y="425"/>
                </a:lnTo>
                <a:lnTo>
                  <a:pt x="214" y="435"/>
                </a:lnTo>
                <a:lnTo>
                  <a:pt x="221" y="465"/>
                </a:lnTo>
                <a:lnTo>
                  <a:pt x="216" y="47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 cmpd="sng">
            <a:solidFill>
              <a:srgbClr val="DDDDDD"/>
            </a:solidFill>
            <a:prstDash val="solid"/>
            <a:round/>
            <a:headEnd/>
            <a:tailEnd/>
          </a:ln>
          <a:effectLst/>
        </p:spPr>
        <p:txBody>
          <a:bodyPr lIns="91430" tIns="45716" rIns="91430" bIns="45716"/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</a:endParaRPr>
          </a:p>
        </p:txBody>
      </p:sp>
      <p:sp>
        <p:nvSpPr>
          <p:cNvPr id="9349" name="Freeform 132"/>
          <p:cNvSpPr>
            <a:spLocks/>
          </p:cNvSpPr>
          <p:nvPr/>
        </p:nvSpPr>
        <p:spPr bwMode="auto">
          <a:xfrm>
            <a:off x="3022600" y="6532563"/>
            <a:ext cx="109538" cy="69850"/>
          </a:xfrm>
          <a:custGeom>
            <a:avLst/>
            <a:gdLst>
              <a:gd name="T0" fmla="*/ 2147483647 w 83"/>
              <a:gd name="T1" fmla="*/ 2147483647 h 52"/>
              <a:gd name="T2" fmla="*/ 0 w 83"/>
              <a:gd name="T3" fmla="*/ 0 h 52"/>
              <a:gd name="T4" fmla="*/ 2147483647 w 83"/>
              <a:gd name="T5" fmla="*/ 2147483647 h 52"/>
              <a:gd name="T6" fmla="*/ 2147483647 w 83"/>
              <a:gd name="T7" fmla="*/ 2147483647 h 52"/>
              <a:gd name="T8" fmla="*/ 2147483647 w 83"/>
              <a:gd name="T9" fmla="*/ 2147483647 h 52"/>
              <a:gd name="T10" fmla="*/ 2147483647 w 83"/>
              <a:gd name="T11" fmla="*/ 2147483647 h 52"/>
              <a:gd name="T12" fmla="*/ 2147483647 w 83"/>
              <a:gd name="T13" fmla="*/ 2147483647 h 52"/>
              <a:gd name="T14" fmla="*/ 2147483647 w 83"/>
              <a:gd name="T15" fmla="*/ 2147483647 h 52"/>
              <a:gd name="T16" fmla="*/ 2147483647 w 83"/>
              <a:gd name="T17" fmla="*/ 2147483647 h 5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83"/>
              <a:gd name="T28" fmla="*/ 0 h 52"/>
              <a:gd name="T29" fmla="*/ 83 w 83"/>
              <a:gd name="T30" fmla="*/ 52 h 5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83" h="52">
                <a:moveTo>
                  <a:pt x="6" y="9"/>
                </a:moveTo>
                <a:lnTo>
                  <a:pt x="0" y="0"/>
                </a:lnTo>
                <a:lnTo>
                  <a:pt x="11" y="26"/>
                </a:lnTo>
                <a:lnTo>
                  <a:pt x="22" y="52"/>
                </a:lnTo>
                <a:lnTo>
                  <a:pt x="52" y="52"/>
                </a:lnTo>
                <a:lnTo>
                  <a:pt x="83" y="52"/>
                </a:lnTo>
                <a:lnTo>
                  <a:pt x="80" y="46"/>
                </a:lnTo>
                <a:lnTo>
                  <a:pt x="37" y="32"/>
                </a:lnTo>
                <a:lnTo>
                  <a:pt x="6" y="9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50" name="Freeform 133"/>
          <p:cNvSpPr>
            <a:spLocks/>
          </p:cNvSpPr>
          <p:nvPr/>
        </p:nvSpPr>
        <p:spPr bwMode="auto">
          <a:xfrm>
            <a:off x="2701925" y="5341938"/>
            <a:ext cx="320675" cy="1228725"/>
          </a:xfrm>
          <a:custGeom>
            <a:avLst/>
            <a:gdLst>
              <a:gd name="T0" fmla="*/ 2147483647 w 241"/>
              <a:gd name="T1" fmla="*/ 2147483647 h 894"/>
              <a:gd name="T2" fmla="*/ 2147483647 w 241"/>
              <a:gd name="T3" fmla="*/ 2147483647 h 894"/>
              <a:gd name="T4" fmla="*/ 2147483647 w 241"/>
              <a:gd name="T5" fmla="*/ 2147483647 h 894"/>
              <a:gd name="T6" fmla="*/ 2147483647 w 241"/>
              <a:gd name="T7" fmla="*/ 2147483647 h 894"/>
              <a:gd name="T8" fmla="*/ 2147483647 w 241"/>
              <a:gd name="T9" fmla="*/ 2147483647 h 894"/>
              <a:gd name="T10" fmla="*/ 2147483647 w 241"/>
              <a:gd name="T11" fmla="*/ 2147483647 h 894"/>
              <a:gd name="T12" fmla="*/ 2147483647 w 241"/>
              <a:gd name="T13" fmla="*/ 2147483647 h 894"/>
              <a:gd name="T14" fmla="*/ 2147483647 w 241"/>
              <a:gd name="T15" fmla="*/ 2147483647 h 894"/>
              <a:gd name="T16" fmla="*/ 2147483647 w 241"/>
              <a:gd name="T17" fmla="*/ 2147483647 h 894"/>
              <a:gd name="T18" fmla="*/ 2147483647 w 241"/>
              <a:gd name="T19" fmla="*/ 2147483647 h 894"/>
              <a:gd name="T20" fmla="*/ 2147483647 w 241"/>
              <a:gd name="T21" fmla="*/ 2147483647 h 894"/>
              <a:gd name="T22" fmla="*/ 2147483647 w 241"/>
              <a:gd name="T23" fmla="*/ 2147483647 h 894"/>
              <a:gd name="T24" fmla="*/ 2147483647 w 241"/>
              <a:gd name="T25" fmla="*/ 2147483647 h 894"/>
              <a:gd name="T26" fmla="*/ 2147483647 w 241"/>
              <a:gd name="T27" fmla="*/ 2147483647 h 894"/>
              <a:gd name="T28" fmla="*/ 2147483647 w 241"/>
              <a:gd name="T29" fmla="*/ 2147483647 h 894"/>
              <a:gd name="T30" fmla="*/ 2147483647 w 241"/>
              <a:gd name="T31" fmla="*/ 2147483647 h 894"/>
              <a:gd name="T32" fmla="*/ 2147483647 w 241"/>
              <a:gd name="T33" fmla="*/ 2147483647 h 894"/>
              <a:gd name="T34" fmla="*/ 2147483647 w 241"/>
              <a:gd name="T35" fmla="*/ 2147483647 h 894"/>
              <a:gd name="T36" fmla="*/ 2147483647 w 241"/>
              <a:gd name="T37" fmla="*/ 2147483647 h 894"/>
              <a:gd name="T38" fmla="*/ 2147483647 w 241"/>
              <a:gd name="T39" fmla="*/ 2147483647 h 894"/>
              <a:gd name="T40" fmla="*/ 2147483647 w 241"/>
              <a:gd name="T41" fmla="*/ 2147483647 h 894"/>
              <a:gd name="T42" fmla="*/ 2147483647 w 241"/>
              <a:gd name="T43" fmla="*/ 2147483647 h 894"/>
              <a:gd name="T44" fmla="*/ 2147483647 w 241"/>
              <a:gd name="T45" fmla="*/ 2147483647 h 894"/>
              <a:gd name="T46" fmla="*/ 2147483647 w 241"/>
              <a:gd name="T47" fmla="*/ 2147483647 h 894"/>
              <a:gd name="T48" fmla="*/ 2147483647 w 241"/>
              <a:gd name="T49" fmla="*/ 2147483647 h 894"/>
              <a:gd name="T50" fmla="*/ 2147483647 w 241"/>
              <a:gd name="T51" fmla="*/ 2147483647 h 894"/>
              <a:gd name="T52" fmla="*/ 2147483647 w 241"/>
              <a:gd name="T53" fmla="*/ 2147483647 h 894"/>
              <a:gd name="T54" fmla="*/ 2147483647 w 241"/>
              <a:gd name="T55" fmla="*/ 2147483647 h 894"/>
              <a:gd name="T56" fmla="*/ 2147483647 w 241"/>
              <a:gd name="T57" fmla="*/ 2147483647 h 894"/>
              <a:gd name="T58" fmla="*/ 2147483647 w 241"/>
              <a:gd name="T59" fmla="*/ 2147483647 h 894"/>
              <a:gd name="T60" fmla="*/ 2147483647 w 241"/>
              <a:gd name="T61" fmla="*/ 2147483647 h 894"/>
              <a:gd name="T62" fmla="*/ 2147483647 w 241"/>
              <a:gd name="T63" fmla="*/ 2147483647 h 894"/>
              <a:gd name="T64" fmla="*/ 2147483647 w 241"/>
              <a:gd name="T65" fmla="*/ 2147483647 h 894"/>
              <a:gd name="T66" fmla="*/ 2147483647 w 241"/>
              <a:gd name="T67" fmla="*/ 2147483647 h 894"/>
              <a:gd name="T68" fmla="*/ 2147483647 w 241"/>
              <a:gd name="T69" fmla="*/ 2147483647 h 894"/>
              <a:gd name="T70" fmla="*/ 2147483647 w 241"/>
              <a:gd name="T71" fmla="*/ 2147483647 h 894"/>
              <a:gd name="T72" fmla="*/ 2147483647 w 241"/>
              <a:gd name="T73" fmla="*/ 2147483647 h 894"/>
              <a:gd name="T74" fmla="*/ 2147483647 w 241"/>
              <a:gd name="T75" fmla="*/ 2147483647 h 894"/>
              <a:gd name="T76" fmla="*/ 2147483647 w 241"/>
              <a:gd name="T77" fmla="*/ 2147483647 h 894"/>
              <a:gd name="T78" fmla="*/ 2147483647 w 241"/>
              <a:gd name="T79" fmla="*/ 2147483647 h 894"/>
              <a:gd name="T80" fmla="*/ 2147483647 w 241"/>
              <a:gd name="T81" fmla="*/ 2147483647 h 894"/>
              <a:gd name="T82" fmla="*/ 2147483647 w 241"/>
              <a:gd name="T83" fmla="*/ 2147483647 h 894"/>
              <a:gd name="T84" fmla="*/ 2147483647 w 241"/>
              <a:gd name="T85" fmla="*/ 2147483647 h 894"/>
              <a:gd name="T86" fmla="*/ 2147483647 w 241"/>
              <a:gd name="T87" fmla="*/ 2147483647 h 894"/>
              <a:gd name="T88" fmla="*/ 2147483647 w 241"/>
              <a:gd name="T89" fmla="*/ 2147483647 h 894"/>
              <a:gd name="T90" fmla="*/ 2147483647 w 241"/>
              <a:gd name="T91" fmla="*/ 2147483647 h 894"/>
              <a:gd name="T92" fmla="*/ 2147483647 w 241"/>
              <a:gd name="T93" fmla="*/ 2147483647 h 89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241"/>
              <a:gd name="T142" fmla="*/ 0 h 894"/>
              <a:gd name="T143" fmla="*/ 241 w 241"/>
              <a:gd name="T144" fmla="*/ 894 h 894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241" h="894">
                <a:moveTo>
                  <a:pt x="16" y="318"/>
                </a:moveTo>
                <a:lnTo>
                  <a:pt x="21" y="336"/>
                </a:lnTo>
                <a:lnTo>
                  <a:pt x="24" y="354"/>
                </a:lnTo>
                <a:lnTo>
                  <a:pt x="28" y="374"/>
                </a:lnTo>
                <a:lnTo>
                  <a:pt x="30" y="393"/>
                </a:lnTo>
                <a:lnTo>
                  <a:pt x="27" y="414"/>
                </a:lnTo>
                <a:lnTo>
                  <a:pt x="24" y="437"/>
                </a:lnTo>
                <a:lnTo>
                  <a:pt x="23" y="459"/>
                </a:lnTo>
                <a:lnTo>
                  <a:pt x="21" y="480"/>
                </a:lnTo>
                <a:lnTo>
                  <a:pt x="16" y="489"/>
                </a:lnTo>
                <a:lnTo>
                  <a:pt x="23" y="510"/>
                </a:lnTo>
                <a:lnTo>
                  <a:pt x="30" y="531"/>
                </a:lnTo>
                <a:lnTo>
                  <a:pt x="36" y="555"/>
                </a:lnTo>
                <a:lnTo>
                  <a:pt x="34" y="576"/>
                </a:lnTo>
                <a:lnTo>
                  <a:pt x="46" y="598"/>
                </a:lnTo>
                <a:lnTo>
                  <a:pt x="48" y="602"/>
                </a:lnTo>
                <a:lnTo>
                  <a:pt x="57" y="597"/>
                </a:lnTo>
                <a:lnTo>
                  <a:pt x="64" y="598"/>
                </a:lnTo>
                <a:lnTo>
                  <a:pt x="70" y="594"/>
                </a:lnTo>
                <a:lnTo>
                  <a:pt x="67" y="608"/>
                </a:lnTo>
                <a:lnTo>
                  <a:pt x="75" y="615"/>
                </a:lnTo>
                <a:lnTo>
                  <a:pt x="71" y="612"/>
                </a:lnTo>
                <a:lnTo>
                  <a:pt x="72" y="620"/>
                </a:lnTo>
                <a:lnTo>
                  <a:pt x="75" y="634"/>
                </a:lnTo>
                <a:lnTo>
                  <a:pt x="76" y="650"/>
                </a:lnTo>
                <a:lnTo>
                  <a:pt x="76" y="659"/>
                </a:lnTo>
                <a:lnTo>
                  <a:pt x="88" y="669"/>
                </a:lnTo>
                <a:lnTo>
                  <a:pt x="82" y="684"/>
                </a:lnTo>
                <a:lnTo>
                  <a:pt x="88" y="690"/>
                </a:lnTo>
                <a:lnTo>
                  <a:pt x="83" y="690"/>
                </a:lnTo>
                <a:lnTo>
                  <a:pt x="83" y="698"/>
                </a:lnTo>
                <a:lnTo>
                  <a:pt x="84" y="698"/>
                </a:lnTo>
                <a:lnTo>
                  <a:pt x="85" y="711"/>
                </a:lnTo>
                <a:lnTo>
                  <a:pt x="87" y="708"/>
                </a:lnTo>
                <a:lnTo>
                  <a:pt x="81" y="719"/>
                </a:lnTo>
                <a:lnTo>
                  <a:pt x="79" y="712"/>
                </a:lnTo>
                <a:lnTo>
                  <a:pt x="71" y="711"/>
                </a:lnTo>
                <a:lnTo>
                  <a:pt x="72" y="702"/>
                </a:lnTo>
                <a:lnTo>
                  <a:pt x="67" y="704"/>
                </a:lnTo>
                <a:lnTo>
                  <a:pt x="61" y="705"/>
                </a:lnTo>
                <a:lnTo>
                  <a:pt x="51" y="725"/>
                </a:lnTo>
                <a:lnTo>
                  <a:pt x="54" y="724"/>
                </a:lnTo>
                <a:lnTo>
                  <a:pt x="61" y="719"/>
                </a:lnTo>
                <a:lnTo>
                  <a:pt x="73" y="724"/>
                </a:lnTo>
                <a:lnTo>
                  <a:pt x="88" y="736"/>
                </a:lnTo>
                <a:lnTo>
                  <a:pt x="82" y="741"/>
                </a:lnTo>
                <a:lnTo>
                  <a:pt x="87" y="744"/>
                </a:lnTo>
                <a:lnTo>
                  <a:pt x="78" y="748"/>
                </a:lnTo>
                <a:lnTo>
                  <a:pt x="95" y="747"/>
                </a:lnTo>
                <a:lnTo>
                  <a:pt x="97" y="744"/>
                </a:lnTo>
                <a:lnTo>
                  <a:pt x="105" y="754"/>
                </a:lnTo>
                <a:lnTo>
                  <a:pt x="105" y="760"/>
                </a:lnTo>
                <a:lnTo>
                  <a:pt x="90" y="756"/>
                </a:lnTo>
                <a:lnTo>
                  <a:pt x="84" y="755"/>
                </a:lnTo>
                <a:lnTo>
                  <a:pt x="94" y="771"/>
                </a:lnTo>
                <a:lnTo>
                  <a:pt x="103" y="788"/>
                </a:lnTo>
                <a:lnTo>
                  <a:pt x="105" y="796"/>
                </a:lnTo>
                <a:lnTo>
                  <a:pt x="108" y="804"/>
                </a:lnTo>
                <a:lnTo>
                  <a:pt x="105" y="807"/>
                </a:lnTo>
                <a:lnTo>
                  <a:pt x="115" y="814"/>
                </a:lnTo>
                <a:lnTo>
                  <a:pt x="123" y="824"/>
                </a:lnTo>
                <a:lnTo>
                  <a:pt x="121" y="828"/>
                </a:lnTo>
                <a:lnTo>
                  <a:pt x="131" y="834"/>
                </a:lnTo>
                <a:lnTo>
                  <a:pt x="136" y="840"/>
                </a:lnTo>
                <a:lnTo>
                  <a:pt x="131" y="838"/>
                </a:lnTo>
                <a:lnTo>
                  <a:pt x="142" y="848"/>
                </a:lnTo>
                <a:lnTo>
                  <a:pt x="142" y="854"/>
                </a:lnTo>
                <a:lnTo>
                  <a:pt x="150" y="864"/>
                </a:lnTo>
                <a:lnTo>
                  <a:pt x="154" y="869"/>
                </a:lnTo>
                <a:lnTo>
                  <a:pt x="163" y="875"/>
                </a:lnTo>
                <a:lnTo>
                  <a:pt x="167" y="878"/>
                </a:lnTo>
                <a:lnTo>
                  <a:pt x="163" y="880"/>
                </a:lnTo>
                <a:lnTo>
                  <a:pt x="175" y="884"/>
                </a:lnTo>
                <a:lnTo>
                  <a:pt x="204" y="894"/>
                </a:lnTo>
                <a:lnTo>
                  <a:pt x="205" y="866"/>
                </a:lnTo>
                <a:lnTo>
                  <a:pt x="221" y="856"/>
                </a:lnTo>
                <a:lnTo>
                  <a:pt x="241" y="858"/>
                </a:lnTo>
                <a:lnTo>
                  <a:pt x="209" y="850"/>
                </a:lnTo>
                <a:lnTo>
                  <a:pt x="171" y="846"/>
                </a:lnTo>
                <a:lnTo>
                  <a:pt x="159" y="836"/>
                </a:lnTo>
                <a:lnTo>
                  <a:pt x="147" y="816"/>
                </a:lnTo>
                <a:lnTo>
                  <a:pt x="135" y="818"/>
                </a:lnTo>
                <a:lnTo>
                  <a:pt x="117" y="785"/>
                </a:lnTo>
                <a:lnTo>
                  <a:pt x="129" y="771"/>
                </a:lnTo>
                <a:lnTo>
                  <a:pt x="125" y="738"/>
                </a:lnTo>
                <a:lnTo>
                  <a:pt x="121" y="711"/>
                </a:lnTo>
                <a:lnTo>
                  <a:pt x="119" y="692"/>
                </a:lnTo>
                <a:lnTo>
                  <a:pt x="114" y="681"/>
                </a:lnTo>
                <a:lnTo>
                  <a:pt x="106" y="676"/>
                </a:lnTo>
                <a:lnTo>
                  <a:pt x="119" y="671"/>
                </a:lnTo>
                <a:lnTo>
                  <a:pt x="103" y="662"/>
                </a:lnTo>
                <a:lnTo>
                  <a:pt x="94" y="635"/>
                </a:lnTo>
                <a:lnTo>
                  <a:pt x="83" y="622"/>
                </a:lnTo>
                <a:lnTo>
                  <a:pt x="83" y="602"/>
                </a:lnTo>
                <a:lnTo>
                  <a:pt x="75" y="569"/>
                </a:lnTo>
                <a:lnTo>
                  <a:pt x="72" y="543"/>
                </a:lnTo>
                <a:lnTo>
                  <a:pt x="77" y="527"/>
                </a:lnTo>
                <a:lnTo>
                  <a:pt x="73" y="513"/>
                </a:lnTo>
                <a:lnTo>
                  <a:pt x="67" y="492"/>
                </a:lnTo>
                <a:lnTo>
                  <a:pt x="61" y="471"/>
                </a:lnTo>
                <a:lnTo>
                  <a:pt x="72" y="455"/>
                </a:lnTo>
                <a:lnTo>
                  <a:pt x="67" y="438"/>
                </a:lnTo>
                <a:lnTo>
                  <a:pt x="70" y="407"/>
                </a:lnTo>
                <a:lnTo>
                  <a:pt x="65" y="393"/>
                </a:lnTo>
                <a:lnTo>
                  <a:pt x="54" y="372"/>
                </a:lnTo>
                <a:lnTo>
                  <a:pt x="45" y="352"/>
                </a:lnTo>
                <a:lnTo>
                  <a:pt x="46" y="336"/>
                </a:lnTo>
                <a:lnTo>
                  <a:pt x="48" y="321"/>
                </a:lnTo>
                <a:lnTo>
                  <a:pt x="47" y="303"/>
                </a:lnTo>
                <a:lnTo>
                  <a:pt x="47" y="285"/>
                </a:lnTo>
                <a:lnTo>
                  <a:pt x="55" y="262"/>
                </a:lnTo>
                <a:lnTo>
                  <a:pt x="65" y="240"/>
                </a:lnTo>
                <a:lnTo>
                  <a:pt x="71" y="233"/>
                </a:lnTo>
                <a:lnTo>
                  <a:pt x="63" y="219"/>
                </a:lnTo>
                <a:lnTo>
                  <a:pt x="59" y="184"/>
                </a:lnTo>
                <a:lnTo>
                  <a:pt x="63" y="172"/>
                </a:lnTo>
                <a:lnTo>
                  <a:pt x="82" y="162"/>
                </a:lnTo>
                <a:lnTo>
                  <a:pt x="85" y="137"/>
                </a:lnTo>
                <a:lnTo>
                  <a:pt x="81" y="132"/>
                </a:lnTo>
                <a:lnTo>
                  <a:pt x="66" y="130"/>
                </a:lnTo>
                <a:lnTo>
                  <a:pt x="57" y="107"/>
                </a:lnTo>
                <a:lnTo>
                  <a:pt x="48" y="86"/>
                </a:lnTo>
                <a:lnTo>
                  <a:pt x="42" y="64"/>
                </a:lnTo>
                <a:lnTo>
                  <a:pt x="42" y="46"/>
                </a:lnTo>
                <a:lnTo>
                  <a:pt x="30" y="29"/>
                </a:lnTo>
                <a:lnTo>
                  <a:pt x="24" y="12"/>
                </a:lnTo>
                <a:lnTo>
                  <a:pt x="18" y="0"/>
                </a:lnTo>
                <a:lnTo>
                  <a:pt x="12" y="10"/>
                </a:lnTo>
                <a:lnTo>
                  <a:pt x="5" y="21"/>
                </a:lnTo>
                <a:lnTo>
                  <a:pt x="0" y="22"/>
                </a:lnTo>
                <a:lnTo>
                  <a:pt x="6" y="53"/>
                </a:lnTo>
                <a:lnTo>
                  <a:pt x="12" y="84"/>
                </a:lnTo>
                <a:lnTo>
                  <a:pt x="12" y="112"/>
                </a:lnTo>
                <a:lnTo>
                  <a:pt x="11" y="138"/>
                </a:lnTo>
                <a:lnTo>
                  <a:pt x="11" y="149"/>
                </a:lnTo>
                <a:lnTo>
                  <a:pt x="15" y="180"/>
                </a:lnTo>
                <a:lnTo>
                  <a:pt x="16" y="208"/>
                </a:lnTo>
                <a:lnTo>
                  <a:pt x="15" y="243"/>
                </a:lnTo>
                <a:lnTo>
                  <a:pt x="15" y="278"/>
                </a:lnTo>
                <a:lnTo>
                  <a:pt x="16" y="293"/>
                </a:lnTo>
                <a:lnTo>
                  <a:pt x="16" y="318"/>
                </a:lnTo>
                <a:close/>
              </a:path>
            </a:pathLst>
          </a:custGeom>
          <a:gradFill rotWithShape="1">
            <a:gsLst>
              <a:gs pos="0">
                <a:schemeClr val="accent2"/>
              </a:gs>
              <a:gs pos="100000">
                <a:srgbClr val="2E1A38"/>
              </a:gs>
            </a:gsLst>
            <a:lin ang="5400000" scaled="1"/>
          </a:gradFill>
          <a:ln w="6350" cap="rnd">
            <a:solidFill>
              <a:srgbClr val="DDDDDD"/>
            </a:solidFill>
            <a:round/>
            <a:headEnd/>
            <a:tailEnd/>
          </a:ln>
        </p:spPr>
        <p:txBody>
          <a:bodyPr lIns="91430" tIns="45716" rIns="91430" bIns="45716"/>
          <a:lstStyle/>
          <a:p>
            <a:endParaRPr lang="en-US"/>
          </a:p>
        </p:txBody>
      </p:sp>
      <p:sp>
        <p:nvSpPr>
          <p:cNvPr id="9351" name="Freeform 134"/>
          <p:cNvSpPr>
            <a:spLocks/>
          </p:cNvSpPr>
          <p:nvPr/>
        </p:nvSpPr>
        <p:spPr bwMode="auto">
          <a:xfrm>
            <a:off x="2968625" y="6526213"/>
            <a:ext cx="84138" cy="76200"/>
          </a:xfrm>
          <a:custGeom>
            <a:avLst/>
            <a:gdLst>
              <a:gd name="T0" fmla="*/ 2147483647 w 64"/>
              <a:gd name="T1" fmla="*/ 2147483647 h 56"/>
              <a:gd name="T2" fmla="*/ 2147483647 w 64"/>
              <a:gd name="T3" fmla="*/ 2147483647 h 56"/>
              <a:gd name="T4" fmla="*/ 2147483647 w 64"/>
              <a:gd name="T5" fmla="*/ 2147483647 h 56"/>
              <a:gd name="T6" fmla="*/ 2147483647 w 64"/>
              <a:gd name="T7" fmla="*/ 2147483647 h 56"/>
              <a:gd name="T8" fmla="*/ 2147483647 w 64"/>
              <a:gd name="T9" fmla="*/ 2147483647 h 56"/>
              <a:gd name="T10" fmla="*/ 2147483647 w 64"/>
              <a:gd name="T11" fmla="*/ 2147483647 h 56"/>
              <a:gd name="T12" fmla="*/ 2147483647 w 64"/>
              <a:gd name="T13" fmla="*/ 2147483647 h 56"/>
              <a:gd name="T14" fmla="*/ 0 w 64"/>
              <a:gd name="T15" fmla="*/ 2147483647 h 56"/>
              <a:gd name="T16" fmla="*/ 2147483647 w 64"/>
              <a:gd name="T17" fmla="*/ 2147483647 h 56"/>
              <a:gd name="T18" fmla="*/ 2147483647 w 64"/>
              <a:gd name="T19" fmla="*/ 2147483647 h 56"/>
              <a:gd name="T20" fmla="*/ 2147483647 w 64"/>
              <a:gd name="T21" fmla="*/ 2147483647 h 56"/>
              <a:gd name="T22" fmla="*/ 2147483647 w 64"/>
              <a:gd name="T23" fmla="*/ 2147483647 h 56"/>
              <a:gd name="T24" fmla="*/ 2147483647 w 64"/>
              <a:gd name="T25" fmla="*/ 2147483647 h 56"/>
              <a:gd name="T26" fmla="*/ 2147483647 w 64"/>
              <a:gd name="T27" fmla="*/ 2147483647 h 56"/>
              <a:gd name="T28" fmla="*/ 2147483647 w 64"/>
              <a:gd name="T29" fmla="*/ 2147483647 h 56"/>
              <a:gd name="T30" fmla="*/ 2147483647 w 64"/>
              <a:gd name="T31" fmla="*/ 2147483647 h 56"/>
              <a:gd name="T32" fmla="*/ 2147483647 w 64"/>
              <a:gd name="T33" fmla="*/ 2147483647 h 56"/>
              <a:gd name="T34" fmla="*/ 2147483647 w 64"/>
              <a:gd name="T35" fmla="*/ 2147483647 h 56"/>
              <a:gd name="T36" fmla="*/ 2147483647 w 64"/>
              <a:gd name="T37" fmla="*/ 2147483647 h 56"/>
              <a:gd name="T38" fmla="*/ 2147483647 w 64"/>
              <a:gd name="T39" fmla="*/ 2147483647 h 56"/>
              <a:gd name="T40" fmla="*/ 2147483647 w 64"/>
              <a:gd name="T41" fmla="*/ 2147483647 h 56"/>
              <a:gd name="T42" fmla="*/ 2147483647 w 64"/>
              <a:gd name="T43" fmla="*/ 0 h 56"/>
              <a:gd name="T44" fmla="*/ 2147483647 w 64"/>
              <a:gd name="T45" fmla="*/ 2147483647 h 5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64"/>
              <a:gd name="T70" fmla="*/ 0 h 56"/>
              <a:gd name="T71" fmla="*/ 64 w 64"/>
              <a:gd name="T72" fmla="*/ 56 h 5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64" h="56">
                <a:moveTo>
                  <a:pt x="42" y="4"/>
                </a:moveTo>
                <a:lnTo>
                  <a:pt x="53" y="30"/>
                </a:lnTo>
                <a:lnTo>
                  <a:pt x="64" y="56"/>
                </a:lnTo>
                <a:lnTo>
                  <a:pt x="57" y="54"/>
                </a:lnTo>
                <a:lnTo>
                  <a:pt x="48" y="55"/>
                </a:lnTo>
                <a:lnTo>
                  <a:pt x="26" y="53"/>
                </a:lnTo>
                <a:lnTo>
                  <a:pt x="18" y="52"/>
                </a:lnTo>
                <a:lnTo>
                  <a:pt x="0" y="49"/>
                </a:lnTo>
                <a:lnTo>
                  <a:pt x="5" y="48"/>
                </a:lnTo>
                <a:lnTo>
                  <a:pt x="16" y="43"/>
                </a:lnTo>
                <a:lnTo>
                  <a:pt x="22" y="48"/>
                </a:lnTo>
                <a:lnTo>
                  <a:pt x="28" y="48"/>
                </a:lnTo>
                <a:lnTo>
                  <a:pt x="17" y="42"/>
                </a:lnTo>
                <a:lnTo>
                  <a:pt x="30" y="44"/>
                </a:lnTo>
                <a:lnTo>
                  <a:pt x="38" y="46"/>
                </a:lnTo>
                <a:lnTo>
                  <a:pt x="48" y="48"/>
                </a:lnTo>
                <a:lnTo>
                  <a:pt x="51" y="48"/>
                </a:lnTo>
                <a:lnTo>
                  <a:pt x="27" y="34"/>
                </a:lnTo>
                <a:lnTo>
                  <a:pt x="36" y="23"/>
                </a:lnTo>
                <a:lnTo>
                  <a:pt x="21" y="23"/>
                </a:lnTo>
                <a:lnTo>
                  <a:pt x="14" y="5"/>
                </a:lnTo>
                <a:lnTo>
                  <a:pt x="22" y="0"/>
                </a:lnTo>
                <a:lnTo>
                  <a:pt x="42" y="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52" name="Freeform 135"/>
          <p:cNvSpPr>
            <a:spLocks/>
          </p:cNvSpPr>
          <p:nvPr/>
        </p:nvSpPr>
        <p:spPr bwMode="auto">
          <a:xfrm>
            <a:off x="2754313" y="6169025"/>
            <a:ext cx="20637" cy="52388"/>
          </a:xfrm>
          <a:custGeom>
            <a:avLst/>
            <a:gdLst>
              <a:gd name="T0" fmla="*/ 2147483647 w 17"/>
              <a:gd name="T1" fmla="*/ 0 h 37"/>
              <a:gd name="T2" fmla="*/ 0 w 17"/>
              <a:gd name="T3" fmla="*/ 2147483647 h 37"/>
              <a:gd name="T4" fmla="*/ 2147483647 w 17"/>
              <a:gd name="T5" fmla="*/ 2147483647 h 37"/>
              <a:gd name="T6" fmla="*/ 2147483647 w 17"/>
              <a:gd name="T7" fmla="*/ 2147483647 h 37"/>
              <a:gd name="T8" fmla="*/ 2147483647 w 17"/>
              <a:gd name="T9" fmla="*/ 2147483647 h 37"/>
              <a:gd name="T10" fmla="*/ 2147483647 w 17"/>
              <a:gd name="T11" fmla="*/ 2147483647 h 37"/>
              <a:gd name="T12" fmla="*/ 2147483647 w 17"/>
              <a:gd name="T13" fmla="*/ 2147483647 h 37"/>
              <a:gd name="T14" fmla="*/ 2147483647 w 17"/>
              <a:gd name="T15" fmla="*/ 0 h 3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7"/>
              <a:gd name="T25" fmla="*/ 0 h 37"/>
              <a:gd name="T26" fmla="*/ 17 w 17"/>
              <a:gd name="T27" fmla="*/ 37 h 37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7" h="37">
                <a:moveTo>
                  <a:pt x="6" y="0"/>
                </a:moveTo>
                <a:lnTo>
                  <a:pt x="0" y="3"/>
                </a:lnTo>
                <a:lnTo>
                  <a:pt x="8" y="37"/>
                </a:lnTo>
                <a:lnTo>
                  <a:pt x="17" y="33"/>
                </a:lnTo>
                <a:lnTo>
                  <a:pt x="17" y="29"/>
                </a:lnTo>
                <a:lnTo>
                  <a:pt x="13" y="12"/>
                </a:lnTo>
                <a:lnTo>
                  <a:pt x="17" y="11"/>
                </a:lnTo>
                <a:lnTo>
                  <a:pt x="6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53" name="Freeform 136"/>
          <p:cNvSpPr>
            <a:spLocks/>
          </p:cNvSpPr>
          <p:nvPr/>
        </p:nvSpPr>
        <p:spPr bwMode="auto">
          <a:xfrm>
            <a:off x="2808288" y="6405563"/>
            <a:ext cx="23812" cy="39687"/>
          </a:xfrm>
          <a:custGeom>
            <a:avLst/>
            <a:gdLst>
              <a:gd name="T0" fmla="*/ 2147483647 w 20"/>
              <a:gd name="T1" fmla="*/ 0 h 30"/>
              <a:gd name="T2" fmla="*/ 0 w 20"/>
              <a:gd name="T3" fmla="*/ 2147483647 h 30"/>
              <a:gd name="T4" fmla="*/ 2147483647 w 20"/>
              <a:gd name="T5" fmla="*/ 2147483647 h 30"/>
              <a:gd name="T6" fmla="*/ 2147483647 w 20"/>
              <a:gd name="T7" fmla="*/ 2147483647 h 30"/>
              <a:gd name="T8" fmla="*/ 2147483647 w 20"/>
              <a:gd name="T9" fmla="*/ 2147483647 h 30"/>
              <a:gd name="T10" fmla="*/ 2147483647 w 20"/>
              <a:gd name="T11" fmla="*/ 0 h 3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0"/>
              <a:gd name="T19" fmla="*/ 0 h 30"/>
              <a:gd name="T20" fmla="*/ 20 w 20"/>
              <a:gd name="T21" fmla="*/ 30 h 3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0" h="30">
                <a:moveTo>
                  <a:pt x="10" y="0"/>
                </a:moveTo>
                <a:lnTo>
                  <a:pt x="0" y="12"/>
                </a:lnTo>
                <a:lnTo>
                  <a:pt x="11" y="25"/>
                </a:lnTo>
                <a:lnTo>
                  <a:pt x="18" y="30"/>
                </a:lnTo>
                <a:lnTo>
                  <a:pt x="20" y="21"/>
                </a:lnTo>
                <a:lnTo>
                  <a:pt x="10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54" name="Freeform 137"/>
          <p:cNvSpPr>
            <a:spLocks/>
          </p:cNvSpPr>
          <p:nvPr/>
        </p:nvSpPr>
        <p:spPr bwMode="auto">
          <a:xfrm>
            <a:off x="2363788" y="4694238"/>
            <a:ext cx="168275" cy="220662"/>
          </a:xfrm>
          <a:custGeom>
            <a:avLst/>
            <a:gdLst>
              <a:gd name="T0" fmla="*/ 0 w 125"/>
              <a:gd name="T1" fmla="*/ 2147483647 h 160"/>
              <a:gd name="T2" fmla="*/ 2147483647 w 125"/>
              <a:gd name="T3" fmla="*/ 2147483647 h 160"/>
              <a:gd name="T4" fmla="*/ 0 w 125"/>
              <a:gd name="T5" fmla="*/ 2147483647 h 160"/>
              <a:gd name="T6" fmla="*/ 2147483647 w 125"/>
              <a:gd name="T7" fmla="*/ 2147483647 h 160"/>
              <a:gd name="T8" fmla="*/ 2147483647 w 125"/>
              <a:gd name="T9" fmla="*/ 2147483647 h 160"/>
              <a:gd name="T10" fmla="*/ 2147483647 w 125"/>
              <a:gd name="T11" fmla="*/ 2147483647 h 160"/>
              <a:gd name="T12" fmla="*/ 2147483647 w 125"/>
              <a:gd name="T13" fmla="*/ 2147483647 h 160"/>
              <a:gd name="T14" fmla="*/ 2147483647 w 125"/>
              <a:gd name="T15" fmla="*/ 2147483647 h 160"/>
              <a:gd name="T16" fmla="*/ 2147483647 w 125"/>
              <a:gd name="T17" fmla="*/ 2147483647 h 160"/>
              <a:gd name="T18" fmla="*/ 2147483647 w 125"/>
              <a:gd name="T19" fmla="*/ 2147483647 h 160"/>
              <a:gd name="T20" fmla="*/ 2147483647 w 125"/>
              <a:gd name="T21" fmla="*/ 2147483647 h 160"/>
              <a:gd name="T22" fmla="*/ 2147483647 w 125"/>
              <a:gd name="T23" fmla="*/ 2147483647 h 160"/>
              <a:gd name="T24" fmla="*/ 2147483647 w 125"/>
              <a:gd name="T25" fmla="*/ 2147483647 h 160"/>
              <a:gd name="T26" fmla="*/ 2147483647 w 125"/>
              <a:gd name="T27" fmla="*/ 2147483647 h 160"/>
              <a:gd name="T28" fmla="*/ 2147483647 w 125"/>
              <a:gd name="T29" fmla="*/ 2147483647 h 160"/>
              <a:gd name="T30" fmla="*/ 2147483647 w 125"/>
              <a:gd name="T31" fmla="*/ 2147483647 h 160"/>
              <a:gd name="T32" fmla="*/ 2147483647 w 125"/>
              <a:gd name="T33" fmla="*/ 2147483647 h 160"/>
              <a:gd name="T34" fmla="*/ 2147483647 w 125"/>
              <a:gd name="T35" fmla="*/ 2147483647 h 160"/>
              <a:gd name="T36" fmla="*/ 2147483647 w 125"/>
              <a:gd name="T37" fmla="*/ 2147483647 h 160"/>
              <a:gd name="T38" fmla="*/ 2147483647 w 125"/>
              <a:gd name="T39" fmla="*/ 2147483647 h 160"/>
              <a:gd name="T40" fmla="*/ 2147483647 w 125"/>
              <a:gd name="T41" fmla="*/ 2147483647 h 160"/>
              <a:gd name="T42" fmla="*/ 2147483647 w 125"/>
              <a:gd name="T43" fmla="*/ 2147483647 h 160"/>
              <a:gd name="T44" fmla="*/ 2147483647 w 125"/>
              <a:gd name="T45" fmla="*/ 2147483647 h 160"/>
              <a:gd name="T46" fmla="*/ 2147483647 w 125"/>
              <a:gd name="T47" fmla="*/ 2147483647 h 160"/>
              <a:gd name="T48" fmla="*/ 2147483647 w 125"/>
              <a:gd name="T49" fmla="*/ 2147483647 h 160"/>
              <a:gd name="T50" fmla="*/ 2147483647 w 125"/>
              <a:gd name="T51" fmla="*/ 2147483647 h 160"/>
              <a:gd name="T52" fmla="*/ 2147483647 w 125"/>
              <a:gd name="T53" fmla="*/ 2147483647 h 160"/>
              <a:gd name="T54" fmla="*/ 2147483647 w 125"/>
              <a:gd name="T55" fmla="*/ 2147483647 h 160"/>
              <a:gd name="T56" fmla="*/ 2147483647 w 125"/>
              <a:gd name="T57" fmla="*/ 2147483647 h 160"/>
              <a:gd name="T58" fmla="*/ 2147483647 w 125"/>
              <a:gd name="T59" fmla="*/ 2147483647 h 160"/>
              <a:gd name="T60" fmla="*/ 2147483647 w 125"/>
              <a:gd name="T61" fmla="*/ 0 h 160"/>
              <a:gd name="T62" fmla="*/ 2147483647 w 125"/>
              <a:gd name="T63" fmla="*/ 2147483647 h 160"/>
              <a:gd name="T64" fmla="*/ 2147483647 w 125"/>
              <a:gd name="T65" fmla="*/ 2147483647 h 160"/>
              <a:gd name="T66" fmla="*/ 2147483647 w 125"/>
              <a:gd name="T67" fmla="*/ 2147483647 h 160"/>
              <a:gd name="T68" fmla="*/ 2147483647 w 125"/>
              <a:gd name="T69" fmla="*/ 2147483647 h 160"/>
              <a:gd name="T70" fmla="*/ 0 w 125"/>
              <a:gd name="T71" fmla="*/ 2147483647 h 160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125"/>
              <a:gd name="T109" fmla="*/ 0 h 160"/>
              <a:gd name="T110" fmla="*/ 125 w 125"/>
              <a:gd name="T111" fmla="*/ 160 h 160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125" h="160">
                <a:moveTo>
                  <a:pt x="0" y="64"/>
                </a:moveTo>
                <a:lnTo>
                  <a:pt x="4" y="89"/>
                </a:lnTo>
                <a:lnTo>
                  <a:pt x="0" y="94"/>
                </a:lnTo>
                <a:lnTo>
                  <a:pt x="16" y="101"/>
                </a:lnTo>
                <a:lnTo>
                  <a:pt x="20" y="95"/>
                </a:lnTo>
                <a:lnTo>
                  <a:pt x="23" y="100"/>
                </a:lnTo>
                <a:lnTo>
                  <a:pt x="22" y="115"/>
                </a:lnTo>
                <a:lnTo>
                  <a:pt x="13" y="120"/>
                </a:lnTo>
                <a:lnTo>
                  <a:pt x="16" y="134"/>
                </a:lnTo>
                <a:lnTo>
                  <a:pt x="11" y="145"/>
                </a:lnTo>
                <a:lnTo>
                  <a:pt x="18" y="143"/>
                </a:lnTo>
                <a:lnTo>
                  <a:pt x="42" y="160"/>
                </a:lnTo>
                <a:lnTo>
                  <a:pt x="49" y="151"/>
                </a:lnTo>
                <a:lnTo>
                  <a:pt x="52" y="140"/>
                </a:lnTo>
                <a:lnTo>
                  <a:pt x="56" y="131"/>
                </a:lnTo>
                <a:lnTo>
                  <a:pt x="60" y="116"/>
                </a:lnTo>
                <a:lnTo>
                  <a:pt x="62" y="116"/>
                </a:lnTo>
                <a:lnTo>
                  <a:pt x="62" y="121"/>
                </a:lnTo>
                <a:lnTo>
                  <a:pt x="66" y="120"/>
                </a:lnTo>
                <a:lnTo>
                  <a:pt x="65" y="116"/>
                </a:lnTo>
                <a:lnTo>
                  <a:pt x="70" y="110"/>
                </a:lnTo>
                <a:lnTo>
                  <a:pt x="83" y="104"/>
                </a:lnTo>
                <a:lnTo>
                  <a:pt x="107" y="89"/>
                </a:lnTo>
                <a:lnTo>
                  <a:pt x="120" y="60"/>
                </a:lnTo>
                <a:lnTo>
                  <a:pt x="125" y="60"/>
                </a:lnTo>
                <a:lnTo>
                  <a:pt x="116" y="41"/>
                </a:lnTo>
                <a:lnTo>
                  <a:pt x="122" y="38"/>
                </a:lnTo>
                <a:lnTo>
                  <a:pt x="98" y="26"/>
                </a:lnTo>
                <a:lnTo>
                  <a:pt x="77" y="26"/>
                </a:lnTo>
                <a:lnTo>
                  <a:pt x="64" y="13"/>
                </a:lnTo>
                <a:lnTo>
                  <a:pt x="46" y="0"/>
                </a:lnTo>
                <a:lnTo>
                  <a:pt x="37" y="10"/>
                </a:lnTo>
                <a:lnTo>
                  <a:pt x="18" y="20"/>
                </a:lnTo>
                <a:lnTo>
                  <a:pt x="13" y="40"/>
                </a:lnTo>
                <a:lnTo>
                  <a:pt x="11" y="52"/>
                </a:lnTo>
                <a:lnTo>
                  <a:pt x="0" y="64"/>
                </a:lnTo>
                <a:close/>
              </a:path>
            </a:pathLst>
          </a:custGeom>
          <a:gradFill rotWithShape="1">
            <a:gsLst>
              <a:gs pos="0">
                <a:schemeClr val="accent2"/>
              </a:gs>
              <a:gs pos="100000">
                <a:srgbClr val="2E1A38"/>
              </a:gs>
            </a:gsLst>
            <a:lin ang="5400000" scaled="1"/>
          </a:gradFill>
          <a:ln w="6350" cap="rnd">
            <a:solidFill>
              <a:srgbClr val="DDDDDD"/>
            </a:solidFill>
            <a:round/>
            <a:headEnd/>
            <a:tailEnd/>
          </a:ln>
        </p:spPr>
        <p:txBody>
          <a:bodyPr lIns="91430" tIns="45716" rIns="91430" bIns="45716"/>
          <a:lstStyle/>
          <a:p>
            <a:endParaRPr lang="en-US"/>
          </a:p>
        </p:txBody>
      </p:sp>
      <p:sp>
        <p:nvSpPr>
          <p:cNvPr id="9355" name="Freeform 138"/>
          <p:cNvSpPr>
            <a:spLocks/>
          </p:cNvSpPr>
          <p:nvPr/>
        </p:nvSpPr>
        <p:spPr bwMode="auto">
          <a:xfrm>
            <a:off x="2389188" y="4838700"/>
            <a:ext cx="6350" cy="4763"/>
          </a:xfrm>
          <a:custGeom>
            <a:avLst/>
            <a:gdLst>
              <a:gd name="T0" fmla="*/ 2147483647 w 6"/>
              <a:gd name="T1" fmla="*/ 0 h 5"/>
              <a:gd name="T2" fmla="*/ 2147483647 w 6"/>
              <a:gd name="T3" fmla="*/ 0 h 5"/>
              <a:gd name="T4" fmla="*/ 0 w 6"/>
              <a:gd name="T5" fmla="*/ 0 h 5"/>
              <a:gd name="T6" fmla="*/ 2147483647 w 6"/>
              <a:gd name="T7" fmla="*/ 0 h 5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5"/>
              <a:gd name="T14" fmla="*/ 6 w 6"/>
              <a:gd name="T15" fmla="*/ 5 h 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5">
                <a:moveTo>
                  <a:pt x="6" y="1"/>
                </a:moveTo>
                <a:lnTo>
                  <a:pt x="1" y="5"/>
                </a:lnTo>
                <a:lnTo>
                  <a:pt x="0" y="0"/>
                </a:lnTo>
                <a:lnTo>
                  <a:pt x="6" y="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56" name="Freeform 139"/>
          <p:cNvSpPr>
            <a:spLocks/>
          </p:cNvSpPr>
          <p:nvPr/>
        </p:nvSpPr>
        <p:spPr bwMode="auto">
          <a:xfrm>
            <a:off x="2355850" y="4746625"/>
            <a:ext cx="384175" cy="623888"/>
          </a:xfrm>
          <a:custGeom>
            <a:avLst/>
            <a:gdLst>
              <a:gd name="T0" fmla="*/ 2147483647 w 288"/>
              <a:gd name="T1" fmla="*/ 2147483647 h 455"/>
              <a:gd name="T2" fmla="*/ 2147483647 w 288"/>
              <a:gd name="T3" fmla="*/ 2147483647 h 455"/>
              <a:gd name="T4" fmla="*/ 2147483647 w 288"/>
              <a:gd name="T5" fmla="*/ 2147483647 h 455"/>
              <a:gd name="T6" fmla="*/ 2147483647 w 288"/>
              <a:gd name="T7" fmla="*/ 2147483647 h 455"/>
              <a:gd name="T8" fmla="*/ 2147483647 w 288"/>
              <a:gd name="T9" fmla="*/ 2147483647 h 455"/>
              <a:gd name="T10" fmla="*/ 2147483647 w 288"/>
              <a:gd name="T11" fmla="*/ 2147483647 h 455"/>
              <a:gd name="T12" fmla="*/ 2147483647 w 288"/>
              <a:gd name="T13" fmla="*/ 2147483647 h 455"/>
              <a:gd name="T14" fmla="*/ 2147483647 w 288"/>
              <a:gd name="T15" fmla="*/ 2147483647 h 455"/>
              <a:gd name="T16" fmla="*/ 2147483647 w 288"/>
              <a:gd name="T17" fmla="*/ 2147483647 h 455"/>
              <a:gd name="T18" fmla="*/ 2147483647 w 288"/>
              <a:gd name="T19" fmla="*/ 2147483647 h 455"/>
              <a:gd name="T20" fmla="*/ 2147483647 w 288"/>
              <a:gd name="T21" fmla="*/ 2147483647 h 455"/>
              <a:gd name="T22" fmla="*/ 2147483647 w 288"/>
              <a:gd name="T23" fmla="*/ 2147483647 h 455"/>
              <a:gd name="T24" fmla="*/ 2147483647 w 288"/>
              <a:gd name="T25" fmla="*/ 2147483647 h 455"/>
              <a:gd name="T26" fmla="*/ 2147483647 w 288"/>
              <a:gd name="T27" fmla="*/ 2147483647 h 455"/>
              <a:gd name="T28" fmla="*/ 2147483647 w 288"/>
              <a:gd name="T29" fmla="*/ 2147483647 h 455"/>
              <a:gd name="T30" fmla="*/ 2147483647 w 288"/>
              <a:gd name="T31" fmla="*/ 2147483647 h 455"/>
              <a:gd name="T32" fmla="*/ 2147483647 w 288"/>
              <a:gd name="T33" fmla="*/ 2147483647 h 455"/>
              <a:gd name="T34" fmla="*/ 2147483647 w 288"/>
              <a:gd name="T35" fmla="*/ 2147483647 h 455"/>
              <a:gd name="T36" fmla="*/ 2147483647 w 288"/>
              <a:gd name="T37" fmla="*/ 2147483647 h 455"/>
              <a:gd name="T38" fmla="*/ 2147483647 w 288"/>
              <a:gd name="T39" fmla="*/ 2147483647 h 455"/>
              <a:gd name="T40" fmla="*/ 2147483647 w 288"/>
              <a:gd name="T41" fmla="*/ 2147483647 h 455"/>
              <a:gd name="T42" fmla="*/ 2147483647 w 288"/>
              <a:gd name="T43" fmla="*/ 2147483647 h 455"/>
              <a:gd name="T44" fmla="*/ 2147483647 w 288"/>
              <a:gd name="T45" fmla="*/ 2147483647 h 455"/>
              <a:gd name="T46" fmla="*/ 2147483647 w 288"/>
              <a:gd name="T47" fmla="*/ 2147483647 h 455"/>
              <a:gd name="T48" fmla="*/ 2147483647 w 288"/>
              <a:gd name="T49" fmla="*/ 2147483647 h 455"/>
              <a:gd name="T50" fmla="*/ 2147483647 w 288"/>
              <a:gd name="T51" fmla="*/ 2147483647 h 455"/>
              <a:gd name="T52" fmla="*/ 2147483647 w 288"/>
              <a:gd name="T53" fmla="*/ 2147483647 h 455"/>
              <a:gd name="T54" fmla="*/ 2147483647 w 288"/>
              <a:gd name="T55" fmla="*/ 2147483647 h 455"/>
              <a:gd name="T56" fmla="*/ 2147483647 w 288"/>
              <a:gd name="T57" fmla="*/ 2147483647 h 455"/>
              <a:gd name="T58" fmla="*/ 2147483647 w 288"/>
              <a:gd name="T59" fmla="*/ 2147483647 h 455"/>
              <a:gd name="T60" fmla="*/ 2147483647 w 288"/>
              <a:gd name="T61" fmla="*/ 2147483647 h 455"/>
              <a:gd name="T62" fmla="*/ 2147483647 w 288"/>
              <a:gd name="T63" fmla="*/ 2147483647 h 455"/>
              <a:gd name="T64" fmla="*/ 2147483647 w 288"/>
              <a:gd name="T65" fmla="*/ 2147483647 h 455"/>
              <a:gd name="T66" fmla="*/ 2147483647 w 288"/>
              <a:gd name="T67" fmla="*/ 2147483647 h 455"/>
              <a:gd name="T68" fmla="*/ 2147483647 w 288"/>
              <a:gd name="T69" fmla="*/ 2147483647 h 455"/>
              <a:gd name="T70" fmla="*/ 2147483647 w 288"/>
              <a:gd name="T71" fmla="*/ 2147483647 h 455"/>
              <a:gd name="T72" fmla="*/ 2147483647 w 288"/>
              <a:gd name="T73" fmla="*/ 2147483647 h 455"/>
              <a:gd name="T74" fmla="*/ 2147483647 w 288"/>
              <a:gd name="T75" fmla="*/ 2147483647 h 455"/>
              <a:gd name="T76" fmla="*/ 2147483647 w 288"/>
              <a:gd name="T77" fmla="*/ 2147483647 h 455"/>
              <a:gd name="T78" fmla="*/ 2147483647 w 288"/>
              <a:gd name="T79" fmla="*/ 2147483647 h 455"/>
              <a:gd name="T80" fmla="*/ 2147483647 w 288"/>
              <a:gd name="T81" fmla="*/ 2147483647 h 455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288"/>
              <a:gd name="T124" fmla="*/ 0 h 455"/>
              <a:gd name="T125" fmla="*/ 288 w 288"/>
              <a:gd name="T126" fmla="*/ 455 h 455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288" h="455">
                <a:moveTo>
                  <a:pt x="282" y="346"/>
                </a:moveTo>
                <a:lnTo>
                  <a:pt x="278" y="359"/>
                </a:lnTo>
                <a:lnTo>
                  <a:pt x="278" y="379"/>
                </a:lnTo>
                <a:lnTo>
                  <a:pt x="281" y="400"/>
                </a:lnTo>
                <a:lnTo>
                  <a:pt x="288" y="402"/>
                </a:lnTo>
                <a:lnTo>
                  <a:pt x="278" y="424"/>
                </a:lnTo>
                <a:lnTo>
                  <a:pt x="278" y="433"/>
                </a:lnTo>
                <a:lnTo>
                  <a:pt x="272" y="443"/>
                </a:lnTo>
                <a:lnTo>
                  <a:pt x="265" y="454"/>
                </a:lnTo>
                <a:lnTo>
                  <a:pt x="260" y="455"/>
                </a:lnTo>
                <a:lnTo>
                  <a:pt x="246" y="443"/>
                </a:lnTo>
                <a:lnTo>
                  <a:pt x="236" y="431"/>
                </a:lnTo>
                <a:lnTo>
                  <a:pt x="218" y="420"/>
                </a:lnTo>
                <a:lnTo>
                  <a:pt x="199" y="409"/>
                </a:lnTo>
                <a:lnTo>
                  <a:pt x="180" y="399"/>
                </a:lnTo>
                <a:lnTo>
                  <a:pt x="162" y="388"/>
                </a:lnTo>
                <a:lnTo>
                  <a:pt x="143" y="369"/>
                </a:lnTo>
                <a:lnTo>
                  <a:pt x="123" y="351"/>
                </a:lnTo>
                <a:lnTo>
                  <a:pt x="123" y="337"/>
                </a:lnTo>
                <a:lnTo>
                  <a:pt x="109" y="310"/>
                </a:lnTo>
                <a:lnTo>
                  <a:pt x="95" y="283"/>
                </a:lnTo>
                <a:lnTo>
                  <a:pt x="84" y="267"/>
                </a:lnTo>
                <a:lnTo>
                  <a:pt x="74" y="249"/>
                </a:lnTo>
                <a:lnTo>
                  <a:pt x="65" y="231"/>
                </a:lnTo>
                <a:lnTo>
                  <a:pt x="56" y="213"/>
                </a:lnTo>
                <a:lnTo>
                  <a:pt x="47" y="193"/>
                </a:lnTo>
                <a:lnTo>
                  <a:pt x="37" y="175"/>
                </a:lnTo>
                <a:lnTo>
                  <a:pt x="21" y="163"/>
                </a:lnTo>
                <a:lnTo>
                  <a:pt x="6" y="151"/>
                </a:lnTo>
                <a:lnTo>
                  <a:pt x="8" y="144"/>
                </a:lnTo>
                <a:lnTo>
                  <a:pt x="0" y="112"/>
                </a:lnTo>
                <a:lnTo>
                  <a:pt x="11" y="97"/>
                </a:lnTo>
                <a:lnTo>
                  <a:pt x="20" y="83"/>
                </a:lnTo>
                <a:lnTo>
                  <a:pt x="23" y="97"/>
                </a:lnTo>
                <a:lnTo>
                  <a:pt x="18" y="108"/>
                </a:lnTo>
                <a:lnTo>
                  <a:pt x="25" y="106"/>
                </a:lnTo>
                <a:lnTo>
                  <a:pt x="49" y="123"/>
                </a:lnTo>
                <a:lnTo>
                  <a:pt x="56" y="114"/>
                </a:lnTo>
                <a:lnTo>
                  <a:pt x="59" y="103"/>
                </a:lnTo>
                <a:lnTo>
                  <a:pt x="63" y="95"/>
                </a:lnTo>
                <a:lnTo>
                  <a:pt x="67" y="79"/>
                </a:lnTo>
                <a:lnTo>
                  <a:pt x="69" y="79"/>
                </a:lnTo>
                <a:lnTo>
                  <a:pt x="69" y="84"/>
                </a:lnTo>
                <a:lnTo>
                  <a:pt x="73" y="83"/>
                </a:lnTo>
                <a:lnTo>
                  <a:pt x="72" y="79"/>
                </a:lnTo>
                <a:lnTo>
                  <a:pt x="77" y="73"/>
                </a:lnTo>
                <a:lnTo>
                  <a:pt x="90" y="67"/>
                </a:lnTo>
                <a:lnTo>
                  <a:pt x="114" y="52"/>
                </a:lnTo>
                <a:lnTo>
                  <a:pt x="127" y="23"/>
                </a:lnTo>
                <a:lnTo>
                  <a:pt x="132" y="23"/>
                </a:lnTo>
                <a:lnTo>
                  <a:pt x="123" y="4"/>
                </a:lnTo>
                <a:lnTo>
                  <a:pt x="129" y="1"/>
                </a:lnTo>
                <a:lnTo>
                  <a:pt x="131" y="0"/>
                </a:lnTo>
                <a:lnTo>
                  <a:pt x="144" y="12"/>
                </a:lnTo>
                <a:lnTo>
                  <a:pt x="156" y="24"/>
                </a:lnTo>
                <a:lnTo>
                  <a:pt x="173" y="43"/>
                </a:lnTo>
                <a:lnTo>
                  <a:pt x="177" y="55"/>
                </a:lnTo>
                <a:lnTo>
                  <a:pt x="204" y="55"/>
                </a:lnTo>
                <a:lnTo>
                  <a:pt x="221" y="57"/>
                </a:lnTo>
                <a:lnTo>
                  <a:pt x="243" y="64"/>
                </a:lnTo>
                <a:lnTo>
                  <a:pt x="235" y="94"/>
                </a:lnTo>
                <a:lnTo>
                  <a:pt x="248" y="103"/>
                </a:lnTo>
                <a:lnTo>
                  <a:pt x="241" y="103"/>
                </a:lnTo>
                <a:lnTo>
                  <a:pt x="222" y="108"/>
                </a:lnTo>
                <a:lnTo>
                  <a:pt x="205" y="117"/>
                </a:lnTo>
                <a:lnTo>
                  <a:pt x="187" y="124"/>
                </a:lnTo>
                <a:lnTo>
                  <a:pt x="182" y="143"/>
                </a:lnTo>
                <a:lnTo>
                  <a:pt x="176" y="162"/>
                </a:lnTo>
                <a:lnTo>
                  <a:pt x="164" y="183"/>
                </a:lnTo>
                <a:lnTo>
                  <a:pt x="175" y="201"/>
                </a:lnTo>
                <a:lnTo>
                  <a:pt x="185" y="220"/>
                </a:lnTo>
                <a:lnTo>
                  <a:pt x="183" y="231"/>
                </a:lnTo>
                <a:lnTo>
                  <a:pt x="192" y="233"/>
                </a:lnTo>
                <a:lnTo>
                  <a:pt x="205" y="243"/>
                </a:lnTo>
                <a:lnTo>
                  <a:pt x="223" y="247"/>
                </a:lnTo>
                <a:lnTo>
                  <a:pt x="237" y="235"/>
                </a:lnTo>
                <a:lnTo>
                  <a:pt x="239" y="253"/>
                </a:lnTo>
                <a:lnTo>
                  <a:pt x="241" y="273"/>
                </a:lnTo>
                <a:lnTo>
                  <a:pt x="264" y="270"/>
                </a:lnTo>
                <a:lnTo>
                  <a:pt x="275" y="291"/>
                </a:lnTo>
                <a:lnTo>
                  <a:pt x="285" y="310"/>
                </a:lnTo>
                <a:lnTo>
                  <a:pt x="282" y="315"/>
                </a:lnTo>
                <a:lnTo>
                  <a:pt x="282" y="346"/>
                </a:lnTo>
                <a:close/>
              </a:path>
            </a:pathLst>
          </a:custGeom>
          <a:gradFill rotWithShape="1">
            <a:gsLst>
              <a:gs pos="0">
                <a:schemeClr val="accent2"/>
              </a:gs>
              <a:gs pos="100000">
                <a:srgbClr val="2E1A38"/>
              </a:gs>
            </a:gsLst>
            <a:lin ang="5400000" scaled="1"/>
          </a:gradFill>
          <a:ln w="6350" cap="rnd">
            <a:solidFill>
              <a:srgbClr val="DDDDDD"/>
            </a:solidFill>
            <a:round/>
            <a:headEnd/>
            <a:tailEnd/>
          </a:ln>
        </p:spPr>
        <p:txBody>
          <a:bodyPr lIns="91430" tIns="45716" rIns="91430" bIns="45716"/>
          <a:lstStyle/>
          <a:p>
            <a:endParaRPr lang="en-US"/>
          </a:p>
        </p:txBody>
      </p:sp>
      <p:sp>
        <p:nvSpPr>
          <p:cNvPr id="9357" name="Freeform 140"/>
          <p:cNvSpPr>
            <a:spLocks/>
          </p:cNvSpPr>
          <p:nvPr/>
        </p:nvSpPr>
        <p:spPr bwMode="auto">
          <a:xfrm>
            <a:off x="6397625" y="2935288"/>
            <a:ext cx="1484313" cy="1116012"/>
          </a:xfrm>
          <a:custGeom>
            <a:avLst/>
            <a:gdLst>
              <a:gd name="T0" fmla="*/ 2147483647 w 1118"/>
              <a:gd name="T1" fmla="*/ 2147483647 h 812"/>
              <a:gd name="T2" fmla="*/ 2147483647 w 1118"/>
              <a:gd name="T3" fmla="*/ 2147483647 h 812"/>
              <a:gd name="T4" fmla="*/ 2147483647 w 1118"/>
              <a:gd name="T5" fmla="*/ 2147483647 h 812"/>
              <a:gd name="T6" fmla="*/ 2147483647 w 1118"/>
              <a:gd name="T7" fmla="*/ 2147483647 h 812"/>
              <a:gd name="T8" fmla="*/ 2147483647 w 1118"/>
              <a:gd name="T9" fmla="*/ 2147483647 h 812"/>
              <a:gd name="T10" fmla="*/ 2147483647 w 1118"/>
              <a:gd name="T11" fmla="*/ 2147483647 h 812"/>
              <a:gd name="T12" fmla="*/ 2147483647 w 1118"/>
              <a:gd name="T13" fmla="*/ 2147483647 h 812"/>
              <a:gd name="T14" fmla="*/ 2147483647 w 1118"/>
              <a:gd name="T15" fmla="*/ 2147483647 h 812"/>
              <a:gd name="T16" fmla="*/ 2147483647 w 1118"/>
              <a:gd name="T17" fmla="*/ 2147483647 h 812"/>
              <a:gd name="T18" fmla="*/ 2147483647 w 1118"/>
              <a:gd name="T19" fmla="*/ 2147483647 h 812"/>
              <a:gd name="T20" fmla="*/ 2147483647 w 1118"/>
              <a:gd name="T21" fmla="*/ 2147483647 h 812"/>
              <a:gd name="T22" fmla="*/ 2147483647 w 1118"/>
              <a:gd name="T23" fmla="*/ 2147483647 h 812"/>
              <a:gd name="T24" fmla="*/ 2147483647 w 1118"/>
              <a:gd name="T25" fmla="*/ 2147483647 h 812"/>
              <a:gd name="T26" fmla="*/ 2147483647 w 1118"/>
              <a:gd name="T27" fmla="*/ 2147483647 h 812"/>
              <a:gd name="T28" fmla="*/ 2147483647 w 1118"/>
              <a:gd name="T29" fmla="*/ 2147483647 h 812"/>
              <a:gd name="T30" fmla="*/ 2147483647 w 1118"/>
              <a:gd name="T31" fmla="*/ 2147483647 h 812"/>
              <a:gd name="T32" fmla="*/ 2147483647 w 1118"/>
              <a:gd name="T33" fmla="*/ 2147483647 h 812"/>
              <a:gd name="T34" fmla="*/ 2147483647 w 1118"/>
              <a:gd name="T35" fmla="*/ 2147483647 h 812"/>
              <a:gd name="T36" fmla="*/ 2147483647 w 1118"/>
              <a:gd name="T37" fmla="*/ 2147483647 h 812"/>
              <a:gd name="T38" fmla="*/ 2147483647 w 1118"/>
              <a:gd name="T39" fmla="*/ 2147483647 h 812"/>
              <a:gd name="T40" fmla="*/ 2147483647 w 1118"/>
              <a:gd name="T41" fmla="*/ 2147483647 h 812"/>
              <a:gd name="T42" fmla="*/ 2147483647 w 1118"/>
              <a:gd name="T43" fmla="*/ 2147483647 h 812"/>
              <a:gd name="T44" fmla="*/ 2147483647 w 1118"/>
              <a:gd name="T45" fmla="*/ 2147483647 h 812"/>
              <a:gd name="T46" fmla="*/ 2147483647 w 1118"/>
              <a:gd name="T47" fmla="*/ 2147483647 h 812"/>
              <a:gd name="T48" fmla="*/ 2147483647 w 1118"/>
              <a:gd name="T49" fmla="*/ 0 h 812"/>
              <a:gd name="T50" fmla="*/ 2147483647 w 1118"/>
              <a:gd name="T51" fmla="*/ 2147483647 h 812"/>
              <a:gd name="T52" fmla="*/ 2147483647 w 1118"/>
              <a:gd name="T53" fmla="*/ 2147483647 h 812"/>
              <a:gd name="T54" fmla="*/ 2147483647 w 1118"/>
              <a:gd name="T55" fmla="*/ 2147483647 h 812"/>
              <a:gd name="T56" fmla="*/ 2147483647 w 1118"/>
              <a:gd name="T57" fmla="*/ 2147483647 h 812"/>
              <a:gd name="T58" fmla="*/ 2147483647 w 1118"/>
              <a:gd name="T59" fmla="*/ 2147483647 h 812"/>
              <a:gd name="T60" fmla="*/ 2147483647 w 1118"/>
              <a:gd name="T61" fmla="*/ 2147483647 h 812"/>
              <a:gd name="T62" fmla="*/ 2147483647 w 1118"/>
              <a:gd name="T63" fmla="*/ 2147483647 h 812"/>
              <a:gd name="T64" fmla="*/ 2147483647 w 1118"/>
              <a:gd name="T65" fmla="*/ 2147483647 h 812"/>
              <a:gd name="T66" fmla="*/ 2147483647 w 1118"/>
              <a:gd name="T67" fmla="*/ 2147483647 h 812"/>
              <a:gd name="T68" fmla="*/ 2147483647 w 1118"/>
              <a:gd name="T69" fmla="*/ 2147483647 h 812"/>
              <a:gd name="T70" fmla="*/ 2147483647 w 1118"/>
              <a:gd name="T71" fmla="*/ 2147483647 h 812"/>
              <a:gd name="T72" fmla="*/ 2147483647 w 1118"/>
              <a:gd name="T73" fmla="*/ 2147483647 h 812"/>
              <a:gd name="T74" fmla="*/ 2147483647 w 1118"/>
              <a:gd name="T75" fmla="*/ 2147483647 h 812"/>
              <a:gd name="T76" fmla="*/ 2147483647 w 1118"/>
              <a:gd name="T77" fmla="*/ 2147483647 h 812"/>
              <a:gd name="T78" fmla="*/ 2147483647 w 1118"/>
              <a:gd name="T79" fmla="*/ 2147483647 h 812"/>
              <a:gd name="T80" fmla="*/ 2147483647 w 1118"/>
              <a:gd name="T81" fmla="*/ 2147483647 h 812"/>
              <a:gd name="T82" fmla="*/ 2147483647 w 1118"/>
              <a:gd name="T83" fmla="*/ 2147483647 h 812"/>
              <a:gd name="T84" fmla="*/ 2147483647 w 1118"/>
              <a:gd name="T85" fmla="*/ 2147483647 h 812"/>
              <a:gd name="T86" fmla="*/ 2147483647 w 1118"/>
              <a:gd name="T87" fmla="*/ 2147483647 h 812"/>
              <a:gd name="T88" fmla="*/ 2147483647 w 1118"/>
              <a:gd name="T89" fmla="*/ 2147483647 h 812"/>
              <a:gd name="T90" fmla="*/ 2147483647 w 1118"/>
              <a:gd name="T91" fmla="*/ 2147483647 h 812"/>
              <a:gd name="T92" fmla="*/ 2147483647 w 1118"/>
              <a:gd name="T93" fmla="*/ 2147483647 h 812"/>
              <a:gd name="T94" fmla="*/ 2147483647 w 1118"/>
              <a:gd name="T95" fmla="*/ 2147483647 h 812"/>
              <a:gd name="T96" fmla="*/ 2147483647 w 1118"/>
              <a:gd name="T97" fmla="*/ 2147483647 h 812"/>
              <a:gd name="T98" fmla="*/ 2147483647 w 1118"/>
              <a:gd name="T99" fmla="*/ 2147483647 h 812"/>
              <a:gd name="T100" fmla="*/ 2147483647 w 1118"/>
              <a:gd name="T101" fmla="*/ 2147483647 h 812"/>
              <a:gd name="T102" fmla="*/ 2147483647 w 1118"/>
              <a:gd name="T103" fmla="*/ 2147483647 h 812"/>
              <a:gd name="T104" fmla="*/ 2147483647 w 1118"/>
              <a:gd name="T105" fmla="*/ 2147483647 h 812"/>
              <a:gd name="T106" fmla="*/ 2147483647 w 1118"/>
              <a:gd name="T107" fmla="*/ 2147483647 h 812"/>
              <a:gd name="T108" fmla="*/ 2147483647 w 1118"/>
              <a:gd name="T109" fmla="*/ 2147483647 h 812"/>
              <a:gd name="T110" fmla="*/ 2147483647 w 1118"/>
              <a:gd name="T111" fmla="*/ 2147483647 h 812"/>
              <a:gd name="T112" fmla="*/ 2147483647 w 1118"/>
              <a:gd name="T113" fmla="*/ 2147483647 h 812"/>
              <a:gd name="T114" fmla="*/ 2147483647 w 1118"/>
              <a:gd name="T115" fmla="*/ 2147483647 h 812"/>
              <a:gd name="T116" fmla="*/ 2147483647 w 1118"/>
              <a:gd name="T117" fmla="*/ 2147483647 h 812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118"/>
              <a:gd name="T178" fmla="*/ 0 h 812"/>
              <a:gd name="T179" fmla="*/ 1118 w 1118"/>
              <a:gd name="T180" fmla="*/ 812 h 812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118" h="812">
                <a:moveTo>
                  <a:pt x="499" y="591"/>
                </a:moveTo>
                <a:lnTo>
                  <a:pt x="484" y="606"/>
                </a:lnTo>
                <a:lnTo>
                  <a:pt x="468" y="619"/>
                </a:lnTo>
                <a:lnTo>
                  <a:pt x="449" y="627"/>
                </a:lnTo>
                <a:lnTo>
                  <a:pt x="438" y="619"/>
                </a:lnTo>
                <a:lnTo>
                  <a:pt x="407" y="616"/>
                </a:lnTo>
                <a:lnTo>
                  <a:pt x="393" y="638"/>
                </a:lnTo>
                <a:lnTo>
                  <a:pt x="383" y="618"/>
                </a:lnTo>
                <a:lnTo>
                  <a:pt x="373" y="625"/>
                </a:lnTo>
                <a:lnTo>
                  <a:pt x="347" y="622"/>
                </a:lnTo>
                <a:lnTo>
                  <a:pt x="329" y="619"/>
                </a:lnTo>
                <a:lnTo>
                  <a:pt x="306" y="610"/>
                </a:lnTo>
                <a:lnTo>
                  <a:pt x="304" y="606"/>
                </a:lnTo>
                <a:lnTo>
                  <a:pt x="283" y="597"/>
                </a:lnTo>
                <a:lnTo>
                  <a:pt x="276" y="589"/>
                </a:lnTo>
                <a:lnTo>
                  <a:pt x="268" y="592"/>
                </a:lnTo>
                <a:lnTo>
                  <a:pt x="240" y="571"/>
                </a:lnTo>
                <a:lnTo>
                  <a:pt x="223" y="560"/>
                </a:lnTo>
                <a:lnTo>
                  <a:pt x="214" y="568"/>
                </a:lnTo>
                <a:lnTo>
                  <a:pt x="213" y="566"/>
                </a:lnTo>
                <a:lnTo>
                  <a:pt x="191" y="553"/>
                </a:lnTo>
                <a:lnTo>
                  <a:pt x="166" y="538"/>
                </a:lnTo>
                <a:lnTo>
                  <a:pt x="156" y="535"/>
                </a:lnTo>
                <a:lnTo>
                  <a:pt x="147" y="507"/>
                </a:lnTo>
                <a:lnTo>
                  <a:pt x="159" y="510"/>
                </a:lnTo>
                <a:lnTo>
                  <a:pt x="162" y="500"/>
                </a:lnTo>
                <a:lnTo>
                  <a:pt x="149" y="482"/>
                </a:lnTo>
                <a:lnTo>
                  <a:pt x="149" y="472"/>
                </a:lnTo>
                <a:lnTo>
                  <a:pt x="147" y="466"/>
                </a:lnTo>
                <a:lnTo>
                  <a:pt x="143" y="462"/>
                </a:lnTo>
                <a:lnTo>
                  <a:pt x="139" y="456"/>
                </a:lnTo>
                <a:lnTo>
                  <a:pt x="138" y="451"/>
                </a:lnTo>
                <a:lnTo>
                  <a:pt x="136" y="444"/>
                </a:lnTo>
                <a:lnTo>
                  <a:pt x="129" y="441"/>
                </a:lnTo>
                <a:lnTo>
                  <a:pt x="119" y="438"/>
                </a:lnTo>
                <a:lnTo>
                  <a:pt x="113" y="435"/>
                </a:lnTo>
                <a:lnTo>
                  <a:pt x="84" y="427"/>
                </a:lnTo>
                <a:lnTo>
                  <a:pt x="69" y="420"/>
                </a:lnTo>
                <a:lnTo>
                  <a:pt x="59" y="404"/>
                </a:lnTo>
                <a:lnTo>
                  <a:pt x="35" y="397"/>
                </a:lnTo>
                <a:lnTo>
                  <a:pt x="34" y="392"/>
                </a:lnTo>
                <a:lnTo>
                  <a:pt x="40" y="392"/>
                </a:lnTo>
                <a:lnTo>
                  <a:pt x="41" y="392"/>
                </a:lnTo>
                <a:lnTo>
                  <a:pt x="43" y="390"/>
                </a:lnTo>
                <a:lnTo>
                  <a:pt x="30" y="362"/>
                </a:lnTo>
                <a:lnTo>
                  <a:pt x="12" y="360"/>
                </a:lnTo>
                <a:lnTo>
                  <a:pt x="0" y="339"/>
                </a:lnTo>
                <a:lnTo>
                  <a:pt x="9" y="321"/>
                </a:lnTo>
                <a:lnTo>
                  <a:pt x="23" y="312"/>
                </a:lnTo>
                <a:lnTo>
                  <a:pt x="33" y="312"/>
                </a:lnTo>
                <a:lnTo>
                  <a:pt x="45" y="314"/>
                </a:lnTo>
                <a:lnTo>
                  <a:pt x="58" y="298"/>
                </a:lnTo>
                <a:lnTo>
                  <a:pt x="78" y="294"/>
                </a:lnTo>
                <a:lnTo>
                  <a:pt x="95" y="280"/>
                </a:lnTo>
                <a:lnTo>
                  <a:pt x="111" y="268"/>
                </a:lnTo>
                <a:lnTo>
                  <a:pt x="105" y="256"/>
                </a:lnTo>
                <a:lnTo>
                  <a:pt x="109" y="252"/>
                </a:lnTo>
                <a:lnTo>
                  <a:pt x="109" y="247"/>
                </a:lnTo>
                <a:lnTo>
                  <a:pt x="100" y="229"/>
                </a:lnTo>
                <a:lnTo>
                  <a:pt x="91" y="211"/>
                </a:lnTo>
                <a:lnTo>
                  <a:pt x="78" y="204"/>
                </a:lnTo>
                <a:lnTo>
                  <a:pt x="101" y="195"/>
                </a:lnTo>
                <a:lnTo>
                  <a:pt x="129" y="198"/>
                </a:lnTo>
                <a:lnTo>
                  <a:pt x="121" y="189"/>
                </a:lnTo>
                <a:lnTo>
                  <a:pt x="119" y="168"/>
                </a:lnTo>
                <a:lnTo>
                  <a:pt x="117" y="147"/>
                </a:lnTo>
                <a:lnTo>
                  <a:pt x="148" y="153"/>
                </a:lnTo>
                <a:lnTo>
                  <a:pt x="166" y="151"/>
                </a:lnTo>
                <a:lnTo>
                  <a:pt x="156" y="124"/>
                </a:lnTo>
                <a:lnTo>
                  <a:pt x="166" y="118"/>
                </a:lnTo>
                <a:lnTo>
                  <a:pt x="173" y="102"/>
                </a:lnTo>
                <a:lnTo>
                  <a:pt x="189" y="100"/>
                </a:lnTo>
                <a:lnTo>
                  <a:pt x="191" y="104"/>
                </a:lnTo>
                <a:lnTo>
                  <a:pt x="198" y="112"/>
                </a:lnTo>
                <a:lnTo>
                  <a:pt x="227" y="130"/>
                </a:lnTo>
                <a:lnTo>
                  <a:pt x="243" y="133"/>
                </a:lnTo>
                <a:lnTo>
                  <a:pt x="271" y="153"/>
                </a:lnTo>
                <a:lnTo>
                  <a:pt x="279" y="174"/>
                </a:lnTo>
                <a:lnTo>
                  <a:pt x="286" y="193"/>
                </a:lnTo>
                <a:lnTo>
                  <a:pt x="310" y="198"/>
                </a:lnTo>
                <a:lnTo>
                  <a:pt x="333" y="201"/>
                </a:lnTo>
                <a:lnTo>
                  <a:pt x="361" y="210"/>
                </a:lnTo>
                <a:lnTo>
                  <a:pt x="390" y="219"/>
                </a:lnTo>
                <a:lnTo>
                  <a:pt x="408" y="237"/>
                </a:lnTo>
                <a:lnTo>
                  <a:pt x="426" y="256"/>
                </a:lnTo>
                <a:lnTo>
                  <a:pt x="454" y="258"/>
                </a:lnTo>
                <a:lnTo>
                  <a:pt x="481" y="260"/>
                </a:lnTo>
                <a:lnTo>
                  <a:pt x="509" y="261"/>
                </a:lnTo>
                <a:lnTo>
                  <a:pt x="538" y="264"/>
                </a:lnTo>
                <a:lnTo>
                  <a:pt x="545" y="270"/>
                </a:lnTo>
                <a:lnTo>
                  <a:pt x="570" y="274"/>
                </a:lnTo>
                <a:lnTo>
                  <a:pt x="594" y="279"/>
                </a:lnTo>
                <a:lnTo>
                  <a:pt x="610" y="286"/>
                </a:lnTo>
                <a:lnTo>
                  <a:pt x="624" y="277"/>
                </a:lnTo>
                <a:lnTo>
                  <a:pt x="640" y="267"/>
                </a:lnTo>
                <a:lnTo>
                  <a:pt x="663" y="266"/>
                </a:lnTo>
                <a:lnTo>
                  <a:pt x="687" y="264"/>
                </a:lnTo>
                <a:lnTo>
                  <a:pt x="706" y="249"/>
                </a:lnTo>
                <a:lnTo>
                  <a:pt x="724" y="234"/>
                </a:lnTo>
                <a:lnTo>
                  <a:pt x="710" y="220"/>
                </a:lnTo>
                <a:lnTo>
                  <a:pt x="707" y="199"/>
                </a:lnTo>
                <a:lnTo>
                  <a:pt x="736" y="206"/>
                </a:lnTo>
                <a:lnTo>
                  <a:pt x="754" y="195"/>
                </a:lnTo>
                <a:lnTo>
                  <a:pt x="776" y="190"/>
                </a:lnTo>
                <a:lnTo>
                  <a:pt x="779" y="174"/>
                </a:lnTo>
                <a:lnTo>
                  <a:pt x="801" y="162"/>
                </a:lnTo>
                <a:lnTo>
                  <a:pt x="836" y="163"/>
                </a:lnTo>
                <a:lnTo>
                  <a:pt x="830" y="150"/>
                </a:lnTo>
                <a:lnTo>
                  <a:pt x="786" y="128"/>
                </a:lnTo>
                <a:lnTo>
                  <a:pt x="776" y="138"/>
                </a:lnTo>
                <a:lnTo>
                  <a:pt x="768" y="133"/>
                </a:lnTo>
                <a:lnTo>
                  <a:pt x="748" y="134"/>
                </a:lnTo>
                <a:lnTo>
                  <a:pt x="731" y="124"/>
                </a:lnTo>
                <a:lnTo>
                  <a:pt x="737" y="122"/>
                </a:lnTo>
                <a:lnTo>
                  <a:pt x="735" y="103"/>
                </a:lnTo>
                <a:lnTo>
                  <a:pt x="731" y="84"/>
                </a:lnTo>
                <a:lnTo>
                  <a:pt x="760" y="90"/>
                </a:lnTo>
                <a:lnTo>
                  <a:pt x="774" y="74"/>
                </a:lnTo>
                <a:lnTo>
                  <a:pt x="768" y="56"/>
                </a:lnTo>
                <a:lnTo>
                  <a:pt x="767" y="27"/>
                </a:lnTo>
                <a:lnTo>
                  <a:pt x="753" y="18"/>
                </a:lnTo>
                <a:lnTo>
                  <a:pt x="744" y="14"/>
                </a:lnTo>
                <a:lnTo>
                  <a:pt x="759" y="1"/>
                </a:lnTo>
                <a:lnTo>
                  <a:pt x="783" y="0"/>
                </a:lnTo>
                <a:lnTo>
                  <a:pt x="807" y="0"/>
                </a:lnTo>
                <a:lnTo>
                  <a:pt x="857" y="15"/>
                </a:lnTo>
                <a:lnTo>
                  <a:pt x="876" y="32"/>
                </a:lnTo>
                <a:lnTo>
                  <a:pt x="897" y="49"/>
                </a:lnTo>
                <a:lnTo>
                  <a:pt x="916" y="66"/>
                </a:lnTo>
                <a:lnTo>
                  <a:pt x="936" y="82"/>
                </a:lnTo>
                <a:lnTo>
                  <a:pt x="958" y="91"/>
                </a:lnTo>
                <a:lnTo>
                  <a:pt x="993" y="100"/>
                </a:lnTo>
                <a:lnTo>
                  <a:pt x="1013" y="109"/>
                </a:lnTo>
                <a:lnTo>
                  <a:pt x="1038" y="135"/>
                </a:lnTo>
                <a:lnTo>
                  <a:pt x="1067" y="132"/>
                </a:lnTo>
                <a:lnTo>
                  <a:pt x="1098" y="121"/>
                </a:lnTo>
                <a:lnTo>
                  <a:pt x="1110" y="142"/>
                </a:lnTo>
                <a:lnTo>
                  <a:pt x="1114" y="171"/>
                </a:lnTo>
                <a:lnTo>
                  <a:pt x="1118" y="200"/>
                </a:lnTo>
                <a:lnTo>
                  <a:pt x="1091" y="195"/>
                </a:lnTo>
                <a:lnTo>
                  <a:pt x="1088" y="208"/>
                </a:lnTo>
                <a:lnTo>
                  <a:pt x="1101" y="230"/>
                </a:lnTo>
                <a:lnTo>
                  <a:pt x="1115" y="252"/>
                </a:lnTo>
                <a:lnTo>
                  <a:pt x="1107" y="258"/>
                </a:lnTo>
                <a:lnTo>
                  <a:pt x="1112" y="265"/>
                </a:lnTo>
                <a:lnTo>
                  <a:pt x="1089" y="250"/>
                </a:lnTo>
                <a:lnTo>
                  <a:pt x="1089" y="264"/>
                </a:lnTo>
                <a:lnTo>
                  <a:pt x="1076" y="274"/>
                </a:lnTo>
                <a:lnTo>
                  <a:pt x="1068" y="277"/>
                </a:lnTo>
                <a:lnTo>
                  <a:pt x="1077" y="290"/>
                </a:lnTo>
                <a:lnTo>
                  <a:pt x="1052" y="283"/>
                </a:lnTo>
                <a:lnTo>
                  <a:pt x="1044" y="286"/>
                </a:lnTo>
                <a:lnTo>
                  <a:pt x="1031" y="308"/>
                </a:lnTo>
                <a:lnTo>
                  <a:pt x="1019" y="321"/>
                </a:lnTo>
                <a:lnTo>
                  <a:pt x="1010" y="327"/>
                </a:lnTo>
                <a:lnTo>
                  <a:pt x="996" y="337"/>
                </a:lnTo>
                <a:lnTo>
                  <a:pt x="984" y="346"/>
                </a:lnTo>
                <a:lnTo>
                  <a:pt x="969" y="352"/>
                </a:lnTo>
                <a:lnTo>
                  <a:pt x="977" y="339"/>
                </a:lnTo>
                <a:lnTo>
                  <a:pt x="964" y="333"/>
                </a:lnTo>
                <a:lnTo>
                  <a:pt x="968" y="309"/>
                </a:lnTo>
                <a:lnTo>
                  <a:pt x="957" y="303"/>
                </a:lnTo>
                <a:lnTo>
                  <a:pt x="944" y="306"/>
                </a:lnTo>
                <a:lnTo>
                  <a:pt x="934" y="321"/>
                </a:lnTo>
                <a:lnTo>
                  <a:pt x="923" y="337"/>
                </a:lnTo>
                <a:lnTo>
                  <a:pt x="909" y="346"/>
                </a:lnTo>
                <a:lnTo>
                  <a:pt x="898" y="348"/>
                </a:lnTo>
                <a:lnTo>
                  <a:pt x="905" y="364"/>
                </a:lnTo>
                <a:lnTo>
                  <a:pt x="933" y="373"/>
                </a:lnTo>
                <a:lnTo>
                  <a:pt x="945" y="392"/>
                </a:lnTo>
                <a:lnTo>
                  <a:pt x="959" y="390"/>
                </a:lnTo>
                <a:lnTo>
                  <a:pt x="976" y="378"/>
                </a:lnTo>
                <a:lnTo>
                  <a:pt x="1002" y="387"/>
                </a:lnTo>
                <a:lnTo>
                  <a:pt x="1014" y="390"/>
                </a:lnTo>
                <a:lnTo>
                  <a:pt x="1016" y="403"/>
                </a:lnTo>
                <a:lnTo>
                  <a:pt x="1004" y="400"/>
                </a:lnTo>
                <a:lnTo>
                  <a:pt x="990" y="409"/>
                </a:lnTo>
                <a:lnTo>
                  <a:pt x="983" y="421"/>
                </a:lnTo>
                <a:lnTo>
                  <a:pt x="978" y="429"/>
                </a:lnTo>
                <a:lnTo>
                  <a:pt x="975" y="453"/>
                </a:lnTo>
                <a:lnTo>
                  <a:pt x="1005" y="471"/>
                </a:lnTo>
                <a:lnTo>
                  <a:pt x="1019" y="490"/>
                </a:lnTo>
                <a:lnTo>
                  <a:pt x="1034" y="510"/>
                </a:lnTo>
                <a:lnTo>
                  <a:pt x="1056" y="530"/>
                </a:lnTo>
                <a:lnTo>
                  <a:pt x="1024" y="519"/>
                </a:lnTo>
                <a:lnTo>
                  <a:pt x="1025" y="522"/>
                </a:lnTo>
                <a:lnTo>
                  <a:pt x="1044" y="535"/>
                </a:lnTo>
                <a:lnTo>
                  <a:pt x="1065" y="548"/>
                </a:lnTo>
                <a:lnTo>
                  <a:pt x="1044" y="562"/>
                </a:lnTo>
                <a:lnTo>
                  <a:pt x="1038" y="566"/>
                </a:lnTo>
                <a:lnTo>
                  <a:pt x="1050" y="568"/>
                </a:lnTo>
                <a:lnTo>
                  <a:pt x="1064" y="567"/>
                </a:lnTo>
                <a:lnTo>
                  <a:pt x="1078" y="576"/>
                </a:lnTo>
                <a:lnTo>
                  <a:pt x="1071" y="584"/>
                </a:lnTo>
                <a:lnTo>
                  <a:pt x="1078" y="584"/>
                </a:lnTo>
                <a:lnTo>
                  <a:pt x="1077" y="589"/>
                </a:lnTo>
                <a:lnTo>
                  <a:pt x="1071" y="594"/>
                </a:lnTo>
                <a:lnTo>
                  <a:pt x="1073" y="597"/>
                </a:lnTo>
                <a:lnTo>
                  <a:pt x="1074" y="603"/>
                </a:lnTo>
                <a:lnTo>
                  <a:pt x="1071" y="603"/>
                </a:lnTo>
                <a:lnTo>
                  <a:pt x="1077" y="613"/>
                </a:lnTo>
                <a:lnTo>
                  <a:pt x="1072" y="614"/>
                </a:lnTo>
                <a:lnTo>
                  <a:pt x="1060" y="620"/>
                </a:lnTo>
                <a:lnTo>
                  <a:pt x="1065" y="627"/>
                </a:lnTo>
                <a:lnTo>
                  <a:pt x="1061" y="640"/>
                </a:lnTo>
                <a:lnTo>
                  <a:pt x="1054" y="657"/>
                </a:lnTo>
                <a:lnTo>
                  <a:pt x="1050" y="660"/>
                </a:lnTo>
                <a:lnTo>
                  <a:pt x="1055" y="663"/>
                </a:lnTo>
                <a:lnTo>
                  <a:pt x="1046" y="669"/>
                </a:lnTo>
                <a:lnTo>
                  <a:pt x="1043" y="669"/>
                </a:lnTo>
                <a:lnTo>
                  <a:pt x="1054" y="673"/>
                </a:lnTo>
                <a:lnTo>
                  <a:pt x="1054" y="685"/>
                </a:lnTo>
                <a:lnTo>
                  <a:pt x="1048" y="684"/>
                </a:lnTo>
                <a:lnTo>
                  <a:pt x="1048" y="690"/>
                </a:lnTo>
                <a:lnTo>
                  <a:pt x="1044" y="694"/>
                </a:lnTo>
                <a:lnTo>
                  <a:pt x="1042" y="698"/>
                </a:lnTo>
                <a:lnTo>
                  <a:pt x="1040" y="706"/>
                </a:lnTo>
                <a:lnTo>
                  <a:pt x="1029" y="708"/>
                </a:lnTo>
                <a:lnTo>
                  <a:pt x="1026" y="711"/>
                </a:lnTo>
                <a:lnTo>
                  <a:pt x="1028" y="715"/>
                </a:lnTo>
                <a:lnTo>
                  <a:pt x="1022" y="723"/>
                </a:lnTo>
                <a:lnTo>
                  <a:pt x="1005" y="736"/>
                </a:lnTo>
                <a:lnTo>
                  <a:pt x="1005" y="739"/>
                </a:lnTo>
                <a:lnTo>
                  <a:pt x="998" y="746"/>
                </a:lnTo>
                <a:lnTo>
                  <a:pt x="986" y="748"/>
                </a:lnTo>
                <a:lnTo>
                  <a:pt x="983" y="750"/>
                </a:lnTo>
                <a:lnTo>
                  <a:pt x="981" y="751"/>
                </a:lnTo>
                <a:lnTo>
                  <a:pt x="971" y="753"/>
                </a:lnTo>
                <a:lnTo>
                  <a:pt x="966" y="751"/>
                </a:lnTo>
                <a:lnTo>
                  <a:pt x="962" y="757"/>
                </a:lnTo>
                <a:lnTo>
                  <a:pt x="959" y="759"/>
                </a:lnTo>
                <a:lnTo>
                  <a:pt x="952" y="758"/>
                </a:lnTo>
                <a:lnTo>
                  <a:pt x="941" y="742"/>
                </a:lnTo>
                <a:lnTo>
                  <a:pt x="936" y="748"/>
                </a:lnTo>
                <a:lnTo>
                  <a:pt x="941" y="765"/>
                </a:lnTo>
                <a:lnTo>
                  <a:pt x="935" y="759"/>
                </a:lnTo>
                <a:lnTo>
                  <a:pt x="936" y="769"/>
                </a:lnTo>
                <a:lnTo>
                  <a:pt x="932" y="768"/>
                </a:lnTo>
                <a:lnTo>
                  <a:pt x="924" y="776"/>
                </a:lnTo>
                <a:lnTo>
                  <a:pt x="918" y="770"/>
                </a:lnTo>
                <a:lnTo>
                  <a:pt x="916" y="775"/>
                </a:lnTo>
                <a:lnTo>
                  <a:pt x="910" y="775"/>
                </a:lnTo>
                <a:lnTo>
                  <a:pt x="897" y="782"/>
                </a:lnTo>
                <a:lnTo>
                  <a:pt x="885" y="786"/>
                </a:lnTo>
                <a:lnTo>
                  <a:pt x="880" y="787"/>
                </a:lnTo>
                <a:lnTo>
                  <a:pt x="879" y="799"/>
                </a:lnTo>
                <a:lnTo>
                  <a:pt x="884" y="812"/>
                </a:lnTo>
                <a:lnTo>
                  <a:pt x="873" y="810"/>
                </a:lnTo>
                <a:lnTo>
                  <a:pt x="867" y="786"/>
                </a:lnTo>
                <a:lnTo>
                  <a:pt x="861" y="781"/>
                </a:lnTo>
                <a:lnTo>
                  <a:pt x="852" y="782"/>
                </a:lnTo>
                <a:lnTo>
                  <a:pt x="844" y="778"/>
                </a:lnTo>
                <a:lnTo>
                  <a:pt x="837" y="775"/>
                </a:lnTo>
                <a:lnTo>
                  <a:pt x="834" y="778"/>
                </a:lnTo>
                <a:lnTo>
                  <a:pt x="827" y="781"/>
                </a:lnTo>
                <a:lnTo>
                  <a:pt x="806" y="772"/>
                </a:lnTo>
                <a:lnTo>
                  <a:pt x="796" y="765"/>
                </a:lnTo>
                <a:lnTo>
                  <a:pt x="792" y="748"/>
                </a:lnTo>
                <a:lnTo>
                  <a:pt x="766" y="740"/>
                </a:lnTo>
                <a:lnTo>
                  <a:pt x="758" y="739"/>
                </a:lnTo>
                <a:lnTo>
                  <a:pt x="744" y="753"/>
                </a:lnTo>
                <a:lnTo>
                  <a:pt x="737" y="753"/>
                </a:lnTo>
                <a:lnTo>
                  <a:pt x="734" y="756"/>
                </a:lnTo>
                <a:lnTo>
                  <a:pt x="728" y="754"/>
                </a:lnTo>
                <a:lnTo>
                  <a:pt x="719" y="754"/>
                </a:lnTo>
                <a:lnTo>
                  <a:pt x="714" y="758"/>
                </a:lnTo>
                <a:lnTo>
                  <a:pt x="702" y="754"/>
                </a:lnTo>
                <a:lnTo>
                  <a:pt x="698" y="760"/>
                </a:lnTo>
                <a:lnTo>
                  <a:pt x="687" y="760"/>
                </a:lnTo>
                <a:lnTo>
                  <a:pt x="693" y="790"/>
                </a:lnTo>
                <a:lnTo>
                  <a:pt x="683" y="786"/>
                </a:lnTo>
                <a:lnTo>
                  <a:pt x="680" y="781"/>
                </a:lnTo>
                <a:lnTo>
                  <a:pt x="674" y="778"/>
                </a:lnTo>
                <a:lnTo>
                  <a:pt x="658" y="782"/>
                </a:lnTo>
                <a:lnTo>
                  <a:pt x="648" y="769"/>
                </a:lnTo>
                <a:lnTo>
                  <a:pt x="636" y="763"/>
                </a:lnTo>
                <a:lnTo>
                  <a:pt x="639" y="744"/>
                </a:lnTo>
                <a:lnTo>
                  <a:pt x="624" y="736"/>
                </a:lnTo>
                <a:lnTo>
                  <a:pt x="618" y="721"/>
                </a:lnTo>
                <a:lnTo>
                  <a:pt x="617" y="717"/>
                </a:lnTo>
                <a:lnTo>
                  <a:pt x="594" y="721"/>
                </a:lnTo>
                <a:lnTo>
                  <a:pt x="593" y="710"/>
                </a:lnTo>
                <a:lnTo>
                  <a:pt x="592" y="699"/>
                </a:lnTo>
                <a:lnTo>
                  <a:pt x="603" y="682"/>
                </a:lnTo>
                <a:lnTo>
                  <a:pt x="606" y="670"/>
                </a:lnTo>
                <a:lnTo>
                  <a:pt x="602" y="651"/>
                </a:lnTo>
                <a:lnTo>
                  <a:pt x="597" y="631"/>
                </a:lnTo>
                <a:lnTo>
                  <a:pt x="587" y="626"/>
                </a:lnTo>
                <a:lnTo>
                  <a:pt x="569" y="607"/>
                </a:lnTo>
                <a:lnTo>
                  <a:pt x="567" y="615"/>
                </a:lnTo>
                <a:lnTo>
                  <a:pt x="544" y="607"/>
                </a:lnTo>
                <a:lnTo>
                  <a:pt x="544" y="597"/>
                </a:lnTo>
                <a:lnTo>
                  <a:pt x="535" y="594"/>
                </a:lnTo>
                <a:lnTo>
                  <a:pt x="538" y="590"/>
                </a:lnTo>
                <a:lnTo>
                  <a:pt x="528" y="588"/>
                </a:lnTo>
                <a:lnTo>
                  <a:pt x="516" y="594"/>
                </a:lnTo>
                <a:lnTo>
                  <a:pt x="499" y="59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58" name="Freeform 141"/>
          <p:cNvSpPr>
            <a:spLocks/>
          </p:cNvSpPr>
          <p:nvPr/>
        </p:nvSpPr>
        <p:spPr bwMode="auto">
          <a:xfrm>
            <a:off x="6646863" y="2979738"/>
            <a:ext cx="862012" cy="347662"/>
          </a:xfrm>
          <a:custGeom>
            <a:avLst/>
            <a:gdLst>
              <a:gd name="T0" fmla="*/ 2147483647 w 647"/>
              <a:gd name="T1" fmla="*/ 2147483647 h 254"/>
              <a:gd name="T2" fmla="*/ 2147483647 w 647"/>
              <a:gd name="T3" fmla="*/ 2147483647 h 254"/>
              <a:gd name="T4" fmla="*/ 2147483647 w 647"/>
              <a:gd name="T5" fmla="*/ 2147483647 h 254"/>
              <a:gd name="T6" fmla="*/ 2147483647 w 647"/>
              <a:gd name="T7" fmla="*/ 2147483647 h 254"/>
              <a:gd name="T8" fmla="*/ 2147483647 w 647"/>
              <a:gd name="T9" fmla="*/ 2147483647 h 254"/>
              <a:gd name="T10" fmla="*/ 2147483647 w 647"/>
              <a:gd name="T11" fmla="*/ 2147483647 h 254"/>
              <a:gd name="T12" fmla="*/ 2147483647 w 647"/>
              <a:gd name="T13" fmla="*/ 2147483647 h 254"/>
              <a:gd name="T14" fmla="*/ 2147483647 w 647"/>
              <a:gd name="T15" fmla="*/ 2147483647 h 254"/>
              <a:gd name="T16" fmla="*/ 2147483647 w 647"/>
              <a:gd name="T17" fmla="*/ 2147483647 h 254"/>
              <a:gd name="T18" fmla="*/ 2147483647 w 647"/>
              <a:gd name="T19" fmla="*/ 2147483647 h 254"/>
              <a:gd name="T20" fmla="*/ 2147483647 w 647"/>
              <a:gd name="T21" fmla="*/ 2147483647 h 254"/>
              <a:gd name="T22" fmla="*/ 2147483647 w 647"/>
              <a:gd name="T23" fmla="*/ 2147483647 h 254"/>
              <a:gd name="T24" fmla="*/ 2147483647 w 647"/>
              <a:gd name="T25" fmla="*/ 2147483647 h 254"/>
              <a:gd name="T26" fmla="*/ 2147483647 w 647"/>
              <a:gd name="T27" fmla="*/ 2147483647 h 254"/>
              <a:gd name="T28" fmla="*/ 2147483647 w 647"/>
              <a:gd name="T29" fmla="*/ 2147483647 h 254"/>
              <a:gd name="T30" fmla="*/ 2147483647 w 647"/>
              <a:gd name="T31" fmla="*/ 0 h 254"/>
              <a:gd name="T32" fmla="*/ 2147483647 w 647"/>
              <a:gd name="T33" fmla="*/ 2147483647 h 254"/>
              <a:gd name="T34" fmla="*/ 2147483647 w 647"/>
              <a:gd name="T35" fmla="*/ 2147483647 h 254"/>
              <a:gd name="T36" fmla="*/ 2147483647 w 647"/>
              <a:gd name="T37" fmla="*/ 2147483647 h 254"/>
              <a:gd name="T38" fmla="*/ 2147483647 w 647"/>
              <a:gd name="T39" fmla="*/ 2147483647 h 254"/>
              <a:gd name="T40" fmla="*/ 2147483647 w 647"/>
              <a:gd name="T41" fmla="*/ 2147483647 h 254"/>
              <a:gd name="T42" fmla="*/ 2147483647 w 647"/>
              <a:gd name="T43" fmla="*/ 2147483647 h 254"/>
              <a:gd name="T44" fmla="*/ 2147483647 w 647"/>
              <a:gd name="T45" fmla="*/ 2147483647 h 254"/>
              <a:gd name="T46" fmla="*/ 2147483647 w 647"/>
              <a:gd name="T47" fmla="*/ 2147483647 h 254"/>
              <a:gd name="T48" fmla="*/ 2147483647 w 647"/>
              <a:gd name="T49" fmla="*/ 2147483647 h 254"/>
              <a:gd name="T50" fmla="*/ 2147483647 w 647"/>
              <a:gd name="T51" fmla="*/ 2147483647 h 254"/>
              <a:gd name="T52" fmla="*/ 2147483647 w 647"/>
              <a:gd name="T53" fmla="*/ 2147483647 h 254"/>
              <a:gd name="T54" fmla="*/ 2147483647 w 647"/>
              <a:gd name="T55" fmla="*/ 2147483647 h 254"/>
              <a:gd name="T56" fmla="*/ 2147483647 w 647"/>
              <a:gd name="T57" fmla="*/ 2147483647 h 254"/>
              <a:gd name="T58" fmla="*/ 2147483647 w 647"/>
              <a:gd name="T59" fmla="*/ 2147483647 h 254"/>
              <a:gd name="T60" fmla="*/ 2147483647 w 647"/>
              <a:gd name="T61" fmla="*/ 2147483647 h 254"/>
              <a:gd name="T62" fmla="*/ 2147483647 w 647"/>
              <a:gd name="T63" fmla="*/ 2147483647 h 254"/>
              <a:gd name="T64" fmla="*/ 2147483647 w 647"/>
              <a:gd name="T65" fmla="*/ 2147483647 h 254"/>
              <a:gd name="T66" fmla="*/ 2147483647 w 647"/>
              <a:gd name="T67" fmla="*/ 2147483647 h 254"/>
              <a:gd name="T68" fmla="*/ 2147483647 w 647"/>
              <a:gd name="T69" fmla="*/ 2147483647 h 25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647"/>
              <a:gd name="T106" fmla="*/ 0 h 254"/>
              <a:gd name="T107" fmla="*/ 647 w 647"/>
              <a:gd name="T108" fmla="*/ 254 h 254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647" h="254">
                <a:moveTo>
                  <a:pt x="405" y="247"/>
                </a:moveTo>
                <a:lnTo>
                  <a:pt x="381" y="242"/>
                </a:lnTo>
                <a:lnTo>
                  <a:pt x="356" y="238"/>
                </a:lnTo>
                <a:lnTo>
                  <a:pt x="349" y="232"/>
                </a:lnTo>
                <a:lnTo>
                  <a:pt x="320" y="229"/>
                </a:lnTo>
                <a:lnTo>
                  <a:pt x="292" y="228"/>
                </a:lnTo>
                <a:lnTo>
                  <a:pt x="265" y="226"/>
                </a:lnTo>
                <a:lnTo>
                  <a:pt x="237" y="224"/>
                </a:lnTo>
                <a:lnTo>
                  <a:pt x="219" y="205"/>
                </a:lnTo>
                <a:lnTo>
                  <a:pt x="201" y="187"/>
                </a:lnTo>
                <a:lnTo>
                  <a:pt x="172" y="178"/>
                </a:lnTo>
                <a:lnTo>
                  <a:pt x="144" y="169"/>
                </a:lnTo>
                <a:lnTo>
                  <a:pt x="121" y="166"/>
                </a:lnTo>
                <a:lnTo>
                  <a:pt x="97" y="161"/>
                </a:lnTo>
                <a:lnTo>
                  <a:pt x="90" y="142"/>
                </a:lnTo>
                <a:lnTo>
                  <a:pt x="82" y="121"/>
                </a:lnTo>
                <a:lnTo>
                  <a:pt x="54" y="101"/>
                </a:lnTo>
                <a:lnTo>
                  <a:pt x="38" y="98"/>
                </a:lnTo>
                <a:lnTo>
                  <a:pt x="9" y="80"/>
                </a:lnTo>
                <a:lnTo>
                  <a:pt x="2" y="72"/>
                </a:lnTo>
                <a:lnTo>
                  <a:pt x="0" y="68"/>
                </a:lnTo>
                <a:lnTo>
                  <a:pt x="9" y="60"/>
                </a:lnTo>
                <a:lnTo>
                  <a:pt x="27" y="53"/>
                </a:lnTo>
                <a:lnTo>
                  <a:pt x="46" y="41"/>
                </a:lnTo>
                <a:lnTo>
                  <a:pt x="66" y="30"/>
                </a:lnTo>
                <a:lnTo>
                  <a:pt x="105" y="35"/>
                </a:lnTo>
                <a:lnTo>
                  <a:pt x="111" y="43"/>
                </a:lnTo>
                <a:lnTo>
                  <a:pt x="141" y="48"/>
                </a:lnTo>
                <a:lnTo>
                  <a:pt x="170" y="53"/>
                </a:lnTo>
                <a:lnTo>
                  <a:pt x="184" y="41"/>
                </a:lnTo>
                <a:lnTo>
                  <a:pt x="166" y="24"/>
                </a:lnTo>
                <a:lnTo>
                  <a:pt x="171" y="0"/>
                </a:lnTo>
                <a:lnTo>
                  <a:pt x="205" y="7"/>
                </a:lnTo>
                <a:lnTo>
                  <a:pt x="237" y="14"/>
                </a:lnTo>
                <a:lnTo>
                  <a:pt x="252" y="28"/>
                </a:lnTo>
                <a:lnTo>
                  <a:pt x="282" y="43"/>
                </a:lnTo>
                <a:lnTo>
                  <a:pt x="315" y="37"/>
                </a:lnTo>
                <a:lnTo>
                  <a:pt x="342" y="42"/>
                </a:lnTo>
                <a:lnTo>
                  <a:pt x="369" y="48"/>
                </a:lnTo>
                <a:lnTo>
                  <a:pt x="380" y="58"/>
                </a:lnTo>
                <a:lnTo>
                  <a:pt x="421" y="67"/>
                </a:lnTo>
                <a:lnTo>
                  <a:pt x="444" y="64"/>
                </a:lnTo>
                <a:lnTo>
                  <a:pt x="465" y="59"/>
                </a:lnTo>
                <a:lnTo>
                  <a:pt x="488" y="42"/>
                </a:lnTo>
                <a:lnTo>
                  <a:pt x="524" y="50"/>
                </a:lnTo>
                <a:lnTo>
                  <a:pt x="542" y="52"/>
                </a:lnTo>
                <a:lnTo>
                  <a:pt x="546" y="71"/>
                </a:lnTo>
                <a:lnTo>
                  <a:pt x="548" y="90"/>
                </a:lnTo>
                <a:lnTo>
                  <a:pt x="542" y="92"/>
                </a:lnTo>
                <a:lnTo>
                  <a:pt x="559" y="102"/>
                </a:lnTo>
                <a:lnTo>
                  <a:pt x="579" y="101"/>
                </a:lnTo>
                <a:lnTo>
                  <a:pt x="587" y="106"/>
                </a:lnTo>
                <a:lnTo>
                  <a:pt x="597" y="96"/>
                </a:lnTo>
                <a:lnTo>
                  <a:pt x="641" y="118"/>
                </a:lnTo>
                <a:lnTo>
                  <a:pt x="647" y="131"/>
                </a:lnTo>
                <a:lnTo>
                  <a:pt x="612" y="130"/>
                </a:lnTo>
                <a:lnTo>
                  <a:pt x="590" y="142"/>
                </a:lnTo>
                <a:lnTo>
                  <a:pt x="587" y="158"/>
                </a:lnTo>
                <a:lnTo>
                  <a:pt x="565" y="163"/>
                </a:lnTo>
                <a:lnTo>
                  <a:pt x="547" y="174"/>
                </a:lnTo>
                <a:lnTo>
                  <a:pt x="518" y="167"/>
                </a:lnTo>
                <a:lnTo>
                  <a:pt x="521" y="188"/>
                </a:lnTo>
                <a:lnTo>
                  <a:pt x="535" y="202"/>
                </a:lnTo>
                <a:lnTo>
                  <a:pt x="517" y="217"/>
                </a:lnTo>
                <a:lnTo>
                  <a:pt x="498" y="232"/>
                </a:lnTo>
                <a:lnTo>
                  <a:pt x="474" y="234"/>
                </a:lnTo>
                <a:lnTo>
                  <a:pt x="451" y="235"/>
                </a:lnTo>
                <a:lnTo>
                  <a:pt x="435" y="245"/>
                </a:lnTo>
                <a:lnTo>
                  <a:pt x="421" y="254"/>
                </a:lnTo>
                <a:lnTo>
                  <a:pt x="405" y="24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59" name="Freeform 142"/>
          <p:cNvSpPr>
            <a:spLocks/>
          </p:cNvSpPr>
          <p:nvPr/>
        </p:nvSpPr>
        <p:spPr bwMode="auto">
          <a:xfrm>
            <a:off x="5607050" y="2868613"/>
            <a:ext cx="1019175" cy="469900"/>
          </a:xfrm>
          <a:custGeom>
            <a:avLst/>
            <a:gdLst>
              <a:gd name="T0" fmla="*/ 2147483647 w 768"/>
              <a:gd name="T1" fmla="*/ 2147483647 h 339"/>
              <a:gd name="T2" fmla="*/ 2147483647 w 768"/>
              <a:gd name="T3" fmla="*/ 2147483647 h 339"/>
              <a:gd name="T4" fmla="*/ 2147483647 w 768"/>
              <a:gd name="T5" fmla="*/ 2147483647 h 339"/>
              <a:gd name="T6" fmla="*/ 2147483647 w 768"/>
              <a:gd name="T7" fmla="*/ 2147483647 h 339"/>
              <a:gd name="T8" fmla="*/ 2147483647 w 768"/>
              <a:gd name="T9" fmla="*/ 2147483647 h 339"/>
              <a:gd name="T10" fmla="*/ 2147483647 w 768"/>
              <a:gd name="T11" fmla="*/ 2147483647 h 339"/>
              <a:gd name="T12" fmla="*/ 2147483647 w 768"/>
              <a:gd name="T13" fmla="*/ 2147483647 h 339"/>
              <a:gd name="T14" fmla="*/ 2147483647 w 768"/>
              <a:gd name="T15" fmla="*/ 2147483647 h 339"/>
              <a:gd name="T16" fmla="*/ 2147483647 w 768"/>
              <a:gd name="T17" fmla="*/ 2147483647 h 339"/>
              <a:gd name="T18" fmla="*/ 2147483647 w 768"/>
              <a:gd name="T19" fmla="*/ 2147483647 h 339"/>
              <a:gd name="T20" fmla="*/ 2147483647 w 768"/>
              <a:gd name="T21" fmla="*/ 2147483647 h 339"/>
              <a:gd name="T22" fmla="*/ 2147483647 w 768"/>
              <a:gd name="T23" fmla="*/ 2147483647 h 339"/>
              <a:gd name="T24" fmla="*/ 2147483647 w 768"/>
              <a:gd name="T25" fmla="*/ 2147483647 h 339"/>
              <a:gd name="T26" fmla="*/ 2147483647 w 768"/>
              <a:gd name="T27" fmla="*/ 2147483647 h 339"/>
              <a:gd name="T28" fmla="*/ 2147483647 w 768"/>
              <a:gd name="T29" fmla="*/ 2147483647 h 339"/>
              <a:gd name="T30" fmla="*/ 2147483647 w 768"/>
              <a:gd name="T31" fmla="*/ 2147483647 h 339"/>
              <a:gd name="T32" fmla="*/ 2147483647 w 768"/>
              <a:gd name="T33" fmla="*/ 2147483647 h 339"/>
              <a:gd name="T34" fmla="*/ 2147483647 w 768"/>
              <a:gd name="T35" fmla="*/ 2147483647 h 339"/>
              <a:gd name="T36" fmla="*/ 2147483647 w 768"/>
              <a:gd name="T37" fmla="*/ 2147483647 h 339"/>
              <a:gd name="T38" fmla="*/ 2147483647 w 768"/>
              <a:gd name="T39" fmla="*/ 2147483647 h 339"/>
              <a:gd name="T40" fmla="*/ 2147483647 w 768"/>
              <a:gd name="T41" fmla="*/ 2147483647 h 339"/>
              <a:gd name="T42" fmla="*/ 2147483647 w 768"/>
              <a:gd name="T43" fmla="*/ 2147483647 h 339"/>
              <a:gd name="T44" fmla="*/ 2147483647 w 768"/>
              <a:gd name="T45" fmla="*/ 2147483647 h 339"/>
              <a:gd name="T46" fmla="*/ 2147483647 w 768"/>
              <a:gd name="T47" fmla="*/ 2147483647 h 339"/>
              <a:gd name="T48" fmla="*/ 2147483647 w 768"/>
              <a:gd name="T49" fmla="*/ 2147483647 h 339"/>
              <a:gd name="T50" fmla="*/ 2147483647 w 768"/>
              <a:gd name="T51" fmla="*/ 2147483647 h 339"/>
              <a:gd name="T52" fmla="*/ 2147483647 w 768"/>
              <a:gd name="T53" fmla="*/ 2147483647 h 339"/>
              <a:gd name="T54" fmla="*/ 2147483647 w 768"/>
              <a:gd name="T55" fmla="*/ 2147483647 h 339"/>
              <a:gd name="T56" fmla="*/ 2147483647 w 768"/>
              <a:gd name="T57" fmla="*/ 2147483647 h 339"/>
              <a:gd name="T58" fmla="*/ 2147483647 w 768"/>
              <a:gd name="T59" fmla="*/ 2147483647 h 339"/>
              <a:gd name="T60" fmla="*/ 2147483647 w 768"/>
              <a:gd name="T61" fmla="*/ 2147483647 h 339"/>
              <a:gd name="T62" fmla="*/ 2147483647 w 768"/>
              <a:gd name="T63" fmla="*/ 2147483647 h 339"/>
              <a:gd name="T64" fmla="*/ 2147483647 w 768"/>
              <a:gd name="T65" fmla="*/ 2147483647 h 339"/>
              <a:gd name="T66" fmla="*/ 2147483647 w 768"/>
              <a:gd name="T67" fmla="*/ 2147483647 h 339"/>
              <a:gd name="T68" fmla="*/ 2147483647 w 768"/>
              <a:gd name="T69" fmla="*/ 2147483647 h 339"/>
              <a:gd name="T70" fmla="*/ 2147483647 w 768"/>
              <a:gd name="T71" fmla="*/ 2147483647 h 339"/>
              <a:gd name="T72" fmla="*/ 2147483647 w 768"/>
              <a:gd name="T73" fmla="*/ 2147483647 h 339"/>
              <a:gd name="T74" fmla="*/ 2147483647 w 768"/>
              <a:gd name="T75" fmla="*/ 2147483647 h 339"/>
              <a:gd name="T76" fmla="*/ 2147483647 w 768"/>
              <a:gd name="T77" fmla="*/ 2147483647 h 339"/>
              <a:gd name="T78" fmla="*/ 2147483647 w 768"/>
              <a:gd name="T79" fmla="*/ 2147483647 h 339"/>
              <a:gd name="T80" fmla="*/ 2147483647 w 768"/>
              <a:gd name="T81" fmla="*/ 2147483647 h 339"/>
              <a:gd name="T82" fmla="*/ 2147483647 w 768"/>
              <a:gd name="T83" fmla="*/ 2147483647 h 339"/>
              <a:gd name="T84" fmla="*/ 2147483647 w 768"/>
              <a:gd name="T85" fmla="*/ 2147483647 h 339"/>
              <a:gd name="T86" fmla="*/ 2147483647 w 768"/>
              <a:gd name="T87" fmla="*/ 2147483647 h 339"/>
              <a:gd name="T88" fmla="*/ 2147483647 w 768"/>
              <a:gd name="T89" fmla="*/ 2147483647 h 339"/>
              <a:gd name="T90" fmla="*/ 2147483647 w 768"/>
              <a:gd name="T91" fmla="*/ 2147483647 h 339"/>
              <a:gd name="T92" fmla="*/ 2147483647 w 768"/>
              <a:gd name="T93" fmla="*/ 2147483647 h 339"/>
              <a:gd name="T94" fmla="*/ 2147483647 w 768"/>
              <a:gd name="T95" fmla="*/ 2147483647 h 339"/>
              <a:gd name="T96" fmla="*/ 2147483647 w 768"/>
              <a:gd name="T97" fmla="*/ 2147483647 h 339"/>
              <a:gd name="T98" fmla="*/ 2147483647 w 768"/>
              <a:gd name="T99" fmla="*/ 2147483647 h 339"/>
              <a:gd name="T100" fmla="*/ 2147483647 w 768"/>
              <a:gd name="T101" fmla="*/ 2147483647 h 339"/>
              <a:gd name="T102" fmla="*/ 2147483647 w 768"/>
              <a:gd name="T103" fmla="*/ 2147483647 h 339"/>
              <a:gd name="T104" fmla="*/ 2147483647 w 768"/>
              <a:gd name="T105" fmla="*/ 2147483647 h 339"/>
              <a:gd name="T106" fmla="*/ 2147483647 w 768"/>
              <a:gd name="T107" fmla="*/ 2147483647 h 339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768"/>
              <a:gd name="T163" fmla="*/ 0 h 339"/>
              <a:gd name="T164" fmla="*/ 768 w 768"/>
              <a:gd name="T165" fmla="*/ 339 h 339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768" h="339">
                <a:moveTo>
                  <a:pt x="105" y="201"/>
                </a:moveTo>
                <a:lnTo>
                  <a:pt x="89" y="200"/>
                </a:lnTo>
                <a:lnTo>
                  <a:pt x="63" y="212"/>
                </a:lnTo>
                <a:lnTo>
                  <a:pt x="61" y="213"/>
                </a:lnTo>
                <a:lnTo>
                  <a:pt x="47" y="189"/>
                </a:lnTo>
                <a:lnTo>
                  <a:pt x="23" y="171"/>
                </a:lnTo>
                <a:lnTo>
                  <a:pt x="0" y="153"/>
                </a:lnTo>
                <a:lnTo>
                  <a:pt x="3" y="126"/>
                </a:lnTo>
                <a:lnTo>
                  <a:pt x="6" y="99"/>
                </a:lnTo>
                <a:lnTo>
                  <a:pt x="29" y="110"/>
                </a:lnTo>
                <a:lnTo>
                  <a:pt x="32" y="99"/>
                </a:lnTo>
                <a:lnTo>
                  <a:pt x="47" y="88"/>
                </a:lnTo>
                <a:lnTo>
                  <a:pt x="62" y="78"/>
                </a:lnTo>
                <a:lnTo>
                  <a:pt x="90" y="78"/>
                </a:lnTo>
                <a:lnTo>
                  <a:pt x="115" y="90"/>
                </a:lnTo>
                <a:lnTo>
                  <a:pt x="141" y="100"/>
                </a:lnTo>
                <a:lnTo>
                  <a:pt x="170" y="99"/>
                </a:lnTo>
                <a:lnTo>
                  <a:pt x="207" y="98"/>
                </a:lnTo>
                <a:lnTo>
                  <a:pt x="246" y="104"/>
                </a:lnTo>
                <a:lnTo>
                  <a:pt x="248" y="98"/>
                </a:lnTo>
                <a:lnTo>
                  <a:pt x="228" y="73"/>
                </a:lnTo>
                <a:lnTo>
                  <a:pt x="237" y="46"/>
                </a:lnTo>
                <a:lnTo>
                  <a:pt x="254" y="46"/>
                </a:lnTo>
                <a:lnTo>
                  <a:pt x="231" y="36"/>
                </a:lnTo>
                <a:lnTo>
                  <a:pt x="255" y="31"/>
                </a:lnTo>
                <a:lnTo>
                  <a:pt x="281" y="27"/>
                </a:lnTo>
                <a:lnTo>
                  <a:pt x="303" y="21"/>
                </a:lnTo>
                <a:lnTo>
                  <a:pt x="327" y="14"/>
                </a:lnTo>
                <a:lnTo>
                  <a:pt x="350" y="8"/>
                </a:lnTo>
                <a:lnTo>
                  <a:pt x="373" y="1"/>
                </a:lnTo>
                <a:lnTo>
                  <a:pt x="390" y="0"/>
                </a:lnTo>
                <a:lnTo>
                  <a:pt x="404" y="14"/>
                </a:lnTo>
                <a:lnTo>
                  <a:pt x="442" y="27"/>
                </a:lnTo>
                <a:lnTo>
                  <a:pt x="455" y="34"/>
                </a:lnTo>
                <a:lnTo>
                  <a:pt x="470" y="37"/>
                </a:lnTo>
                <a:lnTo>
                  <a:pt x="494" y="28"/>
                </a:lnTo>
                <a:lnTo>
                  <a:pt x="520" y="19"/>
                </a:lnTo>
                <a:lnTo>
                  <a:pt x="523" y="22"/>
                </a:lnTo>
                <a:lnTo>
                  <a:pt x="520" y="34"/>
                </a:lnTo>
                <a:lnTo>
                  <a:pt x="546" y="51"/>
                </a:lnTo>
                <a:lnTo>
                  <a:pt x="572" y="69"/>
                </a:lnTo>
                <a:lnTo>
                  <a:pt x="599" y="87"/>
                </a:lnTo>
                <a:lnTo>
                  <a:pt x="625" y="105"/>
                </a:lnTo>
                <a:lnTo>
                  <a:pt x="629" y="99"/>
                </a:lnTo>
                <a:lnTo>
                  <a:pt x="643" y="104"/>
                </a:lnTo>
                <a:lnTo>
                  <a:pt x="668" y="100"/>
                </a:lnTo>
                <a:lnTo>
                  <a:pt x="695" y="116"/>
                </a:lnTo>
                <a:lnTo>
                  <a:pt x="721" y="133"/>
                </a:lnTo>
                <a:lnTo>
                  <a:pt x="746" y="127"/>
                </a:lnTo>
                <a:lnTo>
                  <a:pt x="768" y="150"/>
                </a:lnTo>
                <a:lnTo>
                  <a:pt x="761" y="166"/>
                </a:lnTo>
                <a:lnTo>
                  <a:pt x="751" y="172"/>
                </a:lnTo>
                <a:lnTo>
                  <a:pt x="761" y="199"/>
                </a:lnTo>
                <a:lnTo>
                  <a:pt x="743" y="201"/>
                </a:lnTo>
                <a:lnTo>
                  <a:pt x="712" y="195"/>
                </a:lnTo>
                <a:lnTo>
                  <a:pt x="714" y="216"/>
                </a:lnTo>
                <a:lnTo>
                  <a:pt x="716" y="237"/>
                </a:lnTo>
                <a:lnTo>
                  <a:pt x="724" y="246"/>
                </a:lnTo>
                <a:lnTo>
                  <a:pt x="696" y="243"/>
                </a:lnTo>
                <a:lnTo>
                  <a:pt x="673" y="252"/>
                </a:lnTo>
                <a:lnTo>
                  <a:pt x="686" y="259"/>
                </a:lnTo>
                <a:lnTo>
                  <a:pt x="695" y="277"/>
                </a:lnTo>
                <a:lnTo>
                  <a:pt x="704" y="295"/>
                </a:lnTo>
                <a:lnTo>
                  <a:pt x="704" y="300"/>
                </a:lnTo>
                <a:lnTo>
                  <a:pt x="700" y="304"/>
                </a:lnTo>
                <a:lnTo>
                  <a:pt x="673" y="289"/>
                </a:lnTo>
                <a:lnTo>
                  <a:pt x="648" y="291"/>
                </a:lnTo>
                <a:lnTo>
                  <a:pt x="622" y="295"/>
                </a:lnTo>
                <a:lnTo>
                  <a:pt x="593" y="295"/>
                </a:lnTo>
                <a:lnTo>
                  <a:pt x="575" y="292"/>
                </a:lnTo>
                <a:lnTo>
                  <a:pt x="564" y="307"/>
                </a:lnTo>
                <a:lnTo>
                  <a:pt x="542" y="303"/>
                </a:lnTo>
                <a:lnTo>
                  <a:pt x="522" y="301"/>
                </a:lnTo>
                <a:lnTo>
                  <a:pt x="509" y="312"/>
                </a:lnTo>
                <a:lnTo>
                  <a:pt x="490" y="325"/>
                </a:lnTo>
                <a:lnTo>
                  <a:pt x="470" y="339"/>
                </a:lnTo>
                <a:lnTo>
                  <a:pt x="451" y="330"/>
                </a:lnTo>
                <a:lnTo>
                  <a:pt x="432" y="320"/>
                </a:lnTo>
                <a:lnTo>
                  <a:pt x="431" y="300"/>
                </a:lnTo>
                <a:lnTo>
                  <a:pt x="408" y="284"/>
                </a:lnTo>
                <a:lnTo>
                  <a:pt x="388" y="283"/>
                </a:lnTo>
                <a:lnTo>
                  <a:pt x="367" y="282"/>
                </a:lnTo>
                <a:lnTo>
                  <a:pt x="345" y="280"/>
                </a:lnTo>
                <a:lnTo>
                  <a:pt x="325" y="278"/>
                </a:lnTo>
                <a:lnTo>
                  <a:pt x="305" y="254"/>
                </a:lnTo>
                <a:lnTo>
                  <a:pt x="278" y="241"/>
                </a:lnTo>
                <a:lnTo>
                  <a:pt x="252" y="228"/>
                </a:lnTo>
                <a:lnTo>
                  <a:pt x="228" y="236"/>
                </a:lnTo>
                <a:lnTo>
                  <a:pt x="203" y="246"/>
                </a:lnTo>
                <a:lnTo>
                  <a:pt x="209" y="267"/>
                </a:lnTo>
                <a:lnTo>
                  <a:pt x="213" y="289"/>
                </a:lnTo>
                <a:lnTo>
                  <a:pt x="219" y="312"/>
                </a:lnTo>
                <a:lnTo>
                  <a:pt x="225" y="333"/>
                </a:lnTo>
                <a:lnTo>
                  <a:pt x="201" y="326"/>
                </a:lnTo>
                <a:lnTo>
                  <a:pt x="177" y="319"/>
                </a:lnTo>
                <a:lnTo>
                  <a:pt x="181" y="302"/>
                </a:lnTo>
                <a:lnTo>
                  <a:pt x="145" y="302"/>
                </a:lnTo>
                <a:lnTo>
                  <a:pt x="128" y="296"/>
                </a:lnTo>
                <a:lnTo>
                  <a:pt x="121" y="291"/>
                </a:lnTo>
                <a:lnTo>
                  <a:pt x="103" y="267"/>
                </a:lnTo>
                <a:lnTo>
                  <a:pt x="92" y="260"/>
                </a:lnTo>
                <a:lnTo>
                  <a:pt x="115" y="259"/>
                </a:lnTo>
                <a:lnTo>
                  <a:pt x="105" y="249"/>
                </a:lnTo>
                <a:lnTo>
                  <a:pt x="117" y="240"/>
                </a:lnTo>
                <a:lnTo>
                  <a:pt x="143" y="240"/>
                </a:lnTo>
                <a:lnTo>
                  <a:pt x="137" y="230"/>
                </a:lnTo>
                <a:lnTo>
                  <a:pt x="132" y="202"/>
                </a:lnTo>
                <a:lnTo>
                  <a:pt x="105" y="20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60" name="Freeform 143"/>
          <p:cNvSpPr>
            <a:spLocks/>
          </p:cNvSpPr>
          <p:nvPr/>
        </p:nvSpPr>
        <p:spPr bwMode="auto">
          <a:xfrm>
            <a:off x="5448300" y="3246438"/>
            <a:ext cx="220663" cy="85725"/>
          </a:xfrm>
          <a:custGeom>
            <a:avLst/>
            <a:gdLst>
              <a:gd name="T0" fmla="*/ 2147483647 w 165"/>
              <a:gd name="T1" fmla="*/ 2147483647 h 64"/>
              <a:gd name="T2" fmla="*/ 0 w 165"/>
              <a:gd name="T3" fmla="*/ 2147483647 h 64"/>
              <a:gd name="T4" fmla="*/ 2147483647 w 165"/>
              <a:gd name="T5" fmla="*/ 0 h 64"/>
              <a:gd name="T6" fmla="*/ 2147483647 w 165"/>
              <a:gd name="T7" fmla="*/ 2147483647 h 64"/>
              <a:gd name="T8" fmla="*/ 2147483647 w 165"/>
              <a:gd name="T9" fmla="*/ 2147483647 h 64"/>
              <a:gd name="T10" fmla="*/ 2147483647 w 165"/>
              <a:gd name="T11" fmla="*/ 2147483647 h 64"/>
              <a:gd name="T12" fmla="*/ 2147483647 w 165"/>
              <a:gd name="T13" fmla="*/ 2147483647 h 64"/>
              <a:gd name="T14" fmla="*/ 2147483647 w 165"/>
              <a:gd name="T15" fmla="*/ 2147483647 h 64"/>
              <a:gd name="T16" fmla="*/ 2147483647 w 165"/>
              <a:gd name="T17" fmla="*/ 2147483647 h 64"/>
              <a:gd name="T18" fmla="*/ 2147483647 w 165"/>
              <a:gd name="T19" fmla="*/ 2147483647 h 64"/>
              <a:gd name="T20" fmla="*/ 2147483647 w 165"/>
              <a:gd name="T21" fmla="*/ 2147483647 h 64"/>
              <a:gd name="T22" fmla="*/ 2147483647 w 165"/>
              <a:gd name="T23" fmla="*/ 2147483647 h 64"/>
              <a:gd name="T24" fmla="*/ 2147483647 w 165"/>
              <a:gd name="T25" fmla="*/ 2147483647 h 64"/>
              <a:gd name="T26" fmla="*/ 2147483647 w 165"/>
              <a:gd name="T27" fmla="*/ 2147483647 h 64"/>
              <a:gd name="T28" fmla="*/ 2147483647 w 165"/>
              <a:gd name="T29" fmla="*/ 2147483647 h 64"/>
              <a:gd name="T30" fmla="*/ 2147483647 w 165"/>
              <a:gd name="T31" fmla="*/ 2147483647 h 64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65"/>
              <a:gd name="T49" fmla="*/ 0 h 64"/>
              <a:gd name="T50" fmla="*/ 165 w 165"/>
              <a:gd name="T51" fmla="*/ 64 h 64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65" h="64">
                <a:moveTo>
                  <a:pt x="32" y="23"/>
                </a:moveTo>
                <a:lnTo>
                  <a:pt x="0" y="3"/>
                </a:lnTo>
                <a:lnTo>
                  <a:pt x="1" y="0"/>
                </a:lnTo>
                <a:lnTo>
                  <a:pt x="24" y="3"/>
                </a:lnTo>
                <a:lnTo>
                  <a:pt x="45" y="4"/>
                </a:lnTo>
                <a:lnTo>
                  <a:pt x="75" y="16"/>
                </a:lnTo>
                <a:lnTo>
                  <a:pt x="105" y="28"/>
                </a:lnTo>
                <a:lnTo>
                  <a:pt x="135" y="40"/>
                </a:lnTo>
                <a:lnTo>
                  <a:pt x="165" y="52"/>
                </a:lnTo>
                <a:lnTo>
                  <a:pt x="158" y="64"/>
                </a:lnTo>
                <a:lnTo>
                  <a:pt x="139" y="60"/>
                </a:lnTo>
                <a:lnTo>
                  <a:pt x="110" y="60"/>
                </a:lnTo>
                <a:lnTo>
                  <a:pt x="80" y="60"/>
                </a:lnTo>
                <a:lnTo>
                  <a:pt x="54" y="61"/>
                </a:lnTo>
                <a:lnTo>
                  <a:pt x="53" y="43"/>
                </a:lnTo>
                <a:lnTo>
                  <a:pt x="32" y="2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61" name="Freeform 144"/>
          <p:cNvSpPr>
            <a:spLocks/>
          </p:cNvSpPr>
          <p:nvPr/>
        </p:nvSpPr>
        <p:spPr bwMode="auto">
          <a:xfrm>
            <a:off x="6284913" y="3265488"/>
            <a:ext cx="260350" cy="136525"/>
          </a:xfrm>
          <a:custGeom>
            <a:avLst/>
            <a:gdLst>
              <a:gd name="T0" fmla="*/ 2147483647 w 197"/>
              <a:gd name="T1" fmla="*/ 2147483647 h 98"/>
              <a:gd name="T2" fmla="*/ 2147483647 w 197"/>
              <a:gd name="T3" fmla="*/ 2147483647 h 98"/>
              <a:gd name="T4" fmla="*/ 2147483647 w 197"/>
              <a:gd name="T5" fmla="*/ 2147483647 h 98"/>
              <a:gd name="T6" fmla="*/ 0 w 197"/>
              <a:gd name="T7" fmla="*/ 2147483647 h 98"/>
              <a:gd name="T8" fmla="*/ 2147483647 w 197"/>
              <a:gd name="T9" fmla="*/ 2147483647 h 98"/>
              <a:gd name="T10" fmla="*/ 2147483647 w 197"/>
              <a:gd name="T11" fmla="*/ 2147483647 h 98"/>
              <a:gd name="T12" fmla="*/ 2147483647 w 197"/>
              <a:gd name="T13" fmla="*/ 2147483647 h 98"/>
              <a:gd name="T14" fmla="*/ 2147483647 w 197"/>
              <a:gd name="T15" fmla="*/ 2147483647 h 98"/>
              <a:gd name="T16" fmla="*/ 2147483647 w 197"/>
              <a:gd name="T17" fmla="*/ 2147483647 h 98"/>
              <a:gd name="T18" fmla="*/ 2147483647 w 197"/>
              <a:gd name="T19" fmla="*/ 2147483647 h 98"/>
              <a:gd name="T20" fmla="*/ 2147483647 w 197"/>
              <a:gd name="T21" fmla="*/ 2147483647 h 98"/>
              <a:gd name="T22" fmla="*/ 2147483647 w 197"/>
              <a:gd name="T23" fmla="*/ 0 h 98"/>
              <a:gd name="T24" fmla="*/ 2147483647 w 197"/>
              <a:gd name="T25" fmla="*/ 2147483647 h 98"/>
              <a:gd name="T26" fmla="*/ 2147483647 w 197"/>
              <a:gd name="T27" fmla="*/ 2147483647 h 98"/>
              <a:gd name="T28" fmla="*/ 2147483647 w 197"/>
              <a:gd name="T29" fmla="*/ 2147483647 h 98"/>
              <a:gd name="T30" fmla="*/ 2147483647 w 197"/>
              <a:gd name="T31" fmla="*/ 2147483647 h 98"/>
              <a:gd name="T32" fmla="*/ 2147483647 w 197"/>
              <a:gd name="T33" fmla="*/ 2147483647 h 98"/>
              <a:gd name="T34" fmla="*/ 2147483647 w 197"/>
              <a:gd name="T35" fmla="*/ 2147483647 h 98"/>
              <a:gd name="T36" fmla="*/ 2147483647 w 197"/>
              <a:gd name="T37" fmla="*/ 2147483647 h 98"/>
              <a:gd name="T38" fmla="*/ 2147483647 w 197"/>
              <a:gd name="T39" fmla="*/ 2147483647 h 98"/>
              <a:gd name="T40" fmla="*/ 2147483647 w 197"/>
              <a:gd name="T41" fmla="*/ 2147483647 h 98"/>
              <a:gd name="T42" fmla="*/ 2147483647 w 197"/>
              <a:gd name="T43" fmla="*/ 2147483647 h 98"/>
              <a:gd name="T44" fmla="*/ 2147483647 w 197"/>
              <a:gd name="T45" fmla="*/ 2147483647 h 98"/>
              <a:gd name="T46" fmla="*/ 2147483647 w 197"/>
              <a:gd name="T47" fmla="*/ 2147483647 h 98"/>
              <a:gd name="T48" fmla="*/ 2147483647 w 197"/>
              <a:gd name="T49" fmla="*/ 2147483647 h 98"/>
              <a:gd name="T50" fmla="*/ 2147483647 w 197"/>
              <a:gd name="T51" fmla="*/ 2147483647 h 98"/>
              <a:gd name="T52" fmla="*/ 2147483647 w 197"/>
              <a:gd name="T53" fmla="*/ 2147483647 h 98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97"/>
              <a:gd name="T82" fmla="*/ 0 h 98"/>
              <a:gd name="T83" fmla="*/ 197 w 197"/>
              <a:gd name="T84" fmla="*/ 98 h 98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97" h="98">
                <a:moveTo>
                  <a:pt x="65" y="57"/>
                </a:moveTo>
                <a:lnTo>
                  <a:pt x="43" y="43"/>
                </a:lnTo>
                <a:lnTo>
                  <a:pt x="14" y="41"/>
                </a:lnTo>
                <a:lnTo>
                  <a:pt x="0" y="23"/>
                </a:lnTo>
                <a:lnTo>
                  <a:pt x="13" y="12"/>
                </a:lnTo>
                <a:lnTo>
                  <a:pt x="33" y="14"/>
                </a:lnTo>
                <a:lnTo>
                  <a:pt x="55" y="18"/>
                </a:lnTo>
                <a:lnTo>
                  <a:pt x="66" y="3"/>
                </a:lnTo>
                <a:lnTo>
                  <a:pt x="84" y="6"/>
                </a:lnTo>
                <a:lnTo>
                  <a:pt x="113" y="6"/>
                </a:lnTo>
                <a:lnTo>
                  <a:pt x="139" y="2"/>
                </a:lnTo>
                <a:lnTo>
                  <a:pt x="164" y="0"/>
                </a:lnTo>
                <a:lnTo>
                  <a:pt x="191" y="15"/>
                </a:lnTo>
                <a:lnTo>
                  <a:pt x="197" y="27"/>
                </a:lnTo>
                <a:lnTo>
                  <a:pt x="181" y="39"/>
                </a:lnTo>
                <a:lnTo>
                  <a:pt x="164" y="53"/>
                </a:lnTo>
                <a:lnTo>
                  <a:pt x="144" y="57"/>
                </a:lnTo>
                <a:lnTo>
                  <a:pt x="131" y="73"/>
                </a:lnTo>
                <a:lnTo>
                  <a:pt x="119" y="71"/>
                </a:lnTo>
                <a:lnTo>
                  <a:pt x="109" y="71"/>
                </a:lnTo>
                <a:lnTo>
                  <a:pt x="95" y="80"/>
                </a:lnTo>
                <a:lnTo>
                  <a:pt x="86" y="98"/>
                </a:lnTo>
                <a:lnTo>
                  <a:pt x="51" y="95"/>
                </a:lnTo>
                <a:lnTo>
                  <a:pt x="15" y="90"/>
                </a:lnTo>
                <a:lnTo>
                  <a:pt x="14" y="74"/>
                </a:lnTo>
                <a:lnTo>
                  <a:pt x="39" y="66"/>
                </a:lnTo>
                <a:lnTo>
                  <a:pt x="65" y="5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62" name="Freeform 145"/>
          <p:cNvSpPr>
            <a:spLocks/>
          </p:cNvSpPr>
          <p:nvPr/>
        </p:nvSpPr>
        <p:spPr bwMode="auto">
          <a:xfrm>
            <a:off x="5800725" y="3284538"/>
            <a:ext cx="398463" cy="258762"/>
          </a:xfrm>
          <a:custGeom>
            <a:avLst/>
            <a:gdLst>
              <a:gd name="T0" fmla="*/ 2147483647 w 300"/>
              <a:gd name="T1" fmla="*/ 2147483647 h 187"/>
              <a:gd name="T2" fmla="*/ 2147483647 w 300"/>
              <a:gd name="T3" fmla="*/ 2147483647 h 187"/>
              <a:gd name="T4" fmla="*/ 2147483647 w 300"/>
              <a:gd name="T5" fmla="*/ 2147483647 h 187"/>
              <a:gd name="T6" fmla="*/ 2147483647 w 300"/>
              <a:gd name="T7" fmla="*/ 2147483647 h 187"/>
              <a:gd name="T8" fmla="*/ 2147483647 w 300"/>
              <a:gd name="T9" fmla="*/ 2147483647 h 187"/>
              <a:gd name="T10" fmla="*/ 2147483647 w 300"/>
              <a:gd name="T11" fmla="*/ 2147483647 h 187"/>
              <a:gd name="T12" fmla="*/ 2147483647 w 300"/>
              <a:gd name="T13" fmla="*/ 2147483647 h 187"/>
              <a:gd name="T14" fmla="*/ 2147483647 w 300"/>
              <a:gd name="T15" fmla="*/ 2147483647 h 187"/>
              <a:gd name="T16" fmla="*/ 2147483647 w 300"/>
              <a:gd name="T17" fmla="*/ 2147483647 h 187"/>
              <a:gd name="T18" fmla="*/ 2147483647 w 300"/>
              <a:gd name="T19" fmla="*/ 2147483647 h 187"/>
              <a:gd name="T20" fmla="*/ 2147483647 w 300"/>
              <a:gd name="T21" fmla="*/ 2147483647 h 187"/>
              <a:gd name="T22" fmla="*/ 2147483647 w 300"/>
              <a:gd name="T23" fmla="*/ 2147483647 h 187"/>
              <a:gd name="T24" fmla="*/ 2147483647 w 300"/>
              <a:gd name="T25" fmla="*/ 2147483647 h 187"/>
              <a:gd name="T26" fmla="*/ 2147483647 w 300"/>
              <a:gd name="T27" fmla="*/ 2147483647 h 187"/>
              <a:gd name="T28" fmla="*/ 2147483647 w 300"/>
              <a:gd name="T29" fmla="*/ 2147483647 h 187"/>
              <a:gd name="T30" fmla="*/ 2147483647 w 300"/>
              <a:gd name="T31" fmla="*/ 2147483647 h 187"/>
              <a:gd name="T32" fmla="*/ 2147483647 w 300"/>
              <a:gd name="T33" fmla="*/ 2147483647 h 187"/>
              <a:gd name="T34" fmla="*/ 2147483647 w 300"/>
              <a:gd name="T35" fmla="*/ 2147483647 h 187"/>
              <a:gd name="T36" fmla="*/ 2147483647 w 300"/>
              <a:gd name="T37" fmla="*/ 2147483647 h 187"/>
              <a:gd name="T38" fmla="*/ 2147483647 w 300"/>
              <a:gd name="T39" fmla="*/ 2147483647 h 187"/>
              <a:gd name="T40" fmla="*/ 2147483647 w 300"/>
              <a:gd name="T41" fmla="*/ 2147483647 h 187"/>
              <a:gd name="T42" fmla="*/ 2147483647 w 300"/>
              <a:gd name="T43" fmla="*/ 2147483647 h 187"/>
              <a:gd name="T44" fmla="*/ 2147483647 w 300"/>
              <a:gd name="T45" fmla="*/ 2147483647 h 187"/>
              <a:gd name="T46" fmla="*/ 2147483647 w 300"/>
              <a:gd name="T47" fmla="*/ 2147483647 h 187"/>
              <a:gd name="T48" fmla="*/ 2147483647 w 300"/>
              <a:gd name="T49" fmla="*/ 2147483647 h 187"/>
              <a:gd name="T50" fmla="*/ 2147483647 w 300"/>
              <a:gd name="T51" fmla="*/ 2147483647 h 187"/>
              <a:gd name="T52" fmla="*/ 2147483647 w 300"/>
              <a:gd name="T53" fmla="*/ 2147483647 h 187"/>
              <a:gd name="T54" fmla="*/ 2147483647 w 300"/>
              <a:gd name="T55" fmla="*/ 2147483647 h 187"/>
              <a:gd name="T56" fmla="*/ 2147483647 w 300"/>
              <a:gd name="T57" fmla="*/ 2147483647 h 187"/>
              <a:gd name="T58" fmla="*/ 2147483647 w 300"/>
              <a:gd name="T59" fmla="*/ 2147483647 h 187"/>
              <a:gd name="T60" fmla="*/ 2147483647 w 300"/>
              <a:gd name="T61" fmla="*/ 2147483647 h 187"/>
              <a:gd name="T62" fmla="*/ 2147483647 w 300"/>
              <a:gd name="T63" fmla="*/ 2147483647 h 187"/>
              <a:gd name="T64" fmla="*/ 2147483647 w 300"/>
              <a:gd name="T65" fmla="*/ 2147483647 h 187"/>
              <a:gd name="T66" fmla="*/ 2147483647 w 300"/>
              <a:gd name="T67" fmla="*/ 2147483647 h 187"/>
              <a:gd name="T68" fmla="*/ 2147483647 w 300"/>
              <a:gd name="T69" fmla="*/ 2147483647 h 187"/>
              <a:gd name="T70" fmla="*/ 2147483647 w 300"/>
              <a:gd name="T71" fmla="*/ 2147483647 h 187"/>
              <a:gd name="T72" fmla="*/ 2147483647 w 300"/>
              <a:gd name="T73" fmla="*/ 2147483647 h 187"/>
              <a:gd name="T74" fmla="*/ 0 w 300"/>
              <a:gd name="T75" fmla="*/ 0 h 187"/>
              <a:gd name="T76" fmla="*/ 2147483647 w 300"/>
              <a:gd name="T77" fmla="*/ 0 h 187"/>
              <a:gd name="T78" fmla="*/ 2147483647 w 300"/>
              <a:gd name="T79" fmla="*/ 2147483647 h 187"/>
              <a:gd name="T80" fmla="*/ 2147483647 w 300"/>
              <a:gd name="T81" fmla="*/ 2147483647 h 187"/>
              <a:gd name="T82" fmla="*/ 2147483647 w 300"/>
              <a:gd name="T83" fmla="*/ 2147483647 h 187"/>
              <a:gd name="T84" fmla="*/ 2147483647 w 300"/>
              <a:gd name="T85" fmla="*/ 2147483647 h 187"/>
              <a:gd name="T86" fmla="*/ 2147483647 w 300"/>
              <a:gd name="T87" fmla="*/ 2147483647 h 187"/>
              <a:gd name="T88" fmla="*/ 2147483647 w 300"/>
              <a:gd name="T89" fmla="*/ 2147483647 h 187"/>
              <a:gd name="T90" fmla="*/ 2147483647 w 300"/>
              <a:gd name="T91" fmla="*/ 0 h 187"/>
              <a:gd name="T92" fmla="*/ 2147483647 w 300"/>
              <a:gd name="T93" fmla="*/ 2147483647 h 187"/>
              <a:gd name="T94" fmla="*/ 2147483647 w 300"/>
              <a:gd name="T95" fmla="*/ 2147483647 h 187"/>
              <a:gd name="T96" fmla="*/ 2147483647 w 300"/>
              <a:gd name="T97" fmla="*/ 2147483647 h 187"/>
              <a:gd name="T98" fmla="*/ 2147483647 w 300"/>
              <a:gd name="T99" fmla="*/ 2147483647 h 187"/>
              <a:gd name="T100" fmla="*/ 2147483647 w 300"/>
              <a:gd name="T101" fmla="*/ 2147483647 h 187"/>
              <a:gd name="T102" fmla="*/ 2147483647 w 300"/>
              <a:gd name="T103" fmla="*/ 2147483647 h 187"/>
              <a:gd name="T104" fmla="*/ 2147483647 w 300"/>
              <a:gd name="T105" fmla="*/ 2147483647 h 187"/>
              <a:gd name="T106" fmla="*/ 2147483647 w 300"/>
              <a:gd name="T107" fmla="*/ 2147483647 h 187"/>
              <a:gd name="T108" fmla="*/ 2147483647 w 300"/>
              <a:gd name="T109" fmla="*/ 2147483647 h 187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300"/>
              <a:gd name="T166" fmla="*/ 0 h 187"/>
              <a:gd name="T167" fmla="*/ 300 w 300"/>
              <a:gd name="T168" fmla="*/ 187 h 187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300" h="187">
                <a:moveTo>
                  <a:pt x="286" y="145"/>
                </a:moveTo>
                <a:lnTo>
                  <a:pt x="277" y="164"/>
                </a:lnTo>
                <a:lnTo>
                  <a:pt x="258" y="174"/>
                </a:lnTo>
                <a:lnTo>
                  <a:pt x="252" y="187"/>
                </a:lnTo>
                <a:lnTo>
                  <a:pt x="240" y="185"/>
                </a:lnTo>
                <a:lnTo>
                  <a:pt x="221" y="179"/>
                </a:lnTo>
                <a:lnTo>
                  <a:pt x="212" y="152"/>
                </a:lnTo>
                <a:lnTo>
                  <a:pt x="193" y="150"/>
                </a:lnTo>
                <a:lnTo>
                  <a:pt x="176" y="139"/>
                </a:lnTo>
                <a:lnTo>
                  <a:pt x="158" y="127"/>
                </a:lnTo>
                <a:lnTo>
                  <a:pt x="125" y="115"/>
                </a:lnTo>
                <a:lnTo>
                  <a:pt x="106" y="118"/>
                </a:lnTo>
                <a:lnTo>
                  <a:pt x="82" y="120"/>
                </a:lnTo>
                <a:lnTo>
                  <a:pt x="67" y="136"/>
                </a:lnTo>
                <a:lnTo>
                  <a:pt x="60" y="136"/>
                </a:lnTo>
                <a:lnTo>
                  <a:pt x="54" y="114"/>
                </a:lnTo>
                <a:lnTo>
                  <a:pt x="49" y="94"/>
                </a:lnTo>
                <a:lnTo>
                  <a:pt x="36" y="85"/>
                </a:lnTo>
                <a:lnTo>
                  <a:pt x="35" y="86"/>
                </a:lnTo>
                <a:lnTo>
                  <a:pt x="40" y="82"/>
                </a:lnTo>
                <a:lnTo>
                  <a:pt x="42" y="79"/>
                </a:lnTo>
                <a:lnTo>
                  <a:pt x="36" y="70"/>
                </a:lnTo>
                <a:lnTo>
                  <a:pt x="28" y="72"/>
                </a:lnTo>
                <a:lnTo>
                  <a:pt x="26" y="73"/>
                </a:lnTo>
                <a:lnTo>
                  <a:pt x="20" y="48"/>
                </a:lnTo>
                <a:lnTo>
                  <a:pt x="23" y="47"/>
                </a:lnTo>
                <a:lnTo>
                  <a:pt x="35" y="48"/>
                </a:lnTo>
                <a:lnTo>
                  <a:pt x="46" y="54"/>
                </a:lnTo>
                <a:lnTo>
                  <a:pt x="50" y="52"/>
                </a:lnTo>
                <a:lnTo>
                  <a:pt x="53" y="49"/>
                </a:lnTo>
                <a:lnTo>
                  <a:pt x="54" y="41"/>
                </a:lnTo>
                <a:lnTo>
                  <a:pt x="35" y="22"/>
                </a:lnTo>
                <a:lnTo>
                  <a:pt x="18" y="19"/>
                </a:lnTo>
                <a:lnTo>
                  <a:pt x="18" y="40"/>
                </a:lnTo>
                <a:lnTo>
                  <a:pt x="18" y="41"/>
                </a:lnTo>
                <a:lnTo>
                  <a:pt x="5" y="16"/>
                </a:lnTo>
                <a:lnTo>
                  <a:pt x="6" y="5"/>
                </a:lnTo>
                <a:lnTo>
                  <a:pt x="0" y="0"/>
                </a:lnTo>
                <a:lnTo>
                  <a:pt x="36" y="0"/>
                </a:lnTo>
                <a:lnTo>
                  <a:pt x="32" y="17"/>
                </a:lnTo>
                <a:lnTo>
                  <a:pt x="56" y="24"/>
                </a:lnTo>
                <a:lnTo>
                  <a:pt x="80" y="31"/>
                </a:lnTo>
                <a:lnTo>
                  <a:pt x="108" y="37"/>
                </a:lnTo>
                <a:lnTo>
                  <a:pt x="103" y="24"/>
                </a:lnTo>
                <a:lnTo>
                  <a:pt x="114" y="18"/>
                </a:lnTo>
                <a:lnTo>
                  <a:pt x="131" y="0"/>
                </a:lnTo>
                <a:lnTo>
                  <a:pt x="156" y="18"/>
                </a:lnTo>
                <a:lnTo>
                  <a:pt x="173" y="43"/>
                </a:lnTo>
                <a:lnTo>
                  <a:pt x="200" y="54"/>
                </a:lnTo>
                <a:lnTo>
                  <a:pt x="217" y="64"/>
                </a:lnTo>
                <a:lnTo>
                  <a:pt x="252" y="85"/>
                </a:lnTo>
                <a:lnTo>
                  <a:pt x="287" y="107"/>
                </a:lnTo>
                <a:lnTo>
                  <a:pt x="300" y="131"/>
                </a:lnTo>
                <a:lnTo>
                  <a:pt x="293" y="138"/>
                </a:lnTo>
                <a:lnTo>
                  <a:pt x="286" y="145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63" name="Freeform 146"/>
          <p:cNvSpPr>
            <a:spLocks/>
          </p:cNvSpPr>
          <p:nvPr/>
        </p:nvSpPr>
        <p:spPr bwMode="auto">
          <a:xfrm>
            <a:off x="6084888" y="3435350"/>
            <a:ext cx="366712" cy="304800"/>
          </a:xfrm>
          <a:custGeom>
            <a:avLst/>
            <a:gdLst>
              <a:gd name="T0" fmla="*/ 2147483647 w 276"/>
              <a:gd name="T1" fmla="*/ 2147483647 h 223"/>
              <a:gd name="T2" fmla="*/ 0 w 276"/>
              <a:gd name="T3" fmla="*/ 2147483647 h 223"/>
              <a:gd name="T4" fmla="*/ 0 w 276"/>
              <a:gd name="T5" fmla="*/ 2147483647 h 223"/>
              <a:gd name="T6" fmla="*/ 2147483647 w 276"/>
              <a:gd name="T7" fmla="*/ 2147483647 h 223"/>
              <a:gd name="T8" fmla="*/ 2147483647 w 276"/>
              <a:gd name="T9" fmla="*/ 2147483647 h 223"/>
              <a:gd name="T10" fmla="*/ 2147483647 w 276"/>
              <a:gd name="T11" fmla="*/ 2147483647 h 223"/>
              <a:gd name="T12" fmla="*/ 2147483647 w 276"/>
              <a:gd name="T13" fmla="*/ 2147483647 h 223"/>
              <a:gd name="T14" fmla="*/ 2147483647 w 276"/>
              <a:gd name="T15" fmla="*/ 2147483647 h 223"/>
              <a:gd name="T16" fmla="*/ 2147483647 w 276"/>
              <a:gd name="T17" fmla="*/ 2147483647 h 223"/>
              <a:gd name="T18" fmla="*/ 2147483647 w 276"/>
              <a:gd name="T19" fmla="*/ 2147483647 h 223"/>
              <a:gd name="T20" fmla="*/ 2147483647 w 276"/>
              <a:gd name="T21" fmla="*/ 2147483647 h 223"/>
              <a:gd name="T22" fmla="*/ 2147483647 w 276"/>
              <a:gd name="T23" fmla="*/ 2147483647 h 223"/>
              <a:gd name="T24" fmla="*/ 2147483647 w 276"/>
              <a:gd name="T25" fmla="*/ 2147483647 h 223"/>
              <a:gd name="T26" fmla="*/ 2147483647 w 276"/>
              <a:gd name="T27" fmla="*/ 2147483647 h 223"/>
              <a:gd name="T28" fmla="*/ 2147483647 w 276"/>
              <a:gd name="T29" fmla="*/ 2147483647 h 223"/>
              <a:gd name="T30" fmla="*/ 2147483647 w 276"/>
              <a:gd name="T31" fmla="*/ 2147483647 h 223"/>
              <a:gd name="T32" fmla="*/ 2147483647 w 276"/>
              <a:gd name="T33" fmla="*/ 2147483647 h 223"/>
              <a:gd name="T34" fmla="*/ 2147483647 w 276"/>
              <a:gd name="T35" fmla="*/ 2147483647 h 223"/>
              <a:gd name="T36" fmla="*/ 2147483647 w 276"/>
              <a:gd name="T37" fmla="*/ 2147483647 h 223"/>
              <a:gd name="T38" fmla="*/ 2147483647 w 276"/>
              <a:gd name="T39" fmla="*/ 2147483647 h 223"/>
              <a:gd name="T40" fmla="*/ 2147483647 w 276"/>
              <a:gd name="T41" fmla="*/ 2147483647 h 223"/>
              <a:gd name="T42" fmla="*/ 2147483647 w 276"/>
              <a:gd name="T43" fmla="*/ 2147483647 h 223"/>
              <a:gd name="T44" fmla="*/ 2147483647 w 276"/>
              <a:gd name="T45" fmla="*/ 2147483647 h 223"/>
              <a:gd name="T46" fmla="*/ 2147483647 w 276"/>
              <a:gd name="T47" fmla="*/ 2147483647 h 223"/>
              <a:gd name="T48" fmla="*/ 2147483647 w 276"/>
              <a:gd name="T49" fmla="*/ 2147483647 h 223"/>
              <a:gd name="T50" fmla="*/ 2147483647 w 276"/>
              <a:gd name="T51" fmla="*/ 2147483647 h 223"/>
              <a:gd name="T52" fmla="*/ 2147483647 w 276"/>
              <a:gd name="T53" fmla="*/ 2147483647 h 223"/>
              <a:gd name="T54" fmla="*/ 2147483647 w 276"/>
              <a:gd name="T55" fmla="*/ 2147483647 h 223"/>
              <a:gd name="T56" fmla="*/ 2147483647 w 276"/>
              <a:gd name="T57" fmla="*/ 2147483647 h 223"/>
              <a:gd name="T58" fmla="*/ 2147483647 w 276"/>
              <a:gd name="T59" fmla="*/ 2147483647 h 223"/>
              <a:gd name="T60" fmla="*/ 2147483647 w 276"/>
              <a:gd name="T61" fmla="*/ 2147483647 h 223"/>
              <a:gd name="T62" fmla="*/ 2147483647 w 276"/>
              <a:gd name="T63" fmla="*/ 2147483647 h 223"/>
              <a:gd name="T64" fmla="*/ 2147483647 w 276"/>
              <a:gd name="T65" fmla="*/ 2147483647 h 223"/>
              <a:gd name="T66" fmla="*/ 2147483647 w 276"/>
              <a:gd name="T67" fmla="*/ 2147483647 h 223"/>
              <a:gd name="T68" fmla="*/ 2147483647 w 276"/>
              <a:gd name="T69" fmla="*/ 2147483647 h 223"/>
              <a:gd name="T70" fmla="*/ 2147483647 w 276"/>
              <a:gd name="T71" fmla="*/ 2147483647 h 223"/>
              <a:gd name="T72" fmla="*/ 2147483647 w 276"/>
              <a:gd name="T73" fmla="*/ 2147483647 h 223"/>
              <a:gd name="T74" fmla="*/ 2147483647 w 276"/>
              <a:gd name="T75" fmla="*/ 2147483647 h 223"/>
              <a:gd name="T76" fmla="*/ 2147483647 w 276"/>
              <a:gd name="T77" fmla="*/ 2147483647 h 223"/>
              <a:gd name="T78" fmla="*/ 2147483647 w 276"/>
              <a:gd name="T79" fmla="*/ 0 h 223"/>
              <a:gd name="T80" fmla="*/ 2147483647 w 276"/>
              <a:gd name="T81" fmla="*/ 2147483647 h 223"/>
              <a:gd name="T82" fmla="*/ 2147483647 w 276"/>
              <a:gd name="T83" fmla="*/ 2147483647 h 223"/>
              <a:gd name="T84" fmla="*/ 2147483647 w 276"/>
              <a:gd name="T85" fmla="*/ 2147483647 h 223"/>
              <a:gd name="T86" fmla="*/ 2147483647 w 276"/>
              <a:gd name="T87" fmla="*/ 2147483647 h 223"/>
              <a:gd name="T88" fmla="*/ 2147483647 w 276"/>
              <a:gd name="T89" fmla="*/ 2147483647 h 223"/>
              <a:gd name="T90" fmla="*/ 2147483647 w 276"/>
              <a:gd name="T91" fmla="*/ 2147483647 h 223"/>
              <a:gd name="T92" fmla="*/ 2147483647 w 276"/>
              <a:gd name="T93" fmla="*/ 2147483647 h 223"/>
              <a:gd name="T94" fmla="*/ 2147483647 w 276"/>
              <a:gd name="T95" fmla="*/ 2147483647 h 223"/>
              <a:gd name="T96" fmla="*/ 2147483647 w 276"/>
              <a:gd name="T97" fmla="*/ 2147483647 h 223"/>
              <a:gd name="T98" fmla="*/ 2147483647 w 276"/>
              <a:gd name="T99" fmla="*/ 2147483647 h 223"/>
              <a:gd name="T100" fmla="*/ 2147483647 w 276"/>
              <a:gd name="T101" fmla="*/ 2147483647 h 223"/>
              <a:gd name="T102" fmla="*/ 2147483647 w 276"/>
              <a:gd name="T103" fmla="*/ 2147483647 h 223"/>
              <a:gd name="T104" fmla="*/ 2147483647 w 276"/>
              <a:gd name="T105" fmla="*/ 2147483647 h 223"/>
              <a:gd name="T106" fmla="*/ 2147483647 w 276"/>
              <a:gd name="T107" fmla="*/ 2147483647 h 223"/>
              <a:gd name="T108" fmla="*/ 2147483647 w 276"/>
              <a:gd name="T109" fmla="*/ 2147483647 h 223"/>
              <a:gd name="T110" fmla="*/ 2147483647 w 276"/>
              <a:gd name="T111" fmla="*/ 2147483647 h 223"/>
              <a:gd name="T112" fmla="*/ 2147483647 w 276"/>
              <a:gd name="T113" fmla="*/ 2147483647 h 22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76"/>
              <a:gd name="T172" fmla="*/ 0 h 223"/>
              <a:gd name="T173" fmla="*/ 276 w 276"/>
              <a:gd name="T174" fmla="*/ 223 h 22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76" h="223">
                <a:moveTo>
                  <a:pt x="1" y="97"/>
                </a:moveTo>
                <a:lnTo>
                  <a:pt x="0" y="101"/>
                </a:lnTo>
                <a:lnTo>
                  <a:pt x="0" y="114"/>
                </a:lnTo>
                <a:lnTo>
                  <a:pt x="8" y="120"/>
                </a:lnTo>
                <a:lnTo>
                  <a:pt x="6" y="125"/>
                </a:lnTo>
                <a:lnTo>
                  <a:pt x="11" y="145"/>
                </a:lnTo>
                <a:lnTo>
                  <a:pt x="16" y="167"/>
                </a:lnTo>
                <a:lnTo>
                  <a:pt x="35" y="174"/>
                </a:lnTo>
                <a:lnTo>
                  <a:pt x="40" y="183"/>
                </a:lnTo>
                <a:lnTo>
                  <a:pt x="24" y="211"/>
                </a:lnTo>
                <a:lnTo>
                  <a:pt x="42" y="217"/>
                </a:lnTo>
                <a:lnTo>
                  <a:pt x="60" y="223"/>
                </a:lnTo>
                <a:lnTo>
                  <a:pt x="92" y="222"/>
                </a:lnTo>
                <a:lnTo>
                  <a:pt x="115" y="217"/>
                </a:lnTo>
                <a:lnTo>
                  <a:pt x="138" y="213"/>
                </a:lnTo>
                <a:lnTo>
                  <a:pt x="137" y="201"/>
                </a:lnTo>
                <a:lnTo>
                  <a:pt x="140" y="181"/>
                </a:lnTo>
                <a:lnTo>
                  <a:pt x="161" y="173"/>
                </a:lnTo>
                <a:lnTo>
                  <a:pt x="167" y="166"/>
                </a:lnTo>
                <a:lnTo>
                  <a:pt x="187" y="167"/>
                </a:lnTo>
                <a:lnTo>
                  <a:pt x="188" y="139"/>
                </a:lnTo>
                <a:lnTo>
                  <a:pt x="205" y="126"/>
                </a:lnTo>
                <a:lnTo>
                  <a:pt x="193" y="112"/>
                </a:lnTo>
                <a:lnTo>
                  <a:pt x="211" y="111"/>
                </a:lnTo>
                <a:lnTo>
                  <a:pt x="215" y="100"/>
                </a:lnTo>
                <a:lnTo>
                  <a:pt x="221" y="82"/>
                </a:lnTo>
                <a:lnTo>
                  <a:pt x="210" y="60"/>
                </a:lnTo>
                <a:lnTo>
                  <a:pt x="221" y="45"/>
                </a:lnTo>
                <a:lnTo>
                  <a:pt x="245" y="40"/>
                </a:lnTo>
                <a:lnTo>
                  <a:pt x="270" y="34"/>
                </a:lnTo>
                <a:lnTo>
                  <a:pt x="269" y="29"/>
                </a:lnTo>
                <a:lnTo>
                  <a:pt x="275" y="29"/>
                </a:lnTo>
                <a:lnTo>
                  <a:pt x="276" y="29"/>
                </a:lnTo>
                <a:lnTo>
                  <a:pt x="258" y="27"/>
                </a:lnTo>
                <a:lnTo>
                  <a:pt x="252" y="27"/>
                </a:lnTo>
                <a:lnTo>
                  <a:pt x="235" y="28"/>
                </a:lnTo>
                <a:lnTo>
                  <a:pt x="210" y="41"/>
                </a:lnTo>
                <a:lnTo>
                  <a:pt x="202" y="11"/>
                </a:lnTo>
                <a:lnTo>
                  <a:pt x="196" y="11"/>
                </a:lnTo>
                <a:lnTo>
                  <a:pt x="190" y="0"/>
                </a:lnTo>
                <a:lnTo>
                  <a:pt x="180" y="4"/>
                </a:lnTo>
                <a:lnTo>
                  <a:pt x="178" y="18"/>
                </a:lnTo>
                <a:lnTo>
                  <a:pt x="162" y="27"/>
                </a:lnTo>
                <a:lnTo>
                  <a:pt x="157" y="30"/>
                </a:lnTo>
                <a:lnTo>
                  <a:pt x="143" y="31"/>
                </a:lnTo>
                <a:lnTo>
                  <a:pt x="133" y="33"/>
                </a:lnTo>
                <a:lnTo>
                  <a:pt x="126" y="29"/>
                </a:lnTo>
                <a:lnTo>
                  <a:pt x="106" y="25"/>
                </a:lnTo>
                <a:lnTo>
                  <a:pt x="85" y="22"/>
                </a:lnTo>
                <a:lnTo>
                  <a:pt x="78" y="29"/>
                </a:lnTo>
                <a:lnTo>
                  <a:pt x="71" y="36"/>
                </a:lnTo>
                <a:lnTo>
                  <a:pt x="62" y="55"/>
                </a:lnTo>
                <a:lnTo>
                  <a:pt x="43" y="65"/>
                </a:lnTo>
                <a:lnTo>
                  <a:pt x="37" y="78"/>
                </a:lnTo>
                <a:lnTo>
                  <a:pt x="25" y="76"/>
                </a:lnTo>
                <a:lnTo>
                  <a:pt x="6" y="70"/>
                </a:lnTo>
                <a:lnTo>
                  <a:pt x="1" y="9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64" name="Freeform 147"/>
          <p:cNvSpPr>
            <a:spLocks/>
          </p:cNvSpPr>
          <p:nvPr/>
        </p:nvSpPr>
        <p:spPr bwMode="auto">
          <a:xfrm>
            <a:off x="5307013" y="3527425"/>
            <a:ext cx="55562" cy="34925"/>
          </a:xfrm>
          <a:custGeom>
            <a:avLst/>
            <a:gdLst>
              <a:gd name="T0" fmla="*/ 2147483647 w 42"/>
              <a:gd name="T1" fmla="*/ 0 h 27"/>
              <a:gd name="T2" fmla="*/ 2147483647 w 42"/>
              <a:gd name="T3" fmla="*/ 2147483647 h 27"/>
              <a:gd name="T4" fmla="*/ 0 w 42"/>
              <a:gd name="T5" fmla="*/ 2147483647 h 27"/>
              <a:gd name="T6" fmla="*/ 2147483647 w 42"/>
              <a:gd name="T7" fmla="*/ 2147483647 h 27"/>
              <a:gd name="T8" fmla="*/ 2147483647 w 42"/>
              <a:gd name="T9" fmla="*/ 2147483647 h 27"/>
              <a:gd name="T10" fmla="*/ 2147483647 w 42"/>
              <a:gd name="T11" fmla="*/ 2147483647 h 27"/>
              <a:gd name="T12" fmla="*/ 2147483647 w 42"/>
              <a:gd name="T13" fmla="*/ 0 h 2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2"/>
              <a:gd name="T22" fmla="*/ 0 h 27"/>
              <a:gd name="T23" fmla="*/ 42 w 42"/>
              <a:gd name="T24" fmla="*/ 27 h 2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2" h="27">
                <a:moveTo>
                  <a:pt x="42" y="0"/>
                </a:moveTo>
                <a:lnTo>
                  <a:pt x="16" y="9"/>
                </a:lnTo>
                <a:lnTo>
                  <a:pt x="0" y="16"/>
                </a:lnTo>
                <a:lnTo>
                  <a:pt x="6" y="27"/>
                </a:lnTo>
                <a:lnTo>
                  <a:pt x="30" y="18"/>
                </a:lnTo>
                <a:lnTo>
                  <a:pt x="30" y="14"/>
                </a:lnTo>
                <a:lnTo>
                  <a:pt x="42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65" name="Line 148"/>
          <p:cNvSpPr>
            <a:spLocks noChangeShapeType="1"/>
          </p:cNvSpPr>
          <p:nvPr/>
        </p:nvSpPr>
        <p:spPr bwMode="auto">
          <a:xfrm>
            <a:off x="6434138" y="3486150"/>
            <a:ext cx="7937" cy="1588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66" name="Line 149"/>
          <p:cNvSpPr>
            <a:spLocks noChangeShapeType="1"/>
          </p:cNvSpPr>
          <p:nvPr/>
        </p:nvSpPr>
        <p:spPr bwMode="auto">
          <a:xfrm flipH="1">
            <a:off x="6435725" y="3487738"/>
            <a:ext cx="1588" cy="7937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67" name="Line 150"/>
          <p:cNvSpPr>
            <a:spLocks noChangeShapeType="1"/>
          </p:cNvSpPr>
          <p:nvPr/>
        </p:nvSpPr>
        <p:spPr bwMode="auto">
          <a:xfrm flipH="1">
            <a:off x="6429375" y="3494088"/>
            <a:ext cx="6350" cy="6350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68" name="Line 151"/>
          <p:cNvSpPr>
            <a:spLocks noChangeShapeType="1"/>
          </p:cNvSpPr>
          <p:nvPr/>
        </p:nvSpPr>
        <p:spPr bwMode="auto">
          <a:xfrm flipH="1">
            <a:off x="6423025" y="3495675"/>
            <a:ext cx="11113" cy="7938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69" name="Line 152"/>
          <p:cNvSpPr>
            <a:spLocks noChangeShapeType="1"/>
          </p:cNvSpPr>
          <p:nvPr/>
        </p:nvSpPr>
        <p:spPr bwMode="auto">
          <a:xfrm flipH="1">
            <a:off x="6416675" y="3503613"/>
            <a:ext cx="7938" cy="7937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70" name="Line 153"/>
          <p:cNvSpPr>
            <a:spLocks noChangeShapeType="1"/>
          </p:cNvSpPr>
          <p:nvPr/>
        </p:nvSpPr>
        <p:spPr bwMode="auto">
          <a:xfrm flipH="1">
            <a:off x="6411913" y="3508375"/>
            <a:ext cx="9525" cy="7938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71" name="Line 154"/>
          <p:cNvSpPr>
            <a:spLocks noChangeShapeType="1"/>
          </p:cNvSpPr>
          <p:nvPr/>
        </p:nvSpPr>
        <p:spPr bwMode="auto">
          <a:xfrm flipH="1">
            <a:off x="6411913" y="3513138"/>
            <a:ext cx="3175" cy="14287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72" name="Line 155"/>
          <p:cNvSpPr>
            <a:spLocks noChangeShapeType="1"/>
          </p:cNvSpPr>
          <p:nvPr/>
        </p:nvSpPr>
        <p:spPr bwMode="auto">
          <a:xfrm>
            <a:off x="6411913" y="3524250"/>
            <a:ext cx="3175" cy="11113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73" name="Line 156"/>
          <p:cNvSpPr>
            <a:spLocks noChangeShapeType="1"/>
          </p:cNvSpPr>
          <p:nvPr/>
        </p:nvSpPr>
        <p:spPr bwMode="auto">
          <a:xfrm>
            <a:off x="6415088" y="3535363"/>
            <a:ext cx="6350" cy="7937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74" name="Line 157"/>
          <p:cNvSpPr>
            <a:spLocks noChangeShapeType="1"/>
          </p:cNvSpPr>
          <p:nvPr/>
        </p:nvSpPr>
        <p:spPr bwMode="auto">
          <a:xfrm>
            <a:off x="6429375" y="3578225"/>
            <a:ext cx="4763" cy="1588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75" name="Line 158"/>
          <p:cNvSpPr>
            <a:spLocks noChangeShapeType="1"/>
          </p:cNvSpPr>
          <p:nvPr/>
        </p:nvSpPr>
        <p:spPr bwMode="auto">
          <a:xfrm>
            <a:off x="6429375" y="3576638"/>
            <a:ext cx="12700" cy="11112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76" name="Line 159"/>
          <p:cNvSpPr>
            <a:spLocks noChangeShapeType="1"/>
          </p:cNvSpPr>
          <p:nvPr/>
        </p:nvSpPr>
        <p:spPr bwMode="auto">
          <a:xfrm>
            <a:off x="6442075" y="3587750"/>
            <a:ext cx="9525" cy="7938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77" name="Line 160"/>
          <p:cNvSpPr>
            <a:spLocks noChangeShapeType="1"/>
          </p:cNvSpPr>
          <p:nvPr/>
        </p:nvSpPr>
        <p:spPr bwMode="auto">
          <a:xfrm>
            <a:off x="6451600" y="3592513"/>
            <a:ext cx="3175" cy="11112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78" name="Line 161"/>
          <p:cNvSpPr>
            <a:spLocks noChangeShapeType="1"/>
          </p:cNvSpPr>
          <p:nvPr/>
        </p:nvSpPr>
        <p:spPr bwMode="auto">
          <a:xfrm>
            <a:off x="6451600" y="3603625"/>
            <a:ext cx="3175" cy="7938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79" name="Line 162"/>
          <p:cNvSpPr>
            <a:spLocks noChangeShapeType="1"/>
          </p:cNvSpPr>
          <p:nvPr/>
        </p:nvSpPr>
        <p:spPr bwMode="auto">
          <a:xfrm>
            <a:off x="6451600" y="3611563"/>
            <a:ext cx="12700" cy="6350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80" name="Line 163"/>
          <p:cNvSpPr>
            <a:spLocks noChangeShapeType="1"/>
          </p:cNvSpPr>
          <p:nvPr/>
        </p:nvSpPr>
        <p:spPr bwMode="auto">
          <a:xfrm>
            <a:off x="6464300" y="3617913"/>
            <a:ext cx="4763" cy="1587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81" name="Line 164"/>
          <p:cNvSpPr>
            <a:spLocks noChangeShapeType="1"/>
          </p:cNvSpPr>
          <p:nvPr/>
        </p:nvSpPr>
        <p:spPr bwMode="auto">
          <a:xfrm flipV="1">
            <a:off x="6594475" y="3576638"/>
            <a:ext cx="12700" cy="7937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82" name="Line 165"/>
          <p:cNvSpPr>
            <a:spLocks noChangeShapeType="1"/>
          </p:cNvSpPr>
          <p:nvPr/>
        </p:nvSpPr>
        <p:spPr bwMode="auto">
          <a:xfrm flipV="1">
            <a:off x="6607175" y="3559175"/>
            <a:ext cx="1588" cy="19050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83" name="Line 166"/>
          <p:cNvSpPr>
            <a:spLocks noChangeShapeType="1"/>
          </p:cNvSpPr>
          <p:nvPr/>
        </p:nvSpPr>
        <p:spPr bwMode="auto">
          <a:xfrm flipV="1">
            <a:off x="6611938" y="3530600"/>
            <a:ext cx="4762" cy="31750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84" name="Line 167"/>
          <p:cNvSpPr>
            <a:spLocks noChangeShapeType="1"/>
          </p:cNvSpPr>
          <p:nvPr/>
        </p:nvSpPr>
        <p:spPr bwMode="auto">
          <a:xfrm flipH="1" flipV="1">
            <a:off x="6597650" y="3527425"/>
            <a:ext cx="17463" cy="7938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85" name="Line 168"/>
          <p:cNvSpPr>
            <a:spLocks noChangeShapeType="1"/>
          </p:cNvSpPr>
          <p:nvPr/>
        </p:nvSpPr>
        <p:spPr bwMode="auto">
          <a:xfrm flipH="1">
            <a:off x="6546850" y="3524250"/>
            <a:ext cx="15875" cy="11113"/>
          </a:xfrm>
          <a:prstGeom prst="line">
            <a:avLst/>
          </a:prstGeom>
          <a:noFill/>
          <a:ln w="6350" cap="rnd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86" name="Freeform 169"/>
          <p:cNvSpPr>
            <a:spLocks/>
          </p:cNvSpPr>
          <p:nvPr/>
        </p:nvSpPr>
        <p:spPr bwMode="auto">
          <a:xfrm>
            <a:off x="5386388" y="3562350"/>
            <a:ext cx="34925" cy="52388"/>
          </a:xfrm>
          <a:custGeom>
            <a:avLst/>
            <a:gdLst>
              <a:gd name="T0" fmla="*/ 2147483647 w 26"/>
              <a:gd name="T1" fmla="*/ 2147483647 h 38"/>
              <a:gd name="T2" fmla="*/ 2147483647 w 26"/>
              <a:gd name="T3" fmla="*/ 2147483647 h 38"/>
              <a:gd name="T4" fmla="*/ 0 w 26"/>
              <a:gd name="T5" fmla="*/ 2147483647 h 38"/>
              <a:gd name="T6" fmla="*/ 2147483647 w 26"/>
              <a:gd name="T7" fmla="*/ 2147483647 h 38"/>
              <a:gd name="T8" fmla="*/ 2147483647 w 26"/>
              <a:gd name="T9" fmla="*/ 0 h 38"/>
              <a:gd name="T10" fmla="*/ 2147483647 w 26"/>
              <a:gd name="T11" fmla="*/ 2147483647 h 38"/>
              <a:gd name="T12" fmla="*/ 2147483647 w 26"/>
              <a:gd name="T13" fmla="*/ 2147483647 h 3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6"/>
              <a:gd name="T22" fmla="*/ 0 h 38"/>
              <a:gd name="T23" fmla="*/ 26 w 26"/>
              <a:gd name="T24" fmla="*/ 38 h 3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6" h="38">
                <a:moveTo>
                  <a:pt x="24" y="20"/>
                </a:moveTo>
                <a:lnTo>
                  <a:pt x="11" y="34"/>
                </a:lnTo>
                <a:lnTo>
                  <a:pt x="0" y="38"/>
                </a:lnTo>
                <a:lnTo>
                  <a:pt x="7" y="19"/>
                </a:lnTo>
                <a:lnTo>
                  <a:pt x="13" y="0"/>
                </a:lnTo>
                <a:lnTo>
                  <a:pt x="26" y="6"/>
                </a:lnTo>
                <a:lnTo>
                  <a:pt x="24" y="2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87" name="Freeform 170"/>
          <p:cNvSpPr>
            <a:spLocks/>
          </p:cNvSpPr>
          <p:nvPr/>
        </p:nvSpPr>
        <p:spPr bwMode="auto">
          <a:xfrm>
            <a:off x="5397500" y="3476625"/>
            <a:ext cx="169863" cy="166688"/>
          </a:xfrm>
          <a:custGeom>
            <a:avLst/>
            <a:gdLst>
              <a:gd name="T0" fmla="*/ 2147483647 w 129"/>
              <a:gd name="T1" fmla="*/ 2147483647 h 121"/>
              <a:gd name="T2" fmla="*/ 2147483647 w 129"/>
              <a:gd name="T3" fmla="*/ 2147483647 h 121"/>
              <a:gd name="T4" fmla="*/ 2147483647 w 129"/>
              <a:gd name="T5" fmla="*/ 2147483647 h 121"/>
              <a:gd name="T6" fmla="*/ 2147483647 w 129"/>
              <a:gd name="T7" fmla="*/ 2147483647 h 121"/>
              <a:gd name="T8" fmla="*/ 2147483647 w 129"/>
              <a:gd name="T9" fmla="*/ 2147483647 h 121"/>
              <a:gd name="T10" fmla="*/ 2147483647 w 129"/>
              <a:gd name="T11" fmla="*/ 2147483647 h 121"/>
              <a:gd name="T12" fmla="*/ 0 w 129"/>
              <a:gd name="T13" fmla="*/ 2147483647 h 121"/>
              <a:gd name="T14" fmla="*/ 2147483647 w 129"/>
              <a:gd name="T15" fmla="*/ 2147483647 h 121"/>
              <a:gd name="T16" fmla="*/ 2147483647 w 129"/>
              <a:gd name="T17" fmla="*/ 2147483647 h 121"/>
              <a:gd name="T18" fmla="*/ 2147483647 w 129"/>
              <a:gd name="T19" fmla="*/ 2147483647 h 121"/>
              <a:gd name="T20" fmla="*/ 2147483647 w 129"/>
              <a:gd name="T21" fmla="*/ 2147483647 h 121"/>
              <a:gd name="T22" fmla="*/ 2147483647 w 129"/>
              <a:gd name="T23" fmla="*/ 2147483647 h 121"/>
              <a:gd name="T24" fmla="*/ 2147483647 w 129"/>
              <a:gd name="T25" fmla="*/ 2147483647 h 121"/>
              <a:gd name="T26" fmla="*/ 2147483647 w 129"/>
              <a:gd name="T27" fmla="*/ 2147483647 h 121"/>
              <a:gd name="T28" fmla="*/ 2147483647 w 129"/>
              <a:gd name="T29" fmla="*/ 2147483647 h 121"/>
              <a:gd name="T30" fmla="*/ 2147483647 w 129"/>
              <a:gd name="T31" fmla="*/ 2147483647 h 121"/>
              <a:gd name="T32" fmla="*/ 2147483647 w 129"/>
              <a:gd name="T33" fmla="*/ 2147483647 h 121"/>
              <a:gd name="T34" fmla="*/ 2147483647 w 129"/>
              <a:gd name="T35" fmla="*/ 2147483647 h 121"/>
              <a:gd name="T36" fmla="*/ 2147483647 w 129"/>
              <a:gd name="T37" fmla="*/ 2147483647 h 121"/>
              <a:gd name="T38" fmla="*/ 2147483647 w 129"/>
              <a:gd name="T39" fmla="*/ 2147483647 h 121"/>
              <a:gd name="T40" fmla="*/ 2147483647 w 129"/>
              <a:gd name="T41" fmla="*/ 0 h 121"/>
              <a:gd name="T42" fmla="*/ 2147483647 w 129"/>
              <a:gd name="T43" fmla="*/ 2147483647 h 121"/>
              <a:gd name="T44" fmla="*/ 2147483647 w 129"/>
              <a:gd name="T45" fmla="*/ 2147483647 h 12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29"/>
              <a:gd name="T70" fmla="*/ 0 h 121"/>
              <a:gd name="T71" fmla="*/ 129 w 129"/>
              <a:gd name="T72" fmla="*/ 121 h 121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29" h="121">
                <a:moveTo>
                  <a:pt x="81" y="10"/>
                </a:moveTo>
                <a:lnTo>
                  <a:pt x="51" y="9"/>
                </a:lnTo>
                <a:lnTo>
                  <a:pt x="20" y="11"/>
                </a:lnTo>
                <a:lnTo>
                  <a:pt x="12" y="13"/>
                </a:lnTo>
                <a:lnTo>
                  <a:pt x="11" y="24"/>
                </a:lnTo>
                <a:lnTo>
                  <a:pt x="3" y="33"/>
                </a:lnTo>
                <a:lnTo>
                  <a:pt x="0" y="31"/>
                </a:lnTo>
                <a:lnTo>
                  <a:pt x="5" y="63"/>
                </a:lnTo>
                <a:lnTo>
                  <a:pt x="18" y="69"/>
                </a:lnTo>
                <a:lnTo>
                  <a:pt x="16" y="83"/>
                </a:lnTo>
                <a:lnTo>
                  <a:pt x="3" y="97"/>
                </a:lnTo>
                <a:lnTo>
                  <a:pt x="4" y="111"/>
                </a:lnTo>
                <a:lnTo>
                  <a:pt x="30" y="121"/>
                </a:lnTo>
                <a:lnTo>
                  <a:pt x="50" y="108"/>
                </a:lnTo>
                <a:lnTo>
                  <a:pt x="68" y="95"/>
                </a:lnTo>
                <a:lnTo>
                  <a:pt x="89" y="82"/>
                </a:lnTo>
                <a:lnTo>
                  <a:pt x="111" y="69"/>
                </a:lnTo>
                <a:lnTo>
                  <a:pt x="111" y="45"/>
                </a:lnTo>
                <a:lnTo>
                  <a:pt x="110" y="21"/>
                </a:lnTo>
                <a:lnTo>
                  <a:pt x="129" y="3"/>
                </a:lnTo>
                <a:lnTo>
                  <a:pt x="122" y="0"/>
                </a:lnTo>
                <a:lnTo>
                  <a:pt x="101" y="5"/>
                </a:lnTo>
                <a:lnTo>
                  <a:pt x="81" y="1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88" name="Freeform 171"/>
          <p:cNvSpPr>
            <a:spLocks/>
          </p:cNvSpPr>
          <p:nvPr/>
        </p:nvSpPr>
        <p:spPr bwMode="auto">
          <a:xfrm>
            <a:off x="6227763" y="3324225"/>
            <a:ext cx="228600" cy="166688"/>
          </a:xfrm>
          <a:custGeom>
            <a:avLst/>
            <a:gdLst>
              <a:gd name="T0" fmla="*/ 2147483647 w 171"/>
              <a:gd name="T1" fmla="*/ 2147483647 h 122"/>
              <a:gd name="T2" fmla="*/ 2147483647 w 171"/>
              <a:gd name="T3" fmla="*/ 2147483647 h 122"/>
              <a:gd name="T4" fmla="*/ 2147483647 w 171"/>
              <a:gd name="T5" fmla="*/ 2147483647 h 122"/>
              <a:gd name="T6" fmla="*/ 2147483647 w 171"/>
              <a:gd name="T7" fmla="*/ 2147483647 h 122"/>
              <a:gd name="T8" fmla="*/ 2147483647 w 171"/>
              <a:gd name="T9" fmla="*/ 2147483647 h 122"/>
              <a:gd name="T10" fmla="*/ 2147483647 w 171"/>
              <a:gd name="T11" fmla="*/ 2147483647 h 122"/>
              <a:gd name="T12" fmla="*/ 2147483647 w 171"/>
              <a:gd name="T13" fmla="*/ 2147483647 h 122"/>
              <a:gd name="T14" fmla="*/ 2147483647 w 171"/>
              <a:gd name="T15" fmla="*/ 2147483647 h 122"/>
              <a:gd name="T16" fmla="*/ 2147483647 w 171"/>
              <a:gd name="T17" fmla="*/ 2147483647 h 122"/>
              <a:gd name="T18" fmla="*/ 2147483647 w 171"/>
              <a:gd name="T19" fmla="*/ 2147483647 h 122"/>
              <a:gd name="T20" fmla="*/ 2147483647 w 171"/>
              <a:gd name="T21" fmla="*/ 2147483647 h 122"/>
              <a:gd name="T22" fmla="*/ 2147483647 w 171"/>
              <a:gd name="T23" fmla="*/ 2147483647 h 122"/>
              <a:gd name="T24" fmla="*/ 2147483647 w 171"/>
              <a:gd name="T25" fmla="*/ 2147483647 h 122"/>
              <a:gd name="T26" fmla="*/ 2147483647 w 171"/>
              <a:gd name="T27" fmla="*/ 2147483647 h 122"/>
              <a:gd name="T28" fmla="*/ 2147483647 w 171"/>
              <a:gd name="T29" fmla="*/ 2147483647 h 122"/>
              <a:gd name="T30" fmla="*/ 2147483647 w 171"/>
              <a:gd name="T31" fmla="*/ 2147483647 h 122"/>
              <a:gd name="T32" fmla="*/ 2147483647 w 171"/>
              <a:gd name="T33" fmla="*/ 2147483647 h 122"/>
              <a:gd name="T34" fmla="*/ 0 w 171"/>
              <a:gd name="T35" fmla="*/ 2147483647 h 122"/>
              <a:gd name="T36" fmla="*/ 2147483647 w 171"/>
              <a:gd name="T37" fmla="*/ 2147483647 h 122"/>
              <a:gd name="T38" fmla="*/ 2147483647 w 171"/>
              <a:gd name="T39" fmla="*/ 2147483647 h 122"/>
              <a:gd name="T40" fmla="*/ 2147483647 w 171"/>
              <a:gd name="T41" fmla="*/ 0 h 122"/>
              <a:gd name="T42" fmla="*/ 2147483647 w 171"/>
              <a:gd name="T43" fmla="*/ 2147483647 h 122"/>
              <a:gd name="T44" fmla="*/ 2147483647 w 171"/>
              <a:gd name="T45" fmla="*/ 2147483647 h 122"/>
              <a:gd name="T46" fmla="*/ 2147483647 w 171"/>
              <a:gd name="T47" fmla="*/ 2147483647 h 122"/>
              <a:gd name="T48" fmla="*/ 2147483647 w 171"/>
              <a:gd name="T49" fmla="*/ 2147483647 h 122"/>
              <a:gd name="T50" fmla="*/ 2147483647 w 171"/>
              <a:gd name="T51" fmla="*/ 2147483647 h 122"/>
              <a:gd name="T52" fmla="*/ 2147483647 w 171"/>
              <a:gd name="T53" fmla="*/ 2147483647 h 122"/>
              <a:gd name="T54" fmla="*/ 2147483647 w 171"/>
              <a:gd name="T55" fmla="*/ 2147483647 h 122"/>
              <a:gd name="T56" fmla="*/ 2147483647 w 171"/>
              <a:gd name="T57" fmla="*/ 2147483647 h 122"/>
              <a:gd name="T58" fmla="*/ 2147483647 w 171"/>
              <a:gd name="T59" fmla="*/ 2147483647 h 122"/>
              <a:gd name="T60" fmla="*/ 2147483647 w 171"/>
              <a:gd name="T61" fmla="*/ 2147483647 h 122"/>
              <a:gd name="T62" fmla="*/ 2147483647 w 171"/>
              <a:gd name="T63" fmla="*/ 2147483647 h 122"/>
              <a:gd name="T64" fmla="*/ 2147483647 w 171"/>
              <a:gd name="T65" fmla="*/ 2147483647 h 122"/>
              <a:gd name="T66" fmla="*/ 2147483647 w 171"/>
              <a:gd name="T67" fmla="*/ 2147483647 h 12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71"/>
              <a:gd name="T103" fmla="*/ 0 h 122"/>
              <a:gd name="T104" fmla="*/ 171 w 171"/>
              <a:gd name="T105" fmla="*/ 122 h 122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71" h="122">
                <a:moveTo>
                  <a:pt x="145" y="108"/>
                </a:moveTo>
                <a:lnTo>
                  <a:pt x="128" y="109"/>
                </a:lnTo>
                <a:lnTo>
                  <a:pt x="103" y="122"/>
                </a:lnTo>
                <a:lnTo>
                  <a:pt x="95" y="92"/>
                </a:lnTo>
                <a:lnTo>
                  <a:pt x="89" y="92"/>
                </a:lnTo>
                <a:lnTo>
                  <a:pt x="83" y="81"/>
                </a:lnTo>
                <a:lnTo>
                  <a:pt x="73" y="85"/>
                </a:lnTo>
                <a:lnTo>
                  <a:pt x="71" y="99"/>
                </a:lnTo>
                <a:lnTo>
                  <a:pt x="55" y="108"/>
                </a:lnTo>
                <a:lnTo>
                  <a:pt x="50" y="111"/>
                </a:lnTo>
                <a:lnTo>
                  <a:pt x="36" y="112"/>
                </a:lnTo>
                <a:lnTo>
                  <a:pt x="26" y="114"/>
                </a:lnTo>
                <a:lnTo>
                  <a:pt x="19" y="110"/>
                </a:lnTo>
                <a:lnTo>
                  <a:pt x="24" y="94"/>
                </a:lnTo>
                <a:lnTo>
                  <a:pt x="29" y="78"/>
                </a:lnTo>
                <a:lnTo>
                  <a:pt x="23" y="68"/>
                </a:lnTo>
                <a:lnTo>
                  <a:pt x="8" y="60"/>
                </a:lnTo>
                <a:lnTo>
                  <a:pt x="0" y="50"/>
                </a:lnTo>
                <a:lnTo>
                  <a:pt x="20" y="31"/>
                </a:lnTo>
                <a:lnTo>
                  <a:pt x="42" y="13"/>
                </a:lnTo>
                <a:lnTo>
                  <a:pt x="56" y="0"/>
                </a:lnTo>
                <a:lnTo>
                  <a:pt x="85" y="2"/>
                </a:lnTo>
                <a:lnTo>
                  <a:pt x="107" y="16"/>
                </a:lnTo>
                <a:lnTo>
                  <a:pt x="81" y="25"/>
                </a:lnTo>
                <a:lnTo>
                  <a:pt x="56" y="33"/>
                </a:lnTo>
                <a:lnTo>
                  <a:pt x="57" y="49"/>
                </a:lnTo>
                <a:lnTo>
                  <a:pt x="93" y="54"/>
                </a:lnTo>
                <a:lnTo>
                  <a:pt x="128" y="57"/>
                </a:lnTo>
                <a:lnTo>
                  <a:pt x="140" y="78"/>
                </a:lnTo>
                <a:lnTo>
                  <a:pt x="158" y="80"/>
                </a:lnTo>
                <a:lnTo>
                  <a:pt x="171" y="108"/>
                </a:lnTo>
                <a:lnTo>
                  <a:pt x="169" y="110"/>
                </a:lnTo>
                <a:lnTo>
                  <a:pt x="151" y="108"/>
                </a:lnTo>
                <a:lnTo>
                  <a:pt x="145" y="10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89" name="Freeform 172"/>
          <p:cNvSpPr>
            <a:spLocks/>
          </p:cNvSpPr>
          <p:nvPr/>
        </p:nvSpPr>
        <p:spPr bwMode="auto">
          <a:xfrm>
            <a:off x="5878513" y="3182938"/>
            <a:ext cx="425450" cy="292100"/>
          </a:xfrm>
          <a:custGeom>
            <a:avLst/>
            <a:gdLst>
              <a:gd name="T0" fmla="*/ 2147483647 w 320"/>
              <a:gd name="T1" fmla="*/ 2147483647 h 212"/>
              <a:gd name="T2" fmla="*/ 2147483647 w 320"/>
              <a:gd name="T3" fmla="*/ 2147483647 h 212"/>
              <a:gd name="T4" fmla="*/ 2147483647 w 320"/>
              <a:gd name="T5" fmla="*/ 2147483647 h 212"/>
              <a:gd name="T6" fmla="*/ 2147483647 w 320"/>
              <a:gd name="T7" fmla="*/ 2147483647 h 212"/>
              <a:gd name="T8" fmla="*/ 2147483647 w 320"/>
              <a:gd name="T9" fmla="*/ 2147483647 h 212"/>
              <a:gd name="T10" fmla="*/ 2147483647 w 320"/>
              <a:gd name="T11" fmla="*/ 2147483647 h 212"/>
              <a:gd name="T12" fmla="*/ 2147483647 w 320"/>
              <a:gd name="T13" fmla="*/ 2147483647 h 212"/>
              <a:gd name="T14" fmla="*/ 2147483647 w 320"/>
              <a:gd name="T15" fmla="*/ 2147483647 h 212"/>
              <a:gd name="T16" fmla="*/ 2147483647 w 320"/>
              <a:gd name="T17" fmla="*/ 2147483647 h 212"/>
              <a:gd name="T18" fmla="*/ 2147483647 w 320"/>
              <a:gd name="T19" fmla="*/ 2147483647 h 212"/>
              <a:gd name="T20" fmla="*/ 2147483647 w 320"/>
              <a:gd name="T21" fmla="*/ 2147483647 h 212"/>
              <a:gd name="T22" fmla="*/ 2147483647 w 320"/>
              <a:gd name="T23" fmla="*/ 2147483647 h 212"/>
              <a:gd name="T24" fmla="*/ 2147483647 w 320"/>
              <a:gd name="T25" fmla="*/ 2147483647 h 212"/>
              <a:gd name="T26" fmla="*/ 2147483647 w 320"/>
              <a:gd name="T27" fmla="*/ 2147483647 h 212"/>
              <a:gd name="T28" fmla="*/ 0 w 320"/>
              <a:gd name="T29" fmla="*/ 2147483647 h 212"/>
              <a:gd name="T30" fmla="*/ 2147483647 w 320"/>
              <a:gd name="T31" fmla="*/ 2147483647 h 212"/>
              <a:gd name="T32" fmla="*/ 2147483647 w 320"/>
              <a:gd name="T33" fmla="*/ 0 h 212"/>
              <a:gd name="T34" fmla="*/ 2147483647 w 320"/>
              <a:gd name="T35" fmla="*/ 2147483647 h 212"/>
              <a:gd name="T36" fmla="*/ 2147483647 w 320"/>
              <a:gd name="T37" fmla="*/ 2147483647 h 212"/>
              <a:gd name="T38" fmla="*/ 2147483647 w 320"/>
              <a:gd name="T39" fmla="*/ 2147483647 h 212"/>
              <a:gd name="T40" fmla="*/ 2147483647 w 320"/>
              <a:gd name="T41" fmla="*/ 2147483647 h 212"/>
              <a:gd name="T42" fmla="*/ 2147483647 w 320"/>
              <a:gd name="T43" fmla="*/ 2147483647 h 212"/>
              <a:gd name="T44" fmla="*/ 2147483647 w 320"/>
              <a:gd name="T45" fmla="*/ 2147483647 h 212"/>
              <a:gd name="T46" fmla="*/ 2147483647 w 320"/>
              <a:gd name="T47" fmla="*/ 2147483647 h 212"/>
              <a:gd name="T48" fmla="*/ 2147483647 w 320"/>
              <a:gd name="T49" fmla="*/ 2147483647 h 212"/>
              <a:gd name="T50" fmla="*/ 2147483647 w 320"/>
              <a:gd name="T51" fmla="*/ 2147483647 h 212"/>
              <a:gd name="T52" fmla="*/ 2147483647 w 320"/>
              <a:gd name="T53" fmla="*/ 2147483647 h 212"/>
              <a:gd name="T54" fmla="*/ 2147483647 w 320"/>
              <a:gd name="T55" fmla="*/ 2147483647 h 212"/>
              <a:gd name="T56" fmla="*/ 2147483647 w 320"/>
              <a:gd name="T57" fmla="*/ 2147483647 h 212"/>
              <a:gd name="T58" fmla="*/ 2147483647 w 320"/>
              <a:gd name="T59" fmla="*/ 2147483647 h 212"/>
              <a:gd name="T60" fmla="*/ 2147483647 w 320"/>
              <a:gd name="T61" fmla="*/ 2147483647 h 212"/>
              <a:gd name="T62" fmla="*/ 2147483647 w 320"/>
              <a:gd name="T63" fmla="*/ 2147483647 h 212"/>
              <a:gd name="T64" fmla="*/ 2147483647 w 320"/>
              <a:gd name="T65" fmla="*/ 2147483647 h 212"/>
              <a:gd name="T66" fmla="*/ 2147483647 w 320"/>
              <a:gd name="T67" fmla="*/ 2147483647 h 212"/>
              <a:gd name="T68" fmla="*/ 2147483647 w 320"/>
              <a:gd name="T69" fmla="*/ 2147483647 h 212"/>
              <a:gd name="T70" fmla="*/ 2147483647 w 320"/>
              <a:gd name="T71" fmla="*/ 2147483647 h 212"/>
              <a:gd name="T72" fmla="*/ 2147483647 w 320"/>
              <a:gd name="T73" fmla="*/ 2147483647 h 212"/>
              <a:gd name="T74" fmla="*/ 2147483647 w 320"/>
              <a:gd name="T75" fmla="*/ 2147483647 h 212"/>
              <a:gd name="T76" fmla="*/ 2147483647 w 320"/>
              <a:gd name="T77" fmla="*/ 2147483647 h 212"/>
              <a:gd name="T78" fmla="*/ 2147483647 w 320"/>
              <a:gd name="T79" fmla="*/ 2147483647 h 212"/>
              <a:gd name="T80" fmla="*/ 2147483647 w 320"/>
              <a:gd name="T81" fmla="*/ 2147483647 h 212"/>
              <a:gd name="T82" fmla="*/ 2147483647 w 320"/>
              <a:gd name="T83" fmla="*/ 2147483647 h 21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320"/>
              <a:gd name="T127" fmla="*/ 0 h 212"/>
              <a:gd name="T128" fmla="*/ 320 w 320"/>
              <a:gd name="T129" fmla="*/ 212 h 212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320" h="212">
                <a:moveTo>
                  <a:pt x="229" y="181"/>
                </a:moveTo>
                <a:lnTo>
                  <a:pt x="194" y="159"/>
                </a:lnTo>
                <a:lnTo>
                  <a:pt x="159" y="138"/>
                </a:lnTo>
                <a:lnTo>
                  <a:pt x="142" y="128"/>
                </a:lnTo>
                <a:lnTo>
                  <a:pt x="115" y="117"/>
                </a:lnTo>
                <a:lnTo>
                  <a:pt x="98" y="92"/>
                </a:lnTo>
                <a:lnTo>
                  <a:pt x="73" y="74"/>
                </a:lnTo>
                <a:lnTo>
                  <a:pt x="56" y="92"/>
                </a:lnTo>
                <a:lnTo>
                  <a:pt x="45" y="98"/>
                </a:lnTo>
                <a:lnTo>
                  <a:pt x="50" y="111"/>
                </a:lnTo>
                <a:lnTo>
                  <a:pt x="22" y="105"/>
                </a:lnTo>
                <a:lnTo>
                  <a:pt x="16" y="84"/>
                </a:lnTo>
                <a:lnTo>
                  <a:pt x="10" y="61"/>
                </a:lnTo>
                <a:lnTo>
                  <a:pt x="6" y="39"/>
                </a:lnTo>
                <a:lnTo>
                  <a:pt x="0" y="18"/>
                </a:lnTo>
                <a:lnTo>
                  <a:pt x="25" y="8"/>
                </a:lnTo>
                <a:lnTo>
                  <a:pt x="49" y="0"/>
                </a:lnTo>
                <a:lnTo>
                  <a:pt x="75" y="13"/>
                </a:lnTo>
                <a:lnTo>
                  <a:pt x="102" y="26"/>
                </a:lnTo>
                <a:lnTo>
                  <a:pt x="122" y="50"/>
                </a:lnTo>
                <a:lnTo>
                  <a:pt x="142" y="52"/>
                </a:lnTo>
                <a:lnTo>
                  <a:pt x="164" y="54"/>
                </a:lnTo>
                <a:lnTo>
                  <a:pt x="185" y="55"/>
                </a:lnTo>
                <a:lnTo>
                  <a:pt x="205" y="56"/>
                </a:lnTo>
                <a:lnTo>
                  <a:pt x="228" y="72"/>
                </a:lnTo>
                <a:lnTo>
                  <a:pt x="229" y="92"/>
                </a:lnTo>
                <a:lnTo>
                  <a:pt x="248" y="102"/>
                </a:lnTo>
                <a:lnTo>
                  <a:pt x="267" y="111"/>
                </a:lnTo>
                <a:lnTo>
                  <a:pt x="287" y="97"/>
                </a:lnTo>
                <a:lnTo>
                  <a:pt x="306" y="84"/>
                </a:lnTo>
                <a:lnTo>
                  <a:pt x="320" y="102"/>
                </a:lnTo>
                <a:lnTo>
                  <a:pt x="306" y="115"/>
                </a:lnTo>
                <a:lnTo>
                  <a:pt x="284" y="133"/>
                </a:lnTo>
                <a:lnTo>
                  <a:pt x="264" y="152"/>
                </a:lnTo>
                <a:lnTo>
                  <a:pt x="272" y="162"/>
                </a:lnTo>
                <a:lnTo>
                  <a:pt x="287" y="170"/>
                </a:lnTo>
                <a:lnTo>
                  <a:pt x="293" y="180"/>
                </a:lnTo>
                <a:lnTo>
                  <a:pt x="288" y="196"/>
                </a:lnTo>
                <a:lnTo>
                  <a:pt x="283" y="212"/>
                </a:lnTo>
                <a:lnTo>
                  <a:pt x="263" y="208"/>
                </a:lnTo>
                <a:lnTo>
                  <a:pt x="242" y="205"/>
                </a:lnTo>
                <a:lnTo>
                  <a:pt x="229" y="18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90" name="Freeform 173"/>
          <p:cNvSpPr>
            <a:spLocks/>
          </p:cNvSpPr>
          <p:nvPr/>
        </p:nvSpPr>
        <p:spPr bwMode="auto">
          <a:xfrm>
            <a:off x="4959350" y="3300413"/>
            <a:ext cx="65088" cy="52387"/>
          </a:xfrm>
          <a:custGeom>
            <a:avLst/>
            <a:gdLst>
              <a:gd name="T0" fmla="*/ 2147483647 w 50"/>
              <a:gd name="T1" fmla="*/ 2147483647 h 37"/>
              <a:gd name="T2" fmla="*/ 0 w 50"/>
              <a:gd name="T3" fmla="*/ 2147483647 h 37"/>
              <a:gd name="T4" fmla="*/ 2147483647 w 50"/>
              <a:gd name="T5" fmla="*/ 2147483647 h 37"/>
              <a:gd name="T6" fmla="*/ 2147483647 w 50"/>
              <a:gd name="T7" fmla="*/ 2147483647 h 37"/>
              <a:gd name="T8" fmla="*/ 2147483647 w 50"/>
              <a:gd name="T9" fmla="*/ 2147483647 h 37"/>
              <a:gd name="T10" fmla="*/ 2147483647 w 50"/>
              <a:gd name="T11" fmla="*/ 2147483647 h 37"/>
              <a:gd name="T12" fmla="*/ 2147483647 w 50"/>
              <a:gd name="T13" fmla="*/ 2147483647 h 37"/>
              <a:gd name="T14" fmla="*/ 2147483647 w 50"/>
              <a:gd name="T15" fmla="*/ 2147483647 h 37"/>
              <a:gd name="T16" fmla="*/ 2147483647 w 50"/>
              <a:gd name="T17" fmla="*/ 2147483647 h 37"/>
              <a:gd name="T18" fmla="*/ 2147483647 w 50"/>
              <a:gd name="T19" fmla="*/ 2147483647 h 37"/>
              <a:gd name="T20" fmla="*/ 2147483647 w 50"/>
              <a:gd name="T21" fmla="*/ 0 h 37"/>
              <a:gd name="T22" fmla="*/ 2147483647 w 50"/>
              <a:gd name="T23" fmla="*/ 2147483647 h 37"/>
              <a:gd name="T24" fmla="*/ 2147483647 w 50"/>
              <a:gd name="T25" fmla="*/ 2147483647 h 37"/>
              <a:gd name="T26" fmla="*/ 2147483647 w 50"/>
              <a:gd name="T27" fmla="*/ 2147483647 h 37"/>
              <a:gd name="T28" fmla="*/ 2147483647 w 50"/>
              <a:gd name="T29" fmla="*/ 2147483647 h 37"/>
              <a:gd name="T30" fmla="*/ 2147483647 w 50"/>
              <a:gd name="T31" fmla="*/ 2147483647 h 37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50"/>
              <a:gd name="T49" fmla="*/ 0 h 37"/>
              <a:gd name="T50" fmla="*/ 50 w 50"/>
              <a:gd name="T51" fmla="*/ 37 h 37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50" h="37">
                <a:moveTo>
                  <a:pt x="14" y="37"/>
                </a:moveTo>
                <a:lnTo>
                  <a:pt x="0" y="11"/>
                </a:lnTo>
                <a:lnTo>
                  <a:pt x="4" y="10"/>
                </a:lnTo>
                <a:lnTo>
                  <a:pt x="4" y="7"/>
                </a:lnTo>
                <a:lnTo>
                  <a:pt x="11" y="5"/>
                </a:lnTo>
                <a:lnTo>
                  <a:pt x="16" y="6"/>
                </a:lnTo>
                <a:lnTo>
                  <a:pt x="18" y="2"/>
                </a:lnTo>
                <a:lnTo>
                  <a:pt x="22" y="2"/>
                </a:lnTo>
                <a:lnTo>
                  <a:pt x="26" y="4"/>
                </a:lnTo>
                <a:lnTo>
                  <a:pt x="28" y="2"/>
                </a:lnTo>
                <a:lnTo>
                  <a:pt x="35" y="0"/>
                </a:lnTo>
                <a:lnTo>
                  <a:pt x="40" y="6"/>
                </a:lnTo>
                <a:lnTo>
                  <a:pt x="44" y="4"/>
                </a:lnTo>
                <a:lnTo>
                  <a:pt x="47" y="7"/>
                </a:lnTo>
                <a:lnTo>
                  <a:pt x="50" y="25"/>
                </a:lnTo>
                <a:lnTo>
                  <a:pt x="14" y="3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91" name="Freeform 174"/>
          <p:cNvSpPr>
            <a:spLocks/>
          </p:cNvSpPr>
          <p:nvPr/>
        </p:nvSpPr>
        <p:spPr bwMode="auto">
          <a:xfrm>
            <a:off x="5010150" y="3238500"/>
            <a:ext cx="157163" cy="100013"/>
          </a:xfrm>
          <a:custGeom>
            <a:avLst/>
            <a:gdLst>
              <a:gd name="T0" fmla="*/ 2147483647 w 118"/>
              <a:gd name="T1" fmla="*/ 2147483647 h 72"/>
              <a:gd name="T2" fmla="*/ 2147483647 w 118"/>
              <a:gd name="T3" fmla="*/ 0 h 72"/>
              <a:gd name="T4" fmla="*/ 0 w 118"/>
              <a:gd name="T5" fmla="*/ 2147483647 h 72"/>
              <a:gd name="T6" fmla="*/ 2147483647 w 118"/>
              <a:gd name="T7" fmla="*/ 2147483647 h 72"/>
              <a:gd name="T8" fmla="*/ 0 w 118"/>
              <a:gd name="T9" fmla="*/ 2147483647 h 72"/>
              <a:gd name="T10" fmla="*/ 2147483647 w 118"/>
              <a:gd name="T11" fmla="*/ 2147483647 h 72"/>
              <a:gd name="T12" fmla="*/ 2147483647 w 118"/>
              <a:gd name="T13" fmla="*/ 2147483647 h 72"/>
              <a:gd name="T14" fmla="*/ 2147483647 w 118"/>
              <a:gd name="T15" fmla="*/ 2147483647 h 72"/>
              <a:gd name="T16" fmla="*/ 2147483647 w 118"/>
              <a:gd name="T17" fmla="*/ 2147483647 h 72"/>
              <a:gd name="T18" fmla="*/ 2147483647 w 118"/>
              <a:gd name="T19" fmla="*/ 2147483647 h 72"/>
              <a:gd name="T20" fmla="*/ 2147483647 w 118"/>
              <a:gd name="T21" fmla="*/ 2147483647 h 72"/>
              <a:gd name="T22" fmla="*/ 2147483647 w 118"/>
              <a:gd name="T23" fmla="*/ 2147483647 h 72"/>
              <a:gd name="T24" fmla="*/ 2147483647 w 118"/>
              <a:gd name="T25" fmla="*/ 2147483647 h 72"/>
              <a:gd name="T26" fmla="*/ 2147483647 w 118"/>
              <a:gd name="T27" fmla="*/ 2147483647 h 72"/>
              <a:gd name="T28" fmla="*/ 2147483647 w 118"/>
              <a:gd name="T29" fmla="*/ 2147483647 h 72"/>
              <a:gd name="T30" fmla="*/ 2147483647 w 118"/>
              <a:gd name="T31" fmla="*/ 2147483647 h 72"/>
              <a:gd name="T32" fmla="*/ 2147483647 w 118"/>
              <a:gd name="T33" fmla="*/ 2147483647 h 72"/>
              <a:gd name="T34" fmla="*/ 2147483647 w 118"/>
              <a:gd name="T35" fmla="*/ 2147483647 h 72"/>
              <a:gd name="T36" fmla="*/ 2147483647 w 118"/>
              <a:gd name="T37" fmla="*/ 2147483647 h 72"/>
              <a:gd name="T38" fmla="*/ 2147483647 w 118"/>
              <a:gd name="T39" fmla="*/ 2147483647 h 72"/>
              <a:gd name="T40" fmla="*/ 2147483647 w 118"/>
              <a:gd name="T41" fmla="*/ 2147483647 h 72"/>
              <a:gd name="T42" fmla="*/ 2147483647 w 118"/>
              <a:gd name="T43" fmla="*/ 2147483647 h 72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118"/>
              <a:gd name="T67" fmla="*/ 0 h 72"/>
              <a:gd name="T68" fmla="*/ 118 w 118"/>
              <a:gd name="T69" fmla="*/ 72 h 72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118" h="72">
                <a:moveTo>
                  <a:pt x="6" y="7"/>
                </a:moveTo>
                <a:lnTo>
                  <a:pt x="1" y="0"/>
                </a:lnTo>
                <a:lnTo>
                  <a:pt x="0" y="16"/>
                </a:lnTo>
                <a:lnTo>
                  <a:pt x="8" y="30"/>
                </a:lnTo>
                <a:lnTo>
                  <a:pt x="0" y="42"/>
                </a:lnTo>
                <a:lnTo>
                  <a:pt x="6" y="51"/>
                </a:lnTo>
                <a:lnTo>
                  <a:pt x="9" y="54"/>
                </a:lnTo>
                <a:lnTo>
                  <a:pt x="12" y="72"/>
                </a:lnTo>
                <a:lnTo>
                  <a:pt x="34" y="69"/>
                </a:lnTo>
                <a:lnTo>
                  <a:pt x="69" y="72"/>
                </a:lnTo>
                <a:lnTo>
                  <a:pt x="78" y="66"/>
                </a:lnTo>
                <a:lnTo>
                  <a:pt x="81" y="63"/>
                </a:lnTo>
                <a:lnTo>
                  <a:pt x="85" y="57"/>
                </a:lnTo>
                <a:lnTo>
                  <a:pt x="114" y="55"/>
                </a:lnTo>
                <a:lnTo>
                  <a:pt x="104" y="46"/>
                </a:lnTo>
                <a:lnTo>
                  <a:pt x="109" y="36"/>
                </a:lnTo>
                <a:lnTo>
                  <a:pt x="114" y="21"/>
                </a:lnTo>
                <a:lnTo>
                  <a:pt x="118" y="12"/>
                </a:lnTo>
                <a:lnTo>
                  <a:pt x="81" y="5"/>
                </a:lnTo>
                <a:lnTo>
                  <a:pt x="50" y="15"/>
                </a:lnTo>
                <a:lnTo>
                  <a:pt x="27" y="11"/>
                </a:lnTo>
                <a:lnTo>
                  <a:pt x="6" y="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92" name="Freeform 175"/>
          <p:cNvSpPr>
            <a:spLocks/>
          </p:cNvSpPr>
          <p:nvPr/>
        </p:nvSpPr>
        <p:spPr bwMode="auto">
          <a:xfrm>
            <a:off x="4930775" y="3294063"/>
            <a:ext cx="47625" cy="98425"/>
          </a:xfrm>
          <a:custGeom>
            <a:avLst/>
            <a:gdLst>
              <a:gd name="T0" fmla="*/ 0 w 35"/>
              <a:gd name="T1" fmla="*/ 2147483647 h 71"/>
              <a:gd name="T2" fmla="*/ 2147483647 w 35"/>
              <a:gd name="T3" fmla="*/ 2147483647 h 71"/>
              <a:gd name="T4" fmla="*/ 2147483647 w 35"/>
              <a:gd name="T5" fmla="*/ 2147483647 h 71"/>
              <a:gd name="T6" fmla="*/ 2147483647 w 35"/>
              <a:gd name="T7" fmla="*/ 2147483647 h 71"/>
              <a:gd name="T8" fmla="*/ 2147483647 w 35"/>
              <a:gd name="T9" fmla="*/ 2147483647 h 71"/>
              <a:gd name="T10" fmla="*/ 2147483647 w 35"/>
              <a:gd name="T11" fmla="*/ 2147483647 h 71"/>
              <a:gd name="T12" fmla="*/ 2147483647 w 35"/>
              <a:gd name="T13" fmla="*/ 2147483647 h 71"/>
              <a:gd name="T14" fmla="*/ 2147483647 w 35"/>
              <a:gd name="T15" fmla="*/ 2147483647 h 71"/>
              <a:gd name="T16" fmla="*/ 2147483647 w 35"/>
              <a:gd name="T17" fmla="*/ 0 h 71"/>
              <a:gd name="T18" fmla="*/ 0 w 35"/>
              <a:gd name="T19" fmla="*/ 2147483647 h 7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5"/>
              <a:gd name="T31" fmla="*/ 0 h 71"/>
              <a:gd name="T32" fmla="*/ 35 w 35"/>
              <a:gd name="T33" fmla="*/ 71 h 71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5" h="71">
                <a:moveTo>
                  <a:pt x="0" y="17"/>
                </a:moveTo>
                <a:lnTo>
                  <a:pt x="4" y="49"/>
                </a:lnTo>
                <a:lnTo>
                  <a:pt x="18" y="71"/>
                </a:lnTo>
                <a:lnTo>
                  <a:pt x="24" y="64"/>
                </a:lnTo>
                <a:lnTo>
                  <a:pt x="35" y="43"/>
                </a:lnTo>
                <a:lnTo>
                  <a:pt x="35" y="42"/>
                </a:lnTo>
                <a:lnTo>
                  <a:pt x="21" y="16"/>
                </a:lnTo>
                <a:lnTo>
                  <a:pt x="15" y="4"/>
                </a:lnTo>
                <a:lnTo>
                  <a:pt x="3" y="0"/>
                </a:lnTo>
                <a:lnTo>
                  <a:pt x="0" y="1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93" name="Freeform 176"/>
          <p:cNvSpPr>
            <a:spLocks/>
          </p:cNvSpPr>
          <p:nvPr/>
        </p:nvSpPr>
        <p:spPr bwMode="auto">
          <a:xfrm>
            <a:off x="5556250" y="3327400"/>
            <a:ext cx="122238" cy="87313"/>
          </a:xfrm>
          <a:custGeom>
            <a:avLst/>
            <a:gdLst>
              <a:gd name="T0" fmla="*/ 2147483647 w 94"/>
              <a:gd name="T1" fmla="*/ 2147483647 h 63"/>
              <a:gd name="T2" fmla="*/ 0 w 94"/>
              <a:gd name="T3" fmla="*/ 0 h 63"/>
              <a:gd name="T4" fmla="*/ 2147483647 w 94"/>
              <a:gd name="T5" fmla="*/ 0 h 63"/>
              <a:gd name="T6" fmla="*/ 2147483647 w 94"/>
              <a:gd name="T7" fmla="*/ 0 h 63"/>
              <a:gd name="T8" fmla="*/ 2147483647 w 94"/>
              <a:gd name="T9" fmla="*/ 2147483647 h 63"/>
              <a:gd name="T10" fmla="*/ 2147483647 w 94"/>
              <a:gd name="T11" fmla="*/ 2147483647 h 63"/>
              <a:gd name="T12" fmla="*/ 2147483647 w 94"/>
              <a:gd name="T13" fmla="*/ 2147483647 h 63"/>
              <a:gd name="T14" fmla="*/ 2147483647 w 94"/>
              <a:gd name="T15" fmla="*/ 2147483647 h 63"/>
              <a:gd name="T16" fmla="*/ 2147483647 w 94"/>
              <a:gd name="T17" fmla="*/ 2147483647 h 63"/>
              <a:gd name="T18" fmla="*/ 2147483647 w 94"/>
              <a:gd name="T19" fmla="*/ 2147483647 h 63"/>
              <a:gd name="T20" fmla="*/ 2147483647 w 94"/>
              <a:gd name="T21" fmla="*/ 2147483647 h 63"/>
              <a:gd name="T22" fmla="*/ 2147483647 w 94"/>
              <a:gd name="T23" fmla="*/ 2147483647 h 63"/>
              <a:gd name="T24" fmla="*/ 2147483647 w 94"/>
              <a:gd name="T25" fmla="*/ 2147483647 h 63"/>
              <a:gd name="T26" fmla="*/ 2147483647 w 94"/>
              <a:gd name="T27" fmla="*/ 2147483647 h 63"/>
              <a:gd name="T28" fmla="*/ 2147483647 w 94"/>
              <a:gd name="T29" fmla="*/ 2147483647 h 63"/>
              <a:gd name="T30" fmla="*/ 2147483647 w 94"/>
              <a:gd name="T31" fmla="*/ 2147483647 h 63"/>
              <a:gd name="T32" fmla="*/ 2147483647 w 94"/>
              <a:gd name="T33" fmla="*/ 2147483647 h 63"/>
              <a:gd name="T34" fmla="*/ 2147483647 w 94"/>
              <a:gd name="T35" fmla="*/ 2147483647 h 63"/>
              <a:gd name="T36" fmla="*/ 2147483647 w 94"/>
              <a:gd name="T37" fmla="*/ 2147483647 h 63"/>
              <a:gd name="T38" fmla="*/ 2147483647 w 94"/>
              <a:gd name="T39" fmla="*/ 2147483647 h 63"/>
              <a:gd name="T40" fmla="*/ 2147483647 w 94"/>
              <a:gd name="T41" fmla="*/ 2147483647 h 6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94"/>
              <a:gd name="T64" fmla="*/ 0 h 63"/>
              <a:gd name="T65" fmla="*/ 94 w 94"/>
              <a:gd name="T66" fmla="*/ 63 h 63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94" h="63">
                <a:moveTo>
                  <a:pt x="13" y="9"/>
                </a:moveTo>
                <a:lnTo>
                  <a:pt x="0" y="0"/>
                </a:lnTo>
                <a:lnTo>
                  <a:pt x="30" y="0"/>
                </a:lnTo>
                <a:lnTo>
                  <a:pt x="59" y="0"/>
                </a:lnTo>
                <a:lnTo>
                  <a:pt x="78" y="4"/>
                </a:lnTo>
                <a:lnTo>
                  <a:pt x="78" y="25"/>
                </a:lnTo>
                <a:lnTo>
                  <a:pt x="87" y="29"/>
                </a:lnTo>
                <a:lnTo>
                  <a:pt x="79" y="39"/>
                </a:lnTo>
                <a:lnTo>
                  <a:pt x="94" y="59"/>
                </a:lnTo>
                <a:lnTo>
                  <a:pt x="85" y="63"/>
                </a:lnTo>
                <a:lnTo>
                  <a:pt x="78" y="58"/>
                </a:lnTo>
                <a:lnTo>
                  <a:pt x="77" y="55"/>
                </a:lnTo>
                <a:lnTo>
                  <a:pt x="72" y="51"/>
                </a:lnTo>
                <a:lnTo>
                  <a:pt x="67" y="51"/>
                </a:lnTo>
                <a:lnTo>
                  <a:pt x="61" y="49"/>
                </a:lnTo>
                <a:lnTo>
                  <a:pt x="55" y="47"/>
                </a:lnTo>
                <a:lnTo>
                  <a:pt x="48" y="47"/>
                </a:lnTo>
                <a:lnTo>
                  <a:pt x="47" y="46"/>
                </a:lnTo>
                <a:lnTo>
                  <a:pt x="30" y="39"/>
                </a:lnTo>
                <a:lnTo>
                  <a:pt x="22" y="25"/>
                </a:lnTo>
                <a:lnTo>
                  <a:pt x="13" y="9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94" name="Freeform 177"/>
          <p:cNvSpPr>
            <a:spLocks/>
          </p:cNvSpPr>
          <p:nvPr/>
        </p:nvSpPr>
        <p:spPr bwMode="auto">
          <a:xfrm>
            <a:off x="5659438" y="3314700"/>
            <a:ext cx="107950" cy="119063"/>
          </a:xfrm>
          <a:custGeom>
            <a:avLst/>
            <a:gdLst>
              <a:gd name="T0" fmla="*/ 2147483647 w 81"/>
              <a:gd name="T1" fmla="*/ 2147483647 h 85"/>
              <a:gd name="T2" fmla="*/ 2147483647 w 81"/>
              <a:gd name="T3" fmla="*/ 2147483647 h 85"/>
              <a:gd name="T4" fmla="*/ 2147483647 w 81"/>
              <a:gd name="T5" fmla="*/ 2147483647 h 85"/>
              <a:gd name="T6" fmla="*/ 0 w 81"/>
              <a:gd name="T7" fmla="*/ 2147483647 h 85"/>
              <a:gd name="T8" fmla="*/ 0 w 81"/>
              <a:gd name="T9" fmla="*/ 2147483647 h 85"/>
              <a:gd name="T10" fmla="*/ 2147483647 w 81"/>
              <a:gd name="T11" fmla="*/ 0 h 85"/>
              <a:gd name="T12" fmla="*/ 2147483647 w 81"/>
              <a:gd name="T13" fmla="*/ 2147483647 h 85"/>
              <a:gd name="T14" fmla="*/ 2147483647 w 81"/>
              <a:gd name="T15" fmla="*/ 2147483647 h 85"/>
              <a:gd name="T16" fmla="*/ 2147483647 w 81"/>
              <a:gd name="T17" fmla="*/ 2147483647 h 85"/>
              <a:gd name="T18" fmla="*/ 2147483647 w 81"/>
              <a:gd name="T19" fmla="*/ 2147483647 h 85"/>
              <a:gd name="T20" fmla="*/ 2147483647 w 81"/>
              <a:gd name="T21" fmla="*/ 2147483647 h 85"/>
              <a:gd name="T22" fmla="*/ 2147483647 w 81"/>
              <a:gd name="T23" fmla="*/ 2147483647 h 85"/>
              <a:gd name="T24" fmla="*/ 2147483647 w 81"/>
              <a:gd name="T25" fmla="*/ 2147483647 h 85"/>
              <a:gd name="T26" fmla="*/ 2147483647 w 81"/>
              <a:gd name="T27" fmla="*/ 2147483647 h 85"/>
              <a:gd name="T28" fmla="*/ 2147483647 w 81"/>
              <a:gd name="T29" fmla="*/ 2147483647 h 85"/>
              <a:gd name="T30" fmla="*/ 2147483647 w 81"/>
              <a:gd name="T31" fmla="*/ 2147483647 h 85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81"/>
              <a:gd name="T49" fmla="*/ 0 h 85"/>
              <a:gd name="T50" fmla="*/ 81 w 81"/>
              <a:gd name="T51" fmla="*/ 85 h 85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81" h="85">
                <a:moveTo>
                  <a:pt x="16" y="67"/>
                </a:moveTo>
                <a:lnTo>
                  <a:pt x="1" y="47"/>
                </a:lnTo>
                <a:lnTo>
                  <a:pt x="9" y="37"/>
                </a:lnTo>
                <a:lnTo>
                  <a:pt x="0" y="33"/>
                </a:lnTo>
                <a:lnTo>
                  <a:pt x="0" y="12"/>
                </a:lnTo>
                <a:lnTo>
                  <a:pt x="7" y="0"/>
                </a:lnTo>
                <a:lnTo>
                  <a:pt x="41" y="6"/>
                </a:lnTo>
                <a:lnTo>
                  <a:pt x="53" y="21"/>
                </a:lnTo>
                <a:lnTo>
                  <a:pt x="81" y="38"/>
                </a:lnTo>
                <a:lnTo>
                  <a:pt x="67" y="41"/>
                </a:lnTo>
                <a:lnTo>
                  <a:pt x="61" y="69"/>
                </a:lnTo>
                <a:lnTo>
                  <a:pt x="59" y="85"/>
                </a:lnTo>
                <a:lnTo>
                  <a:pt x="40" y="73"/>
                </a:lnTo>
                <a:lnTo>
                  <a:pt x="42" y="68"/>
                </a:lnTo>
                <a:lnTo>
                  <a:pt x="36" y="55"/>
                </a:lnTo>
                <a:lnTo>
                  <a:pt x="16" y="6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95" name="Freeform 178"/>
          <p:cNvSpPr>
            <a:spLocks/>
          </p:cNvSpPr>
          <p:nvPr/>
        </p:nvSpPr>
        <p:spPr bwMode="auto">
          <a:xfrm>
            <a:off x="5619750" y="3392488"/>
            <a:ext cx="49213" cy="26987"/>
          </a:xfrm>
          <a:custGeom>
            <a:avLst/>
            <a:gdLst>
              <a:gd name="T0" fmla="*/ 2147483647 w 37"/>
              <a:gd name="T1" fmla="*/ 2147483647 h 19"/>
              <a:gd name="T2" fmla="*/ 2147483647 w 37"/>
              <a:gd name="T3" fmla="*/ 2147483647 h 19"/>
              <a:gd name="T4" fmla="*/ 2147483647 w 37"/>
              <a:gd name="T5" fmla="*/ 2147483647 h 19"/>
              <a:gd name="T6" fmla="*/ 2147483647 w 37"/>
              <a:gd name="T7" fmla="*/ 2147483647 h 19"/>
              <a:gd name="T8" fmla="*/ 0 w 37"/>
              <a:gd name="T9" fmla="*/ 0 h 19"/>
              <a:gd name="T10" fmla="*/ 2147483647 w 37"/>
              <a:gd name="T11" fmla="*/ 0 h 19"/>
              <a:gd name="T12" fmla="*/ 2147483647 w 37"/>
              <a:gd name="T13" fmla="*/ 2147483647 h 19"/>
              <a:gd name="T14" fmla="*/ 2147483647 w 37"/>
              <a:gd name="T15" fmla="*/ 2147483647 h 19"/>
              <a:gd name="T16" fmla="*/ 2147483647 w 37"/>
              <a:gd name="T17" fmla="*/ 2147483647 h 19"/>
              <a:gd name="T18" fmla="*/ 2147483647 w 37"/>
              <a:gd name="T19" fmla="*/ 2147483647 h 19"/>
              <a:gd name="T20" fmla="*/ 2147483647 w 37"/>
              <a:gd name="T21" fmla="*/ 2147483647 h 19"/>
              <a:gd name="T22" fmla="*/ 2147483647 w 37"/>
              <a:gd name="T23" fmla="*/ 2147483647 h 1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7"/>
              <a:gd name="T37" fmla="*/ 0 h 19"/>
              <a:gd name="T38" fmla="*/ 37 w 37"/>
              <a:gd name="T39" fmla="*/ 19 h 1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7" h="19">
                <a:moveTo>
                  <a:pt x="37" y="16"/>
                </a:moveTo>
                <a:lnTo>
                  <a:pt x="30" y="19"/>
                </a:lnTo>
                <a:lnTo>
                  <a:pt x="5" y="5"/>
                </a:lnTo>
                <a:lnTo>
                  <a:pt x="1" y="1"/>
                </a:lnTo>
                <a:lnTo>
                  <a:pt x="0" y="0"/>
                </a:lnTo>
                <a:lnTo>
                  <a:pt x="7" y="0"/>
                </a:lnTo>
                <a:lnTo>
                  <a:pt x="13" y="2"/>
                </a:lnTo>
                <a:lnTo>
                  <a:pt x="19" y="4"/>
                </a:lnTo>
                <a:lnTo>
                  <a:pt x="24" y="4"/>
                </a:lnTo>
                <a:lnTo>
                  <a:pt x="29" y="8"/>
                </a:lnTo>
                <a:lnTo>
                  <a:pt x="30" y="11"/>
                </a:lnTo>
                <a:lnTo>
                  <a:pt x="37" y="16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96" name="Freeform 179"/>
          <p:cNvSpPr>
            <a:spLocks/>
          </p:cNvSpPr>
          <p:nvPr/>
        </p:nvSpPr>
        <p:spPr bwMode="auto">
          <a:xfrm>
            <a:off x="4953000" y="3324225"/>
            <a:ext cx="169863" cy="176213"/>
          </a:xfrm>
          <a:custGeom>
            <a:avLst/>
            <a:gdLst>
              <a:gd name="T0" fmla="*/ 2147483647 w 127"/>
              <a:gd name="T1" fmla="*/ 2147483647 h 128"/>
              <a:gd name="T2" fmla="*/ 2147483647 w 127"/>
              <a:gd name="T3" fmla="*/ 2147483647 h 128"/>
              <a:gd name="T4" fmla="*/ 0 w 127"/>
              <a:gd name="T5" fmla="*/ 2147483647 h 128"/>
              <a:gd name="T6" fmla="*/ 2147483647 w 127"/>
              <a:gd name="T7" fmla="*/ 2147483647 h 128"/>
              <a:gd name="T8" fmla="*/ 2147483647 w 127"/>
              <a:gd name="T9" fmla="*/ 2147483647 h 128"/>
              <a:gd name="T10" fmla="*/ 2147483647 w 127"/>
              <a:gd name="T11" fmla="*/ 2147483647 h 128"/>
              <a:gd name="T12" fmla="*/ 2147483647 w 127"/>
              <a:gd name="T13" fmla="*/ 2147483647 h 128"/>
              <a:gd name="T14" fmla="*/ 2147483647 w 127"/>
              <a:gd name="T15" fmla="*/ 2147483647 h 128"/>
              <a:gd name="T16" fmla="*/ 2147483647 w 127"/>
              <a:gd name="T17" fmla="*/ 2147483647 h 128"/>
              <a:gd name="T18" fmla="*/ 2147483647 w 127"/>
              <a:gd name="T19" fmla="*/ 2147483647 h 128"/>
              <a:gd name="T20" fmla="*/ 2147483647 w 127"/>
              <a:gd name="T21" fmla="*/ 0 h 128"/>
              <a:gd name="T22" fmla="*/ 2147483647 w 127"/>
              <a:gd name="T23" fmla="*/ 2147483647 h 128"/>
              <a:gd name="T24" fmla="*/ 2147483647 w 127"/>
              <a:gd name="T25" fmla="*/ 2147483647 h 128"/>
              <a:gd name="T26" fmla="*/ 2147483647 w 127"/>
              <a:gd name="T27" fmla="*/ 2147483647 h 128"/>
              <a:gd name="T28" fmla="*/ 2147483647 w 127"/>
              <a:gd name="T29" fmla="*/ 2147483647 h 128"/>
              <a:gd name="T30" fmla="*/ 2147483647 w 127"/>
              <a:gd name="T31" fmla="*/ 2147483647 h 128"/>
              <a:gd name="T32" fmla="*/ 2147483647 w 127"/>
              <a:gd name="T33" fmla="*/ 2147483647 h 128"/>
              <a:gd name="T34" fmla="*/ 2147483647 w 127"/>
              <a:gd name="T35" fmla="*/ 2147483647 h 128"/>
              <a:gd name="T36" fmla="*/ 2147483647 w 127"/>
              <a:gd name="T37" fmla="*/ 2147483647 h 128"/>
              <a:gd name="T38" fmla="*/ 2147483647 w 127"/>
              <a:gd name="T39" fmla="*/ 2147483647 h 128"/>
              <a:gd name="T40" fmla="*/ 2147483647 w 127"/>
              <a:gd name="T41" fmla="*/ 2147483647 h 128"/>
              <a:gd name="T42" fmla="*/ 2147483647 w 127"/>
              <a:gd name="T43" fmla="*/ 2147483647 h 128"/>
              <a:gd name="T44" fmla="*/ 2147483647 w 127"/>
              <a:gd name="T45" fmla="*/ 2147483647 h 128"/>
              <a:gd name="T46" fmla="*/ 2147483647 w 127"/>
              <a:gd name="T47" fmla="*/ 2147483647 h 128"/>
              <a:gd name="T48" fmla="*/ 2147483647 w 127"/>
              <a:gd name="T49" fmla="*/ 2147483647 h 128"/>
              <a:gd name="T50" fmla="*/ 2147483647 w 127"/>
              <a:gd name="T51" fmla="*/ 2147483647 h 128"/>
              <a:gd name="T52" fmla="*/ 2147483647 w 127"/>
              <a:gd name="T53" fmla="*/ 2147483647 h 128"/>
              <a:gd name="T54" fmla="*/ 2147483647 w 127"/>
              <a:gd name="T55" fmla="*/ 2147483647 h 128"/>
              <a:gd name="T56" fmla="*/ 2147483647 w 127"/>
              <a:gd name="T57" fmla="*/ 2147483647 h 128"/>
              <a:gd name="T58" fmla="*/ 2147483647 w 127"/>
              <a:gd name="T59" fmla="*/ 2147483647 h 128"/>
              <a:gd name="T60" fmla="*/ 2147483647 w 127"/>
              <a:gd name="T61" fmla="*/ 2147483647 h 128"/>
              <a:gd name="T62" fmla="*/ 2147483647 w 127"/>
              <a:gd name="T63" fmla="*/ 2147483647 h 128"/>
              <a:gd name="T64" fmla="*/ 2147483647 w 127"/>
              <a:gd name="T65" fmla="*/ 2147483647 h 128"/>
              <a:gd name="T66" fmla="*/ 2147483647 w 127"/>
              <a:gd name="T67" fmla="*/ 2147483647 h 128"/>
              <a:gd name="T68" fmla="*/ 2147483647 w 127"/>
              <a:gd name="T69" fmla="*/ 2147483647 h 128"/>
              <a:gd name="T70" fmla="*/ 2147483647 w 127"/>
              <a:gd name="T71" fmla="*/ 2147483647 h 128"/>
              <a:gd name="T72" fmla="*/ 2147483647 w 127"/>
              <a:gd name="T73" fmla="*/ 2147483647 h 128"/>
              <a:gd name="T74" fmla="*/ 2147483647 w 127"/>
              <a:gd name="T75" fmla="*/ 2147483647 h 128"/>
              <a:gd name="T76" fmla="*/ 2147483647 w 127"/>
              <a:gd name="T77" fmla="*/ 2147483647 h 128"/>
              <a:gd name="T78" fmla="*/ 2147483647 w 127"/>
              <a:gd name="T79" fmla="*/ 2147483647 h 128"/>
              <a:gd name="T80" fmla="*/ 2147483647 w 127"/>
              <a:gd name="T81" fmla="*/ 2147483647 h 128"/>
              <a:gd name="T82" fmla="*/ 2147483647 w 127"/>
              <a:gd name="T83" fmla="*/ 2147483647 h 128"/>
              <a:gd name="T84" fmla="*/ 2147483647 w 127"/>
              <a:gd name="T85" fmla="*/ 2147483647 h 128"/>
              <a:gd name="T86" fmla="*/ 2147483647 w 127"/>
              <a:gd name="T87" fmla="*/ 2147483647 h 128"/>
              <a:gd name="T88" fmla="*/ 2147483647 w 127"/>
              <a:gd name="T89" fmla="*/ 2147483647 h 128"/>
              <a:gd name="T90" fmla="*/ 2147483647 w 127"/>
              <a:gd name="T91" fmla="*/ 2147483647 h 128"/>
              <a:gd name="T92" fmla="*/ 2147483647 w 127"/>
              <a:gd name="T93" fmla="*/ 2147483647 h 128"/>
              <a:gd name="T94" fmla="*/ 2147483647 w 127"/>
              <a:gd name="T95" fmla="*/ 2147483647 h 12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127"/>
              <a:gd name="T145" fmla="*/ 0 h 128"/>
              <a:gd name="T146" fmla="*/ 127 w 127"/>
              <a:gd name="T147" fmla="*/ 128 h 128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127" h="128">
                <a:moveTo>
                  <a:pt x="24" y="67"/>
                </a:moveTo>
                <a:lnTo>
                  <a:pt x="9" y="61"/>
                </a:lnTo>
                <a:lnTo>
                  <a:pt x="0" y="50"/>
                </a:lnTo>
                <a:lnTo>
                  <a:pt x="6" y="43"/>
                </a:lnTo>
                <a:lnTo>
                  <a:pt x="17" y="22"/>
                </a:lnTo>
                <a:lnTo>
                  <a:pt x="17" y="21"/>
                </a:lnTo>
                <a:lnTo>
                  <a:pt x="53" y="9"/>
                </a:lnTo>
                <a:lnTo>
                  <a:pt x="75" y="6"/>
                </a:lnTo>
                <a:lnTo>
                  <a:pt x="110" y="9"/>
                </a:lnTo>
                <a:lnTo>
                  <a:pt x="119" y="3"/>
                </a:lnTo>
                <a:lnTo>
                  <a:pt x="122" y="0"/>
                </a:lnTo>
                <a:lnTo>
                  <a:pt x="127" y="8"/>
                </a:lnTo>
                <a:lnTo>
                  <a:pt x="119" y="24"/>
                </a:lnTo>
                <a:lnTo>
                  <a:pt x="95" y="19"/>
                </a:lnTo>
                <a:lnTo>
                  <a:pt x="73" y="26"/>
                </a:lnTo>
                <a:lnTo>
                  <a:pt x="83" y="37"/>
                </a:lnTo>
                <a:lnTo>
                  <a:pt x="74" y="37"/>
                </a:lnTo>
                <a:lnTo>
                  <a:pt x="75" y="42"/>
                </a:lnTo>
                <a:lnTo>
                  <a:pt x="67" y="38"/>
                </a:lnTo>
                <a:lnTo>
                  <a:pt x="72" y="44"/>
                </a:lnTo>
                <a:lnTo>
                  <a:pt x="57" y="28"/>
                </a:lnTo>
                <a:lnTo>
                  <a:pt x="51" y="33"/>
                </a:lnTo>
                <a:lnTo>
                  <a:pt x="60" y="54"/>
                </a:lnTo>
                <a:lnTo>
                  <a:pt x="65" y="64"/>
                </a:lnTo>
                <a:lnTo>
                  <a:pt x="57" y="60"/>
                </a:lnTo>
                <a:lnTo>
                  <a:pt x="60" y="68"/>
                </a:lnTo>
                <a:lnTo>
                  <a:pt x="55" y="70"/>
                </a:lnTo>
                <a:lnTo>
                  <a:pt x="83" y="88"/>
                </a:lnTo>
                <a:lnTo>
                  <a:pt x="83" y="97"/>
                </a:lnTo>
                <a:lnTo>
                  <a:pt x="72" y="92"/>
                </a:lnTo>
                <a:lnTo>
                  <a:pt x="66" y="94"/>
                </a:lnTo>
                <a:lnTo>
                  <a:pt x="72" y="105"/>
                </a:lnTo>
                <a:lnTo>
                  <a:pt x="60" y="105"/>
                </a:lnTo>
                <a:lnTo>
                  <a:pt x="67" y="128"/>
                </a:lnTo>
                <a:lnTo>
                  <a:pt x="56" y="123"/>
                </a:lnTo>
                <a:lnTo>
                  <a:pt x="53" y="128"/>
                </a:lnTo>
                <a:lnTo>
                  <a:pt x="44" y="116"/>
                </a:lnTo>
                <a:lnTo>
                  <a:pt x="41" y="121"/>
                </a:lnTo>
                <a:lnTo>
                  <a:pt x="30" y="99"/>
                </a:lnTo>
                <a:lnTo>
                  <a:pt x="29" y="91"/>
                </a:lnTo>
                <a:lnTo>
                  <a:pt x="45" y="85"/>
                </a:lnTo>
                <a:lnTo>
                  <a:pt x="65" y="90"/>
                </a:lnTo>
                <a:lnTo>
                  <a:pt x="63" y="86"/>
                </a:lnTo>
                <a:lnTo>
                  <a:pt x="51" y="81"/>
                </a:lnTo>
                <a:lnTo>
                  <a:pt x="29" y="80"/>
                </a:lnTo>
                <a:lnTo>
                  <a:pt x="24" y="80"/>
                </a:lnTo>
                <a:lnTo>
                  <a:pt x="19" y="68"/>
                </a:lnTo>
                <a:lnTo>
                  <a:pt x="24" y="6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97" name="Freeform 180"/>
          <p:cNvSpPr>
            <a:spLocks/>
          </p:cNvSpPr>
          <p:nvPr/>
        </p:nvSpPr>
        <p:spPr bwMode="auto">
          <a:xfrm>
            <a:off x="5062538" y="3530600"/>
            <a:ext cx="74612" cy="20638"/>
          </a:xfrm>
          <a:custGeom>
            <a:avLst/>
            <a:gdLst>
              <a:gd name="T0" fmla="*/ 2147483647 w 57"/>
              <a:gd name="T1" fmla="*/ 2147483647 h 13"/>
              <a:gd name="T2" fmla="*/ 2147483647 w 57"/>
              <a:gd name="T3" fmla="*/ 0 h 13"/>
              <a:gd name="T4" fmla="*/ 2147483647 w 57"/>
              <a:gd name="T5" fmla="*/ 0 h 13"/>
              <a:gd name="T6" fmla="*/ 0 w 57"/>
              <a:gd name="T7" fmla="*/ 2147483647 h 13"/>
              <a:gd name="T8" fmla="*/ 2147483647 w 57"/>
              <a:gd name="T9" fmla="*/ 2147483647 h 13"/>
              <a:gd name="T10" fmla="*/ 2147483647 w 57"/>
              <a:gd name="T11" fmla="*/ 2147483647 h 13"/>
              <a:gd name="T12" fmla="*/ 2147483647 w 57"/>
              <a:gd name="T13" fmla="*/ 2147483647 h 13"/>
              <a:gd name="T14" fmla="*/ 2147483647 w 57"/>
              <a:gd name="T15" fmla="*/ 2147483647 h 1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"/>
              <a:gd name="T25" fmla="*/ 0 h 13"/>
              <a:gd name="T26" fmla="*/ 57 w 57"/>
              <a:gd name="T27" fmla="*/ 13 h 1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" h="13">
                <a:moveTo>
                  <a:pt x="44" y="7"/>
                </a:moveTo>
                <a:lnTo>
                  <a:pt x="12" y="0"/>
                </a:lnTo>
                <a:lnTo>
                  <a:pt x="3" y="0"/>
                </a:lnTo>
                <a:lnTo>
                  <a:pt x="0" y="7"/>
                </a:lnTo>
                <a:lnTo>
                  <a:pt x="21" y="11"/>
                </a:lnTo>
                <a:lnTo>
                  <a:pt x="40" y="13"/>
                </a:lnTo>
                <a:lnTo>
                  <a:pt x="57" y="8"/>
                </a:lnTo>
                <a:lnTo>
                  <a:pt x="44" y="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98" name="Freeform 181"/>
          <p:cNvSpPr>
            <a:spLocks/>
          </p:cNvSpPr>
          <p:nvPr/>
        </p:nvSpPr>
        <p:spPr bwMode="auto">
          <a:xfrm>
            <a:off x="5038725" y="3414713"/>
            <a:ext cx="42863" cy="33337"/>
          </a:xfrm>
          <a:custGeom>
            <a:avLst/>
            <a:gdLst>
              <a:gd name="T0" fmla="*/ 2147483647 w 33"/>
              <a:gd name="T1" fmla="*/ 2147483647 h 23"/>
              <a:gd name="T2" fmla="*/ 2147483647 w 33"/>
              <a:gd name="T3" fmla="*/ 2147483647 h 23"/>
              <a:gd name="T4" fmla="*/ 0 w 33"/>
              <a:gd name="T5" fmla="*/ 0 h 23"/>
              <a:gd name="T6" fmla="*/ 2147483647 w 33"/>
              <a:gd name="T7" fmla="*/ 2147483647 h 23"/>
              <a:gd name="T8" fmla="*/ 2147483647 w 33"/>
              <a:gd name="T9" fmla="*/ 2147483647 h 23"/>
              <a:gd name="T10" fmla="*/ 2147483647 w 33"/>
              <a:gd name="T11" fmla="*/ 2147483647 h 2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3"/>
              <a:gd name="T19" fmla="*/ 0 h 23"/>
              <a:gd name="T20" fmla="*/ 33 w 33"/>
              <a:gd name="T21" fmla="*/ 23 h 2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3" h="23">
                <a:moveTo>
                  <a:pt x="33" y="21"/>
                </a:moveTo>
                <a:lnTo>
                  <a:pt x="16" y="6"/>
                </a:lnTo>
                <a:lnTo>
                  <a:pt x="0" y="0"/>
                </a:lnTo>
                <a:lnTo>
                  <a:pt x="16" y="11"/>
                </a:lnTo>
                <a:lnTo>
                  <a:pt x="33" y="23"/>
                </a:lnTo>
                <a:lnTo>
                  <a:pt x="33" y="2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99" name="Freeform 182"/>
          <p:cNvSpPr>
            <a:spLocks/>
          </p:cNvSpPr>
          <p:nvPr/>
        </p:nvSpPr>
        <p:spPr bwMode="auto">
          <a:xfrm>
            <a:off x="5113338" y="3402013"/>
            <a:ext cx="17462" cy="9525"/>
          </a:xfrm>
          <a:custGeom>
            <a:avLst/>
            <a:gdLst>
              <a:gd name="T0" fmla="*/ 2147483647 w 13"/>
              <a:gd name="T1" fmla="*/ 2147483647 h 6"/>
              <a:gd name="T2" fmla="*/ 2147483647 w 13"/>
              <a:gd name="T3" fmla="*/ 2147483647 h 6"/>
              <a:gd name="T4" fmla="*/ 0 w 13"/>
              <a:gd name="T5" fmla="*/ 0 h 6"/>
              <a:gd name="T6" fmla="*/ 2147483647 w 13"/>
              <a:gd name="T7" fmla="*/ 2147483647 h 6"/>
              <a:gd name="T8" fmla="*/ 2147483647 w 1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3"/>
              <a:gd name="T16" fmla="*/ 0 h 6"/>
              <a:gd name="T17" fmla="*/ 13 w 1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3" h="6">
                <a:moveTo>
                  <a:pt x="13" y="6"/>
                </a:moveTo>
                <a:lnTo>
                  <a:pt x="5" y="4"/>
                </a:lnTo>
                <a:lnTo>
                  <a:pt x="0" y="0"/>
                </a:lnTo>
                <a:lnTo>
                  <a:pt x="12" y="3"/>
                </a:lnTo>
                <a:lnTo>
                  <a:pt x="13" y="6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00" name="Freeform 183"/>
          <p:cNvSpPr>
            <a:spLocks/>
          </p:cNvSpPr>
          <p:nvPr/>
        </p:nvSpPr>
        <p:spPr bwMode="auto">
          <a:xfrm>
            <a:off x="4970463" y="3435350"/>
            <a:ext cx="7937" cy="7938"/>
          </a:xfrm>
          <a:custGeom>
            <a:avLst/>
            <a:gdLst>
              <a:gd name="T0" fmla="*/ 0 w 8"/>
              <a:gd name="T1" fmla="*/ 0 h 6"/>
              <a:gd name="T2" fmla="*/ 2147483647 w 8"/>
              <a:gd name="T3" fmla="*/ 2147483647 h 6"/>
              <a:gd name="T4" fmla="*/ 2147483647 w 8"/>
              <a:gd name="T5" fmla="*/ 2147483647 h 6"/>
              <a:gd name="T6" fmla="*/ 0 w 8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8"/>
              <a:gd name="T13" fmla="*/ 0 h 6"/>
              <a:gd name="T14" fmla="*/ 8 w 8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" h="6">
                <a:moveTo>
                  <a:pt x="0" y="0"/>
                </a:moveTo>
                <a:lnTo>
                  <a:pt x="8" y="6"/>
                </a:lnTo>
                <a:lnTo>
                  <a:pt x="2" y="6"/>
                </a:ln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01" name="Freeform 184"/>
          <p:cNvSpPr>
            <a:spLocks/>
          </p:cNvSpPr>
          <p:nvPr/>
        </p:nvSpPr>
        <p:spPr bwMode="auto">
          <a:xfrm>
            <a:off x="5118100" y="3427413"/>
            <a:ext cx="3175" cy="12700"/>
          </a:xfrm>
          <a:custGeom>
            <a:avLst/>
            <a:gdLst>
              <a:gd name="T0" fmla="*/ 2147483647 w 4"/>
              <a:gd name="T1" fmla="*/ 0 h 8"/>
              <a:gd name="T2" fmla="*/ 2147483647 w 4"/>
              <a:gd name="T3" fmla="*/ 2147483647 h 8"/>
              <a:gd name="T4" fmla="*/ 0 w 4"/>
              <a:gd name="T5" fmla="*/ 2147483647 h 8"/>
              <a:gd name="T6" fmla="*/ 2147483647 w 4"/>
              <a:gd name="T7" fmla="*/ 0 h 8"/>
              <a:gd name="T8" fmla="*/ 0 60000 65536"/>
              <a:gd name="T9" fmla="*/ 0 60000 65536"/>
              <a:gd name="T10" fmla="*/ 0 60000 65536"/>
              <a:gd name="T11" fmla="*/ 0 60000 65536"/>
              <a:gd name="T12" fmla="*/ 0 w 4"/>
              <a:gd name="T13" fmla="*/ 0 h 8"/>
              <a:gd name="T14" fmla="*/ 4 w 4"/>
              <a:gd name="T15" fmla="*/ 8 h 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" h="8">
                <a:moveTo>
                  <a:pt x="4" y="0"/>
                </a:moveTo>
                <a:lnTo>
                  <a:pt x="4" y="8"/>
                </a:lnTo>
                <a:lnTo>
                  <a:pt x="0" y="3"/>
                </a:lnTo>
                <a:lnTo>
                  <a:pt x="4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02" name="Freeform 185"/>
          <p:cNvSpPr>
            <a:spLocks/>
          </p:cNvSpPr>
          <p:nvPr/>
        </p:nvSpPr>
        <p:spPr bwMode="auto">
          <a:xfrm>
            <a:off x="4594225" y="3148013"/>
            <a:ext cx="317500" cy="304800"/>
          </a:xfrm>
          <a:custGeom>
            <a:avLst/>
            <a:gdLst>
              <a:gd name="T0" fmla="*/ 2147483647 w 238"/>
              <a:gd name="T1" fmla="*/ 2147483647 h 221"/>
              <a:gd name="T2" fmla="*/ 2147483647 w 238"/>
              <a:gd name="T3" fmla="*/ 0 h 221"/>
              <a:gd name="T4" fmla="*/ 2147483647 w 238"/>
              <a:gd name="T5" fmla="*/ 2147483647 h 221"/>
              <a:gd name="T6" fmla="*/ 2147483647 w 238"/>
              <a:gd name="T7" fmla="*/ 2147483647 h 221"/>
              <a:gd name="T8" fmla="*/ 2147483647 w 238"/>
              <a:gd name="T9" fmla="*/ 2147483647 h 221"/>
              <a:gd name="T10" fmla="*/ 2147483647 w 238"/>
              <a:gd name="T11" fmla="*/ 2147483647 h 221"/>
              <a:gd name="T12" fmla="*/ 2147483647 w 238"/>
              <a:gd name="T13" fmla="*/ 2147483647 h 221"/>
              <a:gd name="T14" fmla="*/ 2147483647 w 238"/>
              <a:gd name="T15" fmla="*/ 2147483647 h 221"/>
              <a:gd name="T16" fmla="*/ 2147483647 w 238"/>
              <a:gd name="T17" fmla="*/ 2147483647 h 221"/>
              <a:gd name="T18" fmla="*/ 2147483647 w 238"/>
              <a:gd name="T19" fmla="*/ 2147483647 h 221"/>
              <a:gd name="T20" fmla="*/ 2147483647 w 238"/>
              <a:gd name="T21" fmla="*/ 2147483647 h 221"/>
              <a:gd name="T22" fmla="*/ 2147483647 w 238"/>
              <a:gd name="T23" fmla="*/ 2147483647 h 221"/>
              <a:gd name="T24" fmla="*/ 2147483647 w 238"/>
              <a:gd name="T25" fmla="*/ 2147483647 h 221"/>
              <a:gd name="T26" fmla="*/ 0 w 238"/>
              <a:gd name="T27" fmla="*/ 2147483647 h 221"/>
              <a:gd name="T28" fmla="*/ 0 w 238"/>
              <a:gd name="T29" fmla="*/ 2147483647 h 221"/>
              <a:gd name="T30" fmla="*/ 2147483647 w 238"/>
              <a:gd name="T31" fmla="*/ 2147483647 h 221"/>
              <a:gd name="T32" fmla="*/ 2147483647 w 238"/>
              <a:gd name="T33" fmla="*/ 2147483647 h 221"/>
              <a:gd name="T34" fmla="*/ 2147483647 w 238"/>
              <a:gd name="T35" fmla="*/ 2147483647 h 221"/>
              <a:gd name="T36" fmla="*/ 2147483647 w 238"/>
              <a:gd name="T37" fmla="*/ 2147483647 h 221"/>
              <a:gd name="T38" fmla="*/ 2147483647 w 238"/>
              <a:gd name="T39" fmla="*/ 2147483647 h 221"/>
              <a:gd name="T40" fmla="*/ 2147483647 w 238"/>
              <a:gd name="T41" fmla="*/ 2147483647 h 221"/>
              <a:gd name="T42" fmla="*/ 2147483647 w 238"/>
              <a:gd name="T43" fmla="*/ 2147483647 h 221"/>
              <a:gd name="T44" fmla="*/ 2147483647 w 238"/>
              <a:gd name="T45" fmla="*/ 2147483647 h 221"/>
              <a:gd name="T46" fmla="*/ 2147483647 w 238"/>
              <a:gd name="T47" fmla="*/ 2147483647 h 221"/>
              <a:gd name="T48" fmla="*/ 2147483647 w 238"/>
              <a:gd name="T49" fmla="*/ 2147483647 h 221"/>
              <a:gd name="T50" fmla="*/ 2147483647 w 238"/>
              <a:gd name="T51" fmla="*/ 2147483647 h 221"/>
              <a:gd name="T52" fmla="*/ 2147483647 w 238"/>
              <a:gd name="T53" fmla="*/ 2147483647 h 221"/>
              <a:gd name="T54" fmla="*/ 2147483647 w 238"/>
              <a:gd name="T55" fmla="*/ 2147483647 h 221"/>
              <a:gd name="T56" fmla="*/ 2147483647 w 238"/>
              <a:gd name="T57" fmla="*/ 2147483647 h 221"/>
              <a:gd name="T58" fmla="*/ 2147483647 w 238"/>
              <a:gd name="T59" fmla="*/ 2147483647 h 221"/>
              <a:gd name="T60" fmla="*/ 2147483647 w 238"/>
              <a:gd name="T61" fmla="*/ 2147483647 h 221"/>
              <a:gd name="T62" fmla="*/ 2147483647 w 238"/>
              <a:gd name="T63" fmla="*/ 2147483647 h 221"/>
              <a:gd name="T64" fmla="*/ 2147483647 w 238"/>
              <a:gd name="T65" fmla="*/ 2147483647 h 221"/>
              <a:gd name="T66" fmla="*/ 2147483647 w 238"/>
              <a:gd name="T67" fmla="*/ 2147483647 h 221"/>
              <a:gd name="T68" fmla="*/ 2147483647 w 238"/>
              <a:gd name="T69" fmla="*/ 2147483647 h 221"/>
              <a:gd name="T70" fmla="*/ 2147483647 w 238"/>
              <a:gd name="T71" fmla="*/ 2147483647 h 221"/>
              <a:gd name="T72" fmla="*/ 2147483647 w 238"/>
              <a:gd name="T73" fmla="*/ 2147483647 h 221"/>
              <a:gd name="T74" fmla="*/ 2147483647 w 238"/>
              <a:gd name="T75" fmla="*/ 2147483647 h 221"/>
              <a:gd name="T76" fmla="*/ 2147483647 w 238"/>
              <a:gd name="T77" fmla="*/ 2147483647 h 221"/>
              <a:gd name="T78" fmla="*/ 2147483647 w 238"/>
              <a:gd name="T79" fmla="*/ 2147483647 h 221"/>
              <a:gd name="T80" fmla="*/ 2147483647 w 238"/>
              <a:gd name="T81" fmla="*/ 2147483647 h 221"/>
              <a:gd name="T82" fmla="*/ 2147483647 w 238"/>
              <a:gd name="T83" fmla="*/ 2147483647 h 221"/>
              <a:gd name="T84" fmla="*/ 2147483647 w 238"/>
              <a:gd name="T85" fmla="*/ 2147483647 h 221"/>
              <a:gd name="T86" fmla="*/ 2147483647 w 238"/>
              <a:gd name="T87" fmla="*/ 2147483647 h 221"/>
              <a:gd name="T88" fmla="*/ 2147483647 w 238"/>
              <a:gd name="T89" fmla="*/ 2147483647 h 221"/>
              <a:gd name="T90" fmla="*/ 2147483647 w 238"/>
              <a:gd name="T91" fmla="*/ 2147483647 h 221"/>
              <a:gd name="T92" fmla="*/ 2147483647 w 238"/>
              <a:gd name="T93" fmla="*/ 2147483647 h 221"/>
              <a:gd name="T94" fmla="*/ 2147483647 w 238"/>
              <a:gd name="T95" fmla="*/ 2147483647 h 221"/>
              <a:gd name="T96" fmla="*/ 2147483647 w 238"/>
              <a:gd name="T97" fmla="*/ 2147483647 h 221"/>
              <a:gd name="T98" fmla="*/ 2147483647 w 238"/>
              <a:gd name="T99" fmla="*/ 2147483647 h 221"/>
              <a:gd name="T100" fmla="*/ 2147483647 w 238"/>
              <a:gd name="T101" fmla="*/ 2147483647 h 221"/>
              <a:gd name="T102" fmla="*/ 2147483647 w 238"/>
              <a:gd name="T103" fmla="*/ 2147483647 h 221"/>
              <a:gd name="T104" fmla="*/ 2147483647 w 238"/>
              <a:gd name="T105" fmla="*/ 2147483647 h 221"/>
              <a:gd name="T106" fmla="*/ 2147483647 w 238"/>
              <a:gd name="T107" fmla="*/ 2147483647 h 221"/>
              <a:gd name="T108" fmla="*/ 2147483647 w 238"/>
              <a:gd name="T109" fmla="*/ 2147483647 h 221"/>
              <a:gd name="T110" fmla="*/ 2147483647 w 238"/>
              <a:gd name="T111" fmla="*/ 2147483647 h 221"/>
              <a:gd name="T112" fmla="*/ 2147483647 w 238"/>
              <a:gd name="T113" fmla="*/ 2147483647 h 221"/>
              <a:gd name="T114" fmla="*/ 2147483647 w 238"/>
              <a:gd name="T115" fmla="*/ 2147483647 h 221"/>
              <a:gd name="T116" fmla="*/ 2147483647 w 238"/>
              <a:gd name="T117" fmla="*/ 2147483647 h 221"/>
              <a:gd name="T118" fmla="*/ 2147483647 w 238"/>
              <a:gd name="T119" fmla="*/ 2147483647 h 221"/>
              <a:gd name="T120" fmla="*/ 2147483647 w 238"/>
              <a:gd name="T121" fmla="*/ 2147483647 h 221"/>
              <a:gd name="T122" fmla="*/ 2147483647 w 238"/>
              <a:gd name="T123" fmla="*/ 2147483647 h 221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38"/>
              <a:gd name="T187" fmla="*/ 0 h 221"/>
              <a:gd name="T188" fmla="*/ 238 w 238"/>
              <a:gd name="T189" fmla="*/ 221 h 221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38" h="221">
                <a:moveTo>
                  <a:pt x="132" y="10"/>
                </a:moveTo>
                <a:lnTo>
                  <a:pt x="102" y="0"/>
                </a:lnTo>
                <a:lnTo>
                  <a:pt x="81" y="3"/>
                </a:lnTo>
                <a:lnTo>
                  <a:pt x="69" y="2"/>
                </a:lnTo>
                <a:lnTo>
                  <a:pt x="69" y="3"/>
                </a:lnTo>
                <a:lnTo>
                  <a:pt x="65" y="8"/>
                </a:lnTo>
                <a:lnTo>
                  <a:pt x="60" y="15"/>
                </a:lnTo>
                <a:lnTo>
                  <a:pt x="47" y="15"/>
                </a:lnTo>
                <a:lnTo>
                  <a:pt x="40" y="24"/>
                </a:lnTo>
                <a:lnTo>
                  <a:pt x="27" y="14"/>
                </a:lnTo>
                <a:lnTo>
                  <a:pt x="15" y="23"/>
                </a:lnTo>
                <a:lnTo>
                  <a:pt x="3" y="24"/>
                </a:lnTo>
                <a:lnTo>
                  <a:pt x="3" y="34"/>
                </a:lnTo>
                <a:lnTo>
                  <a:pt x="0" y="44"/>
                </a:lnTo>
                <a:lnTo>
                  <a:pt x="0" y="50"/>
                </a:lnTo>
                <a:lnTo>
                  <a:pt x="2" y="59"/>
                </a:lnTo>
                <a:lnTo>
                  <a:pt x="15" y="68"/>
                </a:lnTo>
                <a:lnTo>
                  <a:pt x="15" y="77"/>
                </a:lnTo>
                <a:lnTo>
                  <a:pt x="34" y="64"/>
                </a:lnTo>
                <a:lnTo>
                  <a:pt x="60" y="69"/>
                </a:lnTo>
                <a:lnTo>
                  <a:pt x="75" y="94"/>
                </a:lnTo>
                <a:lnTo>
                  <a:pt x="93" y="111"/>
                </a:lnTo>
                <a:lnTo>
                  <a:pt x="111" y="128"/>
                </a:lnTo>
                <a:lnTo>
                  <a:pt x="117" y="130"/>
                </a:lnTo>
                <a:lnTo>
                  <a:pt x="118" y="130"/>
                </a:lnTo>
                <a:lnTo>
                  <a:pt x="132" y="137"/>
                </a:lnTo>
                <a:lnTo>
                  <a:pt x="158" y="154"/>
                </a:lnTo>
                <a:lnTo>
                  <a:pt x="168" y="160"/>
                </a:lnTo>
                <a:lnTo>
                  <a:pt x="179" y="168"/>
                </a:lnTo>
                <a:lnTo>
                  <a:pt x="192" y="194"/>
                </a:lnTo>
                <a:lnTo>
                  <a:pt x="185" y="215"/>
                </a:lnTo>
                <a:lnTo>
                  <a:pt x="194" y="221"/>
                </a:lnTo>
                <a:lnTo>
                  <a:pt x="203" y="206"/>
                </a:lnTo>
                <a:lnTo>
                  <a:pt x="210" y="196"/>
                </a:lnTo>
                <a:lnTo>
                  <a:pt x="214" y="190"/>
                </a:lnTo>
                <a:lnTo>
                  <a:pt x="203" y="179"/>
                </a:lnTo>
                <a:lnTo>
                  <a:pt x="207" y="159"/>
                </a:lnTo>
                <a:lnTo>
                  <a:pt x="220" y="162"/>
                </a:lnTo>
                <a:lnTo>
                  <a:pt x="234" y="173"/>
                </a:lnTo>
                <a:lnTo>
                  <a:pt x="238" y="162"/>
                </a:lnTo>
                <a:lnTo>
                  <a:pt x="212" y="148"/>
                </a:lnTo>
                <a:lnTo>
                  <a:pt x="186" y="135"/>
                </a:lnTo>
                <a:lnTo>
                  <a:pt x="190" y="126"/>
                </a:lnTo>
                <a:lnTo>
                  <a:pt x="183" y="123"/>
                </a:lnTo>
                <a:lnTo>
                  <a:pt x="156" y="116"/>
                </a:lnTo>
                <a:lnTo>
                  <a:pt x="147" y="100"/>
                </a:lnTo>
                <a:lnTo>
                  <a:pt x="136" y="83"/>
                </a:lnTo>
                <a:lnTo>
                  <a:pt x="117" y="72"/>
                </a:lnTo>
                <a:lnTo>
                  <a:pt x="108" y="52"/>
                </a:lnTo>
                <a:lnTo>
                  <a:pt x="106" y="40"/>
                </a:lnTo>
                <a:lnTo>
                  <a:pt x="123" y="30"/>
                </a:lnTo>
                <a:lnTo>
                  <a:pt x="135" y="33"/>
                </a:lnTo>
                <a:lnTo>
                  <a:pt x="130" y="17"/>
                </a:lnTo>
                <a:lnTo>
                  <a:pt x="132" y="10"/>
                </a:lnTo>
                <a:lnTo>
                  <a:pt x="113" y="72"/>
                </a:lnTo>
                <a:lnTo>
                  <a:pt x="112" y="72"/>
                </a:lnTo>
                <a:lnTo>
                  <a:pt x="111" y="74"/>
                </a:lnTo>
                <a:lnTo>
                  <a:pt x="112" y="74"/>
                </a:lnTo>
                <a:lnTo>
                  <a:pt x="113" y="72"/>
                </a:lnTo>
                <a:lnTo>
                  <a:pt x="132" y="10"/>
                </a:lnTo>
                <a:lnTo>
                  <a:pt x="118" y="128"/>
                </a:lnTo>
                <a:lnTo>
                  <a:pt x="132" y="1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03" name="Freeform 186"/>
          <p:cNvSpPr>
            <a:spLocks/>
          </p:cNvSpPr>
          <p:nvPr/>
        </p:nvSpPr>
        <p:spPr bwMode="auto">
          <a:xfrm>
            <a:off x="4594225" y="3148013"/>
            <a:ext cx="317500" cy="304800"/>
          </a:xfrm>
          <a:custGeom>
            <a:avLst/>
            <a:gdLst>
              <a:gd name="T0" fmla="*/ 2147483647 w 238"/>
              <a:gd name="T1" fmla="*/ 2147483647 h 221"/>
              <a:gd name="T2" fmla="*/ 2147483647 w 238"/>
              <a:gd name="T3" fmla="*/ 0 h 221"/>
              <a:gd name="T4" fmla="*/ 2147483647 w 238"/>
              <a:gd name="T5" fmla="*/ 2147483647 h 221"/>
              <a:gd name="T6" fmla="*/ 2147483647 w 238"/>
              <a:gd name="T7" fmla="*/ 2147483647 h 221"/>
              <a:gd name="T8" fmla="*/ 2147483647 w 238"/>
              <a:gd name="T9" fmla="*/ 2147483647 h 221"/>
              <a:gd name="T10" fmla="*/ 2147483647 w 238"/>
              <a:gd name="T11" fmla="*/ 2147483647 h 221"/>
              <a:gd name="T12" fmla="*/ 2147483647 w 238"/>
              <a:gd name="T13" fmla="*/ 2147483647 h 221"/>
              <a:gd name="T14" fmla="*/ 2147483647 w 238"/>
              <a:gd name="T15" fmla="*/ 2147483647 h 221"/>
              <a:gd name="T16" fmla="*/ 2147483647 w 238"/>
              <a:gd name="T17" fmla="*/ 2147483647 h 221"/>
              <a:gd name="T18" fmla="*/ 2147483647 w 238"/>
              <a:gd name="T19" fmla="*/ 2147483647 h 221"/>
              <a:gd name="T20" fmla="*/ 2147483647 w 238"/>
              <a:gd name="T21" fmla="*/ 2147483647 h 221"/>
              <a:gd name="T22" fmla="*/ 2147483647 w 238"/>
              <a:gd name="T23" fmla="*/ 2147483647 h 221"/>
              <a:gd name="T24" fmla="*/ 2147483647 w 238"/>
              <a:gd name="T25" fmla="*/ 2147483647 h 221"/>
              <a:gd name="T26" fmla="*/ 0 w 238"/>
              <a:gd name="T27" fmla="*/ 2147483647 h 221"/>
              <a:gd name="T28" fmla="*/ 0 w 238"/>
              <a:gd name="T29" fmla="*/ 2147483647 h 221"/>
              <a:gd name="T30" fmla="*/ 2147483647 w 238"/>
              <a:gd name="T31" fmla="*/ 2147483647 h 221"/>
              <a:gd name="T32" fmla="*/ 2147483647 w 238"/>
              <a:gd name="T33" fmla="*/ 2147483647 h 221"/>
              <a:gd name="T34" fmla="*/ 2147483647 w 238"/>
              <a:gd name="T35" fmla="*/ 2147483647 h 221"/>
              <a:gd name="T36" fmla="*/ 2147483647 w 238"/>
              <a:gd name="T37" fmla="*/ 2147483647 h 221"/>
              <a:gd name="T38" fmla="*/ 2147483647 w 238"/>
              <a:gd name="T39" fmla="*/ 2147483647 h 221"/>
              <a:gd name="T40" fmla="*/ 2147483647 w 238"/>
              <a:gd name="T41" fmla="*/ 2147483647 h 221"/>
              <a:gd name="T42" fmla="*/ 2147483647 w 238"/>
              <a:gd name="T43" fmla="*/ 2147483647 h 221"/>
              <a:gd name="T44" fmla="*/ 2147483647 w 238"/>
              <a:gd name="T45" fmla="*/ 2147483647 h 221"/>
              <a:gd name="T46" fmla="*/ 2147483647 w 238"/>
              <a:gd name="T47" fmla="*/ 2147483647 h 221"/>
              <a:gd name="T48" fmla="*/ 2147483647 w 238"/>
              <a:gd name="T49" fmla="*/ 2147483647 h 221"/>
              <a:gd name="T50" fmla="*/ 2147483647 w 238"/>
              <a:gd name="T51" fmla="*/ 2147483647 h 221"/>
              <a:gd name="T52" fmla="*/ 2147483647 w 238"/>
              <a:gd name="T53" fmla="*/ 2147483647 h 221"/>
              <a:gd name="T54" fmla="*/ 2147483647 w 238"/>
              <a:gd name="T55" fmla="*/ 2147483647 h 221"/>
              <a:gd name="T56" fmla="*/ 2147483647 w 238"/>
              <a:gd name="T57" fmla="*/ 2147483647 h 221"/>
              <a:gd name="T58" fmla="*/ 2147483647 w 238"/>
              <a:gd name="T59" fmla="*/ 2147483647 h 221"/>
              <a:gd name="T60" fmla="*/ 2147483647 w 238"/>
              <a:gd name="T61" fmla="*/ 2147483647 h 221"/>
              <a:gd name="T62" fmla="*/ 2147483647 w 238"/>
              <a:gd name="T63" fmla="*/ 2147483647 h 221"/>
              <a:gd name="T64" fmla="*/ 2147483647 w 238"/>
              <a:gd name="T65" fmla="*/ 2147483647 h 221"/>
              <a:gd name="T66" fmla="*/ 2147483647 w 238"/>
              <a:gd name="T67" fmla="*/ 2147483647 h 221"/>
              <a:gd name="T68" fmla="*/ 2147483647 w 238"/>
              <a:gd name="T69" fmla="*/ 2147483647 h 221"/>
              <a:gd name="T70" fmla="*/ 2147483647 w 238"/>
              <a:gd name="T71" fmla="*/ 2147483647 h 221"/>
              <a:gd name="T72" fmla="*/ 2147483647 w 238"/>
              <a:gd name="T73" fmla="*/ 2147483647 h 221"/>
              <a:gd name="T74" fmla="*/ 2147483647 w 238"/>
              <a:gd name="T75" fmla="*/ 2147483647 h 221"/>
              <a:gd name="T76" fmla="*/ 2147483647 w 238"/>
              <a:gd name="T77" fmla="*/ 2147483647 h 221"/>
              <a:gd name="T78" fmla="*/ 2147483647 w 238"/>
              <a:gd name="T79" fmla="*/ 2147483647 h 221"/>
              <a:gd name="T80" fmla="*/ 2147483647 w 238"/>
              <a:gd name="T81" fmla="*/ 2147483647 h 221"/>
              <a:gd name="T82" fmla="*/ 2147483647 w 238"/>
              <a:gd name="T83" fmla="*/ 2147483647 h 221"/>
              <a:gd name="T84" fmla="*/ 2147483647 w 238"/>
              <a:gd name="T85" fmla="*/ 2147483647 h 221"/>
              <a:gd name="T86" fmla="*/ 2147483647 w 238"/>
              <a:gd name="T87" fmla="*/ 2147483647 h 221"/>
              <a:gd name="T88" fmla="*/ 2147483647 w 238"/>
              <a:gd name="T89" fmla="*/ 2147483647 h 221"/>
              <a:gd name="T90" fmla="*/ 2147483647 w 238"/>
              <a:gd name="T91" fmla="*/ 2147483647 h 221"/>
              <a:gd name="T92" fmla="*/ 2147483647 w 238"/>
              <a:gd name="T93" fmla="*/ 2147483647 h 221"/>
              <a:gd name="T94" fmla="*/ 2147483647 w 238"/>
              <a:gd name="T95" fmla="*/ 2147483647 h 221"/>
              <a:gd name="T96" fmla="*/ 2147483647 w 238"/>
              <a:gd name="T97" fmla="*/ 2147483647 h 221"/>
              <a:gd name="T98" fmla="*/ 2147483647 w 238"/>
              <a:gd name="T99" fmla="*/ 2147483647 h 221"/>
              <a:gd name="T100" fmla="*/ 2147483647 w 238"/>
              <a:gd name="T101" fmla="*/ 2147483647 h 221"/>
              <a:gd name="T102" fmla="*/ 2147483647 w 238"/>
              <a:gd name="T103" fmla="*/ 2147483647 h 221"/>
              <a:gd name="T104" fmla="*/ 2147483647 w 238"/>
              <a:gd name="T105" fmla="*/ 2147483647 h 221"/>
              <a:gd name="T106" fmla="*/ 2147483647 w 238"/>
              <a:gd name="T107" fmla="*/ 2147483647 h 221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38"/>
              <a:gd name="T163" fmla="*/ 0 h 221"/>
              <a:gd name="T164" fmla="*/ 238 w 238"/>
              <a:gd name="T165" fmla="*/ 221 h 221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38" h="221">
                <a:moveTo>
                  <a:pt x="132" y="10"/>
                </a:moveTo>
                <a:lnTo>
                  <a:pt x="102" y="0"/>
                </a:lnTo>
                <a:lnTo>
                  <a:pt x="81" y="3"/>
                </a:lnTo>
                <a:lnTo>
                  <a:pt x="69" y="2"/>
                </a:lnTo>
                <a:lnTo>
                  <a:pt x="69" y="3"/>
                </a:lnTo>
                <a:lnTo>
                  <a:pt x="65" y="8"/>
                </a:lnTo>
                <a:lnTo>
                  <a:pt x="60" y="15"/>
                </a:lnTo>
                <a:lnTo>
                  <a:pt x="47" y="15"/>
                </a:lnTo>
                <a:lnTo>
                  <a:pt x="40" y="24"/>
                </a:lnTo>
                <a:lnTo>
                  <a:pt x="27" y="14"/>
                </a:lnTo>
                <a:lnTo>
                  <a:pt x="15" y="23"/>
                </a:lnTo>
                <a:lnTo>
                  <a:pt x="3" y="24"/>
                </a:lnTo>
                <a:lnTo>
                  <a:pt x="3" y="34"/>
                </a:lnTo>
                <a:lnTo>
                  <a:pt x="0" y="44"/>
                </a:lnTo>
                <a:lnTo>
                  <a:pt x="0" y="50"/>
                </a:lnTo>
                <a:lnTo>
                  <a:pt x="2" y="59"/>
                </a:lnTo>
                <a:lnTo>
                  <a:pt x="15" y="68"/>
                </a:lnTo>
                <a:lnTo>
                  <a:pt x="15" y="77"/>
                </a:lnTo>
                <a:lnTo>
                  <a:pt x="34" y="64"/>
                </a:lnTo>
                <a:lnTo>
                  <a:pt x="60" y="69"/>
                </a:lnTo>
                <a:lnTo>
                  <a:pt x="75" y="94"/>
                </a:lnTo>
                <a:lnTo>
                  <a:pt x="93" y="111"/>
                </a:lnTo>
                <a:lnTo>
                  <a:pt x="111" y="128"/>
                </a:lnTo>
                <a:lnTo>
                  <a:pt x="117" y="130"/>
                </a:lnTo>
                <a:lnTo>
                  <a:pt x="118" y="130"/>
                </a:lnTo>
                <a:lnTo>
                  <a:pt x="132" y="137"/>
                </a:lnTo>
                <a:lnTo>
                  <a:pt x="158" y="154"/>
                </a:lnTo>
                <a:lnTo>
                  <a:pt x="168" y="160"/>
                </a:lnTo>
                <a:lnTo>
                  <a:pt x="179" y="168"/>
                </a:lnTo>
                <a:lnTo>
                  <a:pt x="192" y="194"/>
                </a:lnTo>
                <a:lnTo>
                  <a:pt x="185" y="215"/>
                </a:lnTo>
                <a:lnTo>
                  <a:pt x="194" y="221"/>
                </a:lnTo>
                <a:lnTo>
                  <a:pt x="203" y="206"/>
                </a:lnTo>
                <a:lnTo>
                  <a:pt x="210" y="196"/>
                </a:lnTo>
                <a:lnTo>
                  <a:pt x="214" y="190"/>
                </a:lnTo>
                <a:lnTo>
                  <a:pt x="203" y="179"/>
                </a:lnTo>
                <a:lnTo>
                  <a:pt x="207" y="159"/>
                </a:lnTo>
                <a:lnTo>
                  <a:pt x="220" y="162"/>
                </a:lnTo>
                <a:lnTo>
                  <a:pt x="234" y="173"/>
                </a:lnTo>
                <a:lnTo>
                  <a:pt x="238" y="162"/>
                </a:lnTo>
                <a:lnTo>
                  <a:pt x="212" y="148"/>
                </a:lnTo>
                <a:lnTo>
                  <a:pt x="186" y="135"/>
                </a:lnTo>
                <a:lnTo>
                  <a:pt x="190" y="126"/>
                </a:lnTo>
                <a:lnTo>
                  <a:pt x="183" y="123"/>
                </a:lnTo>
                <a:lnTo>
                  <a:pt x="156" y="116"/>
                </a:lnTo>
                <a:lnTo>
                  <a:pt x="147" y="100"/>
                </a:lnTo>
                <a:lnTo>
                  <a:pt x="136" y="83"/>
                </a:lnTo>
                <a:lnTo>
                  <a:pt x="117" y="72"/>
                </a:lnTo>
                <a:lnTo>
                  <a:pt x="108" y="52"/>
                </a:lnTo>
                <a:lnTo>
                  <a:pt x="106" y="40"/>
                </a:lnTo>
                <a:lnTo>
                  <a:pt x="123" y="30"/>
                </a:lnTo>
                <a:lnTo>
                  <a:pt x="135" y="33"/>
                </a:lnTo>
                <a:lnTo>
                  <a:pt x="130" y="17"/>
                </a:lnTo>
                <a:lnTo>
                  <a:pt x="132" y="1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04" name="Freeform 187"/>
          <p:cNvSpPr>
            <a:spLocks/>
          </p:cNvSpPr>
          <p:nvPr/>
        </p:nvSpPr>
        <p:spPr bwMode="auto">
          <a:xfrm>
            <a:off x="4741863" y="3246438"/>
            <a:ext cx="1587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0 w 2"/>
              <a:gd name="T5" fmla="*/ 2147483647 h 2"/>
              <a:gd name="T6" fmla="*/ 2147483647 w 2"/>
              <a:gd name="T7" fmla="*/ 2147483647 h 2"/>
              <a:gd name="T8" fmla="*/ 2147483647 w 2"/>
              <a:gd name="T9" fmla="*/ 0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2"/>
              <a:gd name="T17" fmla="*/ 2 w 2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2">
                <a:moveTo>
                  <a:pt x="2" y="0"/>
                </a:moveTo>
                <a:lnTo>
                  <a:pt x="1" y="0"/>
                </a:lnTo>
                <a:lnTo>
                  <a:pt x="0" y="2"/>
                </a:lnTo>
                <a:lnTo>
                  <a:pt x="1" y="2"/>
                </a:lnTo>
                <a:lnTo>
                  <a:pt x="2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05" name="Freeform 188"/>
          <p:cNvSpPr>
            <a:spLocks/>
          </p:cNvSpPr>
          <p:nvPr/>
        </p:nvSpPr>
        <p:spPr bwMode="auto">
          <a:xfrm>
            <a:off x="4754563" y="3440113"/>
            <a:ext cx="85725" cy="53975"/>
          </a:xfrm>
          <a:custGeom>
            <a:avLst/>
            <a:gdLst>
              <a:gd name="T0" fmla="*/ 2147483647 w 65"/>
              <a:gd name="T1" fmla="*/ 2147483647 h 39"/>
              <a:gd name="T2" fmla="*/ 2147483647 w 65"/>
              <a:gd name="T3" fmla="*/ 2147483647 h 39"/>
              <a:gd name="T4" fmla="*/ 2147483647 w 65"/>
              <a:gd name="T5" fmla="*/ 2147483647 h 39"/>
              <a:gd name="T6" fmla="*/ 2147483647 w 65"/>
              <a:gd name="T7" fmla="*/ 2147483647 h 39"/>
              <a:gd name="T8" fmla="*/ 0 w 65"/>
              <a:gd name="T9" fmla="*/ 2147483647 h 39"/>
              <a:gd name="T10" fmla="*/ 2147483647 w 65"/>
              <a:gd name="T11" fmla="*/ 2147483647 h 39"/>
              <a:gd name="T12" fmla="*/ 2147483647 w 65"/>
              <a:gd name="T13" fmla="*/ 2147483647 h 39"/>
              <a:gd name="T14" fmla="*/ 2147483647 w 65"/>
              <a:gd name="T15" fmla="*/ 0 h 39"/>
              <a:gd name="T16" fmla="*/ 2147483647 w 65"/>
              <a:gd name="T17" fmla="*/ 2147483647 h 3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5"/>
              <a:gd name="T28" fmla="*/ 0 h 39"/>
              <a:gd name="T29" fmla="*/ 65 w 65"/>
              <a:gd name="T30" fmla="*/ 39 h 3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5" h="39">
                <a:moveTo>
                  <a:pt x="57" y="24"/>
                </a:moveTo>
                <a:lnTo>
                  <a:pt x="57" y="39"/>
                </a:lnTo>
                <a:lnTo>
                  <a:pt x="32" y="27"/>
                </a:lnTo>
                <a:lnTo>
                  <a:pt x="6" y="17"/>
                </a:lnTo>
                <a:lnTo>
                  <a:pt x="0" y="6"/>
                </a:lnTo>
                <a:lnTo>
                  <a:pt x="18" y="3"/>
                </a:lnTo>
                <a:lnTo>
                  <a:pt x="42" y="1"/>
                </a:lnTo>
                <a:lnTo>
                  <a:pt x="65" y="0"/>
                </a:lnTo>
                <a:lnTo>
                  <a:pt x="57" y="2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06" name="Freeform 189"/>
          <p:cNvSpPr>
            <a:spLocks/>
          </p:cNvSpPr>
          <p:nvPr/>
        </p:nvSpPr>
        <p:spPr bwMode="auto">
          <a:xfrm>
            <a:off x="4635500" y="3338513"/>
            <a:ext cx="44450" cy="80962"/>
          </a:xfrm>
          <a:custGeom>
            <a:avLst/>
            <a:gdLst>
              <a:gd name="T0" fmla="*/ 2147483647 w 32"/>
              <a:gd name="T1" fmla="*/ 2147483647 h 59"/>
              <a:gd name="T2" fmla="*/ 2147483647 w 32"/>
              <a:gd name="T3" fmla="*/ 2147483647 h 59"/>
              <a:gd name="T4" fmla="*/ 2147483647 w 32"/>
              <a:gd name="T5" fmla="*/ 2147483647 h 59"/>
              <a:gd name="T6" fmla="*/ 2147483647 w 32"/>
              <a:gd name="T7" fmla="*/ 2147483647 h 59"/>
              <a:gd name="T8" fmla="*/ 0 w 32"/>
              <a:gd name="T9" fmla="*/ 2147483647 h 59"/>
              <a:gd name="T10" fmla="*/ 2147483647 w 32"/>
              <a:gd name="T11" fmla="*/ 0 h 59"/>
              <a:gd name="T12" fmla="*/ 2147483647 w 32"/>
              <a:gd name="T13" fmla="*/ 2147483647 h 59"/>
              <a:gd name="T14" fmla="*/ 2147483647 w 32"/>
              <a:gd name="T15" fmla="*/ 2147483647 h 59"/>
              <a:gd name="T16" fmla="*/ 2147483647 w 32"/>
              <a:gd name="T17" fmla="*/ 2147483647 h 5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2"/>
              <a:gd name="T28" fmla="*/ 0 h 59"/>
              <a:gd name="T29" fmla="*/ 32 w 32"/>
              <a:gd name="T30" fmla="*/ 59 h 5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2" h="59">
                <a:moveTo>
                  <a:pt x="18" y="51"/>
                </a:moveTo>
                <a:lnTo>
                  <a:pt x="9" y="59"/>
                </a:lnTo>
                <a:lnTo>
                  <a:pt x="4" y="46"/>
                </a:lnTo>
                <a:lnTo>
                  <a:pt x="2" y="28"/>
                </a:lnTo>
                <a:lnTo>
                  <a:pt x="0" y="10"/>
                </a:lnTo>
                <a:lnTo>
                  <a:pt x="19" y="0"/>
                </a:lnTo>
                <a:lnTo>
                  <a:pt x="32" y="18"/>
                </a:lnTo>
                <a:lnTo>
                  <a:pt x="28" y="50"/>
                </a:lnTo>
                <a:lnTo>
                  <a:pt x="18" y="5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07" name="Freeform 190"/>
          <p:cNvSpPr>
            <a:spLocks/>
          </p:cNvSpPr>
          <p:nvPr/>
        </p:nvSpPr>
        <p:spPr bwMode="auto">
          <a:xfrm>
            <a:off x="4611688" y="3254375"/>
            <a:ext cx="1587" cy="3175"/>
          </a:xfrm>
          <a:custGeom>
            <a:avLst/>
            <a:gdLst>
              <a:gd name="T0" fmla="*/ 2147483647 w 2"/>
              <a:gd name="T1" fmla="*/ 0 h 1"/>
              <a:gd name="T2" fmla="*/ 0 w 2"/>
              <a:gd name="T3" fmla="*/ 0 h 1"/>
              <a:gd name="T4" fmla="*/ 0 w 2"/>
              <a:gd name="T5" fmla="*/ 2147483647 h 1"/>
              <a:gd name="T6" fmla="*/ 2147483647 w 2"/>
              <a:gd name="T7" fmla="*/ 0 h 1"/>
              <a:gd name="T8" fmla="*/ 0 60000 65536"/>
              <a:gd name="T9" fmla="*/ 0 60000 65536"/>
              <a:gd name="T10" fmla="*/ 0 60000 65536"/>
              <a:gd name="T11" fmla="*/ 0 60000 65536"/>
              <a:gd name="T12" fmla="*/ 0 w 2"/>
              <a:gd name="T13" fmla="*/ 0 h 1"/>
              <a:gd name="T14" fmla="*/ 2 w 2"/>
              <a:gd name="T15" fmla="*/ 1 h 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" h="1">
                <a:moveTo>
                  <a:pt x="2" y="0"/>
                </a:moveTo>
                <a:lnTo>
                  <a:pt x="0" y="0"/>
                </a:lnTo>
                <a:lnTo>
                  <a:pt x="0" y="1"/>
                </a:lnTo>
                <a:lnTo>
                  <a:pt x="2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08" name="Freeform 191"/>
          <p:cNvSpPr>
            <a:spLocks/>
          </p:cNvSpPr>
          <p:nvPr/>
        </p:nvSpPr>
        <p:spPr bwMode="auto">
          <a:xfrm>
            <a:off x="5121275" y="3314700"/>
            <a:ext cx="511175" cy="206375"/>
          </a:xfrm>
          <a:custGeom>
            <a:avLst/>
            <a:gdLst>
              <a:gd name="T0" fmla="*/ 2147483647 w 385"/>
              <a:gd name="T1" fmla="*/ 2147483647 h 150"/>
              <a:gd name="T2" fmla="*/ 2147483647 w 385"/>
              <a:gd name="T3" fmla="*/ 2147483647 h 150"/>
              <a:gd name="T4" fmla="*/ 2147483647 w 385"/>
              <a:gd name="T5" fmla="*/ 2147483647 h 150"/>
              <a:gd name="T6" fmla="*/ 2147483647 w 385"/>
              <a:gd name="T7" fmla="*/ 2147483647 h 150"/>
              <a:gd name="T8" fmla="*/ 2147483647 w 385"/>
              <a:gd name="T9" fmla="*/ 2147483647 h 150"/>
              <a:gd name="T10" fmla="*/ 2147483647 w 385"/>
              <a:gd name="T11" fmla="*/ 2147483647 h 150"/>
              <a:gd name="T12" fmla="*/ 2147483647 w 385"/>
              <a:gd name="T13" fmla="*/ 2147483647 h 150"/>
              <a:gd name="T14" fmla="*/ 2147483647 w 385"/>
              <a:gd name="T15" fmla="*/ 2147483647 h 150"/>
              <a:gd name="T16" fmla="*/ 2147483647 w 385"/>
              <a:gd name="T17" fmla="*/ 2147483647 h 150"/>
              <a:gd name="T18" fmla="*/ 2147483647 w 385"/>
              <a:gd name="T19" fmla="*/ 2147483647 h 150"/>
              <a:gd name="T20" fmla="*/ 2147483647 w 385"/>
              <a:gd name="T21" fmla="*/ 2147483647 h 150"/>
              <a:gd name="T22" fmla="*/ 2147483647 w 385"/>
              <a:gd name="T23" fmla="*/ 2147483647 h 150"/>
              <a:gd name="T24" fmla="*/ 2147483647 w 385"/>
              <a:gd name="T25" fmla="*/ 2147483647 h 150"/>
              <a:gd name="T26" fmla="*/ 2147483647 w 385"/>
              <a:gd name="T27" fmla="*/ 2147483647 h 150"/>
              <a:gd name="T28" fmla="*/ 2147483647 w 385"/>
              <a:gd name="T29" fmla="*/ 2147483647 h 150"/>
              <a:gd name="T30" fmla="*/ 2147483647 w 385"/>
              <a:gd name="T31" fmla="*/ 2147483647 h 150"/>
              <a:gd name="T32" fmla="*/ 0 w 385"/>
              <a:gd name="T33" fmla="*/ 2147483647 h 150"/>
              <a:gd name="T34" fmla="*/ 2147483647 w 385"/>
              <a:gd name="T35" fmla="*/ 2147483647 h 150"/>
              <a:gd name="T36" fmla="*/ 2147483647 w 385"/>
              <a:gd name="T37" fmla="*/ 2147483647 h 150"/>
              <a:gd name="T38" fmla="*/ 2147483647 w 385"/>
              <a:gd name="T39" fmla="*/ 2147483647 h 150"/>
              <a:gd name="T40" fmla="*/ 2147483647 w 385"/>
              <a:gd name="T41" fmla="*/ 2147483647 h 150"/>
              <a:gd name="T42" fmla="*/ 2147483647 w 385"/>
              <a:gd name="T43" fmla="*/ 2147483647 h 150"/>
              <a:gd name="T44" fmla="*/ 2147483647 w 385"/>
              <a:gd name="T45" fmla="*/ 2147483647 h 150"/>
              <a:gd name="T46" fmla="*/ 2147483647 w 385"/>
              <a:gd name="T47" fmla="*/ 2147483647 h 150"/>
              <a:gd name="T48" fmla="*/ 2147483647 w 385"/>
              <a:gd name="T49" fmla="*/ 2147483647 h 150"/>
              <a:gd name="T50" fmla="*/ 2147483647 w 385"/>
              <a:gd name="T51" fmla="*/ 2147483647 h 150"/>
              <a:gd name="T52" fmla="*/ 2147483647 w 385"/>
              <a:gd name="T53" fmla="*/ 2147483647 h 150"/>
              <a:gd name="T54" fmla="*/ 2147483647 w 385"/>
              <a:gd name="T55" fmla="*/ 2147483647 h 150"/>
              <a:gd name="T56" fmla="*/ 2147483647 w 385"/>
              <a:gd name="T57" fmla="*/ 2147483647 h 150"/>
              <a:gd name="T58" fmla="*/ 2147483647 w 385"/>
              <a:gd name="T59" fmla="*/ 2147483647 h 150"/>
              <a:gd name="T60" fmla="*/ 2147483647 w 385"/>
              <a:gd name="T61" fmla="*/ 2147483647 h 150"/>
              <a:gd name="T62" fmla="*/ 2147483647 w 385"/>
              <a:gd name="T63" fmla="*/ 2147483647 h 150"/>
              <a:gd name="T64" fmla="*/ 2147483647 w 385"/>
              <a:gd name="T65" fmla="*/ 2147483647 h 150"/>
              <a:gd name="T66" fmla="*/ 2147483647 w 385"/>
              <a:gd name="T67" fmla="*/ 2147483647 h 150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385"/>
              <a:gd name="T103" fmla="*/ 0 h 150"/>
              <a:gd name="T104" fmla="*/ 385 w 385"/>
              <a:gd name="T105" fmla="*/ 150 h 150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385" h="150">
                <a:moveTo>
                  <a:pt x="288" y="127"/>
                </a:moveTo>
                <a:lnTo>
                  <a:pt x="258" y="126"/>
                </a:lnTo>
                <a:lnTo>
                  <a:pt x="227" y="128"/>
                </a:lnTo>
                <a:lnTo>
                  <a:pt x="219" y="130"/>
                </a:lnTo>
                <a:lnTo>
                  <a:pt x="218" y="141"/>
                </a:lnTo>
                <a:lnTo>
                  <a:pt x="210" y="150"/>
                </a:lnTo>
                <a:lnTo>
                  <a:pt x="207" y="148"/>
                </a:lnTo>
                <a:lnTo>
                  <a:pt x="207" y="144"/>
                </a:lnTo>
                <a:lnTo>
                  <a:pt x="209" y="126"/>
                </a:lnTo>
                <a:lnTo>
                  <a:pt x="200" y="130"/>
                </a:lnTo>
                <a:lnTo>
                  <a:pt x="186" y="129"/>
                </a:lnTo>
                <a:lnTo>
                  <a:pt x="170" y="135"/>
                </a:lnTo>
                <a:lnTo>
                  <a:pt x="149" y="145"/>
                </a:lnTo>
                <a:lnTo>
                  <a:pt x="132" y="140"/>
                </a:lnTo>
                <a:lnTo>
                  <a:pt x="98" y="126"/>
                </a:lnTo>
                <a:lnTo>
                  <a:pt x="95" y="136"/>
                </a:lnTo>
                <a:lnTo>
                  <a:pt x="85" y="141"/>
                </a:lnTo>
                <a:lnTo>
                  <a:pt x="66" y="135"/>
                </a:lnTo>
                <a:lnTo>
                  <a:pt x="55" y="128"/>
                </a:lnTo>
                <a:lnTo>
                  <a:pt x="44" y="130"/>
                </a:lnTo>
                <a:lnTo>
                  <a:pt x="33" y="129"/>
                </a:lnTo>
                <a:lnTo>
                  <a:pt x="47" y="123"/>
                </a:lnTo>
                <a:lnTo>
                  <a:pt x="30" y="121"/>
                </a:lnTo>
                <a:lnTo>
                  <a:pt x="32" y="115"/>
                </a:lnTo>
                <a:lnTo>
                  <a:pt x="23" y="106"/>
                </a:lnTo>
                <a:lnTo>
                  <a:pt x="25" y="102"/>
                </a:lnTo>
                <a:lnTo>
                  <a:pt x="8" y="93"/>
                </a:lnTo>
                <a:lnTo>
                  <a:pt x="5" y="85"/>
                </a:lnTo>
                <a:lnTo>
                  <a:pt x="11" y="86"/>
                </a:lnTo>
                <a:lnTo>
                  <a:pt x="18" y="87"/>
                </a:lnTo>
                <a:lnTo>
                  <a:pt x="14" y="79"/>
                </a:lnTo>
                <a:lnTo>
                  <a:pt x="13" y="74"/>
                </a:lnTo>
                <a:lnTo>
                  <a:pt x="12" y="62"/>
                </a:lnTo>
                <a:lnTo>
                  <a:pt x="0" y="61"/>
                </a:lnTo>
                <a:lnTo>
                  <a:pt x="1" y="43"/>
                </a:lnTo>
                <a:lnTo>
                  <a:pt x="21" y="40"/>
                </a:lnTo>
                <a:lnTo>
                  <a:pt x="29" y="36"/>
                </a:lnTo>
                <a:lnTo>
                  <a:pt x="53" y="36"/>
                </a:lnTo>
                <a:lnTo>
                  <a:pt x="68" y="30"/>
                </a:lnTo>
                <a:lnTo>
                  <a:pt x="62" y="28"/>
                </a:lnTo>
                <a:lnTo>
                  <a:pt x="53" y="20"/>
                </a:lnTo>
                <a:lnTo>
                  <a:pt x="90" y="21"/>
                </a:lnTo>
                <a:lnTo>
                  <a:pt x="117" y="4"/>
                </a:lnTo>
                <a:lnTo>
                  <a:pt x="138" y="2"/>
                </a:lnTo>
                <a:lnTo>
                  <a:pt x="157" y="0"/>
                </a:lnTo>
                <a:lnTo>
                  <a:pt x="170" y="1"/>
                </a:lnTo>
                <a:lnTo>
                  <a:pt x="185" y="7"/>
                </a:lnTo>
                <a:lnTo>
                  <a:pt x="193" y="12"/>
                </a:lnTo>
                <a:lnTo>
                  <a:pt x="218" y="18"/>
                </a:lnTo>
                <a:lnTo>
                  <a:pt x="245" y="24"/>
                </a:lnTo>
                <a:lnTo>
                  <a:pt x="270" y="25"/>
                </a:lnTo>
                <a:lnTo>
                  <a:pt x="300" y="10"/>
                </a:lnTo>
                <a:lnTo>
                  <a:pt x="326" y="9"/>
                </a:lnTo>
                <a:lnTo>
                  <a:pt x="339" y="18"/>
                </a:lnTo>
                <a:lnTo>
                  <a:pt x="348" y="34"/>
                </a:lnTo>
                <a:lnTo>
                  <a:pt x="356" y="48"/>
                </a:lnTo>
                <a:lnTo>
                  <a:pt x="373" y="55"/>
                </a:lnTo>
                <a:lnTo>
                  <a:pt x="365" y="62"/>
                </a:lnTo>
                <a:lnTo>
                  <a:pt x="367" y="75"/>
                </a:lnTo>
                <a:lnTo>
                  <a:pt x="372" y="100"/>
                </a:lnTo>
                <a:lnTo>
                  <a:pt x="385" y="117"/>
                </a:lnTo>
                <a:lnTo>
                  <a:pt x="373" y="120"/>
                </a:lnTo>
                <a:lnTo>
                  <a:pt x="368" y="115"/>
                </a:lnTo>
                <a:lnTo>
                  <a:pt x="341" y="115"/>
                </a:lnTo>
                <a:lnTo>
                  <a:pt x="336" y="120"/>
                </a:lnTo>
                <a:lnTo>
                  <a:pt x="329" y="117"/>
                </a:lnTo>
                <a:lnTo>
                  <a:pt x="308" y="122"/>
                </a:lnTo>
                <a:lnTo>
                  <a:pt x="288" y="12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09" name="Freeform 192"/>
          <p:cNvSpPr>
            <a:spLocks/>
          </p:cNvSpPr>
          <p:nvPr/>
        </p:nvSpPr>
        <p:spPr bwMode="auto">
          <a:xfrm>
            <a:off x="5113338" y="3313113"/>
            <a:ext cx="76200" cy="60325"/>
          </a:xfrm>
          <a:custGeom>
            <a:avLst/>
            <a:gdLst>
              <a:gd name="T0" fmla="*/ 2147483647 w 58"/>
              <a:gd name="T1" fmla="*/ 2147483647 h 45"/>
              <a:gd name="T2" fmla="*/ 2147483647 w 58"/>
              <a:gd name="T3" fmla="*/ 2147483647 h 45"/>
              <a:gd name="T4" fmla="*/ 2147483647 w 58"/>
              <a:gd name="T5" fmla="*/ 2147483647 h 45"/>
              <a:gd name="T6" fmla="*/ 0 w 58"/>
              <a:gd name="T7" fmla="*/ 2147483647 h 45"/>
              <a:gd name="T8" fmla="*/ 2147483647 w 58"/>
              <a:gd name="T9" fmla="*/ 2147483647 h 45"/>
              <a:gd name="T10" fmla="*/ 2147483647 w 58"/>
              <a:gd name="T11" fmla="*/ 2147483647 h 45"/>
              <a:gd name="T12" fmla="*/ 2147483647 w 58"/>
              <a:gd name="T13" fmla="*/ 2147483647 h 45"/>
              <a:gd name="T14" fmla="*/ 2147483647 w 58"/>
              <a:gd name="T15" fmla="*/ 2147483647 h 45"/>
              <a:gd name="T16" fmla="*/ 2147483647 w 58"/>
              <a:gd name="T17" fmla="*/ 2147483647 h 45"/>
              <a:gd name="T18" fmla="*/ 2147483647 w 58"/>
              <a:gd name="T19" fmla="*/ 0 h 45"/>
              <a:gd name="T20" fmla="*/ 2147483647 w 58"/>
              <a:gd name="T21" fmla="*/ 2147483647 h 4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58"/>
              <a:gd name="T34" fmla="*/ 0 h 45"/>
              <a:gd name="T35" fmla="*/ 58 w 58"/>
              <a:gd name="T36" fmla="*/ 45 h 45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58" h="45">
                <a:moveTo>
                  <a:pt x="7" y="2"/>
                </a:moveTo>
                <a:lnTo>
                  <a:pt x="3" y="8"/>
                </a:lnTo>
                <a:lnTo>
                  <a:pt x="8" y="16"/>
                </a:lnTo>
                <a:lnTo>
                  <a:pt x="0" y="32"/>
                </a:lnTo>
                <a:lnTo>
                  <a:pt x="13" y="34"/>
                </a:lnTo>
                <a:lnTo>
                  <a:pt x="6" y="45"/>
                </a:lnTo>
                <a:lnTo>
                  <a:pt x="27" y="29"/>
                </a:lnTo>
                <a:lnTo>
                  <a:pt x="58" y="24"/>
                </a:lnTo>
                <a:lnTo>
                  <a:pt x="50" y="16"/>
                </a:lnTo>
                <a:lnTo>
                  <a:pt x="36" y="0"/>
                </a:lnTo>
                <a:lnTo>
                  <a:pt x="7" y="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10" name="Freeform 193"/>
          <p:cNvSpPr>
            <a:spLocks/>
          </p:cNvSpPr>
          <p:nvPr/>
        </p:nvSpPr>
        <p:spPr bwMode="auto">
          <a:xfrm>
            <a:off x="4984750" y="2851150"/>
            <a:ext cx="227013" cy="149225"/>
          </a:xfrm>
          <a:custGeom>
            <a:avLst/>
            <a:gdLst>
              <a:gd name="T0" fmla="*/ 2147483647 w 169"/>
              <a:gd name="T1" fmla="*/ 2147483647 h 107"/>
              <a:gd name="T2" fmla="*/ 2147483647 w 169"/>
              <a:gd name="T3" fmla="*/ 2147483647 h 107"/>
              <a:gd name="T4" fmla="*/ 2147483647 w 169"/>
              <a:gd name="T5" fmla="*/ 2147483647 h 107"/>
              <a:gd name="T6" fmla="*/ 2147483647 w 169"/>
              <a:gd name="T7" fmla="*/ 2147483647 h 107"/>
              <a:gd name="T8" fmla="*/ 2147483647 w 169"/>
              <a:gd name="T9" fmla="*/ 2147483647 h 107"/>
              <a:gd name="T10" fmla="*/ 2147483647 w 169"/>
              <a:gd name="T11" fmla="*/ 2147483647 h 107"/>
              <a:gd name="T12" fmla="*/ 2147483647 w 169"/>
              <a:gd name="T13" fmla="*/ 2147483647 h 107"/>
              <a:gd name="T14" fmla="*/ 2147483647 w 169"/>
              <a:gd name="T15" fmla="*/ 2147483647 h 107"/>
              <a:gd name="T16" fmla="*/ 2147483647 w 169"/>
              <a:gd name="T17" fmla="*/ 2147483647 h 107"/>
              <a:gd name="T18" fmla="*/ 2147483647 w 169"/>
              <a:gd name="T19" fmla="*/ 2147483647 h 107"/>
              <a:gd name="T20" fmla="*/ 2147483647 w 169"/>
              <a:gd name="T21" fmla="*/ 2147483647 h 107"/>
              <a:gd name="T22" fmla="*/ 0 w 169"/>
              <a:gd name="T23" fmla="*/ 2147483647 h 107"/>
              <a:gd name="T24" fmla="*/ 2147483647 w 169"/>
              <a:gd name="T25" fmla="*/ 2147483647 h 107"/>
              <a:gd name="T26" fmla="*/ 2147483647 w 169"/>
              <a:gd name="T27" fmla="*/ 2147483647 h 107"/>
              <a:gd name="T28" fmla="*/ 2147483647 w 169"/>
              <a:gd name="T29" fmla="*/ 0 h 107"/>
              <a:gd name="T30" fmla="*/ 2147483647 w 169"/>
              <a:gd name="T31" fmla="*/ 2147483647 h 107"/>
              <a:gd name="T32" fmla="*/ 2147483647 w 169"/>
              <a:gd name="T33" fmla="*/ 2147483647 h 107"/>
              <a:gd name="T34" fmla="*/ 2147483647 w 169"/>
              <a:gd name="T35" fmla="*/ 2147483647 h 107"/>
              <a:gd name="T36" fmla="*/ 2147483647 w 169"/>
              <a:gd name="T37" fmla="*/ 2147483647 h 107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69"/>
              <a:gd name="T58" fmla="*/ 0 h 107"/>
              <a:gd name="T59" fmla="*/ 169 w 169"/>
              <a:gd name="T60" fmla="*/ 107 h 107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69" h="107">
                <a:moveTo>
                  <a:pt x="169" y="58"/>
                </a:moveTo>
                <a:lnTo>
                  <a:pt x="162" y="65"/>
                </a:lnTo>
                <a:lnTo>
                  <a:pt x="168" y="87"/>
                </a:lnTo>
                <a:lnTo>
                  <a:pt x="145" y="99"/>
                </a:lnTo>
                <a:lnTo>
                  <a:pt x="146" y="107"/>
                </a:lnTo>
                <a:lnTo>
                  <a:pt x="113" y="101"/>
                </a:lnTo>
                <a:lnTo>
                  <a:pt x="80" y="95"/>
                </a:lnTo>
                <a:lnTo>
                  <a:pt x="47" y="95"/>
                </a:lnTo>
                <a:lnTo>
                  <a:pt x="14" y="95"/>
                </a:lnTo>
                <a:lnTo>
                  <a:pt x="3" y="88"/>
                </a:lnTo>
                <a:lnTo>
                  <a:pt x="15" y="71"/>
                </a:lnTo>
                <a:lnTo>
                  <a:pt x="0" y="41"/>
                </a:lnTo>
                <a:lnTo>
                  <a:pt x="29" y="22"/>
                </a:lnTo>
                <a:lnTo>
                  <a:pt x="56" y="3"/>
                </a:lnTo>
                <a:lnTo>
                  <a:pt x="83" y="0"/>
                </a:lnTo>
                <a:lnTo>
                  <a:pt x="111" y="5"/>
                </a:lnTo>
                <a:lnTo>
                  <a:pt x="140" y="10"/>
                </a:lnTo>
                <a:lnTo>
                  <a:pt x="145" y="38"/>
                </a:lnTo>
                <a:lnTo>
                  <a:pt x="169" y="5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11" name="Freeform 194"/>
          <p:cNvSpPr>
            <a:spLocks/>
          </p:cNvSpPr>
          <p:nvPr/>
        </p:nvSpPr>
        <p:spPr bwMode="auto">
          <a:xfrm>
            <a:off x="4616450" y="2819400"/>
            <a:ext cx="58738" cy="68263"/>
          </a:xfrm>
          <a:custGeom>
            <a:avLst/>
            <a:gdLst>
              <a:gd name="T0" fmla="*/ 2147483647 w 44"/>
              <a:gd name="T1" fmla="*/ 2147483647 h 49"/>
              <a:gd name="T2" fmla="*/ 2147483647 w 44"/>
              <a:gd name="T3" fmla="*/ 2147483647 h 49"/>
              <a:gd name="T4" fmla="*/ 2147483647 w 44"/>
              <a:gd name="T5" fmla="*/ 2147483647 h 49"/>
              <a:gd name="T6" fmla="*/ 2147483647 w 44"/>
              <a:gd name="T7" fmla="*/ 2147483647 h 49"/>
              <a:gd name="T8" fmla="*/ 2147483647 w 44"/>
              <a:gd name="T9" fmla="*/ 2147483647 h 49"/>
              <a:gd name="T10" fmla="*/ 0 w 44"/>
              <a:gd name="T11" fmla="*/ 2147483647 h 49"/>
              <a:gd name="T12" fmla="*/ 2147483647 w 44"/>
              <a:gd name="T13" fmla="*/ 2147483647 h 49"/>
              <a:gd name="T14" fmla="*/ 2147483647 w 44"/>
              <a:gd name="T15" fmla="*/ 2147483647 h 49"/>
              <a:gd name="T16" fmla="*/ 2147483647 w 44"/>
              <a:gd name="T17" fmla="*/ 2147483647 h 49"/>
              <a:gd name="T18" fmla="*/ 2147483647 w 44"/>
              <a:gd name="T19" fmla="*/ 0 h 49"/>
              <a:gd name="T20" fmla="*/ 2147483647 w 44"/>
              <a:gd name="T21" fmla="*/ 2147483647 h 49"/>
              <a:gd name="T22" fmla="*/ 2147483647 w 44"/>
              <a:gd name="T23" fmla="*/ 2147483647 h 49"/>
              <a:gd name="T24" fmla="*/ 2147483647 w 44"/>
              <a:gd name="T25" fmla="*/ 2147483647 h 49"/>
              <a:gd name="T26" fmla="*/ 2147483647 w 44"/>
              <a:gd name="T27" fmla="*/ 2147483647 h 49"/>
              <a:gd name="T28" fmla="*/ 2147483647 w 44"/>
              <a:gd name="T29" fmla="*/ 2147483647 h 49"/>
              <a:gd name="T30" fmla="*/ 2147483647 w 44"/>
              <a:gd name="T31" fmla="*/ 2147483647 h 4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44"/>
              <a:gd name="T49" fmla="*/ 0 h 49"/>
              <a:gd name="T50" fmla="*/ 44 w 44"/>
              <a:gd name="T51" fmla="*/ 49 h 49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44" h="49">
                <a:moveTo>
                  <a:pt x="25" y="43"/>
                </a:moveTo>
                <a:lnTo>
                  <a:pt x="23" y="49"/>
                </a:lnTo>
                <a:lnTo>
                  <a:pt x="8" y="47"/>
                </a:lnTo>
                <a:lnTo>
                  <a:pt x="6" y="43"/>
                </a:lnTo>
                <a:lnTo>
                  <a:pt x="1" y="31"/>
                </a:lnTo>
                <a:lnTo>
                  <a:pt x="0" y="8"/>
                </a:lnTo>
                <a:lnTo>
                  <a:pt x="11" y="6"/>
                </a:lnTo>
                <a:lnTo>
                  <a:pt x="14" y="8"/>
                </a:lnTo>
                <a:lnTo>
                  <a:pt x="16" y="3"/>
                </a:lnTo>
                <a:lnTo>
                  <a:pt x="29" y="0"/>
                </a:lnTo>
                <a:lnTo>
                  <a:pt x="35" y="8"/>
                </a:lnTo>
                <a:lnTo>
                  <a:pt x="44" y="8"/>
                </a:lnTo>
                <a:lnTo>
                  <a:pt x="40" y="18"/>
                </a:lnTo>
                <a:lnTo>
                  <a:pt x="28" y="29"/>
                </a:lnTo>
                <a:lnTo>
                  <a:pt x="28" y="31"/>
                </a:lnTo>
                <a:lnTo>
                  <a:pt x="25" y="4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12" name="Freeform 195"/>
          <p:cNvSpPr>
            <a:spLocks/>
          </p:cNvSpPr>
          <p:nvPr/>
        </p:nvSpPr>
        <p:spPr bwMode="auto">
          <a:xfrm>
            <a:off x="4683125" y="2847975"/>
            <a:ext cx="38100" cy="34925"/>
          </a:xfrm>
          <a:custGeom>
            <a:avLst/>
            <a:gdLst>
              <a:gd name="T0" fmla="*/ 2147483647 w 27"/>
              <a:gd name="T1" fmla="*/ 2147483647 h 25"/>
              <a:gd name="T2" fmla="*/ 2147483647 w 27"/>
              <a:gd name="T3" fmla="*/ 2147483647 h 25"/>
              <a:gd name="T4" fmla="*/ 2147483647 w 27"/>
              <a:gd name="T5" fmla="*/ 0 h 25"/>
              <a:gd name="T6" fmla="*/ 2147483647 w 27"/>
              <a:gd name="T7" fmla="*/ 2147483647 h 25"/>
              <a:gd name="T8" fmla="*/ 2147483647 w 27"/>
              <a:gd name="T9" fmla="*/ 2147483647 h 25"/>
              <a:gd name="T10" fmla="*/ 2147483647 w 27"/>
              <a:gd name="T11" fmla="*/ 2147483647 h 25"/>
              <a:gd name="T12" fmla="*/ 2147483647 w 27"/>
              <a:gd name="T13" fmla="*/ 2147483647 h 25"/>
              <a:gd name="T14" fmla="*/ 0 w 27"/>
              <a:gd name="T15" fmla="*/ 2147483647 h 25"/>
              <a:gd name="T16" fmla="*/ 2147483647 w 27"/>
              <a:gd name="T17" fmla="*/ 2147483647 h 25"/>
              <a:gd name="T18" fmla="*/ 2147483647 w 27"/>
              <a:gd name="T19" fmla="*/ 2147483647 h 25"/>
              <a:gd name="T20" fmla="*/ 2147483647 w 27"/>
              <a:gd name="T21" fmla="*/ 2147483647 h 25"/>
              <a:gd name="T22" fmla="*/ 2147483647 w 27"/>
              <a:gd name="T23" fmla="*/ 2147483647 h 2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7"/>
              <a:gd name="T37" fmla="*/ 0 h 25"/>
              <a:gd name="T38" fmla="*/ 27 w 27"/>
              <a:gd name="T39" fmla="*/ 25 h 2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7" h="25">
                <a:moveTo>
                  <a:pt x="27" y="8"/>
                </a:moveTo>
                <a:lnTo>
                  <a:pt x="25" y="5"/>
                </a:lnTo>
                <a:lnTo>
                  <a:pt x="18" y="0"/>
                </a:lnTo>
                <a:lnTo>
                  <a:pt x="18" y="7"/>
                </a:lnTo>
                <a:lnTo>
                  <a:pt x="12" y="7"/>
                </a:lnTo>
                <a:lnTo>
                  <a:pt x="3" y="2"/>
                </a:lnTo>
                <a:lnTo>
                  <a:pt x="1" y="7"/>
                </a:lnTo>
                <a:lnTo>
                  <a:pt x="0" y="13"/>
                </a:lnTo>
                <a:lnTo>
                  <a:pt x="15" y="25"/>
                </a:lnTo>
                <a:lnTo>
                  <a:pt x="20" y="20"/>
                </a:lnTo>
                <a:lnTo>
                  <a:pt x="20" y="16"/>
                </a:lnTo>
                <a:lnTo>
                  <a:pt x="27" y="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13" name="Freeform 196"/>
          <p:cNvSpPr>
            <a:spLocks/>
          </p:cNvSpPr>
          <p:nvPr/>
        </p:nvSpPr>
        <p:spPr bwMode="auto">
          <a:xfrm>
            <a:off x="4619625" y="2794000"/>
            <a:ext cx="46038" cy="33338"/>
          </a:xfrm>
          <a:custGeom>
            <a:avLst/>
            <a:gdLst>
              <a:gd name="T0" fmla="*/ 2147483647 w 36"/>
              <a:gd name="T1" fmla="*/ 2147483647 h 24"/>
              <a:gd name="T2" fmla="*/ 2147483647 w 36"/>
              <a:gd name="T3" fmla="*/ 2147483647 h 24"/>
              <a:gd name="T4" fmla="*/ 0 w 36"/>
              <a:gd name="T5" fmla="*/ 2147483647 h 24"/>
              <a:gd name="T6" fmla="*/ 2147483647 w 36"/>
              <a:gd name="T7" fmla="*/ 2147483647 h 24"/>
              <a:gd name="T8" fmla="*/ 2147483647 w 36"/>
              <a:gd name="T9" fmla="*/ 2147483647 h 24"/>
              <a:gd name="T10" fmla="*/ 2147483647 w 36"/>
              <a:gd name="T11" fmla="*/ 0 h 24"/>
              <a:gd name="T12" fmla="*/ 2147483647 w 36"/>
              <a:gd name="T13" fmla="*/ 2147483647 h 2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6"/>
              <a:gd name="T22" fmla="*/ 0 h 24"/>
              <a:gd name="T23" fmla="*/ 36 w 36"/>
              <a:gd name="T24" fmla="*/ 24 h 2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6" h="24">
                <a:moveTo>
                  <a:pt x="30" y="17"/>
                </a:moveTo>
                <a:lnTo>
                  <a:pt x="2" y="18"/>
                </a:lnTo>
                <a:lnTo>
                  <a:pt x="0" y="24"/>
                </a:lnTo>
                <a:lnTo>
                  <a:pt x="1" y="14"/>
                </a:lnTo>
                <a:lnTo>
                  <a:pt x="18" y="11"/>
                </a:lnTo>
                <a:lnTo>
                  <a:pt x="36" y="0"/>
                </a:lnTo>
                <a:lnTo>
                  <a:pt x="30" y="1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14" name="Freeform 197"/>
          <p:cNvSpPr>
            <a:spLocks/>
          </p:cNvSpPr>
          <p:nvPr/>
        </p:nvSpPr>
        <p:spPr bwMode="auto">
          <a:xfrm>
            <a:off x="4652963" y="2867025"/>
            <a:ext cx="26987" cy="12700"/>
          </a:xfrm>
          <a:custGeom>
            <a:avLst/>
            <a:gdLst>
              <a:gd name="T0" fmla="*/ 2147483647 w 19"/>
              <a:gd name="T1" fmla="*/ 2147483647 h 10"/>
              <a:gd name="T2" fmla="*/ 2147483647 w 19"/>
              <a:gd name="T3" fmla="*/ 0 h 10"/>
              <a:gd name="T4" fmla="*/ 0 w 19"/>
              <a:gd name="T5" fmla="*/ 2147483647 h 10"/>
              <a:gd name="T6" fmla="*/ 2147483647 w 19"/>
              <a:gd name="T7" fmla="*/ 2147483647 h 10"/>
              <a:gd name="T8" fmla="*/ 2147483647 w 19"/>
              <a:gd name="T9" fmla="*/ 2147483647 h 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9"/>
              <a:gd name="T16" fmla="*/ 0 h 10"/>
              <a:gd name="T17" fmla="*/ 19 w 19"/>
              <a:gd name="T18" fmla="*/ 10 h 1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9" h="10">
                <a:moveTo>
                  <a:pt x="19" y="4"/>
                </a:moveTo>
                <a:lnTo>
                  <a:pt x="13" y="0"/>
                </a:lnTo>
                <a:lnTo>
                  <a:pt x="0" y="2"/>
                </a:lnTo>
                <a:lnTo>
                  <a:pt x="13" y="10"/>
                </a:lnTo>
                <a:lnTo>
                  <a:pt x="19" y="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15" name="Freeform 198"/>
          <p:cNvSpPr>
            <a:spLocks/>
          </p:cNvSpPr>
          <p:nvPr/>
        </p:nvSpPr>
        <p:spPr bwMode="auto">
          <a:xfrm>
            <a:off x="4705350" y="2886075"/>
            <a:ext cx="6350" cy="6350"/>
          </a:xfrm>
          <a:custGeom>
            <a:avLst/>
            <a:gdLst>
              <a:gd name="T0" fmla="*/ 2147483647 w 4"/>
              <a:gd name="T1" fmla="*/ 2147483647 h 4"/>
              <a:gd name="T2" fmla="*/ 0 w 4"/>
              <a:gd name="T3" fmla="*/ 0 h 4"/>
              <a:gd name="T4" fmla="*/ 0 w 4"/>
              <a:gd name="T5" fmla="*/ 2147483647 h 4"/>
              <a:gd name="T6" fmla="*/ 2147483647 w 4"/>
              <a:gd name="T7" fmla="*/ 2147483647 h 4"/>
              <a:gd name="T8" fmla="*/ 0 60000 65536"/>
              <a:gd name="T9" fmla="*/ 0 60000 65536"/>
              <a:gd name="T10" fmla="*/ 0 60000 65536"/>
              <a:gd name="T11" fmla="*/ 0 60000 65536"/>
              <a:gd name="T12" fmla="*/ 0 w 4"/>
              <a:gd name="T13" fmla="*/ 0 h 4"/>
              <a:gd name="T14" fmla="*/ 4 w 4"/>
              <a:gd name="T15" fmla="*/ 4 h 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" h="4">
                <a:moveTo>
                  <a:pt x="4" y="1"/>
                </a:moveTo>
                <a:lnTo>
                  <a:pt x="0" y="0"/>
                </a:lnTo>
                <a:lnTo>
                  <a:pt x="0" y="4"/>
                </a:lnTo>
                <a:lnTo>
                  <a:pt x="4" y="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16" name="Freeform 199"/>
          <p:cNvSpPr>
            <a:spLocks/>
          </p:cNvSpPr>
          <p:nvPr/>
        </p:nvSpPr>
        <p:spPr bwMode="auto">
          <a:xfrm>
            <a:off x="4965700" y="2738438"/>
            <a:ext cx="109538" cy="53975"/>
          </a:xfrm>
          <a:custGeom>
            <a:avLst/>
            <a:gdLst>
              <a:gd name="T0" fmla="*/ 2147483647 w 82"/>
              <a:gd name="T1" fmla="*/ 2147483647 h 38"/>
              <a:gd name="T2" fmla="*/ 2147483647 w 82"/>
              <a:gd name="T3" fmla="*/ 2147483647 h 38"/>
              <a:gd name="T4" fmla="*/ 2147483647 w 82"/>
              <a:gd name="T5" fmla="*/ 0 h 38"/>
              <a:gd name="T6" fmla="*/ 0 w 82"/>
              <a:gd name="T7" fmla="*/ 2147483647 h 38"/>
              <a:gd name="T8" fmla="*/ 2147483647 w 82"/>
              <a:gd name="T9" fmla="*/ 2147483647 h 38"/>
              <a:gd name="T10" fmla="*/ 2147483647 w 82"/>
              <a:gd name="T11" fmla="*/ 2147483647 h 38"/>
              <a:gd name="T12" fmla="*/ 2147483647 w 82"/>
              <a:gd name="T13" fmla="*/ 2147483647 h 38"/>
              <a:gd name="T14" fmla="*/ 2147483647 w 82"/>
              <a:gd name="T15" fmla="*/ 2147483647 h 38"/>
              <a:gd name="T16" fmla="*/ 2147483647 w 82"/>
              <a:gd name="T17" fmla="*/ 2147483647 h 38"/>
              <a:gd name="T18" fmla="*/ 2147483647 w 82"/>
              <a:gd name="T19" fmla="*/ 2147483647 h 3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82"/>
              <a:gd name="T31" fmla="*/ 0 h 38"/>
              <a:gd name="T32" fmla="*/ 82 w 82"/>
              <a:gd name="T33" fmla="*/ 38 h 3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82" h="38">
                <a:moveTo>
                  <a:pt x="82" y="24"/>
                </a:moveTo>
                <a:lnTo>
                  <a:pt x="76" y="2"/>
                </a:lnTo>
                <a:lnTo>
                  <a:pt x="33" y="0"/>
                </a:lnTo>
                <a:lnTo>
                  <a:pt x="0" y="8"/>
                </a:lnTo>
                <a:lnTo>
                  <a:pt x="3" y="17"/>
                </a:lnTo>
                <a:lnTo>
                  <a:pt x="15" y="30"/>
                </a:lnTo>
                <a:lnTo>
                  <a:pt x="21" y="29"/>
                </a:lnTo>
                <a:lnTo>
                  <a:pt x="47" y="33"/>
                </a:lnTo>
                <a:lnTo>
                  <a:pt x="74" y="38"/>
                </a:lnTo>
                <a:lnTo>
                  <a:pt x="82" y="2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17" name="Freeform 200"/>
          <p:cNvSpPr>
            <a:spLocks/>
          </p:cNvSpPr>
          <p:nvPr/>
        </p:nvSpPr>
        <p:spPr bwMode="auto">
          <a:xfrm>
            <a:off x="4921250" y="2778125"/>
            <a:ext cx="176213" cy="74613"/>
          </a:xfrm>
          <a:custGeom>
            <a:avLst/>
            <a:gdLst>
              <a:gd name="T0" fmla="*/ 2147483647 w 133"/>
              <a:gd name="T1" fmla="*/ 2147483647 h 55"/>
              <a:gd name="T2" fmla="*/ 2147483647 w 133"/>
              <a:gd name="T3" fmla="*/ 2147483647 h 55"/>
              <a:gd name="T4" fmla="*/ 2147483647 w 133"/>
              <a:gd name="T5" fmla="*/ 2147483647 h 55"/>
              <a:gd name="T6" fmla="*/ 0 w 133"/>
              <a:gd name="T7" fmla="*/ 2147483647 h 55"/>
              <a:gd name="T8" fmla="*/ 2147483647 w 133"/>
              <a:gd name="T9" fmla="*/ 2147483647 h 55"/>
              <a:gd name="T10" fmla="*/ 2147483647 w 133"/>
              <a:gd name="T11" fmla="*/ 2147483647 h 55"/>
              <a:gd name="T12" fmla="*/ 2147483647 w 133"/>
              <a:gd name="T13" fmla="*/ 2147483647 h 55"/>
              <a:gd name="T14" fmla="*/ 2147483647 w 133"/>
              <a:gd name="T15" fmla="*/ 2147483647 h 55"/>
              <a:gd name="T16" fmla="*/ 2147483647 w 133"/>
              <a:gd name="T17" fmla="*/ 0 h 55"/>
              <a:gd name="T18" fmla="*/ 2147483647 w 133"/>
              <a:gd name="T19" fmla="*/ 2147483647 h 55"/>
              <a:gd name="T20" fmla="*/ 2147483647 w 133"/>
              <a:gd name="T21" fmla="*/ 2147483647 h 55"/>
              <a:gd name="T22" fmla="*/ 2147483647 w 133"/>
              <a:gd name="T23" fmla="*/ 2147483647 h 55"/>
              <a:gd name="T24" fmla="*/ 2147483647 w 133"/>
              <a:gd name="T25" fmla="*/ 2147483647 h 55"/>
              <a:gd name="T26" fmla="*/ 2147483647 w 133"/>
              <a:gd name="T27" fmla="*/ 2147483647 h 55"/>
              <a:gd name="T28" fmla="*/ 2147483647 w 133"/>
              <a:gd name="T29" fmla="*/ 2147483647 h 5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33"/>
              <a:gd name="T46" fmla="*/ 0 h 55"/>
              <a:gd name="T47" fmla="*/ 133 w 133"/>
              <a:gd name="T48" fmla="*/ 55 h 55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33" h="55">
                <a:moveTo>
                  <a:pt x="68" y="38"/>
                </a:moveTo>
                <a:lnTo>
                  <a:pt x="36" y="42"/>
                </a:lnTo>
                <a:lnTo>
                  <a:pt x="5" y="45"/>
                </a:lnTo>
                <a:lnTo>
                  <a:pt x="0" y="46"/>
                </a:lnTo>
                <a:lnTo>
                  <a:pt x="9" y="16"/>
                </a:lnTo>
                <a:lnTo>
                  <a:pt x="26" y="15"/>
                </a:lnTo>
                <a:lnTo>
                  <a:pt x="49" y="30"/>
                </a:lnTo>
                <a:lnTo>
                  <a:pt x="58" y="21"/>
                </a:lnTo>
                <a:lnTo>
                  <a:pt x="56" y="0"/>
                </a:lnTo>
                <a:lnTo>
                  <a:pt x="82" y="4"/>
                </a:lnTo>
                <a:lnTo>
                  <a:pt x="109" y="9"/>
                </a:lnTo>
                <a:lnTo>
                  <a:pt x="119" y="26"/>
                </a:lnTo>
                <a:lnTo>
                  <a:pt x="133" y="52"/>
                </a:lnTo>
                <a:lnTo>
                  <a:pt x="106" y="55"/>
                </a:lnTo>
                <a:lnTo>
                  <a:pt x="68" y="3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18" name="Freeform 201"/>
          <p:cNvSpPr>
            <a:spLocks/>
          </p:cNvSpPr>
          <p:nvPr/>
        </p:nvSpPr>
        <p:spPr bwMode="auto">
          <a:xfrm>
            <a:off x="4921250" y="2832100"/>
            <a:ext cx="141288" cy="76200"/>
          </a:xfrm>
          <a:custGeom>
            <a:avLst/>
            <a:gdLst>
              <a:gd name="T0" fmla="*/ 2147483647 w 106"/>
              <a:gd name="T1" fmla="*/ 2147483647 h 55"/>
              <a:gd name="T2" fmla="*/ 0 w 106"/>
              <a:gd name="T3" fmla="*/ 2147483647 h 55"/>
              <a:gd name="T4" fmla="*/ 2147483647 w 106"/>
              <a:gd name="T5" fmla="*/ 2147483647 h 55"/>
              <a:gd name="T6" fmla="*/ 2147483647 w 106"/>
              <a:gd name="T7" fmla="*/ 2147483647 h 55"/>
              <a:gd name="T8" fmla="*/ 2147483647 w 106"/>
              <a:gd name="T9" fmla="*/ 0 h 55"/>
              <a:gd name="T10" fmla="*/ 2147483647 w 106"/>
              <a:gd name="T11" fmla="*/ 2147483647 h 55"/>
              <a:gd name="T12" fmla="*/ 2147483647 w 106"/>
              <a:gd name="T13" fmla="*/ 2147483647 h 55"/>
              <a:gd name="T14" fmla="*/ 2147483647 w 106"/>
              <a:gd name="T15" fmla="*/ 2147483647 h 55"/>
              <a:gd name="T16" fmla="*/ 2147483647 w 106"/>
              <a:gd name="T17" fmla="*/ 2147483647 h 55"/>
              <a:gd name="T18" fmla="*/ 2147483647 w 106"/>
              <a:gd name="T19" fmla="*/ 2147483647 h 55"/>
              <a:gd name="T20" fmla="*/ 2147483647 w 106"/>
              <a:gd name="T21" fmla="*/ 2147483647 h 55"/>
              <a:gd name="T22" fmla="*/ 2147483647 w 106"/>
              <a:gd name="T23" fmla="*/ 2147483647 h 5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06"/>
              <a:gd name="T37" fmla="*/ 0 h 55"/>
              <a:gd name="T38" fmla="*/ 106 w 106"/>
              <a:gd name="T39" fmla="*/ 55 h 5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06" h="55">
                <a:moveTo>
                  <a:pt x="4" y="40"/>
                </a:moveTo>
                <a:lnTo>
                  <a:pt x="0" y="8"/>
                </a:lnTo>
                <a:lnTo>
                  <a:pt x="5" y="7"/>
                </a:lnTo>
                <a:lnTo>
                  <a:pt x="36" y="4"/>
                </a:lnTo>
                <a:lnTo>
                  <a:pt x="68" y="0"/>
                </a:lnTo>
                <a:lnTo>
                  <a:pt x="106" y="17"/>
                </a:lnTo>
                <a:lnTo>
                  <a:pt x="79" y="36"/>
                </a:lnTo>
                <a:lnTo>
                  <a:pt x="50" y="55"/>
                </a:lnTo>
                <a:lnTo>
                  <a:pt x="33" y="54"/>
                </a:lnTo>
                <a:lnTo>
                  <a:pt x="33" y="44"/>
                </a:lnTo>
                <a:lnTo>
                  <a:pt x="16" y="42"/>
                </a:lnTo>
                <a:lnTo>
                  <a:pt x="4" y="4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19" name="Freeform 202"/>
          <p:cNvSpPr>
            <a:spLocks/>
          </p:cNvSpPr>
          <p:nvPr/>
        </p:nvSpPr>
        <p:spPr bwMode="auto">
          <a:xfrm>
            <a:off x="4500563" y="2935288"/>
            <a:ext cx="93662" cy="85725"/>
          </a:xfrm>
          <a:custGeom>
            <a:avLst/>
            <a:gdLst>
              <a:gd name="T0" fmla="*/ 2147483647 w 70"/>
              <a:gd name="T1" fmla="*/ 2147483647 h 62"/>
              <a:gd name="T2" fmla="*/ 2147483647 w 70"/>
              <a:gd name="T3" fmla="*/ 2147483647 h 62"/>
              <a:gd name="T4" fmla="*/ 2147483647 w 70"/>
              <a:gd name="T5" fmla="*/ 2147483647 h 62"/>
              <a:gd name="T6" fmla="*/ 2147483647 w 70"/>
              <a:gd name="T7" fmla="*/ 2147483647 h 62"/>
              <a:gd name="T8" fmla="*/ 2147483647 w 70"/>
              <a:gd name="T9" fmla="*/ 0 h 62"/>
              <a:gd name="T10" fmla="*/ 2147483647 w 70"/>
              <a:gd name="T11" fmla="*/ 2147483647 h 62"/>
              <a:gd name="T12" fmla="*/ 2147483647 w 70"/>
              <a:gd name="T13" fmla="*/ 2147483647 h 62"/>
              <a:gd name="T14" fmla="*/ 0 w 70"/>
              <a:gd name="T15" fmla="*/ 2147483647 h 62"/>
              <a:gd name="T16" fmla="*/ 2147483647 w 70"/>
              <a:gd name="T17" fmla="*/ 2147483647 h 62"/>
              <a:gd name="T18" fmla="*/ 2147483647 w 70"/>
              <a:gd name="T19" fmla="*/ 2147483647 h 62"/>
              <a:gd name="T20" fmla="*/ 2147483647 w 70"/>
              <a:gd name="T21" fmla="*/ 2147483647 h 62"/>
              <a:gd name="T22" fmla="*/ 2147483647 w 70"/>
              <a:gd name="T23" fmla="*/ 2147483647 h 62"/>
              <a:gd name="T24" fmla="*/ 2147483647 w 70"/>
              <a:gd name="T25" fmla="*/ 2147483647 h 6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70"/>
              <a:gd name="T40" fmla="*/ 0 h 62"/>
              <a:gd name="T41" fmla="*/ 70 w 70"/>
              <a:gd name="T42" fmla="*/ 62 h 6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70" h="62">
                <a:moveTo>
                  <a:pt x="52" y="36"/>
                </a:moveTo>
                <a:lnTo>
                  <a:pt x="68" y="27"/>
                </a:lnTo>
                <a:lnTo>
                  <a:pt x="62" y="16"/>
                </a:lnTo>
                <a:lnTo>
                  <a:pt x="70" y="3"/>
                </a:lnTo>
                <a:lnTo>
                  <a:pt x="46" y="0"/>
                </a:lnTo>
                <a:lnTo>
                  <a:pt x="22" y="14"/>
                </a:lnTo>
                <a:lnTo>
                  <a:pt x="6" y="39"/>
                </a:lnTo>
                <a:lnTo>
                  <a:pt x="0" y="48"/>
                </a:lnTo>
                <a:lnTo>
                  <a:pt x="15" y="48"/>
                </a:lnTo>
                <a:lnTo>
                  <a:pt x="40" y="49"/>
                </a:lnTo>
                <a:lnTo>
                  <a:pt x="44" y="57"/>
                </a:lnTo>
                <a:lnTo>
                  <a:pt x="50" y="62"/>
                </a:lnTo>
                <a:lnTo>
                  <a:pt x="52" y="36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20" name="Freeform 203"/>
          <p:cNvSpPr>
            <a:spLocks/>
          </p:cNvSpPr>
          <p:nvPr/>
        </p:nvSpPr>
        <p:spPr bwMode="auto">
          <a:xfrm>
            <a:off x="4764088" y="2892425"/>
            <a:ext cx="255587" cy="184150"/>
          </a:xfrm>
          <a:custGeom>
            <a:avLst/>
            <a:gdLst>
              <a:gd name="T0" fmla="*/ 2147483647 w 192"/>
              <a:gd name="T1" fmla="*/ 2147483647 h 135"/>
              <a:gd name="T2" fmla="*/ 2147483647 w 192"/>
              <a:gd name="T3" fmla="*/ 0 h 135"/>
              <a:gd name="T4" fmla="*/ 2147483647 w 192"/>
              <a:gd name="T5" fmla="*/ 2147483647 h 135"/>
              <a:gd name="T6" fmla="*/ 2147483647 w 192"/>
              <a:gd name="T7" fmla="*/ 2147483647 h 135"/>
              <a:gd name="T8" fmla="*/ 0 w 192"/>
              <a:gd name="T9" fmla="*/ 2147483647 h 135"/>
              <a:gd name="T10" fmla="*/ 2147483647 w 192"/>
              <a:gd name="T11" fmla="*/ 2147483647 h 135"/>
              <a:gd name="T12" fmla="*/ 2147483647 w 192"/>
              <a:gd name="T13" fmla="*/ 2147483647 h 135"/>
              <a:gd name="T14" fmla="*/ 2147483647 w 192"/>
              <a:gd name="T15" fmla="*/ 2147483647 h 135"/>
              <a:gd name="T16" fmla="*/ 2147483647 w 192"/>
              <a:gd name="T17" fmla="*/ 2147483647 h 135"/>
              <a:gd name="T18" fmla="*/ 2147483647 w 192"/>
              <a:gd name="T19" fmla="*/ 2147483647 h 135"/>
              <a:gd name="T20" fmla="*/ 2147483647 w 192"/>
              <a:gd name="T21" fmla="*/ 2147483647 h 135"/>
              <a:gd name="T22" fmla="*/ 2147483647 w 192"/>
              <a:gd name="T23" fmla="*/ 2147483647 h 135"/>
              <a:gd name="T24" fmla="*/ 2147483647 w 192"/>
              <a:gd name="T25" fmla="*/ 2147483647 h 135"/>
              <a:gd name="T26" fmla="*/ 2147483647 w 192"/>
              <a:gd name="T27" fmla="*/ 2147483647 h 135"/>
              <a:gd name="T28" fmla="*/ 2147483647 w 192"/>
              <a:gd name="T29" fmla="*/ 2147483647 h 135"/>
              <a:gd name="T30" fmla="*/ 2147483647 w 192"/>
              <a:gd name="T31" fmla="*/ 2147483647 h 135"/>
              <a:gd name="T32" fmla="*/ 2147483647 w 192"/>
              <a:gd name="T33" fmla="*/ 2147483647 h 135"/>
              <a:gd name="T34" fmla="*/ 2147483647 w 192"/>
              <a:gd name="T35" fmla="*/ 2147483647 h 135"/>
              <a:gd name="T36" fmla="*/ 2147483647 w 192"/>
              <a:gd name="T37" fmla="*/ 2147483647 h 135"/>
              <a:gd name="T38" fmla="*/ 2147483647 w 192"/>
              <a:gd name="T39" fmla="*/ 2147483647 h 135"/>
              <a:gd name="T40" fmla="*/ 2147483647 w 192"/>
              <a:gd name="T41" fmla="*/ 2147483647 h 135"/>
              <a:gd name="T42" fmla="*/ 2147483647 w 192"/>
              <a:gd name="T43" fmla="*/ 2147483647 h 135"/>
              <a:gd name="T44" fmla="*/ 2147483647 w 192"/>
              <a:gd name="T45" fmla="*/ 2147483647 h 135"/>
              <a:gd name="T46" fmla="*/ 2147483647 w 192"/>
              <a:gd name="T47" fmla="*/ 2147483647 h 135"/>
              <a:gd name="T48" fmla="*/ 2147483647 w 192"/>
              <a:gd name="T49" fmla="*/ 2147483647 h 135"/>
              <a:gd name="T50" fmla="*/ 2147483647 w 192"/>
              <a:gd name="T51" fmla="*/ 2147483647 h 135"/>
              <a:gd name="T52" fmla="*/ 2147483647 w 192"/>
              <a:gd name="T53" fmla="*/ 2147483647 h 135"/>
              <a:gd name="T54" fmla="*/ 2147483647 w 192"/>
              <a:gd name="T55" fmla="*/ 2147483647 h 135"/>
              <a:gd name="T56" fmla="*/ 2147483647 w 192"/>
              <a:gd name="T57" fmla="*/ 2147483647 h 135"/>
              <a:gd name="T58" fmla="*/ 2147483647 w 192"/>
              <a:gd name="T59" fmla="*/ 2147483647 h 135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92"/>
              <a:gd name="T91" fmla="*/ 0 h 135"/>
              <a:gd name="T92" fmla="*/ 192 w 192"/>
              <a:gd name="T93" fmla="*/ 135 h 135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92" h="135">
                <a:moveTo>
                  <a:pt x="79" y="7"/>
                </a:moveTo>
                <a:lnTo>
                  <a:pt x="75" y="0"/>
                </a:lnTo>
                <a:lnTo>
                  <a:pt x="50" y="3"/>
                </a:lnTo>
                <a:lnTo>
                  <a:pt x="25" y="11"/>
                </a:lnTo>
                <a:lnTo>
                  <a:pt x="0" y="16"/>
                </a:lnTo>
                <a:lnTo>
                  <a:pt x="7" y="23"/>
                </a:lnTo>
                <a:lnTo>
                  <a:pt x="1" y="25"/>
                </a:lnTo>
                <a:lnTo>
                  <a:pt x="3" y="47"/>
                </a:lnTo>
                <a:lnTo>
                  <a:pt x="14" y="73"/>
                </a:lnTo>
                <a:lnTo>
                  <a:pt x="18" y="93"/>
                </a:lnTo>
                <a:lnTo>
                  <a:pt x="20" y="91"/>
                </a:lnTo>
                <a:lnTo>
                  <a:pt x="45" y="101"/>
                </a:lnTo>
                <a:lnTo>
                  <a:pt x="50" y="107"/>
                </a:lnTo>
                <a:lnTo>
                  <a:pt x="60" y="106"/>
                </a:lnTo>
                <a:lnTo>
                  <a:pt x="74" y="107"/>
                </a:lnTo>
                <a:lnTo>
                  <a:pt x="97" y="124"/>
                </a:lnTo>
                <a:lnTo>
                  <a:pt x="119" y="125"/>
                </a:lnTo>
                <a:lnTo>
                  <a:pt x="122" y="130"/>
                </a:lnTo>
                <a:lnTo>
                  <a:pt x="139" y="129"/>
                </a:lnTo>
                <a:lnTo>
                  <a:pt x="169" y="135"/>
                </a:lnTo>
                <a:lnTo>
                  <a:pt x="172" y="127"/>
                </a:lnTo>
                <a:lnTo>
                  <a:pt x="190" y="103"/>
                </a:lnTo>
                <a:lnTo>
                  <a:pt x="192" y="91"/>
                </a:lnTo>
                <a:lnTo>
                  <a:pt x="181" y="66"/>
                </a:lnTo>
                <a:lnTo>
                  <a:pt x="170" y="59"/>
                </a:lnTo>
                <a:lnTo>
                  <a:pt x="182" y="42"/>
                </a:lnTo>
                <a:lnTo>
                  <a:pt x="167" y="12"/>
                </a:lnTo>
                <a:lnTo>
                  <a:pt x="132" y="10"/>
                </a:lnTo>
                <a:lnTo>
                  <a:pt x="98" y="6"/>
                </a:lnTo>
                <a:lnTo>
                  <a:pt x="79" y="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9421" name="Freeform 204"/>
          <p:cNvSpPr>
            <a:spLocks/>
          </p:cNvSpPr>
          <p:nvPr/>
        </p:nvSpPr>
        <p:spPr bwMode="auto">
          <a:xfrm>
            <a:off x="4943475" y="3103563"/>
            <a:ext cx="246063" cy="153987"/>
          </a:xfrm>
          <a:custGeom>
            <a:avLst/>
            <a:gdLst>
              <a:gd name="T0" fmla="*/ 2147483647 w 187"/>
              <a:gd name="T1" fmla="*/ 2147483647 h 112"/>
              <a:gd name="T2" fmla="*/ 2147483647 w 187"/>
              <a:gd name="T3" fmla="*/ 2147483647 h 112"/>
              <a:gd name="T4" fmla="*/ 2147483647 w 187"/>
              <a:gd name="T5" fmla="*/ 2147483647 h 112"/>
              <a:gd name="T6" fmla="*/ 2147483647 w 187"/>
              <a:gd name="T7" fmla="*/ 2147483647 h 112"/>
              <a:gd name="T8" fmla="*/ 2147483647 w 187"/>
              <a:gd name="T9" fmla="*/ 2147483647 h 112"/>
              <a:gd name="T10" fmla="*/ 2147483647 w 187"/>
              <a:gd name="T11" fmla="*/ 2147483647 h 112"/>
              <a:gd name="T12" fmla="*/ 2147483647 w 187"/>
              <a:gd name="T13" fmla="*/ 2147483647 h 112"/>
              <a:gd name="T14" fmla="*/ 2147483647 w 187"/>
              <a:gd name="T15" fmla="*/ 2147483647 h 112"/>
              <a:gd name="T16" fmla="*/ 2147483647 w 187"/>
              <a:gd name="T17" fmla="*/ 2147483647 h 112"/>
              <a:gd name="T18" fmla="*/ 2147483647 w 187"/>
              <a:gd name="T19" fmla="*/ 2147483647 h 112"/>
              <a:gd name="T20" fmla="*/ 2147483647 w 187"/>
              <a:gd name="T21" fmla="*/ 2147483647 h 112"/>
              <a:gd name="T22" fmla="*/ 0 w 187"/>
              <a:gd name="T23" fmla="*/ 2147483647 h 112"/>
              <a:gd name="T24" fmla="*/ 2147483647 w 187"/>
              <a:gd name="T25" fmla="*/ 2147483647 h 112"/>
              <a:gd name="T26" fmla="*/ 2147483647 w 187"/>
              <a:gd name="T27" fmla="*/ 2147483647 h 112"/>
              <a:gd name="T28" fmla="*/ 2147483647 w 187"/>
              <a:gd name="T29" fmla="*/ 2147483647 h 112"/>
              <a:gd name="T30" fmla="*/ 2147483647 w 187"/>
              <a:gd name="T31" fmla="*/ 2147483647 h 112"/>
              <a:gd name="T32" fmla="*/ 2147483647 w 187"/>
              <a:gd name="T33" fmla="*/ 2147483647 h 112"/>
              <a:gd name="T34" fmla="*/ 2147483647 w 187"/>
              <a:gd name="T35" fmla="*/ 0 h 112"/>
              <a:gd name="T36" fmla="*/ 2147483647 w 187"/>
              <a:gd name="T37" fmla="*/ 0 h 112"/>
              <a:gd name="T38" fmla="*/ 2147483647 w 187"/>
              <a:gd name="T39" fmla="*/ 2147483647 h 112"/>
              <a:gd name="T40" fmla="*/ 2147483647 w 187"/>
              <a:gd name="T41" fmla="*/ 2147483647 h 112"/>
              <a:gd name="T42" fmla="*/ 2147483647 w 187"/>
              <a:gd name="T43" fmla="*/ 2147483647 h 112"/>
              <a:gd name="T44" fmla="*/ 2147483647 w 187"/>
              <a:gd name="T45" fmla="*/ 2147483647 h 112"/>
              <a:gd name="T46" fmla="*/ 2147483647 w 187"/>
              <a:gd name="T47" fmla="*/ 2147483647 h 112"/>
              <a:gd name="T48" fmla="*/ 2147483647 w 187"/>
              <a:gd name="T49" fmla="*/ 2147483647 h 112"/>
              <a:gd name="T50" fmla="*/ 2147483647 w 187"/>
              <a:gd name="T51" fmla="*/ 2147483647 h 112"/>
              <a:gd name="T52" fmla="*/ 2147483647 w 187"/>
              <a:gd name="T53" fmla="*/ 2147483647 h 112"/>
              <a:gd name="T54" fmla="*/ 2147483647 w 187"/>
              <a:gd name="T55" fmla="*/ 2147483647 h 112"/>
              <a:gd name="T56" fmla="*/ 2147483647 w 187"/>
              <a:gd name="T57" fmla="*/ 2147483647 h 11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87"/>
              <a:gd name="T88" fmla="*/ 0 h 112"/>
              <a:gd name="T89" fmla="*/ 187 w 187"/>
              <a:gd name="T90" fmla="*/ 112 h 112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87" h="112">
                <a:moveTo>
                  <a:pt x="172" y="91"/>
                </a:moveTo>
                <a:lnTo>
                  <a:pt x="169" y="109"/>
                </a:lnTo>
                <a:lnTo>
                  <a:pt x="132" y="102"/>
                </a:lnTo>
                <a:lnTo>
                  <a:pt x="101" y="112"/>
                </a:lnTo>
                <a:lnTo>
                  <a:pt x="78" y="108"/>
                </a:lnTo>
                <a:lnTo>
                  <a:pt x="57" y="104"/>
                </a:lnTo>
                <a:lnTo>
                  <a:pt x="52" y="97"/>
                </a:lnTo>
                <a:lnTo>
                  <a:pt x="51" y="90"/>
                </a:lnTo>
                <a:lnTo>
                  <a:pt x="43" y="88"/>
                </a:lnTo>
                <a:lnTo>
                  <a:pt x="37" y="86"/>
                </a:lnTo>
                <a:lnTo>
                  <a:pt x="29" y="82"/>
                </a:lnTo>
                <a:lnTo>
                  <a:pt x="0" y="52"/>
                </a:lnTo>
                <a:lnTo>
                  <a:pt x="11" y="48"/>
                </a:lnTo>
                <a:lnTo>
                  <a:pt x="27" y="26"/>
                </a:lnTo>
                <a:lnTo>
                  <a:pt x="46" y="7"/>
                </a:lnTo>
                <a:lnTo>
                  <a:pt x="47" y="7"/>
                </a:lnTo>
                <a:lnTo>
                  <a:pt x="83" y="11"/>
                </a:lnTo>
                <a:lnTo>
                  <a:pt x="115" y="0"/>
                </a:lnTo>
                <a:lnTo>
                  <a:pt x="118" y="0"/>
                </a:lnTo>
                <a:lnTo>
                  <a:pt x="132" y="14"/>
                </a:lnTo>
                <a:lnTo>
                  <a:pt x="147" y="29"/>
                </a:lnTo>
                <a:lnTo>
                  <a:pt x="153" y="49"/>
                </a:lnTo>
                <a:lnTo>
                  <a:pt x="159" y="70"/>
                </a:lnTo>
                <a:lnTo>
                  <a:pt x="174" y="70"/>
                </a:lnTo>
                <a:lnTo>
                  <a:pt x="186" y="73"/>
                </a:lnTo>
                <a:lnTo>
                  <a:pt x="187" y="79"/>
                </a:lnTo>
                <a:lnTo>
                  <a:pt x="178" y="84"/>
                </a:lnTo>
                <a:lnTo>
                  <a:pt x="175" y="82"/>
                </a:lnTo>
                <a:lnTo>
                  <a:pt x="172" y="9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22" name="Freeform 205"/>
          <p:cNvSpPr>
            <a:spLocks/>
          </p:cNvSpPr>
          <p:nvPr/>
        </p:nvSpPr>
        <p:spPr bwMode="auto">
          <a:xfrm>
            <a:off x="4724400" y="3014663"/>
            <a:ext cx="169863" cy="76200"/>
          </a:xfrm>
          <a:custGeom>
            <a:avLst/>
            <a:gdLst>
              <a:gd name="T0" fmla="*/ 2147483647 w 127"/>
              <a:gd name="T1" fmla="*/ 2147483647 h 58"/>
              <a:gd name="T2" fmla="*/ 2147483647 w 127"/>
              <a:gd name="T3" fmla="*/ 2147483647 h 58"/>
              <a:gd name="T4" fmla="*/ 2147483647 w 127"/>
              <a:gd name="T5" fmla="*/ 2147483647 h 58"/>
              <a:gd name="T6" fmla="*/ 2147483647 w 127"/>
              <a:gd name="T7" fmla="*/ 2147483647 h 58"/>
              <a:gd name="T8" fmla="*/ 2147483647 w 127"/>
              <a:gd name="T9" fmla="*/ 2147483647 h 58"/>
              <a:gd name="T10" fmla="*/ 2147483647 w 127"/>
              <a:gd name="T11" fmla="*/ 2147483647 h 58"/>
              <a:gd name="T12" fmla="*/ 2147483647 w 127"/>
              <a:gd name="T13" fmla="*/ 2147483647 h 58"/>
              <a:gd name="T14" fmla="*/ 2147483647 w 127"/>
              <a:gd name="T15" fmla="*/ 2147483647 h 58"/>
              <a:gd name="T16" fmla="*/ 2147483647 w 127"/>
              <a:gd name="T17" fmla="*/ 2147483647 h 58"/>
              <a:gd name="T18" fmla="*/ 2147483647 w 127"/>
              <a:gd name="T19" fmla="*/ 2147483647 h 58"/>
              <a:gd name="T20" fmla="*/ 2147483647 w 127"/>
              <a:gd name="T21" fmla="*/ 2147483647 h 58"/>
              <a:gd name="T22" fmla="*/ 2147483647 w 127"/>
              <a:gd name="T23" fmla="*/ 2147483647 h 58"/>
              <a:gd name="T24" fmla="*/ 2147483647 w 127"/>
              <a:gd name="T25" fmla="*/ 2147483647 h 58"/>
              <a:gd name="T26" fmla="*/ 2147483647 w 127"/>
              <a:gd name="T27" fmla="*/ 2147483647 h 58"/>
              <a:gd name="T28" fmla="*/ 0 w 127"/>
              <a:gd name="T29" fmla="*/ 2147483647 h 58"/>
              <a:gd name="T30" fmla="*/ 2147483647 w 127"/>
              <a:gd name="T31" fmla="*/ 0 h 58"/>
              <a:gd name="T32" fmla="*/ 2147483647 w 127"/>
              <a:gd name="T33" fmla="*/ 2147483647 h 58"/>
              <a:gd name="T34" fmla="*/ 2147483647 w 127"/>
              <a:gd name="T35" fmla="*/ 2147483647 h 58"/>
              <a:gd name="T36" fmla="*/ 2147483647 w 127"/>
              <a:gd name="T37" fmla="*/ 2147483647 h 58"/>
              <a:gd name="T38" fmla="*/ 2147483647 w 127"/>
              <a:gd name="T39" fmla="*/ 2147483647 h 58"/>
              <a:gd name="T40" fmla="*/ 2147483647 w 127"/>
              <a:gd name="T41" fmla="*/ 2147483647 h 58"/>
              <a:gd name="T42" fmla="*/ 2147483647 w 127"/>
              <a:gd name="T43" fmla="*/ 2147483647 h 58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127"/>
              <a:gd name="T67" fmla="*/ 0 h 58"/>
              <a:gd name="T68" fmla="*/ 127 w 127"/>
              <a:gd name="T69" fmla="*/ 58 h 58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127" h="58">
                <a:moveTo>
                  <a:pt x="104" y="17"/>
                </a:moveTo>
                <a:lnTo>
                  <a:pt x="127" y="34"/>
                </a:lnTo>
                <a:lnTo>
                  <a:pt x="126" y="36"/>
                </a:lnTo>
                <a:lnTo>
                  <a:pt x="120" y="41"/>
                </a:lnTo>
                <a:lnTo>
                  <a:pt x="115" y="42"/>
                </a:lnTo>
                <a:lnTo>
                  <a:pt x="115" y="45"/>
                </a:lnTo>
                <a:lnTo>
                  <a:pt x="109" y="52"/>
                </a:lnTo>
                <a:lnTo>
                  <a:pt x="98" y="53"/>
                </a:lnTo>
                <a:lnTo>
                  <a:pt x="92" y="54"/>
                </a:lnTo>
                <a:lnTo>
                  <a:pt x="85" y="53"/>
                </a:lnTo>
                <a:lnTo>
                  <a:pt x="55" y="49"/>
                </a:lnTo>
                <a:lnTo>
                  <a:pt x="43" y="58"/>
                </a:lnTo>
                <a:lnTo>
                  <a:pt x="32" y="53"/>
                </a:lnTo>
                <a:lnTo>
                  <a:pt x="5" y="27"/>
                </a:lnTo>
                <a:lnTo>
                  <a:pt x="0" y="18"/>
                </a:lnTo>
                <a:lnTo>
                  <a:pt x="43" y="0"/>
                </a:lnTo>
                <a:lnTo>
                  <a:pt x="48" y="3"/>
                </a:lnTo>
                <a:lnTo>
                  <a:pt x="50" y="1"/>
                </a:lnTo>
                <a:lnTo>
                  <a:pt x="75" y="11"/>
                </a:lnTo>
                <a:lnTo>
                  <a:pt x="80" y="17"/>
                </a:lnTo>
                <a:lnTo>
                  <a:pt x="90" y="16"/>
                </a:lnTo>
                <a:lnTo>
                  <a:pt x="104" y="1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23" name="Freeform 206"/>
          <p:cNvSpPr>
            <a:spLocks/>
          </p:cNvSpPr>
          <p:nvPr/>
        </p:nvSpPr>
        <p:spPr bwMode="auto">
          <a:xfrm>
            <a:off x="4481513" y="3001963"/>
            <a:ext cx="90487" cy="55562"/>
          </a:xfrm>
          <a:custGeom>
            <a:avLst/>
            <a:gdLst>
              <a:gd name="T0" fmla="*/ 2147483647 w 70"/>
              <a:gd name="T1" fmla="*/ 0 h 43"/>
              <a:gd name="T2" fmla="*/ 0 w 70"/>
              <a:gd name="T3" fmla="*/ 2147483647 h 43"/>
              <a:gd name="T4" fmla="*/ 2147483647 w 70"/>
              <a:gd name="T5" fmla="*/ 2147483647 h 43"/>
              <a:gd name="T6" fmla="*/ 2147483647 w 70"/>
              <a:gd name="T7" fmla="*/ 2147483647 h 43"/>
              <a:gd name="T8" fmla="*/ 2147483647 w 70"/>
              <a:gd name="T9" fmla="*/ 2147483647 h 43"/>
              <a:gd name="T10" fmla="*/ 2147483647 w 70"/>
              <a:gd name="T11" fmla="*/ 2147483647 h 43"/>
              <a:gd name="T12" fmla="*/ 2147483647 w 70"/>
              <a:gd name="T13" fmla="*/ 2147483647 h 43"/>
              <a:gd name="T14" fmla="*/ 2147483647 w 70"/>
              <a:gd name="T15" fmla="*/ 2147483647 h 43"/>
              <a:gd name="T16" fmla="*/ 2147483647 w 70"/>
              <a:gd name="T17" fmla="*/ 2147483647 h 43"/>
              <a:gd name="T18" fmla="*/ 2147483647 w 70"/>
              <a:gd name="T19" fmla="*/ 2147483647 h 43"/>
              <a:gd name="T20" fmla="*/ 2147483647 w 70"/>
              <a:gd name="T21" fmla="*/ 2147483647 h 43"/>
              <a:gd name="T22" fmla="*/ 2147483647 w 70"/>
              <a:gd name="T23" fmla="*/ 2147483647 h 43"/>
              <a:gd name="T24" fmla="*/ 2147483647 w 70"/>
              <a:gd name="T25" fmla="*/ 2147483647 h 43"/>
              <a:gd name="T26" fmla="*/ 2147483647 w 70"/>
              <a:gd name="T27" fmla="*/ 2147483647 h 43"/>
              <a:gd name="T28" fmla="*/ 2147483647 w 70"/>
              <a:gd name="T29" fmla="*/ 0 h 43"/>
              <a:gd name="T30" fmla="*/ 2147483647 w 70"/>
              <a:gd name="T31" fmla="*/ 0 h 4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70"/>
              <a:gd name="T49" fmla="*/ 0 h 43"/>
              <a:gd name="T50" fmla="*/ 70 w 70"/>
              <a:gd name="T51" fmla="*/ 43 h 43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70" h="43">
                <a:moveTo>
                  <a:pt x="16" y="0"/>
                </a:moveTo>
                <a:lnTo>
                  <a:pt x="0" y="6"/>
                </a:lnTo>
                <a:lnTo>
                  <a:pt x="7" y="14"/>
                </a:lnTo>
                <a:lnTo>
                  <a:pt x="32" y="31"/>
                </a:lnTo>
                <a:lnTo>
                  <a:pt x="41" y="30"/>
                </a:lnTo>
                <a:lnTo>
                  <a:pt x="43" y="32"/>
                </a:lnTo>
                <a:lnTo>
                  <a:pt x="62" y="43"/>
                </a:lnTo>
                <a:lnTo>
                  <a:pt x="64" y="43"/>
                </a:lnTo>
                <a:lnTo>
                  <a:pt x="64" y="39"/>
                </a:lnTo>
                <a:lnTo>
                  <a:pt x="68" y="28"/>
                </a:lnTo>
                <a:lnTo>
                  <a:pt x="70" y="16"/>
                </a:lnTo>
                <a:lnTo>
                  <a:pt x="66" y="14"/>
                </a:lnTo>
                <a:lnTo>
                  <a:pt x="60" y="9"/>
                </a:lnTo>
                <a:lnTo>
                  <a:pt x="56" y="1"/>
                </a:lnTo>
                <a:lnTo>
                  <a:pt x="31" y="0"/>
                </a:lnTo>
                <a:lnTo>
                  <a:pt x="16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24" name="Freeform 207"/>
          <p:cNvSpPr>
            <a:spLocks/>
          </p:cNvSpPr>
          <p:nvPr/>
        </p:nvSpPr>
        <p:spPr bwMode="auto">
          <a:xfrm>
            <a:off x="4567238" y="2886075"/>
            <a:ext cx="222250" cy="246063"/>
          </a:xfrm>
          <a:custGeom>
            <a:avLst/>
            <a:gdLst>
              <a:gd name="T0" fmla="*/ 2147483647 w 167"/>
              <a:gd name="T1" fmla="*/ 2147483647 h 180"/>
              <a:gd name="T2" fmla="*/ 2147483647 w 167"/>
              <a:gd name="T3" fmla="*/ 2147483647 h 180"/>
              <a:gd name="T4" fmla="*/ 2147483647 w 167"/>
              <a:gd name="T5" fmla="*/ 2147483647 h 180"/>
              <a:gd name="T6" fmla="*/ 2147483647 w 167"/>
              <a:gd name="T7" fmla="*/ 2147483647 h 180"/>
              <a:gd name="T8" fmla="*/ 2147483647 w 167"/>
              <a:gd name="T9" fmla="*/ 2147483647 h 180"/>
              <a:gd name="T10" fmla="*/ 2147483647 w 167"/>
              <a:gd name="T11" fmla="*/ 2147483647 h 180"/>
              <a:gd name="T12" fmla="*/ 2147483647 w 167"/>
              <a:gd name="T13" fmla="*/ 2147483647 h 180"/>
              <a:gd name="T14" fmla="*/ 2147483647 w 167"/>
              <a:gd name="T15" fmla="*/ 2147483647 h 180"/>
              <a:gd name="T16" fmla="*/ 2147483647 w 167"/>
              <a:gd name="T17" fmla="*/ 0 h 180"/>
              <a:gd name="T18" fmla="*/ 2147483647 w 167"/>
              <a:gd name="T19" fmla="*/ 2147483647 h 180"/>
              <a:gd name="T20" fmla="*/ 2147483647 w 167"/>
              <a:gd name="T21" fmla="*/ 2147483647 h 180"/>
              <a:gd name="T22" fmla="*/ 2147483647 w 167"/>
              <a:gd name="T23" fmla="*/ 2147483647 h 180"/>
              <a:gd name="T24" fmla="*/ 2147483647 w 167"/>
              <a:gd name="T25" fmla="*/ 2147483647 h 180"/>
              <a:gd name="T26" fmla="*/ 2147483647 w 167"/>
              <a:gd name="T27" fmla="*/ 2147483647 h 180"/>
              <a:gd name="T28" fmla="*/ 2147483647 w 167"/>
              <a:gd name="T29" fmla="*/ 2147483647 h 180"/>
              <a:gd name="T30" fmla="*/ 2147483647 w 167"/>
              <a:gd name="T31" fmla="*/ 2147483647 h 180"/>
              <a:gd name="T32" fmla="*/ 2147483647 w 167"/>
              <a:gd name="T33" fmla="*/ 2147483647 h 180"/>
              <a:gd name="T34" fmla="*/ 2147483647 w 167"/>
              <a:gd name="T35" fmla="*/ 2147483647 h 180"/>
              <a:gd name="T36" fmla="*/ 2147483647 w 167"/>
              <a:gd name="T37" fmla="*/ 2147483647 h 180"/>
              <a:gd name="T38" fmla="*/ 2147483647 w 167"/>
              <a:gd name="T39" fmla="*/ 2147483647 h 180"/>
              <a:gd name="T40" fmla="*/ 2147483647 w 167"/>
              <a:gd name="T41" fmla="*/ 2147483647 h 180"/>
              <a:gd name="T42" fmla="*/ 2147483647 w 167"/>
              <a:gd name="T43" fmla="*/ 2147483647 h 180"/>
              <a:gd name="T44" fmla="*/ 2147483647 w 167"/>
              <a:gd name="T45" fmla="*/ 2147483647 h 180"/>
              <a:gd name="T46" fmla="*/ 2147483647 w 167"/>
              <a:gd name="T47" fmla="*/ 2147483647 h 180"/>
              <a:gd name="T48" fmla="*/ 2147483647 w 167"/>
              <a:gd name="T49" fmla="*/ 2147483647 h 180"/>
              <a:gd name="T50" fmla="*/ 2147483647 w 167"/>
              <a:gd name="T51" fmla="*/ 2147483647 h 180"/>
              <a:gd name="T52" fmla="*/ 2147483647 w 167"/>
              <a:gd name="T53" fmla="*/ 2147483647 h 180"/>
              <a:gd name="T54" fmla="*/ 2147483647 w 167"/>
              <a:gd name="T55" fmla="*/ 2147483647 h 180"/>
              <a:gd name="T56" fmla="*/ 2147483647 w 167"/>
              <a:gd name="T57" fmla="*/ 2147483647 h 180"/>
              <a:gd name="T58" fmla="*/ 2147483647 w 167"/>
              <a:gd name="T59" fmla="*/ 2147483647 h 180"/>
              <a:gd name="T60" fmla="*/ 2147483647 w 167"/>
              <a:gd name="T61" fmla="*/ 2147483647 h 180"/>
              <a:gd name="T62" fmla="*/ 2147483647 w 167"/>
              <a:gd name="T63" fmla="*/ 2147483647 h 180"/>
              <a:gd name="T64" fmla="*/ 2147483647 w 167"/>
              <a:gd name="T65" fmla="*/ 2147483647 h 180"/>
              <a:gd name="T66" fmla="*/ 2147483647 w 167"/>
              <a:gd name="T67" fmla="*/ 2147483647 h 180"/>
              <a:gd name="T68" fmla="*/ 2147483647 w 167"/>
              <a:gd name="T69" fmla="*/ 2147483647 h 180"/>
              <a:gd name="T70" fmla="*/ 2147483647 w 167"/>
              <a:gd name="T71" fmla="*/ 2147483647 h 180"/>
              <a:gd name="T72" fmla="*/ 2147483647 w 167"/>
              <a:gd name="T73" fmla="*/ 2147483647 h 180"/>
              <a:gd name="T74" fmla="*/ 2147483647 w 167"/>
              <a:gd name="T75" fmla="*/ 2147483647 h 180"/>
              <a:gd name="T76" fmla="*/ 2147483647 w 167"/>
              <a:gd name="T77" fmla="*/ 2147483647 h 180"/>
              <a:gd name="T78" fmla="*/ 2147483647 w 167"/>
              <a:gd name="T79" fmla="*/ 2147483647 h 180"/>
              <a:gd name="T80" fmla="*/ 2147483647 w 167"/>
              <a:gd name="T81" fmla="*/ 2147483647 h 180"/>
              <a:gd name="T82" fmla="*/ 2147483647 w 167"/>
              <a:gd name="T83" fmla="*/ 2147483647 h 180"/>
              <a:gd name="T84" fmla="*/ 2147483647 w 167"/>
              <a:gd name="T85" fmla="*/ 2147483647 h 180"/>
              <a:gd name="T86" fmla="*/ 0 w 167"/>
              <a:gd name="T87" fmla="*/ 2147483647 h 180"/>
              <a:gd name="T88" fmla="*/ 2147483647 w 167"/>
              <a:gd name="T89" fmla="*/ 2147483647 h 180"/>
              <a:gd name="T90" fmla="*/ 2147483647 w 167"/>
              <a:gd name="T91" fmla="*/ 2147483647 h 180"/>
              <a:gd name="T92" fmla="*/ 2147483647 w 167"/>
              <a:gd name="T93" fmla="*/ 2147483647 h 180"/>
              <a:gd name="T94" fmla="*/ 2147483647 w 167"/>
              <a:gd name="T95" fmla="*/ 2147483647 h 180"/>
              <a:gd name="T96" fmla="*/ 2147483647 w 167"/>
              <a:gd name="T97" fmla="*/ 2147483647 h 180"/>
              <a:gd name="T98" fmla="*/ 2147483647 w 167"/>
              <a:gd name="T99" fmla="*/ 2147483647 h 180"/>
              <a:gd name="T100" fmla="*/ 2147483647 w 167"/>
              <a:gd name="T101" fmla="*/ 2147483647 h 18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67"/>
              <a:gd name="T154" fmla="*/ 0 h 180"/>
              <a:gd name="T155" fmla="*/ 167 w 167"/>
              <a:gd name="T156" fmla="*/ 180 h 180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67" h="180">
                <a:moveTo>
                  <a:pt x="40" y="32"/>
                </a:moveTo>
                <a:lnTo>
                  <a:pt x="43" y="33"/>
                </a:lnTo>
                <a:lnTo>
                  <a:pt x="43" y="30"/>
                </a:lnTo>
                <a:lnTo>
                  <a:pt x="50" y="25"/>
                </a:lnTo>
                <a:lnTo>
                  <a:pt x="64" y="31"/>
                </a:lnTo>
                <a:lnTo>
                  <a:pt x="56" y="24"/>
                </a:lnTo>
                <a:lnTo>
                  <a:pt x="50" y="14"/>
                </a:lnTo>
                <a:lnTo>
                  <a:pt x="49" y="12"/>
                </a:lnTo>
                <a:lnTo>
                  <a:pt x="44" y="0"/>
                </a:lnTo>
                <a:lnTo>
                  <a:pt x="59" y="2"/>
                </a:lnTo>
                <a:lnTo>
                  <a:pt x="65" y="2"/>
                </a:lnTo>
                <a:lnTo>
                  <a:pt x="67" y="9"/>
                </a:lnTo>
                <a:lnTo>
                  <a:pt x="88" y="12"/>
                </a:lnTo>
                <a:lnTo>
                  <a:pt x="86" y="19"/>
                </a:lnTo>
                <a:lnTo>
                  <a:pt x="92" y="21"/>
                </a:lnTo>
                <a:lnTo>
                  <a:pt x="119" y="10"/>
                </a:lnTo>
                <a:lnTo>
                  <a:pt x="118" y="12"/>
                </a:lnTo>
                <a:lnTo>
                  <a:pt x="140" y="20"/>
                </a:lnTo>
                <a:lnTo>
                  <a:pt x="149" y="19"/>
                </a:lnTo>
                <a:lnTo>
                  <a:pt x="156" y="26"/>
                </a:lnTo>
                <a:lnTo>
                  <a:pt x="150" y="28"/>
                </a:lnTo>
                <a:lnTo>
                  <a:pt x="152" y="50"/>
                </a:lnTo>
                <a:lnTo>
                  <a:pt x="163" y="76"/>
                </a:lnTo>
                <a:lnTo>
                  <a:pt x="167" y="96"/>
                </a:lnTo>
                <a:lnTo>
                  <a:pt x="162" y="93"/>
                </a:lnTo>
                <a:lnTo>
                  <a:pt x="119" y="111"/>
                </a:lnTo>
                <a:lnTo>
                  <a:pt x="124" y="120"/>
                </a:lnTo>
                <a:lnTo>
                  <a:pt x="151" y="146"/>
                </a:lnTo>
                <a:lnTo>
                  <a:pt x="136" y="159"/>
                </a:lnTo>
                <a:lnTo>
                  <a:pt x="139" y="172"/>
                </a:lnTo>
                <a:lnTo>
                  <a:pt x="133" y="175"/>
                </a:lnTo>
                <a:lnTo>
                  <a:pt x="110" y="175"/>
                </a:lnTo>
                <a:lnTo>
                  <a:pt x="94" y="175"/>
                </a:lnTo>
                <a:lnTo>
                  <a:pt x="88" y="180"/>
                </a:lnTo>
                <a:lnTo>
                  <a:pt x="71" y="176"/>
                </a:lnTo>
                <a:lnTo>
                  <a:pt x="52" y="172"/>
                </a:lnTo>
                <a:lnTo>
                  <a:pt x="32" y="175"/>
                </a:lnTo>
                <a:lnTo>
                  <a:pt x="41" y="140"/>
                </a:lnTo>
                <a:lnTo>
                  <a:pt x="11" y="130"/>
                </a:lnTo>
                <a:lnTo>
                  <a:pt x="7" y="129"/>
                </a:lnTo>
                <a:lnTo>
                  <a:pt x="7" y="127"/>
                </a:lnTo>
                <a:lnTo>
                  <a:pt x="2" y="112"/>
                </a:lnTo>
                <a:lnTo>
                  <a:pt x="4" y="100"/>
                </a:lnTo>
                <a:lnTo>
                  <a:pt x="0" y="98"/>
                </a:lnTo>
                <a:lnTo>
                  <a:pt x="2" y="72"/>
                </a:lnTo>
                <a:lnTo>
                  <a:pt x="18" y="63"/>
                </a:lnTo>
                <a:lnTo>
                  <a:pt x="12" y="52"/>
                </a:lnTo>
                <a:lnTo>
                  <a:pt x="20" y="39"/>
                </a:lnTo>
                <a:lnTo>
                  <a:pt x="17" y="37"/>
                </a:lnTo>
                <a:lnTo>
                  <a:pt x="20" y="28"/>
                </a:lnTo>
                <a:lnTo>
                  <a:pt x="40" y="3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25" name="Freeform 208"/>
          <p:cNvSpPr>
            <a:spLocks/>
          </p:cNvSpPr>
          <p:nvPr/>
        </p:nvSpPr>
        <p:spPr bwMode="auto">
          <a:xfrm>
            <a:off x="4735513" y="2898775"/>
            <a:ext cx="15875" cy="3175"/>
          </a:xfrm>
          <a:custGeom>
            <a:avLst/>
            <a:gdLst>
              <a:gd name="T0" fmla="*/ 0 w 12"/>
              <a:gd name="T1" fmla="*/ 0 h 5"/>
              <a:gd name="T2" fmla="*/ 2147483647 w 12"/>
              <a:gd name="T3" fmla="*/ 0 h 5"/>
              <a:gd name="T4" fmla="*/ 2147483647 w 12"/>
              <a:gd name="T5" fmla="*/ 0 h 5"/>
              <a:gd name="T6" fmla="*/ 0 w 12"/>
              <a:gd name="T7" fmla="*/ 0 h 5"/>
              <a:gd name="T8" fmla="*/ 0 60000 65536"/>
              <a:gd name="T9" fmla="*/ 0 60000 65536"/>
              <a:gd name="T10" fmla="*/ 0 60000 65536"/>
              <a:gd name="T11" fmla="*/ 0 60000 65536"/>
              <a:gd name="T12" fmla="*/ 0 w 12"/>
              <a:gd name="T13" fmla="*/ 0 h 5"/>
              <a:gd name="T14" fmla="*/ 12 w 12"/>
              <a:gd name="T15" fmla="*/ 5 h 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2" h="5">
                <a:moveTo>
                  <a:pt x="0" y="5"/>
                </a:moveTo>
                <a:lnTo>
                  <a:pt x="12" y="5"/>
                </a:lnTo>
                <a:lnTo>
                  <a:pt x="6" y="0"/>
                </a:lnTo>
                <a:lnTo>
                  <a:pt x="0" y="5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26" name="Freeform 209"/>
          <p:cNvSpPr>
            <a:spLocks/>
          </p:cNvSpPr>
          <p:nvPr/>
        </p:nvSpPr>
        <p:spPr bwMode="auto">
          <a:xfrm>
            <a:off x="4564063" y="3040063"/>
            <a:ext cx="12700" cy="23812"/>
          </a:xfrm>
          <a:custGeom>
            <a:avLst/>
            <a:gdLst>
              <a:gd name="T0" fmla="*/ 2147483647 w 11"/>
              <a:gd name="T1" fmla="*/ 0 h 17"/>
              <a:gd name="T2" fmla="*/ 2147483647 w 11"/>
              <a:gd name="T3" fmla="*/ 2147483647 h 17"/>
              <a:gd name="T4" fmla="*/ 2147483647 w 11"/>
              <a:gd name="T5" fmla="*/ 2147483647 h 17"/>
              <a:gd name="T6" fmla="*/ 0 w 11"/>
              <a:gd name="T7" fmla="*/ 2147483647 h 17"/>
              <a:gd name="T8" fmla="*/ 2147483647 w 11"/>
              <a:gd name="T9" fmla="*/ 2147483647 h 17"/>
              <a:gd name="T10" fmla="*/ 2147483647 w 11"/>
              <a:gd name="T11" fmla="*/ 2147483647 h 17"/>
              <a:gd name="T12" fmla="*/ 2147483647 w 11"/>
              <a:gd name="T13" fmla="*/ 0 h 1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"/>
              <a:gd name="T22" fmla="*/ 0 h 17"/>
              <a:gd name="T23" fmla="*/ 11 w 11"/>
              <a:gd name="T24" fmla="*/ 17 h 1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" h="17">
                <a:moveTo>
                  <a:pt x="6" y="0"/>
                </a:moveTo>
                <a:lnTo>
                  <a:pt x="2" y="11"/>
                </a:lnTo>
                <a:lnTo>
                  <a:pt x="2" y="15"/>
                </a:lnTo>
                <a:lnTo>
                  <a:pt x="0" y="15"/>
                </a:lnTo>
                <a:lnTo>
                  <a:pt x="11" y="17"/>
                </a:lnTo>
                <a:lnTo>
                  <a:pt x="11" y="15"/>
                </a:lnTo>
                <a:lnTo>
                  <a:pt x="6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27" name="Freeform 210"/>
          <p:cNvSpPr>
            <a:spLocks/>
          </p:cNvSpPr>
          <p:nvPr/>
        </p:nvSpPr>
        <p:spPr bwMode="auto">
          <a:xfrm>
            <a:off x="5094288" y="3084513"/>
            <a:ext cx="114300" cy="120650"/>
          </a:xfrm>
          <a:custGeom>
            <a:avLst/>
            <a:gdLst>
              <a:gd name="T0" fmla="*/ 2147483647 w 87"/>
              <a:gd name="T1" fmla="*/ 0 h 86"/>
              <a:gd name="T2" fmla="*/ 0 w 87"/>
              <a:gd name="T3" fmla="*/ 2147483647 h 86"/>
              <a:gd name="T4" fmla="*/ 2147483647 w 87"/>
              <a:gd name="T5" fmla="*/ 2147483647 h 86"/>
              <a:gd name="T6" fmla="*/ 2147483647 w 87"/>
              <a:gd name="T7" fmla="*/ 2147483647 h 86"/>
              <a:gd name="T8" fmla="*/ 2147483647 w 87"/>
              <a:gd name="T9" fmla="*/ 2147483647 h 86"/>
              <a:gd name="T10" fmla="*/ 2147483647 w 87"/>
              <a:gd name="T11" fmla="*/ 2147483647 h 86"/>
              <a:gd name="T12" fmla="*/ 2147483647 w 87"/>
              <a:gd name="T13" fmla="*/ 2147483647 h 86"/>
              <a:gd name="T14" fmla="*/ 2147483647 w 87"/>
              <a:gd name="T15" fmla="*/ 2147483647 h 86"/>
              <a:gd name="T16" fmla="*/ 2147483647 w 87"/>
              <a:gd name="T17" fmla="*/ 2147483647 h 86"/>
              <a:gd name="T18" fmla="*/ 2147483647 w 87"/>
              <a:gd name="T19" fmla="*/ 2147483647 h 86"/>
              <a:gd name="T20" fmla="*/ 2147483647 w 87"/>
              <a:gd name="T21" fmla="*/ 2147483647 h 86"/>
              <a:gd name="T22" fmla="*/ 2147483647 w 87"/>
              <a:gd name="T23" fmla="*/ 2147483647 h 86"/>
              <a:gd name="T24" fmla="*/ 2147483647 w 87"/>
              <a:gd name="T25" fmla="*/ 2147483647 h 86"/>
              <a:gd name="T26" fmla="*/ 2147483647 w 87"/>
              <a:gd name="T27" fmla="*/ 2147483647 h 86"/>
              <a:gd name="T28" fmla="*/ 2147483647 w 87"/>
              <a:gd name="T29" fmla="*/ 2147483647 h 86"/>
              <a:gd name="T30" fmla="*/ 2147483647 w 87"/>
              <a:gd name="T31" fmla="*/ 0 h 8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87"/>
              <a:gd name="T49" fmla="*/ 0 h 86"/>
              <a:gd name="T50" fmla="*/ 87 w 87"/>
              <a:gd name="T51" fmla="*/ 86 h 8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87" h="86">
                <a:moveTo>
                  <a:pt x="18" y="0"/>
                </a:moveTo>
                <a:lnTo>
                  <a:pt x="0" y="13"/>
                </a:lnTo>
                <a:lnTo>
                  <a:pt x="3" y="13"/>
                </a:lnTo>
                <a:lnTo>
                  <a:pt x="17" y="27"/>
                </a:lnTo>
                <a:lnTo>
                  <a:pt x="32" y="42"/>
                </a:lnTo>
                <a:lnTo>
                  <a:pt x="38" y="62"/>
                </a:lnTo>
                <a:lnTo>
                  <a:pt x="44" y="83"/>
                </a:lnTo>
                <a:lnTo>
                  <a:pt x="59" y="83"/>
                </a:lnTo>
                <a:lnTo>
                  <a:pt x="71" y="86"/>
                </a:lnTo>
                <a:lnTo>
                  <a:pt x="70" y="75"/>
                </a:lnTo>
                <a:lnTo>
                  <a:pt x="87" y="60"/>
                </a:lnTo>
                <a:lnTo>
                  <a:pt x="71" y="45"/>
                </a:lnTo>
                <a:lnTo>
                  <a:pt x="56" y="31"/>
                </a:lnTo>
                <a:lnTo>
                  <a:pt x="40" y="17"/>
                </a:lnTo>
                <a:lnTo>
                  <a:pt x="24" y="2"/>
                </a:lnTo>
                <a:lnTo>
                  <a:pt x="18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28" name="Freeform 211"/>
          <p:cNvSpPr>
            <a:spLocks/>
          </p:cNvSpPr>
          <p:nvPr/>
        </p:nvSpPr>
        <p:spPr bwMode="auto">
          <a:xfrm>
            <a:off x="4533900" y="2393950"/>
            <a:ext cx="530225" cy="390525"/>
          </a:xfrm>
          <a:custGeom>
            <a:avLst/>
            <a:gdLst>
              <a:gd name="T0" fmla="*/ 2147483647 w 400"/>
              <a:gd name="T1" fmla="*/ 2147483647 h 283"/>
              <a:gd name="T2" fmla="*/ 2147483647 w 400"/>
              <a:gd name="T3" fmla="*/ 2147483647 h 283"/>
              <a:gd name="T4" fmla="*/ 2147483647 w 400"/>
              <a:gd name="T5" fmla="*/ 2147483647 h 283"/>
              <a:gd name="T6" fmla="*/ 2147483647 w 400"/>
              <a:gd name="T7" fmla="*/ 2147483647 h 283"/>
              <a:gd name="T8" fmla="*/ 2147483647 w 400"/>
              <a:gd name="T9" fmla="*/ 2147483647 h 283"/>
              <a:gd name="T10" fmla="*/ 2147483647 w 400"/>
              <a:gd name="T11" fmla="*/ 2147483647 h 283"/>
              <a:gd name="T12" fmla="*/ 2147483647 w 400"/>
              <a:gd name="T13" fmla="*/ 2147483647 h 283"/>
              <a:gd name="T14" fmla="*/ 2147483647 w 400"/>
              <a:gd name="T15" fmla="*/ 2147483647 h 283"/>
              <a:gd name="T16" fmla="*/ 2147483647 w 400"/>
              <a:gd name="T17" fmla="*/ 2147483647 h 283"/>
              <a:gd name="T18" fmla="*/ 2147483647 w 400"/>
              <a:gd name="T19" fmla="*/ 2147483647 h 283"/>
              <a:gd name="T20" fmla="*/ 2147483647 w 400"/>
              <a:gd name="T21" fmla="*/ 2147483647 h 283"/>
              <a:gd name="T22" fmla="*/ 2147483647 w 400"/>
              <a:gd name="T23" fmla="*/ 2147483647 h 283"/>
              <a:gd name="T24" fmla="*/ 2147483647 w 400"/>
              <a:gd name="T25" fmla="*/ 2147483647 h 283"/>
              <a:gd name="T26" fmla="*/ 2147483647 w 400"/>
              <a:gd name="T27" fmla="*/ 2147483647 h 283"/>
              <a:gd name="T28" fmla="*/ 2147483647 w 400"/>
              <a:gd name="T29" fmla="*/ 2147483647 h 283"/>
              <a:gd name="T30" fmla="*/ 2147483647 w 400"/>
              <a:gd name="T31" fmla="*/ 2147483647 h 283"/>
              <a:gd name="T32" fmla="*/ 2147483647 w 400"/>
              <a:gd name="T33" fmla="*/ 2147483647 h 283"/>
              <a:gd name="T34" fmla="*/ 2147483647 w 400"/>
              <a:gd name="T35" fmla="*/ 2147483647 h 283"/>
              <a:gd name="T36" fmla="*/ 2147483647 w 400"/>
              <a:gd name="T37" fmla="*/ 2147483647 h 283"/>
              <a:gd name="T38" fmla="*/ 2147483647 w 400"/>
              <a:gd name="T39" fmla="*/ 2147483647 h 283"/>
              <a:gd name="T40" fmla="*/ 2147483647 w 400"/>
              <a:gd name="T41" fmla="*/ 2147483647 h 283"/>
              <a:gd name="T42" fmla="*/ 2147483647 w 400"/>
              <a:gd name="T43" fmla="*/ 2147483647 h 283"/>
              <a:gd name="T44" fmla="*/ 2147483647 w 400"/>
              <a:gd name="T45" fmla="*/ 2147483647 h 283"/>
              <a:gd name="T46" fmla="*/ 2147483647 w 400"/>
              <a:gd name="T47" fmla="*/ 2147483647 h 283"/>
              <a:gd name="T48" fmla="*/ 2147483647 w 400"/>
              <a:gd name="T49" fmla="*/ 2147483647 h 283"/>
              <a:gd name="T50" fmla="*/ 0 w 400"/>
              <a:gd name="T51" fmla="*/ 2147483647 h 283"/>
              <a:gd name="T52" fmla="*/ 0 w 400"/>
              <a:gd name="T53" fmla="*/ 2147483647 h 283"/>
              <a:gd name="T54" fmla="*/ 2147483647 w 400"/>
              <a:gd name="T55" fmla="*/ 2147483647 h 283"/>
              <a:gd name="T56" fmla="*/ 2147483647 w 400"/>
              <a:gd name="T57" fmla="*/ 2147483647 h 283"/>
              <a:gd name="T58" fmla="*/ 2147483647 w 400"/>
              <a:gd name="T59" fmla="*/ 2147483647 h 283"/>
              <a:gd name="T60" fmla="*/ 2147483647 w 400"/>
              <a:gd name="T61" fmla="*/ 2147483647 h 283"/>
              <a:gd name="T62" fmla="*/ 2147483647 w 400"/>
              <a:gd name="T63" fmla="*/ 2147483647 h 283"/>
              <a:gd name="T64" fmla="*/ 2147483647 w 400"/>
              <a:gd name="T65" fmla="*/ 2147483647 h 283"/>
              <a:gd name="T66" fmla="*/ 2147483647 w 400"/>
              <a:gd name="T67" fmla="*/ 2147483647 h 283"/>
              <a:gd name="T68" fmla="*/ 2147483647 w 400"/>
              <a:gd name="T69" fmla="*/ 2147483647 h 283"/>
              <a:gd name="T70" fmla="*/ 2147483647 w 400"/>
              <a:gd name="T71" fmla="*/ 2147483647 h 283"/>
              <a:gd name="T72" fmla="*/ 2147483647 w 400"/>
              <a:gd name="T73" fmla="*/ 2147483647 h 283"/>
              <a:gd name="T74" fmla="*/ 2147483647 w 400"/>
              <a:gd name="T75" fmla="*/ 2147483647 h 283"/>
              <a:gd name="T76" fmla="*/ 2147483647 w 400"/>
              <a:gd name="T77" fmla="*/ 2147483647 h 283"/>
              <a:gd name="T78" fmla="*/ 2147483647 w 400"/>
              <a:gd name="T79" fmla="*/ 2147483647 h 283"/>
              <a:gd name="T80" fmla="*/ 2147483647 w 400"/>
              <a:gd name="T81" fmla="*/ 2147483647 h 283"/>
              <a:gd name="T82" fmla="*/ 2147483647 w 400"/>
              <a:gd name="T83" fmla="*/ 2147483647 h 283"/>
              <a:gd name="T84" fmla="*/ 2147483647 w 400"/>
              <a:gd name="T85" fmla="*/ 2147483647 h 283"/>
              <a:gd name="T86" fmla="*/ 2147483647 w 400"/>
              <a:gd name="T87" fmla="*/ 2147483647 h 283"/>
              <a:gd name="T88" fmla="*/ 2147483647 w 400"/>
              <a:gd name="T89" fmla="*/ 2147483647 h 283"/>
              <a:gd name="T90" fmla="*/ 2147483647 w 400"/>
              <a:gd name="T91" fmla="*/ 2147483647 h 283"/>
              <a:gd name="T92" fmla="*/ 2147483647 w 400"/>
              <a:gd name="T93" fmla="*/ 2147483647 h 283"/>
              <a:gd name="T94" fmla="*/ 2147483647 w 400"/>
              <a:gd name="T95" fmla="*/ 2147483647 h 283"/>
              <a:gd name="T96" fmla="*/ 2147483647 w 400"/>
              <a:gd name="T97" fmla="*/ 2147483647 h 283"/>
              <a:gd name="T98" fmla="*/ 2147483647 w 400"/>
              <a:gd name="T99" fmla="*/ 2147483647 h 283"/>
              <a:gd name="T100" fmla="*/ 2147483647 w 400"/>
              <a:gd name="T101" fmla="*/ 2147483647 h 283"/>
              <a:gd name="T102" fmla="*/ 2147483647 w 400"/>
              <a:gd name="T103" fmla="*/ 2147483647 h 283"/>
              <a:gd name="T104" fmla="*/ 2147483647 w 400"/>
              <a:gd name="T105" fmla="*/ 2147483647 h 283"/>
              <a:gd name="T106" fmla="*/ 2147483647 w 400"/>
              <a:gd name="T107" fmla="*/ 2147483647 h 283"/>
              <a:gd name="T108" fmla="*/ 2147483647 w 400"/>
              <a:gd name="T109" fmla="*/ 2147483647 h 283"/>
              <a:gd name="T110" fmla="*/ 2147483647 w 400"/>
              <a:gd name="T111" fmla="*/ 2147483647 h 283"/>
              <a:gd name="T112" fmla="*/ 2147483647 w 400"/>
              <a:gd name="T113" fmla="*/ 2147483647 h 283"/>
              <a:gd name="T114" fmla="*/ 2147483647 w 400"/>
              <a:gd name="T115" fmla="*/ 2147483647 h 283"/>
              <a:gd name="T116" fmla="*/ 2147483647 w 400"/>
              <a:gd name="T117" fmla="*/ 2147483647 h 283"/>
              <a:gd name="T118" fmla="*/ 2147483647 w 400"/>
              <a:gd name="T119" fmla="*/ 2147483647 h 28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400"/>
              <a:gd name="T181" fmla="*/ 0 h 283"/>
              <a:gd name="T182" fmla="*/ 400 w 400"/>
              <a:gd name="T183" fmla="*/ 283 h 283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400" h="283">
                <a:moveTo>
                  <a:pt x="235" y="30"/>
                </a:moveTo>
                <a:lnTo>
                  <a:pt x="229" y="36"/>
                </a:lnTo>
                <a:lnTo>
                  <a:pt x="229" y="24"/>
                </a:lnTo>
                <a:lnTo>
                  <a:pt x="227" y="30"/>
                </a:lnTo>
                <a:lnTo>
                  <a:pt x="222" y="32"/>
                </a:lnTo>
                <a:lnTo>
                  <a:pt x="221" y="26"/>
                </a:lnTo>
                <a:lnTo>
                  <a:pt x="216" y="31"/>
                </a:lnTo>
                <a:lnTo>
                  <a:pt x="217" y="36"/>
                </a:lnTo>
                <a:lnTo>
                  <a:pt x="205" y="34"/>
                </a:lnTo>
                <a:lnTo>
                  <a:pt x="207" y="37"/>
                </a:lnTo>
                <a:lnTo>
                  <a:pt x="199" y="35"/>
                </a:lnTo>
                <a:lnTo>
                  <a:pt x="195" y="41"/>
                </a:lnTo>
                <a:lnTo>
                  <a:pt x="195" y="48"/>
                </a:lnTo>
                <a:lnTo>
                  <a:pt x="193" y="49"/>
                </a:lnTo>
                <a:lnTo>
                  <a:pt x="175" y="54"/>
                </a:lnTo>
                <a:lnTo>
                  <a:pt x="193" y="55"/>
                </a:lnTo>
                <a:lnTo>
                  <a:pt x="189" y="59"/>
                </a:lnTo>
                <a:lnTo>
                  <a:pt x="177" y="59"/>
                </a:lnTo>
                <a:lnTo>
                  <a:pt x="176" y="60"/>
                </a:lnTo>
                <a:lnTo>
                  <a:pt x="174" y="65"/>
                </a:lnTo>
                <a:lnTo>
                  <a:pt x="173" y="67"/>
                </a:lnTo>
                <a:lnTo>
                  <a:pt x="167" y="61"/>
                </a:lnTo>
                <a:lnTo>
                  <a:pt x="162" y="64"/>
                </a:lnTo>
                <a:lnTo>
                  <a:pt x="151" y="72"/>
                </a:lnTo>
                <a:lnTo>
                  <a:pt x="167" y="70"/>
                </a:lnTo>
                <a:lnTo>
                  <a:pt x="161" y="72"/>
                </a:lnTo>
                <a:lnTo>
                  <a:pt x="164" y="76"/>
                </a:lnTo>
                <a:lnTo>
                  <a:pt x="163" y="77"/>
                </a:lnTo>
                <a:lnTo>
                  <a:pt x="152" y="77"/>
                </a:lnTo>
                <a:lnTo>
                  <a:pt x="151" y="80"/>
                </a:lnTo>
                <a:lnTo>
                  <a:pt x="163" y="84"/>
                </a:lnTo>
                <a:lnTo>
                  <a:pt x="149" y="85"/>
                </a:lnTo>
                <a:lnTo>
                  <a:pt x="137" y="90"/>
                </a:lnTo>
                <a:lnTo>
                  <a:pt x="128" y="96"/>
                </a:lnTo>
                <a:lnTo>
                  <a:pt x="129" y="96"/>
                </a:lnTo>
                <a:lnTo>
                  <a:pt x="125" y="100"/>
                </a:lnTo>
                <a:lnTo>
                  <a:pt x="128" y="101"/>
                </a:lnTo>
                <a:lnTo>
                  <a:pt x="139" y="102"/>
                </a:lnTo>
                <a:lnTo>
                  <a:pt x="123" y="107"/>
                </a:lnTo>
                <a:lnTo>
                  <a:pt x="119" y="113"/>
                </a:lnTo>
                <a:lnTo>
                  <a:pt x="120" y="118"/>
                </a:lnTo>
                <a:lnTo>
                  <a:pt x="120" y="122"/>
                </a:lnTo>
                <a:lnTo>
                  <a:pt x="123" y="124"/>
                </a:lnTo>
                <a:lnTo>
                  <a:pt x="104" y="131"/>
                </a:lnTo>
                <a:lnTo>
                  <a:pt x="104" y="132"/>
                </a:lnTo>
                <a:lnTo>
                  <a:pt x="111" y="130"/>
                </a:lnTo>
                <a:lnTo>
                  <a:pt x="107" y="137"/>
                </a:lnTo>
                <a:lnTo>
                  <a:pt x="98" y="139"/>
                </a:lnTo>
                <a:lnTo>
                  <a:pt x="92" y="142"/>
                </a:lnTo>
                <a:lnTo>
                  <a:pt x="81" y="151"/>
                </a:lnTo>
                <a:lnTo>
                  <a:pt x="78" y="157"/>
                </a:lnTo>
                <a:lnTo>
                  <a:pt x="84" y="161"/>
                </a:lnTo>
                <a:lnTo>
                  <a:pt x="93" y="154"/>
                </a:lnTo>
                <a:lnTo>
                  <a:pt x="101" y="151"/>
                </a:lnTo>
                <a:lnTo>
                  <a:pt x="99" y="157"/>
                </a:lnTo>
                <a:lnTo>
                  <a:pt x="86" y="163"/>
                </a:lnTo>
                <a:lnTo>
                  <a:pt x="80" y="163"/>
                </a:lnTo>
                <a:lnTo>
                  <a:pt x="67" y="161"/>
                </a:lnTo>
                <a:lnTo>
                  <a:pt x="66" y="163"/>
                </a:lnTo>
                <a:lnTo>
                  <a:pt x="57" y="168"/>
                </a:lnTo>
                <a:lnTo>
                  <a:pt x="53" y="173"/>
                </a:lnTo>
                <a:lnTo>
                  <a:pt x="54" y="175"/>
                </a:lnTo>
                <a:lnTo>
                  <a:pt x="49" y="174"/>
                </a:lnTo>
                <a:lnTo>
                  <a:pt x="55" y="179"/>
                </a:lnTo>
                <a:lnTo>
                  <a:pt x="32" y="173"/>
                </a:lnTo>
                <a:lnTo>
                  <a:pt x="30" y="179"/>
                </a:lnTo>
                <a:lnTo>
                  <a:pt x="37" y="179"/>
                </a:lnTo>
                <a:lnTo>
                  <a:pt x="44" y="179"/>
                </a:lnTo>
                <a:lnTo>
                  <a:pt x="37" y="181"/>
                </a:lnTo>
                <a:lnTo>
                  <a:pt x="23" y="184"/>
                </a:lnTo>
                <a:lnTo>
                  <a:pt x="33" y="190"/>
                </a:lnTo>
                <a:lnTo>
                  <a:pt x="31" y="191"/>
                </a:lnTo>
                <a:lnTo>
                  <a:pt x="21" y="186"/>
                </a:lnTo>
                <a:lnTo>
                  <a:pt x="21" y="190"/>
                </a:lnTo>
                <a:lnTo>
                  <a:pt x="13" y="191"/>
                </a:lnTo>
                <a:lnTo>
                  <a:pt x="14" y="193"/>
                </a:lnTo>
                <a:lnTo>
                  <a:pt x="6" y="193"/>
                </a:lnTo>
                <a:lnTo>
                  <a:pt x="0" y="193"/>
                </a:lnTo>
                <a:lnTo>
                  <a:pt x="0" y="197"/>
                </a:lnTo>
                <a:lnTo>
                  <a:pt x="24" y="199"/>
                </a:lnTo>
                <a:lnTo>
                  <a:pt x="0" y="200"/>
                </a:lnTo>
                <a:lnTo>
                  <a:pt x="7" y="208"/>
                </a:lnTo>
                <a:lnTo>
                  <a:pt x="2" y="209"/>
                </a:lnTo>
                <a:lnTo>
                  <a:pt x="3" y="209"/>
                </a:lnTo>
                <a:lnTo>
                  <a:pt x="1" y="214"/>
                </a:lnTo>
                <a:lnTo>
                  <a:pt x="25" y="211"/>
                </a:lnTo>
                <a:lnTo>
                  <a:pt x="36" y="211"/>
                </a:lnTo>
                <a:lnTo>
                  <a:pt x="38" y="209"/>
                </a:lnTo>
                <a:lnTo>
                  <a:pt x="39" y="215"/>
                </a:lnTo>
                <a:lnTo>
                  <a:pt x="36" y="218"/>
                </a:lnTo>
                <a:lnTo>
                  <a:pt x="21" y="216"/>
                </a:lnTo>
                <a:lnTo>
                  <a:pt x="0" y="218"/>
                </a:lnTo>
                <a:lnTo>
                  <a:pt x="3" y="222"/>
                </a:lnTo>
                <a:lnTo>
                  <a:pt x="3" y="223"/>
                </a:lnTo>
                <a:lnTo>
                  <a:pt x="0" y="224"/>
                </a:lnTo>
                <a:lnTo>
                  <a:pt x="11" y="226"/>
                </a:lnTo>
                <a:lnTo>
                  <a:pt x="7" y="230"/>
                </a:lnTo>
                <a:lnTo>
                  <a:pt x="2" y="235"/>
                </a:lnTo>
                <a:lnTo>
                  <a:pt x="11" y="234"/>
                </a:lnTo>
                <a:lnTo>
                  <a:pt x="14" y="239"/>
                </a:lnTo>
                <a:lnTo>
                  <a:pt x="23" y="230"/>
                </a:lnTo>
                <a:lnTo>
                  <a:pt x="30" y="229"/>
                </a:lnTo>
                <a:lnTo>
                  <a:pt x="25" y="238"/>
                </a:lnTo>
                <a:lnTo>
                  <a:pt x="24" y="232"/>
                </a:lnTo>
                <a:lnTo>
                  <a:pt x="15" y="245"/>
                </a:lnTo>
                <a:lnTo>
                  <a:pt x="18" y="246"/>
                </a:lnTo>
                <a:lnTo>
                  <a:pt x="7" y="248"/>
                </a:lnTo>
                <a:lnTo>
                  <a:pt x="7" y="256"/>
                </a:lnTo>
                <a:lnTo>
                  <a:pt x="14" y="253"/>
                </a:lnTo>
                <a:lnTo>
                  <a:pt x="20" y="251"/>
                </a:lnTo>
                <a:lnTo>
                  <a:pt x="21" y="256"/>
                </a:lnTo>
                <a:lnTo>
                  <a:pt x="20" y="263"/>
                </a:lnTo>
                <a:lnTo>
                  <a:pt x="12" y="264"/>
                </a:lnTo>
                <a:lnTo>
                  <a:pt x="13" y="275"/>
                </a:lnTo>
                <a:lnTo>
                  <a:pt x="29" y="282"/>
                </a:lnTo>
                <a:lnTo>
                  <a:pt x="53" y="283"/>
                </a:lnTo>
                <a:lnTo>
                  <a:pt x="81" y="260"/>
                </a:lnTo>
                <a:lnTo>
                  <a:pt x="93" y="260"/>
                </a:lnTo>
                <a:lnTo>
                  <a:pt x="93" y="247"/>
                </a:lnTo>
                <a:lnTo>
                  <a:pt x="99" y="244"/>
                </a:lnTo>
                <a:lnTo>
                  <a:pt x="104" y="258"/>
                </a:lnTo>
                <a:lnTo>
                  <a:pt x="113" y="263"/>
                </a:lnTo>
                <a:lnTo>
                  <a:pt x="123" y="242"/>
                </a:lnTo>
                <a:lnTo>
                  <a:pt x="126" y="222"/>
                </a:lnTo>
                <a:lnTo>
                  <a:pt x="126" y="216"/>
                </a:lnTo>
                <a:lnTo>
                  <a:pt x="133" y="209"/>
                </a:lnTo>
                <a:lnTo>
                  <a:pt x="120" y="200"/>
                </a:lnTo>
                <a:lnTo>
                  <a:pt x="119" y="180"/>
                </a:lnTo>
                <a:lnTo>
                  <a:pt x="119" y="158"/>
                </a:lnTo>
                <a:lnTo>
                  <a:pt x="133" y="149"/>
                </a:lnTo>
                <a:lnTo>
                  <a:pt x="149" y="146"/>
                </a:lnTo>
                <a:lnTo>
                  <a:pt x="140" y="138"/>
                </a:lnTo>
                <a:lnTo>
                  <a:pt x="152" y="110"/>
                </a:lnTo>
                <a:lnTo>
                  <a:pt x="150" y="104"/>
                </a:lnTo>
                <a:lnTo>
                  <a:pt x="165" y="101"/>
                </a:lnTo>
                <a:lnTo>
                  <a:pt x="173" y="88"/>
                </a:lnTo>
                <a:lnTo>
                  <a:pt x="181" y="66"/>
                </a:lnTo>
                <a:lnTo>
                  <a:pt x="203" y="61"/>
                </a:lnTo>
                <a:lnTo>
                  <a:pt x="205" y="53"/>
                </a:lnTo>
                <a:lnTo>
                  <a:pt x="233" y="54"/>
                </a:lnTo>
                <a:lnTo>
                  <a:pt x="231" y="42"/>
                </a:lnTo>
                <a:lnTo>
                  <a:pt x="239" y="42"/>
                </a:lnTo>
                <a:lnTo>
                  <a:pt x="249" y="36"/>
                </a:lnTo>
                <a:lnTo>
                  <a:pt x="267" y="46"/>
                </a:lnTo>
                <a:lnTo>
                  <a:pt x="287" y="49"/>
                </a:lnTo>
                <a:lnTo>
                  <a:pt x="307" y="50"/>
                </a:lnTo>
                <a:lnTo>
                  <a:pt x="317" y="46"/>
                </a:lnTo>
                <a:lnTo>
                  <a:pt x="323" y="30"/>
                </a:lnTo>
                <a:lnTo>
                  <a:pt x="344" y="20"/>
                </a:lnTo>
                <a:lnTo>
                  <a:pt x="371" y="28"/>
                </a:lnTo>
                <a:lnTo>
                  <a:pt x="372" y="42"/>
                </a:lnTo>
                <a:lnTo>
                  <a:pt x="389" y="32"/>
                </a:lnTo>
                <a:lnTo>
                  <a:pt x="400" y="31"/>
                </a:lnTo>
                <a:lnTo>
                  <a:pt x="398" y="26"/>
                </a:lnTo>
                <a:lnTo>
                  <a:pt x="389" y="25"/>
                </a:lnTo>
                <a:lnTo>
                  <a:pt x="380" y="26"/>
                </a:lnTo>
                <a:lnTo>
                  <a:pt x="367" y="19"/>
                </a:lnTo>
                <a:lnTo>
                  <a:pt x="398" y="16"/>
                </a:lnTo>
                <a:lnTo>
                  <a:pt x="383" y="8"/>
                </a:lnTo>
                <a:lnTo>
                  <a:pt x="368" y="6"/>
                </a:lnTo>
                <a:lnTo>
                  <a:pt x="356" y="8"/>
                </a:lnTo>
                <a:lnTo>
                  <a:pt x="354" y="19"/>
                </a:lnTo>
                <a:lnTo>
                  <a:pt x="353" y="12"/>
                </a:lnTo>
                <a:lnTo>
                  <a:pt x="350" y="8"/>
                </a:lnTo>
                <a:lnTo>
                  <a:pt x="349" y="7"/>
                </a:lnTo>
                <a:lnTo>
                  <a:pt x="347" y="0"/>
                </a:lnTo>
                <a:lnTo>
                  <a:pt x="338" y="5"/>
                </a:lnTo>
                <a:lnTo>
                  <a:pt x="327" y="14"/>
                </a:lnTo>
                <a:lnTo>
                  <a:pt x="321" y="5"/>
                </a:lnTo>
                <a:lnTo>
                  <a:pt x="303" y="19"/>
                </a:lnTo>
                <a:lnTo>
                  <a:pt x="311" y="7"/>
                </a:lnTo>
                <a:lnTo>
                  <a:pt x="306" y="5"/>
                </a:lnTo>
                <a:lnTo>
                  <a:pt x="295" y="5"/>
                </a:lnTo>
                <a:lnTo>
                  <a:pt x="294" y="8"/>
                </a:lnTo>
                <a:lnTo>
                  <a:pt x="276" y="20"/>
                </a:lnTo>
                <a:lnTo>
                  <a:pt x="265" y="20"/>
                </a:lnTo>
                <a:lnTo>
                  <a:pt x="266" y="17"/>
                </a:lnTo>
                <a:lnTo>
                  <a:pt x="248" y="19"/>
                </a:lnTo>
                <a:lnTo>
                  <a:pt x="258" y="22"/>
                </a:lnTo>
                <a:lnTo>
                  <a:pt x="257" y="25"/>
                </a:lnTo>
                <a:lnTo>
                  <a:pt x="246" y="25"/>
                </a:lnTo>
                <a:lnTo>
                  <a:pt x="235" y="3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29" name="Freeform 212"/>
          <p:cNvSpPr>
            <a:spLocks/>
          </p:cNvSpPr>
          <p:nvPr/>
        </p:nvSpPr>
        <p:spPr bwMode="auto">
          <a:xfrm>
            <a:off x="4738688" y="2454275"/>
            <a:ext cx="30162" cy="17463"/>
          </a:xfrm>
          <a:custGeom>
            <a:avLst/>
            <a:gdLst>
              <a:gd name="T0" fmla="*/ 2147483647 w 22"/>
              <a:gd name="T1" fmla="*/ 0 h 12"/>
              <a:gd name="T2" fmla="*/ 2147483647 w 22"/>
              <a:gd name="T3" fmla="*/ 2147483647 h 12"/>
              <a:gd name="T4" fmla="*/ 0 w 22"/>
              <a:gd name="T5" fmla="*/ 2147483647 h 12"/>
              <a:gd name="T6" fmla="*/ 2147483647 w 22"/>
              <a:gd name="T7" fmla="*/ 2147483647 h 12"/>
              <a:gd name="T8" fmla="*/ 2147483647 w 22"/>
              <a:gd name="T9" fmla="*/ 2147483647 h 12"/>
              <a:gd name="T10" fmla="*/ 2147483647 w 22"/>
              <a:gd name="T11" fmla="*/ 2147483647 h 12"/>
              <a:gd name="T12" fmla="*/ 2147483647 w 22"/>
              <a:gd name="T13" fmla="*/ 2147483647 h 12"/>
              <a:gd name="T14" fmla="*/ 2147483647 w 22"/>
              <a:gd name="T15" fmla="*/ 0 h 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2"/>
              <a:gd name="T25" fmla="*/ 0 h 12"/>
              <a:gd name="T26" fmla="*/ 22 w 22"/>
              <a:gd name="T27" fmla="*/ 12 h 1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2" h="12">
                <a:moveTo>
                  <a:pt x="11" y="0"/>
                </a:moveTo>
                <a:lnTo>
                  <a:pt x="4" y="11"/>
                </a:lnTo>
                <a:lnTo>
                  <a:pt x="0" y="12"/>
                </a:lnTo>
                <a:lnTo>
                  <a:pt x="9" y="10"/>
                </a:lnTo>
                <a:lnTo>
                  <a:pt x="12" y="12"/>
                </a:lnTo>
                <a:lnTo>
                  <a:pt x="22" y="4"/>
                </a:lnTo>
                <a:lnTo>
                  <a:pt x="14" y="6"/>
                </a:lnTo>
                <a:lnTo>
                  <a:pt x="11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30" name="Freeform 213"/>
          <p:cNvSpPr>
            <a:spLocks/>
          </p:cNvSpPr>
          <p:nvPr/>
        </p:nvSpPr>
        <p:spPr bwMode="auto">
          <a:xfrm>
            <a:off x="4849813" y="2420938"/>
            <a:ext cx="279400" cy="304800"/>
          </a:xfrm>
          <a:custGeom>
            <a:avLst/>
            <a:gdLst>
              <a:gd name="T0" fmla="*/ 2147483647 w 210"/>
              <a:gd name="T1" fmla="*/ 2147483647 h 222"/>
              <a:gd name="T2" fmla="*/ 2147483647 w 210"/>
              <a:gd name="T3" fmla="*/ 2147483647 h 222"/>
              <a:gd name="T4" fmla="*/ 2147483647 w 210"/>
              <a:gd name="T5" fmla="*/ 2147483647 h 222"/>
              <a:gd name="T6" fmla="*/ 2147483647 w 210"/>
              <a:gd name="T7" fmla="*/ 2147483647 h 222"/>
              <a:gd name="T8" fmla="*/ 2147483647 w 210"/>
              <a:gd name="T9" fmla="*/ 2147483647 h 222"/>
              <a:gd name="T10" fmla="*/ 2147483647 w 210"/>
              <a:gd name="T11" fmla="*/ 2147483647 h 222"/>
              <a:gd name="T12" fmla="*/ 2147483647 w 210"/>
              <a:gd name="T13" fmla="*/ 2147483647 h 222"/>
              <a:gd name="T14" fmla="*/ 2147483647 w 210"/>
              <a:gd name="T15" fmla="*/ 2147483647 h 222"/>
              <a:gd name="T16" fmla="*/ 2147483647 w 210"/>
              <a:gd name="T17" fmla="*/ 2147483647 h 222"/>
              <a:gd name="T18" fmla="*/ 2147483647 w 210"/>
              <a:gd name="T19" fmla="*/ 0 h 222"/>
              <a:gd name="T20" fmla="*/ 2147483647 w 210"/>
              <a:gd name="T21" fmla="*/ 2147483647 h 222"/>
              <a:gd name="T22" fmla="*/ 2147483647 w 210"/>
              <a:gd name="T23" fmla="*/ 2147483647 h 222"/>
              <a:gd name="T24" fmla="*/ 2147483647 w 210"/>
              <a:gd name="T25" fmla="*/ 2147483647 h 222"/>
              <a:gd name="T26" fmla="*/ 2147483647 w 210"/>
              <a:gd name="T27" fmla="*/ 2147483647 h 222"/>
              <a:gd name="T28" fmla="*/ 2147483647 w 210"/>
              <a:gd name="T29" fmla="*/ 2147483647 h 222"/>
              <a:gd name="T30" fmla="*/ 2147483647 w 210"/>
              <a:gd name="T31" fmla="*/ 2147483647 h 222"/>
              <a:gd name="T32" fmla="*/ 0 w 210"/>
              <a:gd name="T33" fmla="*/ 2147483647 h 222"/>
              <a:gd name="T34" fmla="*/ 2147483647 w 210"/>
              <a:gd name="T35" fmla="*/ 2147483647 h 222"/>
              <a:gd name="T36" fmla="*/ 2147483647 w 210"/>
              <a:gd name="T37" fmla="*/ 2147483647 h 222"/>
              <a:gd name="T38" fmla="*/ 2147483647 w 210"/>
              <a:gd name="T39" fmla="*/ 2147483647 h 222"/>
              <a:gd name="T40" fmla="*/ 2147483647 w 210"/>
              <a:gd name="T41" fmla="*/ 2147483647 h 222"/>
              <a:gd name="T42" fmla="*/ 2147483647 w 210"/>
              <a:gd name="T43" fmla="*/ 2147483647 h 222"/>
              <a:gd name="T44" fmla="*/ 2147483647 w 210"/>
              <a:gd name="T45" fmla="*/ 2147483647 h 222"/>
              <a:gd name="T46" fmla="*/ 2147483647 w 210"/>
              <a:gd name="T47" fmla="*/ 2147483647 h 222"/>
              <a:gd name="T48" fmla="*/ 2147483647 w 210"/>
              <a:gd name="T49" fmla="*/ 2147483647 h 222"/>
              <a:gd name="T50" fmla="*/ 2147483647 w 210"/>
              <a:gd name="T51" fmla="*/ 2147483647 h 222"/>
              <a:gd name="T52" fmla="*/ 2147483647 w 210"/>
              <a:gd name="T53" fmla="*/ 2147483647 h 222"/>
              <a:gd name="T54" fmla="*/ 2147483647 w 210"/>
              <a:gd name="T55" fmla="*/ 2147483647 h 222"/>
              <a:gd name="T56" fmla="*/ 2147483647 w 210"/>
              <a:gd name="T57" fmla="*/ 2147483647 h 222"/>
              <a:gd name="T58" fmla="*/ 2147483647 w 210"/>
              <a:gd name="T59" fmla="*/ 2147483647 h 222"/>
              <a:gd name="T60" fmla="*/ 2147483647 w 210"/>
              <a:gd name="T61" fmla="*/ 2147483647 h 222"/>
              <a:gd name="T62" fmla="*/ 2147483647 w 210"/>
              <a:gd name="T63" fmla="*/ 2147483647 h 222"/>
              <a:gd name="T64" fmla="*/ 2147483647 w 210"/>
              <a:gd name="T65" fmla="*/ 2147483647 h 222"/>
              <a:gd name="T66" fmla="*/ 2147483647 w 210"/>
              <a:gd name="T67" fmla="*/ 2147483647 h 222"/>
              <a:gd name="T68" fmla="*/ 2147483647 w 210"/>
              <a:gd name="T69" fmla="*/ 2147483647 h 222"/>
              <a:gd name="T70" fmla="*/ 2147483647 w 210"/>
              <a:gd name="T71" fmla="*/ 2147483647 h 222"/>
              <a:gd name="T72" fmla="*/ 2147483647 w 210"/>
              <a:gd name="T73" fmla="*/ 2147483647 h 222"/>
              <a:gd name="T74" fmla="*/ 2147483647 w 210"/>
              <a:gd name="T75" fmla="*/ 2147483647 h 222"/>
              <a:gd name="T76" fmla="*/ 2147483647 w 210"/>
              <a:gd name="T77" fmla="*/ 2147483647 h 222"/>
              <a:gd name="T78" fmla="*/ 2147483647 w 210"/>
              <a:gd name="T79" fmla="*/ 2147483647 h 222"/>
              <a:gd name="T80" fmla="*/ 2147483647 w 210"/>
              <a:gd name="T81" fmla="*/ 2147483647 h 222"/>
              <a:gd name="T82" fmla="*/ 2147483647 w 210"/>
              <a:gd name="T83" fmla="*/ 2147483647 h 222"/>
              <a:gd name="T84" fmla="*/ 2147483647 w 210"/>
              <a:gd name="T85" fmla="*/ 2147483647 h 22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10"/>
              <a:gd name="T130" fmla="*/ 0 h 222"/>
              <a:gd name="T131" fmla="*/ 210 w 210"/>
              <a:gd name="T132" fmla="*/ 222 h 222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10" h="222">
                <a:moveTo>
                  <a:pt x="176" y="120"/>
                </a:moveTo>
                <a:lnTo>
                  <a:pt x="170" y="112"/>
                </a:lnTo>
                <a:lnTo>
                  <a:pt x="169" y="94"/>
                </a:lnTo>
                <a:lnTo>
                  <a:pt x="147" y="69"/>
                </a:lnTo>
                <a:lnTo>
                  <a:pt x="158" y="53"/>
                </a:lnTo>
                <a:lnTo>
                  <a:pt x="134" y="40"/>
                </a:lnTo>
                <a:lnTo>
                  <a:pt x="132" y="26"/>
                </a:lnTo>
                <a:lnTo>
                  <a:pt x="133" y="22"/>
                </a:lnTo>
                <a:lnTo>
                  <a:pt x="132" y="8"/>
                </a:lnTo>
                <a:lnTo>
                  <a:pt x="105" y="0"/>
                </a:lnTo>
                <a:lnTo>
                  <a:pt x="84" y="10"/>
                </a:lnTo>
                <a:lnTo>
                  <a:pt x="78" y="26"/>
                </a:lnTo>
                <a:lnTo>
                  <a:pt x="68" y="30"/>
                </a:lnTo>
                <a:lnTo>
                  <a:pt x="48" y="29"/>
                </a:lnTo>
                <a:lnTo>
                  <a:pt x="28" y="26"/>
                </a:lnTo>
                <a:lnTo>
                  <a:pt x="10" y="16"/>
                </a:lnTo>
                <a:lnTo>
                  <a:pt x="0" y="22"/>
                </a:lnTo>
                <a:lnTo>
                  <a:pt x="46" y="41"/>
                </a:lnTo>
                <a:lnTo>
                  <a:pt x="63" y="70"/>
                </a:lnTo>
                <a:lnTo>
                  <a:pt x="72" y="90"/>
                </a:lnTo>
                <a:lnTo>
                  <a:pt x="79" y="89"/>
                </a:lnTo>
                <a:lnTo>
                  <a:pt x="87" y="95"/>
                </a:lnTo>
                <a:lnTo>
                  <a:pt x="91" y="111"/>
                </a:lnTo>
                <a:lnTo>
                  <a:pt x="62" y="134"/>
                </a:lnTo>
                <a:lnTo>
                  <a:pt x="51" y="144"/>
                </a:lnTo>
                <a:lnTo>
                  <a:pt x="37" y="152"/>
                </a:lnTo>
                <a:lnTo>
                  <a:pt x="39" y="177"/>
                </a:lnTo>
                <a:lnTo>
                  <a:pt x="45" y="204"/>
                </a:lnTo>
                <a:lnTo>
                  <a:pt x="64" y="210"/>
                </a:lnTo>
                <a:lnTo>
                  <a:pt x="64" y="214"/>
                </a:lnTo>
                <a:lnTo>
                  <a:pt x="72" y="213"/>
                </a:lnTo>
                <a:lnTo>
                  <a:pt x="78" y="222"/>
                </a:lnTo>
                <a:lnTo>
                  <a:pt x="84" y="219"/>
                </a:lnTo>
                <a:lnTo>
                  <a:pt x="126" y="212"/>
                </a:lnTo>
                <a:lnTo>
                  <a:pt x="135" y="207"/>
                </a:lnTo>
                <a:lnTo>
                  <a:pt x="157" y="207"/>
                </a:lnTo>
                <a:lnTo>
                  <a:pt x="171" y="194"/>
                </a:lnTo>
                <a:lnTo>
                  <a:pt x="183" y="180"/>
                </a:lnTo>
                <a:lnTo>
                  <a:pt x="197" y="167"/>
                </a:lnTo>
                <a:lnTo>
                  <a:pt x="210" y="154"/>
                </a:lnTo>
                <a:lnTo>
                  <a:pt x="179" y="136"/>
                </a:lnTo>
                <a:lnTo>
                  <a:pt x="186" y="130"/>
                </a:lnTo>
                <a:lnTo>
                  <a:pt x="176" y="12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31" name="Freeform 214"/>
          <p:cNvSpPr>
            <a:spLocks/>
          </p:cNvSpPr>
          <p:nvPr/>
        </p:nvSpPr>
        <p:spPr bwMode="auto">
          <a:xfrm>
            <a:off x="4659313" y="3136900"/>
            <a:ext cx="4762" cy="4763"/>
          </a:xfrm>
          <a:custGeom>
            <a:avLst/>
            <a:gdLst>
              <a:gd name="T0" fmla="*/ 2147483647 w 2"/>
              <a:gd name="T1" fmla="*/ 0 h 5"/>
              <a:gd name="T2" fmla="*/ 0 w 2"/>
              <a:gd name="T3" fmla="*/ 2147483647 h 5"/>
              <a:gd name="T4" fmla="*/ 2147483647 w 2"/>
              <a:gd name="T5" fmla="*/ 2147483647 h 5"/>
              <a:gd name="T6" fmla="*/ 2147483647 w 2"/>
              <a:gd name="T7" fmla="*/ 0 h 5"/>
              <a:gd name="T8" fmla="*/ 0 60000 65536"/>
              <a:gd name="T9" fmla="*/ 0 60000 65536"/>
              <a:gd name="T10" fmla="*/ 0 60000 65536"/>
              <a:gd name="T11" fmla="*/ 0 60000 65536"/>
              <a:gd name="T12" fmla="*/ 0 w 2"/>
              <a:gd name="T13" fmla="*/ 0 h 5"/>
              <a:gd name="T14" fmla="*/ 2 w 2"/>
              <a:gd name="T15" fmla="*/ 5 h 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" h="5">
                <a:moveTo>
                  <a:pt x="1" y="0"/>
                </a:moveTo>
                <a:lnTo>
                  <a:pt x="0" y="5"/>
                </a:lnTo>
                <a:lnTo>
                  <a:pt x="2" y="5"/>
                </a:lnTo>
                <a:lnTo>
                  <a:pt x="1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32" name="Freeform 215"/>
          <p:cNvSpPr>
            <a:spLocks/>
          </p:cNvSpPr>
          <p:nvPr/>
        </p:nvSpPr>
        <p:spPr bwMode="auto">
          <a:xfrm>
            <a:off x="4662488" y="3081338"/>
            <a:ext cx="192087" cy="82550"/>
          </a:xfrm>
          <a:custGeom>
            <a:avLst/>
            <a:gdLst>
              <a:gd name="T0" fmla="*/ 2147483647 w 146"/>
              <a:gd name="T1" fmla="*/ 2147483647 h 59"/>
              <a:gd name="T2" fmla="*/ 2147483647 w 146"/>
              <a:gd name="T3" fmla="*/ 2147483647 h 59"/>
              <a:gd name="T4" fmla="*/ 2147483647 w 146"/>
              <a:gd name="T5" fmla="*/ 2147483647 h 59"/>
              <a:gd name="T6" fmla="*/ 2147483647 w 146"/>
              <a:gd name="T7" fmla="*/ 2147483647 h 59"/>
              <a:gd name="T8" fmla="*/ 2147483647 w 146"/>
              <a:gd name="T9" fmla="*/ 2147483647 h 59"/>
              <a:gd name="T10" fmla="*/ 2147483647 w 146"/>
              <a:gd name="T11" fmla="*/ 2147483647 h 59"/>
              <a:gd name="T12" fmla="*/ 0 w 146"/>
              <a:gd name="T13" fmla="*/ 2147483647 h 59"/>
              <a:gd name="T14" fmla="*/ 0 w 146"/>
              <a:gd name="T15" fmla="*/ 2147483647 h 59"/>
              <a:gd name="T16" fmla="*/ 2147483647 w 146"/>
              <a:gd name="T17" fmla="*/ 2147483647 h 59"/>
              <a:gd name="T18" fmla="*/ 2147483647 w 146"/>
              <a:gd name="T19" fmla="*/ 2147483647 h 59"/>
              <a:gd name="T20" fmla="*/ 2147483647 w 146"/>
              <a:gd name="T21" fmla="*/ 2147483647 h 59"/>
              <a:gd name="T22" fmla="*/ 2147483647 w 146"/>
              <a:gd name="T23" fmla="*/ 2147483647 h 59"/>
              <a:gd name="T24" fmla="*/ 2147483647 w 146"/>
              <a:gd name="T25" fmla="*/ 2147483647 h 59"/>
              <a:gd name="T26" fmla="*/ 2147483647 w 146"/>
              <a:gd name="T27" fmla="*/ 2147483647 h 59"/>
              <a:gd name="T28" fmla="*/ 2147483647 w 146"/>
              <a:gd name="T29" fmla="*/ 2147483647 h 59"/>
              <a:gd name="T30" fmla="*/ 2147483647 w 146"/>
              <a:gd name="T31" fmla="*/ 2147483647 h 59"/>
              <a:gd name="T32" fmla="*/ 2147483647 w 146"/>
              <a:gd name="T33" fmla="*/ 2147483647 h 59"/>
              <a:gd name="T34" fmla="*/ 2147483647 w 146"/>
              <a:gd name="T35" fmla="*/ 0 h 59"/>
              <a:gd name="T36" fmla="*/ 2147483647 w 146"/>
              <a:gd name="T37" fmla="*/ 2147483647 h 59"/>
              <a:gd name="T38" fmla="*/ 2147483647 w 146"/>
              <a:gd name="T39" fmla="*/ 2147483647 h 59"/>
              <a:gd name="T40" fmla="*/ 2147483647 w 146"/>
              <a:gd name="T41" fmla="*/ 2147483647 h 59"/>
              <a:gd name="T42" fmla="*/ 2147483647 w 146"/>
              <a:gd name="T43" fmla="*/ 2147483647 h 59"/>
              <a:gd name="T44" fmla="*/ 2147483647 w 146"/>
              <a:gd name="T45" fmla="*/ 2147483647 h 59"/>
              <a:gd name="T46" fmla="*/ 2147483647 w 146"/>
              <a:gd name="T47" fmla="*/ 2147483647 h 59"/>
              <a:gd name="T48" fmla="*/ 2147483647 w 146"/>
              <a:gd name="T49" fmla="*/ 2147483647 h 59"/>
              <a:gd name="T50" fmla="*/ 2147483647 w 146"/>
              <a:gd name="T51" fmla="*/ 2147483647 h 59"/>
              <a:gd name="T52" fmla="*/ 2147483647 w 146"/>
              <a:gd name="T53" fmla="*/ 2147483647 h 59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46"/>
              <a:gd name="T82" fmla="*/ 0 h 59"/>
              <a:gd name="T83" fmla="*/ 146 w 146"/>
              <a:gd name="T84" fmla="*/ 59 h 59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46" h="59">
                <a:moveTo>
                  <a:pt x="51" y="48"/>
                </a:moveTo>
                <a:lnTo>
                  <a:pt x="30" y="51"/>
                </a:lnTo>
                <a:lnTo>
                  <a:pt x="18" y="50"/>
                </a:lnTo>
                <a:lnTo>
                  <a:pt x="3" y="45"/>
                </a:lnTo>
                <a:lnTo>
                  <a:pt x="1" y="45"/>
                </a:lnTo>
                <a:lnTo>
                  <a:pt x="1" y="44"/>
                </a:lnTo>
                <a:lnTo>
                  <a:pt x="0" y="40"/>
                </a:lnTo>
                <a:lnTo>
                  <a:pt x="0" y="34"/>
                </a:lnTo>
                <a:lnTo>
                  <a:pt x="13" y="36"/>
                </a:lnTo>
                <a:lnTo>
                  <a:pt x="17" y="38"/>
                </a:lnTo>
                <a:lnTo>
                  <a:pt x="23" y="33"/>
                </a:lnTo>
                <a:lnTo>
                  <a:pt x="39" y="33"/>
                </a:lnTo>
                <a:lnTo>
                  <a:pt x="62" y="33"/>
                </a:lnTo>
                <a:lnTo>
                  <a:pt x="68" y="30"/>
                </a:lnTo>
                <a:lnTo>
                  <a:pt x="65" y="17"/>
                </a:lnTo>
                <a:lnTo>
                  <a:pt x="80" y="4"/>
                </a:lnTo>
                <a:lnTo>
                  <a:pt x="91" y="9"/>
                </a:lnTo>
                <a:lnTo>
                  <a:pt x="103" y="0"/>
                </a:lnTo>
                <a:lnTo>
                  <a:pt x="133" y="4"/>
                </a:lnTo>
                <a:lnTo>
                  <a:pt x="146" y="22"/>
                </a:lnTo>
                <a:lnTo>
                  <a:pt x="139" y="30"/>
                </a:lnTo>
                <a:lnTo>
                  <a:pt x="137" y="32"/>
                </a:lnTo>
                <a:lnTo>
                  <a:pt x="131" y="47"/>
                </a:lnTo>
                <a:lnTo>
                  <a:pt x="128" y="50"/>
                </a:lnTo>
                <a:lnTo>
                  <a:pt x="90" y="59"/>
                </a:lnTo>
                <a:lnTo>
                  <a:pt x="81" y="58"/>
                </a:lnTo>
                <a:lnTo>
                  <a:pt x="51" y="4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33" name="Freeform 216"/>
          <p:cNvSpPr>
            <a:spLocks/>
          </p:cNvSpPr>
          <p:nvPr/>
        </p:nvSpPr>
        <p:spPr bwMode="auto">
          <a:xfrm>
            <a:off x="4826000" y="3203575"/>
            <a:ext cx="106363" cy="88900"/>
          </a:xfrm>
          <a:custGeom>
            <a:avLst/>
            <a:gdLst>
              <a:gd name="T0" fmla="*/ 2147483647 w 79"/>
              <a:gd name="T1" fmla="*/ 2147483647 h 66"/>
              <a:gd name="T2" fmla="*/ 2147483647 w 79"/>
              <a:gd name="T3" fmla="*/ 2147483647 h 66"/>
              <a:gd name="T4" fmla="*/ 2147483647 w 79"/>
              <a:gd name="T5" fmla="*/ 2147483647 h 66"/>
              <a:gd name="T6" fmla="*/ 2147483647 w 79"/>
              <a:gd name="T7" fmla="*/ 2147483647 h 66"/>
              <a:gd name="T8" fmla="*/ 2147483647 w 79"/>
              <a:gd name="T9" fmla="*/ 2147483647 h 66"/>
              <a:gd name="T10" fmla="*/ 2147483647 w 79"/>
              <a:gd name="T11" fmla="*/ 2147483647 h 66"/>
              <a:gd name="T12" fmla="*/ 2147483647 w 79"/>
              <a:gd name="T13" fmla="*/ 2147483647 h 66"/>
              <a:gd name="T14" fmla="*/ 2147483647 w 79"/>
              <a:gd name="T15" fmla="*/ 2147483647 h 66"/>
              <a:gd name="T16" fmla="*/ 2147483647 w 79"/>
              <a:gd name="T17" fmla="*/ 2147483647 h 66"/>
              <a:gd name="T18" fmla="*/ 2147483647 w 79"/>
              <a:gd name="T19" fmla="*/ 2147483647 h 66"/>
              <a:gd name="T20" fmla="*/ 2147483647 w 79"/>
              <a:gd name="T21" fmla="*/ 2147483647 h 66"/>
              <a:gd name="T22" fmla="*/ 2147483647 w 79"/>
              <a:gd name="T23" fmla="*/ 2147483647 h 66"/>
              <a:gd name="T24" fmla="*/ 2147483647 w 79"/>
              <a:gd name="T25" fmla="*/ 2147483647 h 66"/>
              <a:gd name="T26" fmla="*/ 2147483647 w 79"/>
              <a:gd name="T27" fmla="*/ 2147483647 h 66"/>
              <a:gd name="T28" fmla="*/ 2147483647 w 79"/>
              <a:gd name="T29" fmla="*/ 2147483647 h 66"/>
              <a:gd name="T30" fmla="*/ 2147483647 w 79"/>
              <a:gd name="T31" fmla="*/ 2147483647 h 66"/>
              <a:gd name="T32" fmla="*/ 2147483647 w 79"/>
              <a:gd name="T33" fmla="*/ 2147483647 h 66"/>
              <a:gd name="T34" fmla="*/ 2147483647 w 79"/>
              <a:gd name="T35" fmla="*/ 2147483647 h 66"/>
              <a:gd name="T36" fmla="*/ 2147483647 w 79"/>
              <a:gd name="T37" fmla="*/ 2147483647 h 66"/>
              <a:gd name="T38" fmla="*/ 2147483647 w 79"/>
              <a:gd name="T39" fmla="*/ 2147483647 h 66"/>
              <a:gd name="T40" fmla="*/ 2147483647 w 79"/>
              <a:gd name="T41" fmla="*/ 2147483647 h 66"/>
              <a:gd name="T42" fmla="*/ 2147483647 w 79"/>
              <a:gd name="T43" fmla="*/ 2147483647 h 66"/>
              <a:gd name="T44" fmla="*/ 2147483647 w 79"/>
              <a:gd name="T45" fmla="*/ 2147483647 h 66"/>
              <a:gd name="T46" fmla="*/ 2147483647 w 79"/>
              <a:gd name="T47" fmla="*/ 2147483647 h 66"/>
              <a:gd name="T48" fmla="*/ 2147483647 w 79"/>
              <a:gd name="T49" fmla="*/ 2147483647 h 66"/>
              <a:gd name="T50" fmla="*/ 2147483647 w 79"/>
              <a:gd name="T51" fmla="*/ 2147483647 h 66"/>
              <a:gd name="T52" fmla="*/ 2147483647 w 79"/>
              <a:gd name="T53" fmla="*/ 2147483647 h 66"/>
              <a:gd name="T54" fmla="*/ 2147483647 w 79"/>
              <a:gd name="T55" fmla="*/ 2147483647 h 66"/>
              <a:gd name="T56" fmla="*/ 2147483647 w 79"/>
              <a:gd name="T57" fmla="*/ 2147483647 h 66"/>
              <a:gd name="T58" fmla="*/ 2147483647 w 79"/>
              <a:gd name="T59" fmla="*/ 2147483647 h 66"/>
              <a:gd name="T60" fmla="*/ 0 w 79"/>
              <a:gd name="T61" fmla="*/ 2147483647 h 66"/>
              <a:gd name="T62" fmla="*/ 2147483647 w 79"/>
              <a:gd name="T63" fmla="*/ 2147483647 h 66"/>
              <a:gd name="T64" fmla="*/ 2147483647 w 79"/>
              <a:gd name="T65" fmla="*/ 2147483647 h 66"/>
              <a:gd name="T66" fmla="*/ 2147483647 w 79"/>
              <a:gd name="T67" fmla="*/ 2147483647 h 66"/>
              <a:gd name="T68" fmla="*/ 2147483647 w 79"/>
              <a:gd name="T69" fmla="*/ 0 h 66"/>
              <a:gd name="T70" fmla="*/ 2147483647 w 79"/>
              <a:gd name="T71" fmla="*/ 2147483647 h 66"/>
              <a:gd name="T72" fmla="*/ 2147483647 w 79"/>
              <a:gd name="T73" fmla="*/ 2147483647 h 66"/>
              <a:gd name="T74" fmla="*/ 2147483647 w 79"/>
              <a:gd name="T75" fmla="*/ 2147483647 h 66"/>
              <a:gd name="T76" fmla="*/ 2147483647 w 79"/>
              <a:gd name="T77" fmla="*/ 2147483647 h 66"/>
              <a:gd name="T78" fmla="*/ 2147483647 w 79"/>
              <a:gd name="T79" fmla="*/ 2147483647 h 66"/>
              <a:gd name="T80" fmla="*/ 2147483647 w 79"/>
              <a:gd name="T81" fmla="*/ 2147483647 h 66"/>
              <a:gd name="T82" fmla="*/ 2147483647 w 79"/>
              <a:gd name="T83" fmla="*/ 2147483647 h 66"/>
              <a:gd name="T84" fmla="*/ 2147483647 w 79"/>
              <a:gd name="T85" fmla="*/ 2147483647 h 66"/>
              <a:gd name="T86" fmla="*/ 2147483647 w 79"/>
              <a:gd name="T87" fmla="*/ 2147483647 h 66"/>
              <a:gd name="T88" fmla="*/ 2147483647 w 79"/>
              <a:gd name="T89" fmla="*/ 2147483647 h 6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79"/>
              <a:gd name="T136" fmla="*/ 0 h 66"/>
              <a:gd name="T137" fmla="*/ 79 w 79"/>
              <a:gd name="T138" fmla="*/ 66 h 6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79" h="66">
                <a:moveTo>
                  <a:pt x="70" y="10"/>
                </a:moveTo>
                <a:lnTo>
                  <a:pt x="70" y="13"/>
                </a:lnTo>
                <a:lnTo>
                  <a:pt x="69" y="17"/>
                </a:lnTo>
                <a:lnTo>
                  <a:pt x="66" y="20"/>
                </a:lnTo>
                <a:lnTo>
                  <a:pt x="67" y="23"/>
                </a:lnTo>
                <a:lnTo>
                  <a:pt x="70" y="25"/>
                </a:lnTo>
                <a:lnTo>
                  <a:pt x="79" y="30"/>
                </a:lnTo>
                <a:lnTo>
                  <a:pt x="72" y="34"/>
                </a:lnTo>
                <a:lnTo>
                  <a:pt x="76" y="37"/>
                </a:lnTo>
                <a:lnTo>
                  <a:pt x="76" y="42"/>
                </a:lnTo>
                <a:lnTo>
                  <a:pt x="66" y="44"/>
                </a:lnTo>
                <a:lnTo>
                  <a:pt x="70" y="49"/>
                </a:lnTo>
                <a:lnTo>
                  <a:pt x="68" y="52"/>
                </a:lnTo>
                <a:lnTo>
                  <a:pt x="64" y="48"/>
                </a:lnTo>
                <a:lnTo>
                  <a:pt x="60" y="55"/>
                </a:lnTo>
                <a:lnTo>
                  <a:pt x="57" y="58"/>
                </a:lnTo>
                <a:lnTo>
                  <a:pt x="62" y="65"/>
                </a:lnTo>
                <a:lnTo>
                  <a:pt x="57" y="66"/>
                </a:lnTo>
                <a:lnTo>
                  <a:pt x="52" y="65"/>
                </a:lnTo>
                <a:lnTo>
                  <a:pt x="46" y="60"/>
                </a:lnTo>
                <a:lnTo>
                  <a:pt x="42" y="58"/>
                </a:lnTo>
                <a:lnTo>
                  <a:pt x="42" y="55"/>
                </a:lnTo>
                <a:lnTo>
                  <a:pt x="33" y="48"/>
                </a:lnTo>
                <a:lnTo>
                  <a:pt x="32" y="46"/>
                </a:lnTo>
                <a:lnTo>
                  <a:pt x="27" y="43"/>
                </a:lnTo>
                <a:lnTo>
                  <a:pt x="12" y="29"/>
                </a:lnTo>
                <a:lnTo>
                  <a:pt x="12" y="26"/>
                </a:lnTo>
                <a:lnTo>
                  <a:pt x="9" y="26"/>
                </a:lnTo>
                <a:lnTo>
                  <a:pt x="4" y="16"/>
                </a:lnTo>
                <a:lnTo>
                  <a:pt x="1" y="12"/>
                </a:lnTo>
                <a:lnTo>
                  <a:pt x="0" y="2"/>
                </a:lnTo>
                <a:lnTo>
                  <a:pt x="4" y="1"/>
                </a:lnTo>
                <a:lnTo>
                  <a:pt x="10" y="7"/>
                </a:lnTo>
                <a:lnTo>
                  <a:pt x="14" y="1"/>
                </a:lnTo>
                <a:lnTo>
                  <a:pt x="21" y="0"/>
                </a:lnTo>
                <a:lnTo>
                  <a:pt x="27" y="2"/>
                </a:lnTo>
                <a:lnTo>
                  <a:pt x="40" y="5"/>
                </a:lnTo>
                <a:lnTo>
                  <a:pt x="43" y="2"/>
                </a:lnTo>
                <a:lnTo>
                  <a:pt x="46" y="5"/>
                </a:lnTo>
                <a:lnTo>
                  <a:pt x="48" y="4"/>
                </a:lnTo>
                <a:lnTo>
                  <a:pt x="52" y="5"/>
                </a:lnTo>
                <a:lnTo>
                  <a:pt x="56" y="5"/>
                </a:lnTo>
                <a:lnTo>
                  <a:pt x="60" y="8"/>
                </a:lnTo>
                <a:lnTo>
                  <a:pt x="64" y="10"/>
                </a:lnTo>
                <a:lnTo>
                  <a:pt x="70" y="1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34" name="Freeform 217"/>
          <p:cNvSpPr>
            <a:spLocks/>
          </p:cNvSpPr>
          <p:nvPr/>
        </p:nvSpPr>
        <p:spPr bwMode="auto">
          <a:xfrm>
            <a:off x="4773613" y="3157538"/>
            <a:ext cx="147637" cy="123825"/>
          </a:xfrm>
          <a:custGeom>
            <a:avLst/>
            <a:gdLst>
              <a:gd name="T0" fmla="*/ 2147483647 w 113"/>
              <a:gd name="T1" fmla="*/ 2147483647 h 90"/>
              <a:gd name="T2" fmla="*/ 2147483647 w 113"/>
              <a:gd name="T3" fmla="*/ 2147483647 h 90"/>
              <a:gd name="T4" fmla="*/ 2147483647 w 113"/>
              <a:gd name="T5" fmla="*/ 2147483647 h 90"/>
              <a:gd name="T6" fmla="*/ 2147483647 w 113"/>
              <a:gd name="T7" fmla="*/ 2147483647 h 90"/>
              <a:gd name="T8" fmla="*/ 2147483647 w 113"/>
              <a:gd name="T9" fmla="*/ 2147483647 h 90"/>
              <a:gd name="T10" fmla="*/ 2147483647 w 113"/>
              <a:gd name="T11" fmla="*/ 0 h 90"/>
              <a:gd name="T12" fmla="*/ 2147483647 w 113"/>
              <a:gd name="T13" fmla="*/ 2147483647 h 90"/>
              <a:gd name="T14" fmla="*/ 2147483647 w 113"/>
              <a:gd name="T15" fmla="*/ 2147483647 h 90"/>
              <a:gd name="T16" fmla="*/ 2147483647 w 113"/>
              <a:gd name="T17" fmla="*/ 2147483647 h 90"/>
              <a:gd name="T18" fmla="*/ 2147483647 w 113"/>
              <a:gd name="T19" fmla="*/ 2147483647 h 90"/>
              <a:gd name="T20" fmla="*/ 2147483647 w 113"/>
              <a:gd name="T21" fmla="*/ 2147483647 h 90"/>
              <a:gd name="T22" fmla="*/ 2147483647 w 113"/>
              <a:gd name="T23" fmla="*/ 2147483647 h 90"/>
              <a:gd name="T24" fmla="*/ 2147483647 w 113"/>
              <a:gd name="T25" fmla="*/ 2147483647 h 90"/>
              <a:gd name="T26" fmla="*/ 2147483647 w 113"/>
              <a:gd name="T27" fmla="*/ 2147483647 h 90"/>
              <a:gd name="T28" fmla="*/ 2147483647 w 113"/>
              <a:gd name="T29" fmla="*/ 2147483647 h 90"/>
              <a:gd name="T30" fmla="*/ 2147483647 w 113"/>
              <a:gd name="T31" fmla="*/ 2147483647 h 90"/>
              <a:gd name="T32" fmla="*/ 2147483647 w 113"/>
              <a:gd name="T33" fmla="*/ 2147483647 h 90"/>
              <a:gd name="T34" fmla="*/ 2147483647 w 113"/>
              <a:gd name="T35" fmla="*/ 2147483647 h 90"/>
              <a:gd name="T36" fmla="*/ 2147483647 w 113"/>
              <a:gd name="T37" fmla="*/ 2147483647 h 90"/>
              <a:gd name="T38" fmla="*/ 2147483647 w 113"/>
              <a:gd name="T39" fmla="*/ 2147483647 h 90"/>
              <a:gd name="T40" fmla="*/ 2147483647 w 113"/>
              <a:gd name="T41" fmla="*/ 2147483647 h 90"/>
              <a:gd name="T42" fmla="*/ 2147483647 w 113"/>
              <a:gd name="T43" fmla="*/ 2147483647 h 90"/>
              <a:gd name="T44" fmla="*/ 2147483647 w 113"/>
              <a:gd name="T45" fmla="*/ 2147483647 h 90"/>
              <a:gd name="T46" fmla="*/ 2147483647 w 113"/>
              <a:gd name="T47" fmla="*/ 2147483647 h 90"/>
              <a:gd name="T48" fmla="*/ 2147483647 w 113"/>
              <a:gd name="T49" fmla="*/ 2147483647 h 90"/>
              <a:gd name="T50" fmla="*/ 2147483647 w 113"/>
              <a:gd name="T51" fmla="*/ 2147483647 h 90"/>
              <a:gd name="T52" fmla="*/ 2147483647 w 113"/>
              <a:gd name="T53" fmla="*/ 2147483647 h 90"/>
              <a:gd name="T54" fmla="*/ 2147483647 w 113"/>
              <a:gd name="T55" fmla="*/ 2147483647 h 90"/>
              <a:gd name="T56" fmla="*/ 2147483647 w 113"/>
              <a:gd name="T57" fmla="*/ 2147483647 h 90"/>
              <a:gd name="T58" fmla="*/ 2147483647 w 113"/>
              <a:gd name="T59" fmla="*/ 2147483647 h 90"/>
              <a:gd name="T60" fmla="*/ 2147483647 w 113"/>
              <a:gd name="T61" fmla="*/ 2147483647 h 90"/>
              <a:gd name="T62" fmla="*/ 2147483647 w 113"/>
              <a:gd name="T63" fmla="*/ 2147483647 h 90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13"/>
              <a:gd name="T97" fmla="*/ 0 h 90"/>
              <a:gd name="T98" fmla="*/ 113 w 113"/>
              <a:gd name="T99" fmla="*/ 90 h 90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13" h="90">
                <a:moveTo>
                  <a:pt x="101" y="40"/>
                </a:moveTo>
                <a:lnTo>
                  <a:pt x="105" y="42"/>
                </a:lnTo>
                <a:lnTo>
                  <a:pt x="107" y="36"/>
                </a:lnTo>
                <a:lnTo>
                  <a:pt x="113" y="34"/>
                </a:lnTo>
                <a:lnTo>
                  <a:pt x="113" y="33"/>
                </a:lnTo>
                <a:lnTo>
                  <a:pt x="107" y="31"/>
                </a:lnTo>
                <a:lnTo>
                  <a:pt x="104" y="30"/>
                </a:lnTo>
                <a:lnTo>
                  <a:pt x="107" y="27"/>
                </a:lnTo>
                <a:lnTo>
                  <a:pt x="103" y="26"/>
                </a:lnTo>
                <a:lnTo>
                  <a:pt x="98" y="18"/>
                </a:lnTo>
                <a:lnTo>
                  <a:pt x="69" y="15"/>
                </a:lnTo>
                <a:lnTo>
                  <a:pt x="51" y="0"/>
                </a:lnTo>
                <a:lnTo>
                  <a:pt x="51" y="2"/>
                </a:lnTo>
                <a:lnTo>
                  <a:pt x="49" y="2"/>
                </a:lnTo>
                <a:lnTo>
                  <a:pt x="49" y="4"/>
                </a:lnTo>
                <a:lnTo>
                  <a:pt x="43" y="4"/>
                </a:lnTo>
                <a:lnTo>
                  <a:pt x="42" y="7"/>
                </a:lnTo>
                <a:lnTo>
                  <a:pt x="35" y="8"/>
                </a:lnTo>
                <a:lnTo>
                  <a:pt x="36" y="13"/>
                </a:lnTo>
                <a:lnTo>
                  <a:pt x="37" y="15"/>
                </a:lnTo>
                <a:lnTo>
                  <a:pt x="39" y="19"/>
                </a:lnTo>
                <a:lnTo>
                  <a:pt x="36" y="19"/>
                </a:lnTo>
                <a:lnTo>
                  <a:pt x="30" y="21"/>
                </a:lnTo>
                <a:lnTo>
                  <a:pt x="30" y="24"/>
                </a:lnTo>
                <a:lnTo>
                  <a:pt x="31" y="27"/>
                </a:lnTo>
                <a:lnTo>
                  <a:pt x="26" y="28"/>
                </a:lnTo>
                <a:lnTo>
                  <a:pt x="21" y="25"/>
                </a:lnTo>
                <a:lnTo>
                  <a:pt x="20" y="26"/>
                </a:lnTo>
                <a:lnTo>
                  <a:pt x="19" y="26"/>
                </a:lnTo>
                <a:lnTo>
                  <a:pt x="17" y="24"/>
                </a:lnTo>
                <a:lnTo>
                  <a:pt x="13" y="27"/>
                </a:lnTo>
                <a:lnTo>
                  <a:pt x="3" y="27"/>
                </a:lnTo>
                <a:lnTo>
                  <a:pt x="0" y="25"/>
                </a:lnTo>
                <a:lnTo>
                  <a:pt x="3" y="32"/>
                </a:lnTo>
                <a:lnTo>
                  <a:pt x="8" y="40"/>
                </a:lnTo>
                <a:lnTo>
                  <a:pt x="13" y="34"/>
                </a:lnTo>
                <a:lnTo>
                  <a:pt x="27" y="58"/>
                </a:lnTo>
                <a:lnTo>
                  <a:pt x="33" y="64"/>
                </a:lnTo>
                <a:lnTo>
                  <a:pt x="53" y="76"/>
                </a:lnTo>
                <a:lnTo>
                  <a:pt x="77" y="88"/>
                </a:lnTo>
                <a:lnTo>
                  <a:pt x="81" y="90"/>
                </a:lnTo>
                <a:lnTo>
                  <a:pt x="83" y="90"/>
                </a:lnTo>
                <a:lnTo>
                  <a:pt x="83" y="87"/>
                </a:lnTo>
                <a:lnTo>
                  <a:pt x="74" y="80"/>
                </a:lnTo>
                <a:lnTo>
                  <a:pt x="73" y="78"/>
                </a:lnTo>
                <a:lnTo>
                  <a:pt x="68" y="75"/>
                </a:lnTo>
                <a:lnTo>
                  <a:pt x="53" y="61"/>
                </a:lnTo>
                <a:lnTo>
                  <a:pt x="53" y="58"/>
                </a:lnTo>
                <a:lnTo>
                  <a:pt x="50" y="58"/>
                </a:lnTo>
                <a:lnTo>
                  <a:pt x="45" y="48"/>
                </a:lnTo>
                <a:lnTo>
                  <a:pt x="42" y="44"/>
                </a:lnTo>
                <a:lnTo>
                  <a:pt x="41" y="34"/>
                </a:lnTo>
                <a:lnTo>
                  <a:pt x="45" y="33"/>
                </a:lnTo>
                <a:lnTo>
                  <a:pt x="51" y="39"/>
                </a:lnTo>
                <a:lnTo>
                  <a:pt x="55" y="33"/>
                </a:lnTo>
                <a:lnTo>
                  <a:pt x="62" y="32"/>
                </a:lnTo>
                <a:lnTo>
                  <a:pt x="68" y="34"/>
                </a:lnTo>
                <a:lnTo>
                  <a:pt x="81" y="37"/>
                </a:lnTo>
                <a:lnTo>
                  <a:pt x="84" y="34"/>
                </a:lnTo>
                <a:lnTo>
                  <a:pt x="87" y="37"/>
                </a:lnTo>
                <a:lnTo>
                  <a:pt x="89" y="36"/>
                </a:lnTo>
                <a:lnTo>
                  <a:pt x="93" y="37"/>
                </a:lnTo>
                <a:lnTo>
                  <a:pt x="97" y="37"/>
                </a:lnTo>
                <a:lnTo>
                  <a:pt x="101" y="4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35" name="Freeform 218"/>
          <p:cNvSpPr>
            <a:spLocks/>
          </p:cNvSpPr>
          <p:nvPr/>
        </p:nvSpPr>
        <p:spPr bwMode="auto">
          <a:xfrm>
            <a:off x="4862513" y="3281363"/>
            <a:ext cx="41275" cy="17462"/>
          </a:xfrm>
          <a:custGeom>
            <a:avLst/>
            <a:gdLst>
              <a:gd name="T0" fmla="*/ 2147483647 w 31"/>
              <a:gd name="T1" fmla="*/ 2147483647 h 12"/>
              <a:gd name="T2" fmla="*/ 2147483647 w 31"/>
              <a:gd name="T3" fmla="*/ 2147483647 h 12"/>
              <a:gd name="T4" fmla="*/ 2147483647 w 31"/>
              <a:gd name="T5" fmla="*/ 2147483647 h 12"/>
              <a:gd name="T6" fmla="*/ 2147483647 w 31"/>
              <a:gd name="T7" fmla="*/ 2147483647 h 12"/>
              <a:gd name="T8" fmla="*/ 2147483647 w 31"/>
              <a:gd name="T9" fmla="*/ 2147483647 h 12"/>
              <a:gd name="T10" fmla="*/ 2147483647 w 31"/>
              <a:gd name="T11" fmla="*/ 0 h 12"/>
              <a:gd name="T12" fmla="*/ 2147483647 w 31"/>
              <a:gd name="T13" fmla="*/ 2147483647 h 12"/>
              <a:gd name="T14" fmla="*/ 0 w 31"/>
              <a:gd name="T15" fmla="*/ 0 h 12"/>
              <a:gd name="T16" fmla="*/ 2147483647 w 31"/>
              <a:gd name="T17" fmla="*/ 2147483647 h 1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1"/>
              <a:gd name="T28" fmla="*/ 0 h 12"/>
              <a:gd name="T29" fmla="*/ 31 w 31"/>
              <a:gd name="T30" fmla="*/ 12 h 1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1" h="12">
                <a:moveTo>
                  <a:pt x="30" y="12"/>
                </a:moveTo>
                <a:lnTo>
                  <a:pt x="31" y="9"/>
                </a:lnTo>
                <a:lnTo>
                  <a:pt x="31" y="8"/>
                </a:lnTo>
                <a:lnTo>
                  <a:pt x="26" y="7"/>
                </a:lnTo>
                <a:lnTo>
                  <a:pt x="20" y="2"/>
                </a:lnTo>
                <a:lnTo>
                  <a:pt x="16" y="0"/>
                </a:lnTo>
                <a:lnTo>
                  <a:pt x="14" y="1"/>
                </a:lnTo>
                <a:lnTo>
                  <a:pt x="0" y="0"/>
                </a:lnTo>
                <a:lnTo>
                  <a:pt x="30" y="1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36" name="Freeform 219"/>
          <p:cNvSpPr>
            <a:spLocks/>
          </p:cNvSpPr>
          <p:nvPr/>
        </p:nvSpPr>
        <p:spPr bwMode="auto">
          <a:xfrm>
            <a:off x="4292600" y="3009900"/>
            <a:ext cx="328613" cy="288925"/>
          </a:xfrm>
          <a:custGeom>
            <a:avLst/>
            <a:gdLst>
              <a:gd name="T0" fmla="*/ 2147483647 w 247"/>
              <a:gd name="T1" fmla="*/ 2147483647 h 210"/>
              <a:gd name="T2" fmla="*/ 2147483647 w 247"/>
              <a:gd name="T3" fmla="*/ 2147483647 h 210"/>
              <a:gd name="T4" fmla="*/ 2147483647 w 247"/>
              <a:gd name="T5" fmla="*/ 2147483647 h 210"/>
              <a:gd name="T6" fmla="*/ 2147483647 w 247"/>
              <a:gd name="T7" fmla="*/ 2147483647 h 210"/>
              <a:gd name="T8" fmla="*/ 2147483647 w 247"/>
              <a:gd name="T9" fmla="*/ 2147483647 h 210"/>
              <a:gd name="T10" fmla="*/ 2147483647 w 247"/>
              <a:gd name="T11" fmla="*/ 2147483647 h 210"/>
              <a:gd name="T12" fmla="*/ 2147483647 w 247"/>
              <a:gd name="T13" fmla="*/ 2147483647 h 210"/>
              <a:gd name="T14" fmla="*/ 2147483647 w 247"/>
              <a:gd name="T15" fmla="*/ 2147483647 h 210"/>
              <a:gd name="T16" fmla="*/ 2147483647 w 247"/>
              <a:gd name="T17" fmla="*/ 2147483647 h 210"/>
              <a:gd name="T18" fmla="*/ 2147483647 w 247"/>
              <a:gd name="T19" fmla="*/ 2147483647 h 210"/>
              <a:gd name="T20" fmla="*/ 2147483647 w 247"/>
              <a:gd name="T21" fmla="*/ 2147483647 h 210"/>
              <a:gd name="T22" fmla="*/ 2147483647 w 247"/>
              <a:gd name="T23" fmla="*/ 2147483647 h 210"/>
              <a:gd name="T24" fmla="*/ 2147483647 w 247"/>
              <a:gd name="T25" fmla="*/ 2147483647 h 210"/>
              <a:gd name="T26" fmla="*/ 2147483647 w 247"/>
              <a:gd name="T27" fmla="*/ 2147483647 h 210"/>
              <a:gd name="T28" fmla="*/ 2147483647 w 247"/>
              <a:gd name="T29" fmla="*/ 2147483647 h 210"/>
              <a:gd name="T30" fmla="*/ 2147483647 w 247"/>
              <a:gd name="T31" fmla="*/ 2147483647 h 210"/>
              <a:gd name="T32" fmla="*/ 2147483647 w 247"/>
              <a:gd name="T33" fmla="*/ 2147483647 h 210"/>
              <a:gd name="T34" fmla="*/ 2147483647 w 247"/>
              <a:gd name="T35" fmla="*/ 2147483647 h 210"/>
              <a:gd name="T36" fmla="*/ 2147483647 w 247"/>
              <a:gd name="T37" fmla="*/ 2147483647 h 210"/>
              <a:gd name="T38" fmla="*/ 2147483647 w 247"/>
              <a:gd name="T39" fmla="*/ 2147483647 h 210"/>
              <a:gd name="T40" fmla="*/ 2147483647 w 247"/>
              <a:gd name="T41" fmla="*/ 2147483647 h 210"/>
              <a:gd name="T42" fmla="*/ 2147483647 w 247"/>
              <a:gd name="T43" fmla="*/ 2147483647 h 210"/>
              <a:gd name="T44" fmla="*/ 2147483647 w 247"/>
              <a:gd name="T45" fmla="*/ 2147483647 h 210"/>
              <a:gd name="T46" fmla="*/ 2147483647 w 247"/>
              <a:gd name="T47" fmla="*/ 2147483647 h 210"/>
              <a:gd name="T48" fmla="*/ 2147483647 w 247"/>
              <a:gd name="T49" fmla="*/ 2147483647 h 210"/>
              <a:gd name="T50" fmla="*/ 2147483647 w 247"/>
              <a:gd name="T51" fmla="*/ 2147483647 h 210"/>
              <a:gd name="T52" fmla="*/ 2147483647 w 247"/>
              <a:gd name="T53" fmla="*/ 2147483647 h 210"/>
              <a:gd name="T54" fmla="*/ 2147483647 w 247"/>
              <a:gd name="T55" fmla="*/ 2147483647 h 210"/>
              <a:gd name="T56" fmla="*/ 2147483647 w 247"/>
              <a:gd name="T57" fmla="*/ 2147483647 h 210"/>
              <a:gd name="T58" fmla="*/ 2147483647 w 247"/>
              <a:gd name="T59" fmla="*/ 2147483647 h 210"/>
              <a:gd name="T60" fmla="*/ 2147483647 w 247"/>
              <a:gd name="T61" fmla="*/ 2147483647 h 210"/>
              <a:gd name="T62" fmla="*/ 2147483647 w 247"/>
              <a:gd name="T63" fmla="*/ 2147483647 h 210"/>
              <a:gd name="T64" fmla="*/ 0 w 247"/>
              <a:gd name="T65" fmla="*/ 2147483647 h 210"/>
              <a:gd name="T66" fmla="*/ 2147483647 w 247"/>
              <a:gd name="T67" fmla="*/ 2147483647 h 210"/>
              <a:gd name="T68" fmla="*/ 2147483647 w 247"/>
              <a:gd name="T69" fmla="*/ 2147483647 h 210"/>
              <a:gd name="T70" fmla="*/ 2147483647 w 247"/>
              <a:gd name="T71" fmla="*/ 2147483647 h 210"/>
              <a:gd name="T72" fmla="*/ 2147483647 w 247"/>
              <a:gd name="T73" fmla="*/ 2147483647 h 210"/>
              <a:gd name="T74" fmla="*/ 2147483647 w 247"/>
              <a:gd name="T75" fmla="*/ 2147483647 h 210"/>
              <a:gd name="T76" fmla="*/ 2147483647 w 247"/>
              <a:gd name="T77" fmla="*/ 2147483647 h 210"/>
              <a:gd name="T78" fmla="*/ 2147483647 w 247"/>
              <a:gd name="T79" fmla="*/ 2147483647 h 210"/>
              <a:gd name="T80" fmla="*/ 2147483647 w 247"/>
              <a:gd name="T81" fmla="*/ 2147483647 h 210"/>
              <a:gd name="T82" fmla="*/ 2147483647 w 247"/>
              <a:gd name="T83" fmla="*/ 2147483647 h 210"/>
              <a:gd name="T84" fmla="*/ 2147483647 w 247"/>
              <a:gd name="T85" fmla="*/ 2147483647 h 210"/>
              <a:gd name="T86" fmla="*/ 2147483647 w 247"/>
              <a:gd name="T87" fmla="*/ 0 h 210"/>
              <a:gd name="T88" fmla="*/ 2147483647 w 247"/>
              <a:gd name="T89" fmla="*/ 2147483647 h 210"/>
              <a:gd name="T90" fmla="*/ 2147483647 w 247"/>
              <a:gd name="T91" fmla="*/ 2147483647 h 210"/>
              <a:gd name="T92" fmla="*/ 2147483647 w 247"/>
              <a:gd name="T93" fmla="*/ 2147483647 h 210"/>
              <a:gd name="T94" fmla="*/ 2147483647 w 247"/>
              <a:gd name="T95" fmla="*/ 2147483647 h 210"/>
              <a:gd name="T96" fmla="*/ 2147483647 w 247"/>
              <a:gd name="T97" fmla="*/ 2147483647 h 210"/>
              <a:gd name="T98" fmla="*/ 2147483647 w 247"/>
              <a:gd name="T99" fmla="*/ 2147483647 h 210"/>
              <a:gd name="T100" fmla="*/ 2147483647 w 247"/>
              <a:gd name="T101" fmla="*/ 2147483647 h 210"/>
              <a:gd name="T102" fmla="*/ 2147483647 w 247"/>
              <a:gd name="T103" fmla="*/ 2147483647 h 210"/>
              <a:gd name="T104" fmla="*/ 2147483647 w 247"/>
              <a:gd name="T105" fmla="*/ 2147483647 h 210"/>
              <a:gd name="T106" fmla="*/ 2147483647 w 247"/>
              <a:gd name="T107" fmla="*/ 2147483647 h 210"/>
              <a:gd name="T108" fmla="*/ 2147483647 w 247"/>
              <a:gd name="T109" fmla="*/ 2147483647 h 210"/>
              <a:gd name="T110" fmla="*/ 2147483647 w 247"/>
              <a:gd name="T111" fmla="*/ 2147483647 h 210"/>
              <a:gd name="T112" fmla="*/ 2147483647 w 247"/>
              <a:gd name="T113" fmla="*/ 2147483647 h 210"/>
              <a:gd name="T114" fmla="*/ 2147483647 w 247"/>
              <a:gd name="T115" fmla="*/ 2147483647 h 210"/>
              <a:gd name="T116" fmla="*/ 2147483647 w 247"/>
              <a:gd name="T117" fmla="*/ 2147483647 h 210"/>
              <a:gd name="T118" fmla="*/ 2147483647 w 247"/>
              <a:gd name="T119" fmla="*/ 2147483647 h 210"/>
              <a:gd name="T120" fmla="*/ 2147483647 w 247"/>
              <a:gd name="T121" fmla="*/ 2147483647 h 210"/>
              <a:gd name="T122" fmla="*/ 2147483647 w 247"/>
              <a:gd name="T123" fmla="*/ 2147483647 h 210"/>
              <a:gd name="T124" fmla="*/ 2147483647 w 247"/>
              <a:gd name="T125" fmla="*/ 2147483647 h 210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47"/>
              <a:gd name="T190" fmla="*/ 0 h 210"/>
              <a:gd name="T191" fmla="*/ 247 w 247"/>
              <a:gd name="T192" fmla="*/ 210 h 210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47" h="210">
                <a:moveTo>
                  <a:pt x="241" y="168"/>
                </a:moveTo>
                <a:lnTo>
                  <a:pt x="241" y="177"/>
                </a:lnTo>
                <a:lnTo>
                  <a:pt x="240" y="177"/>
                </a:lnTo>
                <a:lnTo>
                  <a:pt x="238" y="177"/>
                </a:lnTo>
                <a:lnTo>
                  <a:pt x="238" y="178"/>
                </a:lnTo>
                <a:lnTo>
                  <a:pt x="218" y="194"/>
                </a:lnTo>
                <a:lnTo>
                  <a:pt x="193" y="186"/>
                </a:lnTo>
                <a:lnTo>
                  <a:pt x="186" y="183"/>
                </a:lnTo>
                <a:lnTo>
                  <a:pt x="183" y="186"/>
                </a:lnTo>
                <a:lnTo>
                  <a:pt x="166" y="184"/>
                </a:lnTo>
                <a:lnTo>
                  <a:pt x="154" y="194"/>
                </a:lnTo>
                <a:lnTo>
                  <a:pt x="156" y="210"/>
                </a:lnTo>
                <a:lnTo>
                  <a:pt x="127" y="208"/>
                </a:lnTo>
                <a:lnTo>
                  <a:pt x="128" y="206"/>
                </a:lnTo>
                <a:lnTo>
                  <a:pt x="122" y="206"/>
                </a:lnTo>
                <a:lnTo>
                  <a:pt x="67" y="194"/>
                </a:lnTo>
                <a:lnTo>
                  <a:pt x="57" y="186"/>
                </a:lnTo>
                <a:lnTo>
                  <a:pt x="64" y="174"/>
                </a:lnTo>
                <a:lnTo>
                  <a:pt x="67" y="154"/>
                </a:lnTo>
                <a:lnTo>
                  <a:pt x="69" y="135"/>
                </a:lnTo>
                <a:lnTo>
                  <a:pt x="79" y="146"/>
                </a:lnTo>
                <a:lnTo>
                  <a:pt x="69" y="128"/>
                </a:lnTo>
                <a:lnTo>
                  <a:pt x="70" y="121"/>
                </a:lnTo>
                <a:lnTo>
                  <a:pt x="60" y="112"/>
                </a:lnTo>
                <a:lnTo>
                  <a:pt x="52" y="96"/>
                </a:lnTo>
                <a:lnTo>
                  <a:pt x="55" y="92"/>
                </a:lnTo>
                <a:lnTo>
                  <a:pt x="44" y="88"/>
                </a:lnTo>
                <a:lnTo>
                  <a:pt x="32" y="85"/>
                </a:lnTo>
                <a:lnTo>
                  <a:pt x="15" y="78"/>
                </a:lnTo>
                <a:lnTo>
                  <a:pt x="4" y="74"/>
                </a:lnTo>
                <a:lnTo>
                  <a:pt x="7" y="68"/>
                </a:lnTo>
                <a:lnTo>
                  <a:pt x="9" y="67"/>
                </a:lnTo>
                <a:lnTo>
                  <a:pt x="0" y="66"/>
                </a:lnTo>
                <a:lnTo>
                  <a:pt x="24" y="56"/>
                </a:lnTo>
                <a:lnTo>
                  <a:pt x="38" y="58"/>
                </a:lnTo>
                <a:lnTo>
                  <a:pt x="62" y="58"/>
                </a:lnTo>
                <a:lnTo>
                  <a:pt x="57" y="36"/>
                </a:lnTo>
                <a:lnTo>
                  <a:pt x="63" y="34"/>
                </a:lnTo>
                <a:lnTo>
                  <a:pt x="69" y="40"/>
                </a:lnTo>
                <a:lnTo>
                  <a:pt x="100" y="39"/>
                </a:lnTo>
                <a:lnTo>
                  <a:pt x="93" y="38"/>
                </a:lnTo>
                <a:lnTo>
                  <a:pt x="120" y="24"/>
                </a:lnTo>
                <a:lnTo>
                  <a:pt x="122" y="7"/>
                </a:lnTo>
                <a:lnTo>
                  <a:pt x="140" y="0"/>
                </a:lnTo>
                <a:lnTo>
                  <a:pt x="147" y="8"/>
                </a:lnTo>
                <a:lnTo>
                  <a:pt x="172" y="25"/>
                </a:lnTo>
                <a:lnTo>
                  <a:pt x="181" y="24"/>
                </a:lnTo>
                <a:lnTo>
                  <a:pt x="183" y="26"/>
                </a:lnTo>
                <a:lnTo>
                  <a:pt x="202" y="37"/>
                </a:lnTo>
                <a:lnTo>
                  <a:pt x="213" y="39"/>
                </a:lnTo>
                <a:lnTo>
                  <a:pt x="217" y="40"/>
                </a:lnTo>
                <a:lnTo>
                  <a:pt x="247" y="50"/>
                </a:lnTo>
                <a:lnTo>
                  <a:pt x="238" y="85"/>
                </a:lnTo>
                <a:lnTo>
                  <a:pt x="232" y="88"/>
                </a:lnTo>
                <a:lnTo>
                  <a:pt x="228" y="91"/>
                </a:lnTo>
                <a:lnTo>
                  <a:pt x="211" y="116"/>
                </a:lnTo>
                <a:lnTo>
                  <a:pt x="218" y="111"/>
                </a:lnTo>
                <a:lnTo>
                  <a:pt x="229" y="124"/>
                </a:lnTo>
                <a:lnTo>
                  <a:pt x="229" y="134"/>
                </a:lnTo>
                <a:lnTo>
                  <a:pt x="226" y="144"/>
                </a:lnTo>
                <a:lnTo>
                  <a:pt x="226" y="150"/>
                </a:lnTo>
                <a:lnTo>
                  <a:pt x="228" y="159"/>
                </a:lnTo>
                <a:lnTo>
                  <a:pt x="241" y="168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37" name="Freeform 220"/>
          <p:cNvSpPr>
            <a:spLocks/>
          </p:cNvSpPr>
          <p:nvPr/>
        </p:nvSpPr>
        <p:spPr bwMode="auto">
          <a:xfrm>
            <a:off x="4645025" y="3281363"/>
            <a:ext cx="25400" cy="46037"/>
          </a:xfrm>
          <a:custGeom>
            <a:avLst/>
            <a:gdLst>
              <a:gd name="T0" fmla="*/ 2147483647 w 18"/>
              <a:gd name="T1" fmla="*/ 2147483647 h 33"/>
              <a:gd name="T2" fmla="*/ 2147483647 w 18"/>
              <a:gd name="T3" fmla="*/ 2147483647 h 33"/>
              <a:gd name="T4" fmla="*/ 0 w 18"/>
              <a:gd name="T5" fmla="*/ 2147483647 h 33"/>
              <a:gd name="T6" fmla="*/ 2147483647 w 18"/>
              <a:gd name="T7" fmla="*/ 0 h 33"/>
              <a:gd name="T8" fmla="*/ 2147483647 w 18"/>
              <a:gd name="T9" fmla="*/ 2147483647 h 33"/>
              <a:gd name="T10" fmla="*/ 2147483647 w 18"/>
              <a:gd name="T11" fmla="*/ 2147483647 h 3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8"/>
              <a:gd name="T19" fmla="*/ 0 h 33"/>
              <a:gd name="T20" fmla="*/ 18 w 18"/>
              <a:gd name="T21" fmla="*/ 33 h 3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8" h="33">
                <a:moveTo>
                  <a:pt x="13" y="33"/>
                </a:moveTo>
                <a:lnTo>
                  <a:pt x="3" y="29"/>
                </a:lnTo>
                <a:lnTo>
                  <a:pt x="0" y="14"/>
                </a:lnTo>
                <a:lnTo>
                  <a:pt x="13" y="0"/>
                </a:lnTo>
                <a:lnTo>
                  <a:pt x="18" y="15"/>
                </a:lnTo>
                <a:lnTo>
                  <a:pt x="13" y="3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38" name="Freeform 221"/>
          <p:cNvSpPr>
            <a:spLocks/>
          </p:cNvSpPr>
          <p:nvPr/>
        </p:nvSpPr>
        <p:spPr bwMode="auto">
          <a:xfrm>
            <a:off x="4832350" y="3097213"/>
            <a:ext cx="169863" cy="85725"/>
          </a:xfrm>
          <a:custGeom>
            <a:avLst/>
            <a:gdLst>
              <a:gd name="T0" fmla="*/ 2147483647 w 129"/>
              <a:gd name="T1" fmla="*/ 2147483647 h 63"/>
              <a:gd name="T2" fmla="*/ 2147483647 w 129"/>
              <a:gd name="T3" fmla="*/ 2147483647 h 63"/>
              <a:gd name="T4" fmla="*/ 2147483647 w 129"/>
              <a:gd name="T5" fmla="*/ 2147483647 h 63"/>
              <a:gd name="T6" fmla="*/ 2147483647 w 129"/>
              <a:gd name="T7" fmla="*/ 2147483647 h 63"/>
              <a:gd name="T8" fmla="*/ 0 w 129"/>
              <a:gd name="T9" fmla="*/ 2147483647 h 63"/>
              <a:gd name="T10" fmla="*/ 2147483647 w 129"/>
              <a:gd name="T11" fmla="*/ 2147483647 h 63"/>
              <a:gd name="T12" fmla="*/ 2147483647 w 129"/>
              <a:gd name="T13" fmla="*/ 2147483647 h 63"/>
              <a:gd name="T14" fmla="*/ 2147483647 w 129"/>
              <a:gd name="T15" fmla="*/ 2147483647 h 63"/>
              <a:gd name="T16" fmla="*/ 2147483647 w 129"/>
              <a:gd name="T17" fmla="*/ 2147483647 h 63"/>
              <a:gd name="T18" fmla="*/ 2147483647 w 129"/>
              <a:gd name="T19" fmla="*/ 2147483647 h 63"/>
              <a:gd name="T20" fmla="*/ 2147483647 w 129"/>
              <a:gd name="T21" fmla="*/ 2147483647 h 63"/>
              <a:gd name="T22" fmla="*/ 2147483647 w 129"/>
              <a:gd name="T23" fmla="*/ 0 h 63"/>
              <a:gd name="T24" fmla="*/ 2147483647 w 129"/>
              <a:gd name="T25" fmla="*/ 2147483647 h 63"/>
              <a:gd name="T26" fmla="*/ 2147483647 w 129"/>
              <a:gd name="T27" fmla="*/ 2147483647 h 63"/>
              <a:gd name="T28" fmla="*/ 2147483647 w 129"/>
              <a:gd name="T29" fmla="*/ 2147483647 h 63"/>
              <a:gd name="T30" fmla="*/ 2147483647 w 129"/>
              <a:gd name="T31" fmla="*/ 2147483647 h 63"/>
              <a:gd name="T32" fmla="*/ 2147483647 w 129"/>
              <a:gd name="T33" fmla="*/ 2147483647 h 63"/>
              <a:gd name="T34" fmla="*/ 2147483647 w 129"/>
              <a:gd name="T35" fmla="*/ 2147483647 h 6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29"/>
              <a:gd name="T55" fmla="*/ 0 h 63"/>
              <a:gd name="T56" fmla="*/ 129 w 129"/>
              <a:gd name="T57" fmla="*/ 63 h 63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29" h="63">
                <a:moveTo>
                  <a:pt x="54" y="63"/>
                </a:moveTo>
                <a:lnTo>
                  <a:pt x="25" y="60"/>
                </a:lnTo>
                <a:lnTo>
                  <a:pt x="7" y="45"/>
                </a:lnTo>
                <a:lnTo>
                  <a:pt x="1" y="41"/>
                </a:lnTo>
                <a:lnTo>
                  <a:pt x="0" y="39"/>
                </a:lnTo>
                <a:lnTo>
                  <a:pt x="3" y="36"/>
                </a:lnTo>
                <a:lnTo>
                  <a:pt x="9" y="21"/>
                </a:lnTo>
                <a:lnTo>
                  <a:pt x="11" y="19"/>
                </a:lnTo>
                <a:lnTo>
                  <a:pt x="18" y="11"/>
                </a:lnTo>
                <a:lnTo>
                  <a:pt x="24" y="15"/>
                </a:lnTo>
                <a:lnTo>
                  <a:pt x="48" y="15"/>
                </a:lnTo>
                <a:lnTo>
                  <a:pt x="79" y="0"/>
                </a:lnTo>
                <a:lnTo>
                  <a:pt x="113" y="1"/>
                </a:lnTo>
                <a:lnTo>
                  <a:pt x="129" y="12"/>
                </a:lnTo>
                <a:lnTo>
                  <a:pt x="110" y="31"/>
                </a:lnTo>
                <a:lnTo>
                  <a:pt x="94" y="53"/>
                </a:lnTo>
                <a:lnTo>
                  <a:pt x="83" y="57"/>
                </a:lnTo>
                <a:lnTo>
                  <a:pt x="54" y="6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39" name="Freeform 222"/>
          <p:cNvSpPr>
            <a:spLocks/>
          </p:cNvSpPr>
          <p:nvPr/>
        </p:nvSpPr>
        <p:spPr bwMode="auto">
          <a:xfrm>
            <a:off x="5024438" y="2217738"/>
            <a:ext cx="3462337" cy="1106487"/>
          </a:xfrm>
          <a:custGeom>
            <a:avLst/>
            <a:gdLst>
              <a:gd name="T0" fmla="*/ 2147483647 w 2606"/>
              <a:gd name="T1" fmla="*/ 2147483647 h 804"/>
              <a:gd name="T2" fmla="*/ 2147483647 w 2606"/>
              <a:gd name="T3" fmla="*/ 2147483647 h 804"/>
              <a:gd name="T4" fmla="*/ 2147483647 w 2606"/>
              <a:gd name="T5" fmla="*/ 2147483647 h 804"/>
              <a:gd name="T6" fmla="*/ 2147483647 w 2606"/>
              <a:gd name="T7" fmla="*/ 2147483647 h 804"/>
              <a:gd name="T8" fmla="*/ 2147483647 w 2606"/>
              <a:gd name="T9" fmla="*/ 2147483647 h 804"/>
              <a:gd name="T10" fmla="*/ 2147483647 w 2606"/>
              <a:gd name="T11" fmla="*/ 2147483647 h 804"/>
              <a:gd name="T12" fmla="*/ 2147483647 w 2606"/>
              <a:gd name="T13" fmla="*/ 2147483647 h 804"/>
              <a:gd name="T14" fmla="*/ 2147483647 w 2606"/>
              <a:gd name="T15" fmla="*/ 2147483647 h 804"/>
              <a:gd name="T16" fmla="*/ 2147483647 w 2606"/>
              <a:gd name="T17" fmla="*/ 2147483647 h 804"/>
              <a:gd name="T18" fmla="*/ 2147483647 w 2606"/>
              <a:gd name="T19" fmla="*/ 2147483647 h 804"/>
              <a:gd name="T20" fmla="*/ 2147483647 w 2606"/>
              <a:gd name="T21" fmla="*/ 2147483647 h 804"/>
              <a:gd name="T22" fmla="*/ 2147483647 w 2606"/>
              <a:gd name="T23" fmla="*/ 2147483647 h 804"/>
              <a:gd name="T24" fmla="*/ 2147483647 w 2606"/>
              <a:gd name="T25" fmla="*/ 2147483647 h 804"/>
              <a:gd name="T26" fmla="*/ 2147483647 w 2606"/>
              <a:gd name="T27" fmla="*/ 2147483647 h 804"/>
              <a:gd name="T28" fmla="*/ 2147483647 w 2606"/>
              <a:gd name="T29" fmla="*/ 2147483647 h 804"/>
              <a:gd name="T30" fmla="*/ 2147483647 w 2606"/>
              <a:gd name="T31" fmla="*/ 2147483647 h 804"/>
              <a:gd name="T32" fmla="*/ 2147483647 w 2606"/>
              <a:gd name="T33" fmla="*/ 2147483647 h 804"/>
              <a:gd name="T34" fmla="*/ 2147483647 w 2606"/>
              <a:gd name="T35" fmla="*/ 2147483647 h 804"/>
              <a:gd name="T36" fmla="*/ 2147483647 w 2606"/>
              <a:gd name="T37" fmla="*/ 2147483647 h 804"/>
              <a:gd name="T38" fmla="*/ 2147483647 w 2606"/>
              <a:gd name="T39" fmla="*/ 2147483647 h 804"/>
              <a:gd name="T40" fmla="*/ 2147483647 w 2606"/>
              <a:gd name="T41" fmla="*/ 2147483647 h 804"/>
              <a:gd name="T42" fmla="*/ 2147483647 w 2606"/>
              <a:gd name="T43" fmla="*/ 2147483647 h 804"/>
              <a:gd name="T44" fmla="*/ 2147483647 w 2606"/>
              <a:gd name="T45" fmla="*/ 2147483647 h 804"/>
              <a:gd name="T46" fmla="*/ 2147483647 w 2606"/>
              <a:gd name="T47" fmla="*/ 2147483647 h 804"/>
              <a:gd name="T48" fmla="*/ 2147483647 w 2606"/>
              <a:gd name="T49" fmla="*/ 2147483647 h 804"/>
              <a:gd name="T50" fmla="*/ 2147483647 w 2606"/>
              <a:gd name="T51" fmla="*/ 2147483647 h 804"/>
              <a:gd name="T52" fmla="*/ 2147483647 w 2606"/>
              <a:gd name="T53" fmla="*/ 2147483647 h 804"/>
              <a:gd name="T54" fmla="*/ 2147483647 w 2606"/>
              <a:gd name="T55" fmla="*/ 2147483647 h 804"/>
              <a:gd name="T56" fmla="*/ 2147483647 w 2606"/>
              <a:gd name="T57" fmla="*/ 2147483647 h 804"/>
              <a:gd name="T58" fmla="*/ 2147483647 w 2606"/>
              <a:gd name="T59" fmla="*/ 2147483647 h 804"/>
              <a:gd name="T60" fmla="*/ 2147483647 w 2606"/>
              <a:gd name="T61" fmla="*/ 2147483647 h 804"/>
              <a:gd name="T62" fmla="*/ 2147483647 w 2606"/>
              <a:gd name="T63" fmla="*/ 2147483647 h 804"/>
              <a:gd name="T64" fmla="*/ 2147483647 w 2606"/>
              <a:gd name="T65" fmla="*/ 2147483647 h 804"/>
              <a:gd name="T66" fmla="*/ 2147483647 w 2606"/>
              <a:gd name="T67" fmla="*/ 2147483647 h 804"/>
              <a:gd name="T68" fmla="*/ 2147483647 w 2606"/>
              <a:gd name="T69" fmla="*/ 2147483647 h 804"/>
              <a:gd name="T70" fmla="*/ 2147483647 w 2606"/>
              <a:gd name="T71" fmla="*/ 2147483647 h 804"/>
              <a:gd name="T72" fmla="*/ 2147483647 w 2606"/>
              <a:gd name="T73" fmla="*/ 2147483647 h 804"/>
              <a:gd name="T74" fmla="*/ 2147483647 w 2606"/>
              <a:gd name="T75" fmla="*/ 2147483647 h 804"/>
              <a:gd name="T76" fmla="*/ 2147483647 w 2606"/>
              <a:gd name="T77" fmla="*/ 2147483647 h 804"/>
              <a:gd name="T78" fmla="*/ 2147483647 w 2606"/>
              <a:gd name="T79" fmla="*/ 2147483647 h 804"/>
              <a:gd name="T80" fmla="*/ 2147483647 w 2606"/>
              <a:gd name="T81" fmla="*/ 2147483647 h 804"/>
              <a:gd name="T82" fmla="*/ 2147483647 w 2606"/>
              <a:gd name="T83" fmla="*/ 2147483647 h 804"/>
              <a:gd name="T84" fmla="*/ 2147483647 w 2606"/>
              <a:gd name="T85" fmla="*/ 2147483647 h 804"/>
              <a:gd name="T86" fmla="*/ 2147483647 w 2606"/>
              <a:gd name="T87" fmla="*/ 2147483647 h 804"/>
              <a:gd name="T88" fmla="*/ 2147483647 w 2606"/>
              <a:gd name="T89" fmla="*/ 2147483647 h 804"/>
              <a:gd name="T90" fmla="*/ 2147483647 w 2606"/>
              <a:gd name="T91" fmla="*/ 2147483647 h 804"/>
              <a:gd name="T92" fmla="*/ 2147483647 w 2606"/>
              <a:gd name="T93" fmla="*/ 2147483647 h 804"/>
              <a:gd name="T94" fmla="*/ 2147483647 w 2606"/>
              <a:gd name="T95" fmla="*/ 2147483647 h 804"/>
              <a:gd name="T96" fmla="*/ 2147483647 w 2606"/>
              <a:gd name="T97" fmla="*/ 2147483647 h 804"/>
              <a:gd name="T98" fmla="*/ 2147483647 w 2606"/>
              <a:gd name="T99" fmla="*/ 2147483647 h 804"/>
              <a:gd name="T100" fmla="*/ 2147483647 w 2606"/>
              <a:gd name="T101" fmla="*/ 2147483647 h 804"/>
              <a:gd name="T102" fmla="*/ 2147483647 w 2606"/>
              <a:gd name="T103" fmla="*/ 2147483647 h 804"/>
              <a:gd name="T104" fmla="*/ 2147483647 w 2606"/>
              <a:gd name="T105" fmla="*/ 2147483647 h 804"/>
              <a:gd name="T106" fmla="*/ 2147483647 w 2606"/>
              <a:gd name="T107" fmla="*/ 2147483647 h 804"/>
              <a:gd name="T108" fmla="*/ 2147483647 w 2606"/>
              <a:gd name="T109" fmla="*/ 2147483647 h 804"/>
              <a:gd name="T110" fmla="*/ 2147483647 w 2606"/>
              <a:gd name="T111" fmla="*/ 2147483647 h 804"/>
              <a:gd name="T112" fmla="*/ 2147483647 w 2606"/>
              <a:gd name="T113" fmla="*/ 2147483647 h 804"/>
              <a:gd name="T114" fmla="*/ 2147483647 w 2606"/>
              <a:gd name="T115" fmla="*/ 2147483647 h 804"/>
              <a:gd name="T116" fmla="*/ 2147483647 w 2606"/>
              <a:gd name="T117" fmla="*/ 2147483647 h 804"/>
              <a:gd name="T118" fmla="*/ 2147483647 w 2606"/>
              <a:gd name="T119" fmla="*/ 2147483647 h 804"/>
              <a:gd name="T120" fmla="*/ 2147483647 w 2606"/>
              <a:gd name="T121" fmla="*/ 2147483647 h 804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2606"/>
              <a:gd name="T184" fmla="*/ 0 h 804"/>
              <a:gd name="T185" fmla="*/ 2606 w 2606"/>
              <a:gd name="T186" fmla="*/ 804 h 804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2606" h="804">
                <a:moveTo>
                  <a:pt x="2409" y="170"/>
                </a:moveTo>
                <a:lnTo>
                  <a:pt x="2359" y="161"/>
                </a:lnTo>
                <a:lnTo>
                  <a:pt x="2310" y="151"/>
                </a:lnTo>
                <a:lnTo>
                  <a:pt x="2267" y="151"/>
                </a:lnTo>
                <a:lnTo>
                  <a:pt x="2226" y="147"/>
                </a:lnTo>
                <a:lnTo>
                  <a:pt x="2241" y="157"/>
                </a:lnTo>
                <a:lnTo>
                  <a:pt x="2265" y="170"/>
                </a:lnTo>
                <a:lnTo>
                  <a:pt x="2261" y="174"/>
                </a:lnTo>
                <a:lnTo>
                  <a:pt x="2247" y="174"/>
                </a:lnTo>
                <a:lnTo>
                  <a:pt x="2224" y="165"/>
                </a:lnTo>
                <a:lnTo>
                  <a:pt x="2215" y="165"/>
                </a:lnTo>
                <a:lnTo>
                  <a:pt x="2191" y="153"/>
                </a:lnTo>
                <a:lnTo>
                  <a:pt x="2173" y="159"/>
                </a:lnTo>
                <a:lnTo>
                  <a:pt x="2107" y="155"/>
                </a:lnTo>
                <a:lnTo>
                  <a:pt x="2106" y="165"/>
                </a:lnTo>
                <a:lnTo>
                  <a:pt x="2085" y="156"/>
                </a:lnTo>
                <a:lnTo>
                  <a:pt x="2059" y="151"/>
                </a:lnTo>
                <a:lnTo>
                  <a:pt x="2035" y="135"/>
                </a:lnTo>
                <a:lnTo>
                  <a:pt x="1997" y="127"/>
                </a:lnTo>
                <a:lnTo>
                  <a:pt x="1957" y="129"/>
                </a:lnTo>
                <a:lnTo>
                  <a:pt x="1919" y="132"/>
                </a:lnTo>
                <a:lnTo>
                  <a:pt x="1908" y="129"/>
                </a:lnTo>
                <a:lnTo>
                  <a:pt x="1878" y="121"/>
                </a:lnTo>
                <a:lnTo>
                  <a:pt x="1869" y="125"/>
                </a:lnTo>
                <a:lnTo>
                  <a:pt x="1870" y="119"/>
                </a:lnTo>
                <a:lnTo>
                  <a:pt x="1859" y="117"/>
                </a:lnTo>
                <a:lnTo>
                  <a:pt x="1839" y="114"/>
                </a:lnTo>
                <a:lnTo>
                  <a:pt x="1849" y="111"/>
                </a:lnTo>
                <a:lnTo>
                  <a:pt x="1812" y="103"/>
                </a:lnTo>
                <a:lnTo>
                  <a:pt x="1791" y="107"/>
                </a:lnTo>
                <a:lnTo>
                  <a:pt x="1785" y="107"/>
                </a:lnTo>
                <a:lnTo>
                  <a:pt x="1788" y="102"/>
                </a:lnTo>
                <a:lnTo>
                  <a:pt x="1786" y="102"/>
                </a:lnTo>
                <a:lnTo>
                  <a:pt x="1732" y="97"/>
                </a:lnTo>
                <a:lnTo>
                  <a:pt x="1679" y="92"/>
                </a:lnTo>
                <a:lnTo>
                  <a:pt x="1691" y="97"/>
                </a:lnTo>
                <a:lnTo>
                  <a:pt x="1669" y="102"/>
                </a:lnTo>
                <a:lnTo>
                  <a:pt x="1678" y="104"/>
                </a:lnTo>
                <a:lnTo>
                  <a:pt x="1684" y="105"/>
                </a:lnTo>
                <a:lnTo>
                  <a:pt x="1691" y="111"/>
                </a:lnTo>
                <a:lnTo>
                  <a:pt x="1701" y="120"/>
                </a:lnTo>
                <a:lnTo>
                  <a:pt x="1673" y="117"/>
                </a:lnTo>
                <a:lnTo>
                  <a:pt x="1679" y="121"/>
                </a:lnTo>
                <a:lnTo>
                  <a:pt x="1681" y="126"/>
                </a:lnTo>
                <a:lnTo>
                  <a:pt x="1637" y="116"/>
                </a:lnTo>
                <a:lnTo>
                  <a:pt x="1622" y="121"/>
                </a:lnTo>
                <a:lnTo>
                  <a:pt x="1585" y="114"/>
                </a:lnTo>
                <a:lnTo>
                  <a:pt x="1579" y="111"/>
                </a:lnTo>
                <a:lnTo>
                  <a:pt x="1588" y="123"/>
                </a:lnTo>
                <a:lnTo>
                  <a:pt x="1584" y="134"/>
                </a:lnTo>
                <a:lnTo>
                  <a:pt x="1559" y="127"/>
                </a:lnTo>
                <a:lnTo>
                  <a:pt x="1528" y="114"/>
                </a:lnTo>
                <a:lnTo>
                  <a:pt x="1493" y="102"/>
                </a:lnTo>
                <a:lnTo>
                  <a:pt x="1482" y="103"/>
                </a:lnTo>
                <a:lnTo>
                  <a:pt x="1510" y="121"/>
                </a:lnTo>
                <a:lnTo>
                  <a:pt x="1472" y="102"/>
                </a:lnTo>
                <a:lnTo>
                  <a:pt x="1415" y="95"/>
                </a:lnTo>
                <a:lnTo>
                  <a:pt x="1356" y="89"/>
                </a:lnTo>
                <a:lnTo>
                  <a:pt x="1325" y="80"/>
                </a:lnTo>
                <a:lnTo>
                  <a:pt x="1328" y="78"/>
                </a:lnTo>
                <a:lnTo>
                  <a:pt x="1304" y="77"/>
                </a:lnTo>
                <a:lnTo>
                  <a:pt x="1249" y="79"/>
                </a:lnTo>
                <a:lnTo>
                  <a:pt x="1232" y="71"/>
                </a:lnTo>
                <a:lnTo>
                  <a:pt x="1208" y="71"/>
                </a:lnTo>
                <a:lnTo>
                  <a:pt x="1208" y="68"/>
                </a:lnTo>
                <a:lnTo>
                  <a:pt x="1183" y="72"/>
                </a:lnTo>
                <a:lnTo>
                  <a:pt x="1206" y="74"/>
                </a:lnTo>
                <a:lnTo>
                  <a:pt x="1178" y="83"/>
                </a:lnTo>
                <a:lnTo>
                  <a:pt x="1148" y="86"/>
                </a:lnTo>
                <a:lnTo>
                  <a:pt x="1150" y="83"/>
                </a:lnTo>
                <a:lnTo>
                  <a:pt x="1180" y="62"/>
                </a:lnTo>
                <a:lnTo>
                  <a:pt x="1208" y="42"/>
                </a:lnTo>
                <a:lnTo>
                  <a:pt x="1195" y="38"/>
                </a:lnTo>
                <a:lnTo>
                  <a:pt x="1181" y="33"/>
                </a:lnTo>
                <a:lnTo>
                  <a:pt x="1204" y="37"/>
                </a:lnTo>
                <a:lnTo>
                  <a:pt x="1184" y="26"/>
                </a:lnTo>
                <a:lnTo>
                  <a:pt x="1181" y="27"/>
                </a:lnTo>
                <a:lnTo>
                  <a:pt x="1170" y="26"/>
                </a:lnTo>
                <a:lnTo>
                  <a:pt x="1145" y="19"/>
                </a:lnTo>
                <a:lnTo>
                  <a:pt x="1094" y="19"/>
                </a:lnTo>
                <a:lnTo>
                  <a:pt x="1076" y="20"/>
                </a:lnTo>
                <a:lnTo>
                  <a:pt x="1075" y="12"/>
                </a:lnTo>
                <a:lnTo>
                  <a:pt x="1054" y="11"/>
                </a:lnTo>
                <a:lnTo>
                  <a:pt x="1028" y="11"/>
                </a:lnTo>
                <a:lnTo>
                  <a:pt x="1046" y="5"/>
                </a:lnTo>
                <a:lnTo>
                  <a:pt x="1008" y="0"/>
                </a:lnTo>
                <a:lnTo>
                  <a:pt x="985" y="12"/>
                </a:lnTo>
                <a:lnTo>
                  <a:pt x="994" y="20"/>
                </a:lnTo>
                <a:lnTo>
                  <a:pt x="1008" y="21"/>
                </a:lnTo>
                <a:lnTo>
                  <a:pt x="972" y="24"/>
                </a:lnTo>
                <a:lnTo>
                  <a:pt x="984" y="27"/>
                </a:lnTo>
                <a:lnTo>
                  <a:pt x="960" y="29"/>
                </a:lnTo>
                <a:lnTo>
                  <a:pt x="936" y="30"/>
                </a:lnTo>
                <a:lnTo>
                  <a:pt x="892" y="30"/>
                </a:lnTo>
                <a:lnTo>
                  <a:pt x="910" y="31"/>
                </a:lnTo>
                <a:lnTo>
                  <a:pt x="875" y="37"/>
                </a:lnTo>
                <a:lnTo>
                  <a:pt x="840" y="44"/>
                </a:lnTo>
                <a:lnTo>
                  <a:pt x="827" y="47"/>
                </a:lnTo>
                <a:lnTo>
                  <a:pt x="827" y="56"/>
                </a:lnTo>
                <a:lnTo>
                  <a:pt x="814" y="55"/>
                </a:lnTo>
                <a:lnTo>
                  <a:pt x="836" y="61"/>
                </a:lnTo>
                <a:lnTo>
                  <a:pt x="822" y="62"/>
                </a:lnTo>
                <a:lnTo>
                  <a:pt x="840" y="68"/>
                </a:lnTo>
                <a:lnTo>
                  <a:pt x="840" y="71"/>
                </a:lnTo>
                <a:lnTo>
                  <a:pt x="798" y="74"/>
                </a:lnTo>
                <a:lnTo>
                  <a:pt x="756" y="79"/>
                </a:lnTo>
                <a:lnTo>
                  <a:pt x="762" y="87"/>
                </a:lnTo>
                <a:lnTo>
                  <a:pt x="781" y="102"/>
                </a:lnTo>
                <a:lnTo>
                  <a:pt x="803" y="105"/>
                </a:lnTo>
                <a:lnTo>
                  <a:pt x="832" y="116"/>
                </a:lnTo>
                <a:lnTo>
                  <a:pt x="846" y="134"/>
                </a:lnTo>
                <a:lnTo>
                  <a:pt x="851" y="141"/>
                </a:lnTo>
                <a:lnTo>
                  <a:pt x="842" y="143"/>
                </a:lnTo>
                <a:lnTo>
                  <a:pt x="828" y="129"/>
                </a:lnTo>
                <a:lnTo>
                  <a:pt x="826" y="137"/>
                </a:lnTo>
                <a:lnTo>
                  <a:pt x="816" y="123"/>
                </a:lnTo>
                <a:lnTo>
                  <a:pt x="826" y="115"/>
                </a:lnTo>
                <a:lnTo>
                  <a:pt x="791" y="111"/>
                </a:lnTo>
                <a:lnTo>
                  <a:pt x="756" y="101"/>
                </a:lnTo>
                <a:lnTo>
                  <a:pt x="728" y="105"/>
                </a:lnTo>
                <a:lnTo>
                  <a:pt x="741" y="111"/>
                </a:lnTo>
                <a:lnTo>
                  <a:pt x="709" y="110"/>
                </a:lnTo>
                <a:lnTo>
                  <a:pt x="717" y="117"/>
                </a:lnTo>
                <a:lnTo>
                  <a:pt x="756" y="125"/>
                </a:lnTo>
                <a:lnTo>
                  <a:pt x="763" y="129"/>
                </a:lnTo>
                <a:lnTo>
                  <a:pt x="707" y="120"/>
                </a:lnTo>
                <a:lnTo>
                  <a:pt x="689" y="93"/>
                </a:lnTo>
                <a:lnTo>
                  <a:pt x="675" y="92"/>
                </a:lnTo>
                <a:lnTo>
                  <a:pt x="690" y="107"/>
                </a:lnTo>
                <a:lnTo>
                  <a:pt x="674" y="115"/>
                </a:lnTo>
                <a:lnTo>
                  <a:pt x="680" y="123"/>
                </a:lnTo>
                <a:lnTo>
                  <a:pt x="704" y="138"/>
                </a:lnTo>
                <a:lnTo>
                  <a:pt x="702" y="153"/>
                </a:lnTo>
                <a:lnTo>
                  <a:pt x="717" y="169"/>
                </a:lnTo>
                <a:lnTo>
                  <a:pt x="759" y="167"/>
                </a:lnTo>
                <a:lnTo>
                  <a:pt x="781" y="173"/>
                </a:lnTo>
                <a:lnTo>
                  <a:pt x="791" y="187"/>
                </a:lnTo>
                <a:lnTo>
                  <a:pt x="797" y="195"/>
                </a:lnTo>
                <a:lnTo>
                  <a:pt x="821" y="200"/>
                </a:lnTo>
                <a:lnTo>
                  <a:pt x="786" y="195"/>
                </a:lnTo>
                <a:lnTo>
                  <a:pt x="773" y="177"/>
                </a:lnTo>
                <a:lnTo>
                  <a:pt x="761" y="170"/>
                </a:lnTo>
                <a:lnTo>
                  <a:pt x="731" y="176"/>
                </a:lnTo>
                <a:lnTo>
                  <a:pt x="749" y="198"/>
                </a:lnTo>
                <a:lnTo>
                  <a:pt x="734" y="219"/>
                </a:lnTo>
                <a:lnTo>
                  <a:pt x="727" y="223"/>
                </a:lnTo>
                <a:lnTo>
                  <a:pt x="717" y="227"/>
                </a:lnTo>
                <a:lnTo>
                  <a:pt x="672" y="221"/>
                </a:lnTo>
                <a:lnTo>
                  <a:pt x="667" y="217"/>
                </a:lnTo>
                <a:lnTo>
                  <a:pt x="697" y="218"/>
                </a:lnTo>
                <a:lnTo>
                  <a:pt x="691" y="221"/>
                </a:lnTo>
                <a:lnTo>
                  <a:pt x="711" y="218"/>
                </a:lnTo>
                <a:lnTo>
                  <a:pt x="708" y="213"/>
                </a:lnTo>
                <a:lnTo>
                  <a:pt x="721" y="192"/>
                </a:lnTo>
                <a:lnTo>
                  <a:pt x="721" y="182"/>
                </a:lnTo>
                <a:lnTo>
                  <a:pt x="693" y="165"/>
                </a:lnTo>
                <a:lnTo>
                  <a:pt x="681" y="145"/>
                </a:lnTo>
                <a:lnTo>
                  <a:pt x="668" y="126"/>
                </a:lnTo>
                <a:lnTo>
                  <a:pt x="651" y="117"/>
                </a:lnTo>
                <a:lnTo>
                  <a:pt x="651" y="98"/>
                </a:lnTo>
                <a:lnTo>
                  <a:pt x="626" y="90"/>
                </a:lnTo>
                <a:lnTo>
                  <a:pt x="593" y="92"/>
                </a:lnTo>
                <a:lnTo>
                  <a:pt x="589" y="119"/>
                </a:lnTo>
                <a:lnTo>
                  <a:pt x="577" y="128"/>
                </a:lnTo>
                <a:lnTo>
                  <a:pt x="581" y="133"/>
                </a:lnTo>
                <a:lnTo>
                  <a:pt x="591" y="134"/>
                </a:lnTo>
                <a:lnTo>
                  <a:pt x="595" y="147"/>
                </a:lnTo>
                <a:lnTo>
                  <a:pt x="600" y="156"/>
                </a:lnTo>
                <a:lnTo>
                  <a:pt x="621" y="162"/>
                </a:lnTo>
                <a:lnTo>
                  <a:pt x="636" y="171"/>
                </a:lnTo>
                <a:lnTo>
                  <a:pt x="643" y="173"/>
                </a:lnTo>
                <a:lnTo>
                  <a:pt x="636" y="186"/>
                </a:lnTo>
                <a:lnTo>
                  <a:pt x="612" y="173"/>
                </a:lnTo>
                <a:lnTo>
                  <a:pt x="572" y="163"/>
                </a:lnTo>
                <a:lnTo>
                  <a:pt x="536" y="157"/>
                </a:lnTo>
                <a:lnTo>
                  <a:pt x="499" y="152"/>
                </a:lnTo>
                <a:lnTo>
                  <a:pt x="493" y="158"/>
                </a:lnTo>
                <a:lnTo>
                  <a:pt x="511" y="173"/>
                </a:lnTo>
                <a:lnTo>
                  <a:pt x="499" y="179"/>
                </a:lnTo>
                <a:lnTo>
                  <a:pt x="498" y="185"/>
                </a:lnTo>
                <a:lnTo>
                  <a:pt x="488" y="182"/>
                </a:lnTo>
                <a:lnTo>
                  <a:pt x="483" y="173"/>
                </a:lnTo>
                <a:lnTo>
                  <a:pt x="461" y="176"/>
                </a:lnTo>
                <a:lnTo>
                  <a:pt x="443" y="179"/>
                </a:lnTo>
                <a:lnTo>
                  <a:pt x="422" y="186"/>
                </a:lnTo>
                <a:lnTo>
                  <a:pt x="397" y="183"/>
                </a:lnTo>
                <a:lnTo>
                  <a:pt x="404" y="181"/>
                </a:lnTo>
                <a:lnTo>
                  <a:pt x="397" y="173"/>
                </a:lnTo>
                <a:lnTo>
                  <a:pt x="410" y="170"/>
                </a:lnTo>
                <a:lnTo>
                  <a:pt x="380" y="179"/>
                </a:lnTo>
                <a:lnTo>
                  <a:pt x="379" y="181"/>
                </a:lnTo>
                <a:lnTo>
                  <a:pt x="347" y="188"/>
                </a:lnTo>
                <a:lnTo>
                  <a:pt x="329" y="194"/>
                </a:lnTo>
                <a:lnTo>
                  <a:pt x="330" y="198"/>
                </a:lnTo>
                <a:lnTo>
                  <a:pt x="314" y="200"/>
                </a:lnTo>
                <a:lnTo>
                  <a:pt x="313" y="215"/>
                </a:lnTo>
                <a:lnTo>
                  <a:pt x="288" y="215"/>
                </a:lnTo>
                <a:lnTo>
                  <a:pt x="269" y="203"/>
                </a:lnTo>
                <a:lnTo>
                  <a:pt x="294" y="193"/>
                </a:lnTo>
                <a:lnTo>
                  <a:pt x="265" y="179"/>
                </a:lnTo>
                <a:lnTo>
                  <a:pt x="233" y="177"/>
                </a:lnTo>
                <a:lnTo>
                  <a:pt x="251" y="186"/>
                </a:lnTo>
                <a:lnTo>
                  <a:pt x="259" y="209"/>
                </a:lnTo>
                <a:lnTo>
                  <a:pt x="266" y="224"/>
                </a:lnTo>
                <a:lnTo>
                  <a:pt x="265" y="234"/>
                </a:lnTo>
                <a:lnTo>
                  <a:pt x="257" y="233"/>
                </a:lnTo>
                <a:lnTo>
                  <a:pt x="251" y="225"/>
                </a:lnTo>
                <a:lnTo>
                  <a:pt x="231" y="223"/>
                </a:lnTo>
                <a:lnTo>
                  <a:pt x="216" y="235"/>
                </a:lnTo>
                <a:lnTo>
                  <a:pt x="199" y="247"/>
                </a:lnTo>
                <a:lnTo>
                  <a:pt x="216" y="265"/>
                </a:lnTo>
                <a:lnTo>
                  <a:pt x="177" y="260"/>
                </a:lnTo>
                <a:lnTo>
                  <a:pt x="152" y="252"/>
                </a:lnTo>
                <a:lnTo>
                  <a:pt x="153" y="261"/>
                </a:lnTo>
                <a:lnTo>
                  <a:pt x="171" y="270"/>
                </a:lnTo>
                <a:lnTo>
                  <a:pt x="181" y="277"/>
                </a:lnTo>
                <a:lnTo>
                  <a:pt x="158" y="279"/>
                </a:lnTo>
                <a:lnTo>
                  <a:pt x="125" y="264"/>
                </a:lnTo>
                <a:lnTo>
                  <a:pt x="114" y="245"/>
                </a:lnTo>
                <a:lnTo>
                  <a:pt x="113" y="239"/>
                </a:lnTo>
                <a:lnTo>
                  <a:pt x="115" y="237"/>
                </a:lnTo>
                <a:lnTo>
                  <a:pt x="93" y="227"/>
                </a:lnTo>
                <a:lnTo>
                  <a:pt x="84" y="222"/>
                </a:lnTo>
                <a:lnTo>
                  <a:pt x="62" y="210"/>
                </a:lnTo>
                <a:lnTo>
                  <a:pt x="75" y="213"/>
                </a:lnTo>
                <a:lnTo>
                  <a:pt x="120" y="223"/>
                </a:lnTo>
                <a:lnTo>
                  <a:pt x="165" y="233"/>
                </a:lnTo>
                <a:lnTo>
                  <a:pt x="207" y="223"/>
                </a:lnTo>
                <a:lnTo>
                  <a:pt x="212" y="207"/>
                </a:lnTo>
                <a:lnTo>
                  <a:pt x="195" y="195"/>
                </a:lnTo>
                <a:lnTo>
                  <a:pt x="147" y="181"/>
                </a:lnTo>
                <a:lnTo>
                  <a:pt x="101" y="165"/>
                </a:lnTo>
                <a:lnTo>
                  <a:pt x="73" y="167"/>
                </a:lnTo>
                <a:lnTo>
                  <a:pt x="66" y="169"/>
                </a:lnTo>
                <a:lnTo>
                  <a:pt x="72" y="161"/>
                </a:lnTo>
                <a:lnTo>
                  <a:pt x="61" y="163"/>
                </a:lnTo>
                <a:lnTo>
                  <a:pt x="48" y="156"/>
                </a:lnTo>
                <a:lnTo>
                  <a:pt x="63" y="153"/>
                </a:lnTo>
                <a:lnTo>
                  <a:pt x="44" y="151"/>
                </a:lnTo>
                <a:lnTo>
                  <a:pt x="37" y="155"/>
                </a:lnTo>
                <a:lnTo>
                  <a:pt x="27" y="153"/>
                </a:lnTo>
                <a:lnTo>
                  <a:pt x="29" y="158"/>
                </a:lnTo>
                <a:lnTo>
                  <a:pt x="18" y="159"/>
                </a:lnTo>
                <a:lnTo>
                  <a:pt x="1" y="169"/>
                </a:lnTo>
                <a:lnTo>
                  <a:pt x="0" y="173"/>
                </a:lnTo>
                <a:lnTo>
                  <a:pt x="2" y="187"/>
                </a:lnTo>
                <a:lnTo>
                  <a:pt x="26" y="200"/>
                </a:lnTo>
                <a:lnTo>
                  <a:pt x="15" y="216"/>
                </a:lnTo>
                <a:lnTo>
                  <a:pt x="37" y="241"/>
                </a:lnTo>
                <a:lnTo>
                  <a:pt x="38" y="259"/>
                </a:lnTo>
                <a:lnTo>
                  <a:pt x="44" y="267"/>
                </a:lnTo>
                <a:lnTo>
                  <a:pt x="54" y="277"/>
                </a:lnTo>
                <a:lnTo>
                  <a:pt x="47" y="283"/>
                </a:lnTo>
                <a:lnTo>
                  <a:pt x="78" y="301"/>
                </a:lnTo>
                <a:lnTo>
                  <a:pt x="65" y="314"/>
                </a:lnTo>
                <a:lnTo>
                  <a:pt x="51" y="327"/>
                </a:lnTo>
                <a:lnTo>
                  <a:pt x="39" y="341"/>
                </a:lnTo>
                <a:lnTo>
                  <a:pt x="25" y="354"/>
                </a:lnTo>
                <a:lnTo>
                  <a:pt x="38" y="354"/>
                </a:lnTo>
                <a:lnTo>
                  <a:pt x="36" y="354"/>
                </a:lnTo>
                <a:lnTo>
                  <a:pt x="39" y="359"/>
                </a:lnTo>
                <a:lnTo>
                  <a:pt x="71" y="367"/>
                </a:lnTo>
                <a:lnTo>
                  <a:pt x="51" y="367"/>
                </a:lnTo>
                <a:lnTo>
                  <a:pt x="36" y="374"/>
                </a:lnTo>
                <a:lnTo>
                  <a:pt x="31" y="380"/>
                </a:lnTo>
                <a:lnTo>
                  <a:pt x="37" y="402"/>
                </a:lnTo>
                <a:lnTo>
                  <a:pt x="29" y="416"/>
                </a:lnTo>
                <a:lnTo>
                  <a:pt x="39" y="433"/>
                </a:lnTo>
                <a:lnTo>
                  <a:pt x="53" y="459"/>
                </a:lnTo>
                <a:lnTo>
                  <a:pt x="81" y="464"/>
                </a:lnTo>
                <a:lnTo>
                  <a:pt x="110" y="469"/>
                </a:lnTo>
                <a:lnTo>
                  <a:pt x="115" y="497"/>
                </a:lnTo>
                <a:lnTo>
                  <a:pt x="139" y="517"/>
                </a:lnTo>
                <a:lnTo>
                  <a:pt x="132" y="524"/>
                </a:lnTo>
                <a:lnTo>
                  <a:pt x="138" y="546"/>
                </a:lnTo>
                <a:lnTo>
                  <a:pt x="153" y="541"/>
                </a:lnTo>
                <a:lnTo>
                  <a:pt x="183" y="545"/>
                </a:lnTo>
                <a:lnTo>
                  <a:pt x="187" y="553"/>
                </a:lnTo>
                <a:lnTo>
                  <a:pt x="212" y="573"/>
                </a:lnTo>
                <a:lnTo>
                  <a:pt x="237" y="595"/>
                </a:lnTo>
                <a:lnTo>
                  <a:pt x="249" y="593"/>
                </a:lnTo>
                <a:lnTo>
                  <a:pt x="278" y="602"/>
                </a:lnTo>
                <a:lnTo>
                  <a:pt x="307" y="611"/>
                </a:lnTo>
                <a:lnTo>
                  <a:pt x="320" y="645"/>
                </a:lnTo>
                <a:lnTo>
                  <a:pt x="305" y="653"/>
                </a:lnTo>
                <a:lnTo>
                  <a:pt x="297" y="667"/>
                </a:lnTo>
                <a:lnTo>
                  <a:pt x="302" y="672"/>
                </a:lnTo>
                <a:lnTo>
                  <a:pt x="287" y="680"/>
                </a:lnTo>
                <a:lnTo>
                  <a:pt x="277" y="683"/>
                </a:lnTo>
                <a:lnTo>
                  <a:pt x="293" y="696"/>
                </a:lnTo>
                <a:lnTo>
                  <a:pt x="287" y="695"/>
                </a:lnTo>
                <a:lnTo>
                  <a:pt x="284" y="702"/>
                </a:lnTo>
                <a:lnTo>
                  <a:pt x="281" y="697"/>
                </a:lnTo>
                <a:lnTo>
                  <a:pt x="279" y="711"/>
                </a:lnTo>
                <a:lnTo>
                  <a:pt x="263" y="713"/>
                </a:lnTo>
                <a:lnTo>
                  <a:pt x="258" y="717"/>
                </a:lnTo>
                <a:lnTo>
                  <a:pt x="288" y="733"/>
                </a:lnTo>
                <a:lnTo>
                  <a:pt x="318" y="749"/>
                </a:lnTo>
                <a:lnTo>
                  <a:pt x="319" y="746"/>
                </a:lnTo>
                <a:lnTo>
                  <a:pt x="342" y="749"/>
                </a:lnTo>
                <a:lnTo>
                  <a:pt x="363" y="750"/>
                </a:lnTo>
                <a:lnTo>
                  <a:pt x="393" y="762"/>
                </a:lnTo>
                <a:lnTo>
                  <a:pt x="423" y="774"/>
                </a:lnTo>
                <a:lnTo>
                  <a:pt x="453" y="786"/>
                </a:lnTo>
                <a:lnTo>
                  <a:pt x="483" y="798"/>
                </a:lnTo>
                <a:lnTo>
                  <a:pt x="517" y="804"/>
                </a:lnTo>
                <a:lnTo>
                  <a:pt x="500" y="785"/>
                </a:lnTo>
                <a:lnTo>
                  <a:pt x="483" y="767"/>
                </a:lnTo>
                <a:lnTo>
                  <a:pt x="480" y="750"/>
                </a:lnTo>
                <a:lnTo>
                  <a:pt x="479" y="756"/>
                </a:lnTo>
                <a:lnTo>
                  <a:pt x="468" y="738"/>
                </a:lnTo>
                <a:lnTo>
                  <a:pt x="461" y="731"/>
                </a:lnTo>
                <a:lnTo>
                  <a:pt x="471" y="707"/>
                </a:lnTo>
                <a:lnTo>
                  <a:pt x="492" y="697"/>
                </a:lnTo>
                <a:lnTo>
                  <a:pt x="501" y="692"/>
                </a:lnTo>
                <a:lnTo>
                  <a:pt x="499" y="686"/>
                </a:lnTo>
                <a:lnTo>
                  <a:pt x="485" y="662"/>
                </a:lnTo>
                <a:lnTo>
                  <a:pt x="461" y="644"/>
                </a:lnTo>
                <a:lnTo>
                  <a:pt x="438" y="626"/>
                </a:lnTo>
                <a:lnTo>
                  <a:pt x="441" y="599"/>
                </a:lnTo>
                <a:lnTo>
                  <a:pt x="444" y="572"/>
                </a:lnTo>
                <a:lnTo>
                  <a:pt x="467" y="583"/>
                </a:lnTo>
                <a:lnTo>
                  <a:pt x="470" y="572"/>
                </a:lnTo>
                <a:lnTo>
                  <a:pt x="485" y="561"/>
                </a:lnTo>
                <a:lnTo>
                  <a:pt x="500" y="551"/>
                </a:lnTo>
                <a:lnTo>
                  <a:pt x="528" y="551"/>
                </a:lnTo>
                <a:lnTo>
                  <a:pt x="553" y="563"/>
                </a:lnTo>
                <a:lnTo>
                  <a:pt x="579" y="573"/>
                </a:lnTo>
                <a:lnTo>
                  <a:pt x="608" y="572"/>
                </a:lnTo>
                <a:lnTo>
                  <a:pt x="645" y="571"/>
                </a:lnTo>
                <a:lnTo>
                  <a:pt x="684" y="577"/>
                </a:lnTo>
                <a:lnTo>
                  <a:pt x="686" y="571"/>
                </a:lnTo>
                <a:lnTo>
                  <a:pt x="666" y="546"/>
                </a:lnTo>
                <a:lnTo>
                  <a:pt x="675" y="519"/>
                </a:lnTo>
                <a:lnTo>
                  <a:pt x="692" y="519"/>
                </a:lnTo>
                <a:lnTo>
                  <a:pt x="669" y="509"/>
                </a:lnTo>
                <a:lnTo>
                  <a:pt x="693" y="504"/>
                </a:lnTo>
                <a:lnTo>
                  <a:pt x="719" y="500"/>
                </a:lnTo>
                <a:lnTo>
                  <a:pt x="741" y="494"/>
                </a:lnTo>
                <a:lnTo>
                  <a:pt x="765" y="487"/>
                </a:lnTo>
                <a:lnTo>
                  <a:pt x="788" y="481"/>
                </a:lnTo>
                <a:lnTo>
                  <a:pt x="811" y="474"/>
                </a:lnTo>
                <a:lnTo>
                  <a:pt x="828" y="473"/>
                </a:lnTo>
                <a:lnTo>
                  <a:pt x="842" y="487"/>
                </a:lnTo>
                <a:lnTo>
                  <a:pt x="880" y="500"/>
                </a:lnTo>
                <a:lnTo>
                  <a:pt x="893" y="507"/>
                </a:lnTo>
                <a:lnTo>
                  <a:pt x="908" y="510"/>
                </a:lnTo>
                <a:lnTo>
                  <a:pt x="932" y="501"/>
                </a:lnTo>
                <a:lnTo>
                  <a:pt x="958" y="492"/>
                </a:lnTo>
                <a:lnTo>
                  <a:pt x="961" y="495"/>
                </a:lnTo>
                <a:lnTo>
                  <a:pt x="958" y="507"/>
                </a:lnTo>
                <a:lnTo>
                  <a:pt x="984" y="524"/>
                </a:lnTo>
                <a:lnTo>
                  <a:pt x="1010" y="542"/>
                </a:lnTo>
                <a:lnTo>
                  <a:pt x="1037" y="560"/>
                </a:lnTo>
                <a:lnTo>
                  <a:pt x="1063" y="578"/>
                </a:lnTo>
                <a:lnTo>
                  <a:pt x="1067" y="572"/>
                </a:lnTo>
                <a:lnTo>
                  <a:pt x="1081" y="577"/>
                </a:lnTo>
                <a:lnTo>
                  <a:pt x="1106" y="573"/>
                </a:lnTo>
                <a:lnTo>
                  <a:pt x="1133" y="589"/>
                </a:lnTo>
                <a:lnTo>
                  <a:pt x="1159" y="606"/>
                </a:lnTo>
                <a:lnTo>
                  <a:pt x="1184" y="600"/>
                </a:lnTo>
                <a:lnTo>
                  <a:pt x="1206" y="623"/>
                </a:lnTo>
                <a:lnTo>
                  <a:pt x="1222" y="621"/>
                </a:lnTo>
                <a:lnTo>
                  <a:pt x="1231" y="613"/>
                </a:lnTo>
                <a:lnTo>
                  <a:pt x="1249" y="606"/>
                </a:lnTo>
                <a:lnTo>
                  <a:pt x="1268" y="594"/>
                </a:lnTo>
                <a:lnTo>
                  <a:pt x="1288" y="583"/>
                </a:lnTo>
                <a:lnTo>
                  <a:pt x="1327" y="588"/>
                </a:lnTo>
                <a:lnTo>
                  <a:pt x="1333" y="596"/>
                </a:lnTo>
                <a:lnTo>
                  <a:pt x="1363" y="601"/>
                </a:lnTo>
                <a:lnTo>
                  <a:pt x="1392" y="606"/>
                </a:lnTo>
                <a:lnTo>
                  <a:pt x="1406" y="594"/>
                </a:lnTo>
                <a:lnTo>
                  <a:pt x="1388" y="577"/>
                </a:lnTo>
                <a:lnTo>
                  <a:pt x="1393" y="553"/>
                </a:lnTo>
                <a:lnTo>
                  <a:pt x="1427" y="560"/>
                </a:lnTo>
                <a:lnTo>
                  <a:pt x="1459" y="567"/>
                </a:lnTo>
                <a:lnTo>
                  <a:pt x="1474" y="581"/>
                </a:lnTo>
                <a:lnTo>
                  <a:pt x="1504" y="596"/>
                </a:lnTo>
                <a:lnTo>
                  <a:pt x="1537" y="590"/>
                </a:lnTo>
                <a:lnTo>
                  <a:pt x="1564" y="595"/>
                </a:lnTo>
                <a:lnTo>
                  <a:pt x="1591" y="601"/>
                </a:lnTo>
                <a:lnTo>
                  <a:pt x="1602" y="611"/>
                </a:lnTo>
                <a:lnTo>
                  <a:pt x="1643" y="620"/>
                </a:lnTo>
                <a:lnTo>
                  <a:pt x="1666" y="617"/>
                </a:lnTo>
                <a:lnTo>
                  <a:pt x="1687" y="612"/>
                </a:lnTo>
                <a:lnTo>
                  <a:pt x="1710" y="595"/>
                </a:lnTo>
                <a:lnTo>
                  <a:pt x="1746" y="603"/>
                </a:lnTo>
                <a:lnTo>
                  <a:pt x="1764" y="605"/>
                </a:lnTo>
                <a:lnTo>
                  <a:pt x="1793" y="611"/>
                </a:lnTo>
                <a:lnTo>
                  <a:pt x="1807" y="595"/>
                </a:lnTo>
                <a:lnTo>
                  <a:pt x="1801" y="577"/>
                </a:lnTo>
                <a:lnTo>
                  <a:pt x="1800" y="548"/>
                </a:lnTo>
                <a:lnTo>
                  <a:pt x="1786" y="539"/>
                </a:lnTo>
                <a:lnTo>
                  <a:pt x="1777" y="535"/>
                </a:lnTo>
                <a:lnTo>
                  <a:pt x="1792" y="522"/>
                </a:lnTo>
                <a:lnTo>
                  <a:pt x="1816" y="521"/>
                </a:lnTo>
                <a:lnTo>
                  <a:pt x="1840" y="521"/>
                </a:lnTo>
                <a:lnTo>
                  <a:pt x="1890" y="536"/>
                </a:lnTo>
                <a:lnTo>
                  <a:pt x="1909" y="553"/>
                </a:lnTo>
                <a:lnTo>
                  <a:pt x="1930" y="570"/>
                </a:lnTo>
                <a:lnTo>
                  <a:pt x="1949" y="587"/>
                </a:lnTo>
                <a:lnTo>
                  <a:pt x="1969" y="603"/>
                </a:lnTo>
                <a:lnTo>
                  <a:pt x="1991" y="612"/>
                </a:lnTo>
                <a:lnTo>
                  <a:pt x="2026" y="621"/>
                </a:lnTo>
                <a:lnTo>
                  <a:pt x="2046" y="630"/>
                </a:lnTo>
                <a:lnTo>
                  <a:pt x="2071" y="656"/>
                </a:lnTo>
                <a:lnTo>
                  <a:pt x="2100" y="653"/>
                </a:lnTo>
                <a:lnTo>
                  <a:pt x="2131" y="642"/>
                </a:lnTo>
                <a:lnTo>
                  <a:pt x="2143" y="663"/>
                </a:lnTo>
                <a:lnTo>
                  <a:pt x="2147" y="692"/>
                </a:lnTo>
                <a:lnTo>
                  <a:pt x="2151" y="721"/>
                </a:lnTo>
                <a:lnTo>
                  <a:pt x="2124" y="716"/>
                </a:lnTo>
                <a:lnTo>
                  <a:pt x="2121" y="729"/>
                </a:lnTo>
                <a:lnTo>
                  <a:pt x="2134" y="751"/>
                </a:lnTo>
                <a:lnTo>
                  <a:pt x="2148" y="773"/>
                </a:lnTo>
                <a:lnTo>
                  <a:pt x="2140" y="779"/>
                </a:lnTo>
                <a:lnTo>
                  <a:pt x="2145" y="786"/>
                </a:lnTo>
                <a:lnTo>
                  <a:pt x="2148" y="788"/>
                </a:lnTo>
                <a:lnTo>
                  <a:pt x="2146" y="781"/>
                </a:lnTo>
                <a:lnTo>
                  <a:pt x="2149" y="781"/>
                </a:lnTo>
                <a:lnTo>
                  <a:pt x="2160" y="767"/>
                </a:lnTo>
                <a:lnTo>
                  <a:pt x="2166" y="764"/>
                </a:lnTo>
                <a:lnTo>
                  <a:pt x="2172" y="775"/>
                </a:lnTo>
                <a:lnTo>
                  <a:pt x="2187" y="776"/>
                </a:lnTo>
                <a:lnTo>
                  <a:pt x="2211" y="768"/>
                </a:lnTo>
                <a:lnTo>
                  <a:pt x="2218" y="751"/>
                </a:lnTo>
                <a:lnTo>
                  <a:pt x="2224" y="734"/>
                </a:lnTo>
                <a:lnTo>
                  <a:pt x="2227" y="710"/>
                </a:lnTo>
                <a:lnTo>
                  <a:pt x="2230" y="687"/>
                </a:lnTo>
                <a:lnTo>
                  <a:pt x="2232" y="665"/>
                </a:lnTo>
                <a:lnTo>
                  <a:pt x="2233" y="642"/>
                </a:lnTo>
                <a:lnTo>
                  <a:pt x="2224" y="621"/>
                </a:lnTo>
                <a:lnTo>
                  <a:pt x="2214" y="601"/>
                </a:lnTo>
                <a:lnTo>
                  <a:pt x="2202" y="588"/>
                </a:lnTo>
                <a:lnTo>
                  <a:pt x="2197" y="572"/>
                </a:lnTo>
                <a:lnTo>
                  <a:pt x="2191" y="557"/>
                </a:lnTo>
                <a:lnTo>
                  <a:pt x="2177" y="540"/>
                </a:lnTo>
                <a:lnTo>
                  <a:pt x="2155" y="527"/>
                </a:lnTo>
                <a:lnTo>
                  <a:pt x="2169" y="528"/>
                </a:lnTo>
                <a:lnTo>
                  <a:pt x="2118" y="501"/>
                </a:lnTo>
                <a:lnTo>
                  <a:pt x="2094" y="498"/>
                </a:lnTo>
                <a:lnTo>
                  <a:pt x="2101" y="509"/>
                </a:lnTo>
                <a:lnTo>
                  <a:pt x="2085" y="517"/>
                </a:lnTo>
                <a:lnTo>
                  <a:pt x="2085" y="509"/>
                </a:lnTo>
                <a:lnTo>
                  <a:pt x="2074" y="505"/>
                </a:lnTo>
                <a:lnTo>
                  <a:pt x="2071" y="510"/>
                </a:lnTo>
                <a:lnTo>
                  <a:pt x="2056" y="493"/>
                </a:lnTo>
                <a:lnTo>
                  <a:pt x="2022" y="489"/>
                </a:lnTo>
                <a:lnTo>
                  <a:pt x="2031" y="468"/>
                </a:lnTo>
                <a:lnTo>
                  <a:pt x="2037" y="447"/>
                </a:lnTo>
                <a:lnTo>
                  <a:pt x="2043" y="433"/>
                </a:lnTo>
                <a:lnTo>
                  <a:pt x="2049" y="419"/>
                </a:lnTo>
                <a:lnTo>
                  <a:pt x="2044" y="408"/>
                </a:lnTo>
                <a:lnTo>
                  <a:pt x="2052" y="387"/>
                </a:lnTo>
                <a:lnTo>
                  <a:pt x="2075" y="384"/>
                </a:lnTo>
                <a:lnTo>
                  <a:pt x="2099" y="380"/>
                </a:lnTo>
                <a:lnTo>
                  <a:pt x="2105" y="380"/>
                </a:lnTo>
                <a:lnTo>
                  <a:pt x="2115" y="385"/>
                </a:lnTo>
                <a:lnTo>
                  <a:pt x="2117" y="381"/>
                </a:lnTo>
                <a:lnTo>
                  <a:pt x="2161" y="384"/>
                </a:lnTo>
                <a:lnTo>
                  <a:pt x="2163" y="379"/>
                </a:lnTo>
                <a:lnTo>
                  <a:pt x="2159" y="375"/>
                </a:lnTo>
                <a:lnTo>
                  <a:pt x="2194" y="377"/>
                </a:lnTo>
                <a:lnTo>
                  <a:pt x="2221" y="383"/>
                </a:lnTo>
                <a:lnTo>
                  <a:pt x="2212" y="386"/>
                </a:lnTo>
                <a:lnTo>
                  <a:pt x="2219" y="393"/>
                </a:lnTo>
                <a:lnTo>
                  <a:pt x="2238" y="391"/>
                </a:lnTo>
                <a:lnTo>
                  <a:pt x="2251" y="385"/>
                </a:lnTo>
                <a:lnTo>
                  <a:pt x="2279" y="386"/>
                </a:lnTo>
                <a:lnTo>
                  <a:pt x="2274" y="381"/>
                </a:lnTo>
                <a:lnTo>
                  <a:pt x="2256" y="379"/>
                </a:lnTo>
                <a:lnTo>
                  <a:pt x="2249" y="373"/>
                </a:lnTo>
                <a:lnTo>
                  <a:pt x="2248" y="351"/>
                </a:lnTo>
                <a:lnTo>
                  <a:pt x="2247" y="329"/>
                </a:lnTo>
                <a:lnTo>
                  <a:pt x="2285" y="327"/>
                </a:lnTo>
                <a:lnTo>
                  <a:pt x="2293" y="325"/>
                </a:lnTo>
                <a:lnTo>
                  <a:pt x="2314" y="345"/>
                </a:lnTo>
                <a:lnTo>
                  <a:pt x="2317" y="343"/>
                </a:lnTo>
                <a:lnTo>
                  <a:pt x="2329" y="354"/>
                </a:lnTo>
                <a:lnTo>
                  <a:pt x="2339" y="331"/>
                </a:lnTo>
                <a:lnTo>
                  <a:pt x="2350" y="331"/>
                </a:lnTo>
                <a:lnTo>
                  <a:pt x="2329" y="312"/>
                </a:lnTo>
                <a:lnTo>
                  <a:pt x="2335" y="308"/>
                </a:lnTo>
                <a:lnTo>
                  <a:pt x="2367" y="312"/>
                </a:lnTo>
                <a:lnTo>
                  <a:pt x="2370" y="315"/>
                </a:lnTo>
                <a:lnTo>
                  <a:pt x="2353" y="314"/>
                </a:lnTo>
                <a:lnTo>
                  <a:pt x="2368" y="330"/>
                </a:lnTo>
                <a:lnTo>
                  <a:pt x="2382" y="345"/>
                </a:lnTo>
                <a:lnTo>
                  <a:pt x="2371" y="354"/>
                </a:lnTo>
                <a:lnTo>
                  <a:pt x="2368" y="371"/>
                </a:lnTo>
                <a:lnTo>
                  <a:pt x="2363" y="390"/>
                </a:lnTo>
                <a:lnTo>
                  <a:pt x="2362" y="413"/>
                </a:lnTo>
                <a:lnTo>
                  <a:pt x="2344" y="416"/>
                </a:lnTo>
                <a:lnTo>
                  <a:pt x="2352" y="423"/>
                </a:lnTo>
                <a:lnTo>
                  <a:pt x="2355" y="439"/>
                </a:lnTo>
                <a:lnTo>
                  <a:pt x="2370" y="459"/>
                </a:lnTo>
                <a:lnTo>
                  <a:pt x="2386" y="479"/>
                </a:lnTo>
                <a:lnTo>
                  <a:pt x="2415" y="504"/>
                </a:lnTo>
                <a:lnTo>
                  <a:pt x="2443" y="528"/>
                </a:lnTo>
                <a:lnTo>
                  <a:pt x="2472" y="553"/>
                </a:lnTo>
                <a:lnTo>
                  <a:pt x="2502" y="577"/>
                </a:lnTo>
                <a:lnTo>
                  <a:pt x="2510" y="563"/>
                </a:lnTo>
                <a:lnTo>
                  <a:pt x="2493" y="530"/>
                </a:lnTo>
                <a:lnTo>
                  <a:pt x="2500" y="525"/>
                </a:lnTo>
                <a:lnTo>
                  <a:pt x="2513" y="528"/>
                </a:lnTo>
                <a:lnTo>
                  <a:pt x="2510" y="523"/>
                </a:lnTo>
                <a:lnTo>
                  <a:pt x="2493" y="500"/>
                </a:lnTo>
                <a:lnTo>
                  <a:pt x="2516" y="491"/>
                </a:lnTo>
                <a:lnTo>
                  <a:pt x="2486" y="465"/>
                </a:lnTo>
                <a:lnTo>
                  <a:pt x="2484" y="453"/>
                </a:lnTo>
                <a:lnTo>
                  <a:pt x="2487" y="449"/>
                </a:lnTo>
                <a:lnTo>
                  <a:pt x="2486" y="453"/>
                </a:lnTo>
                <a:lnTo>
                  <a:pt x="2500" y="458"/>
                </a:lnTo>
                <a:lnTo>
                  <a:pt x="2484" y="443"/>
                </a:lnTo>
                <a:lnTo>
                  <a:pt x="2475" y="441"/>
                </a:lnTo>
                <a:lnTo>
                  <a:pt x="2454" y="416"/>
                </a:lnTo>
                <a:lnTo>
                  <a:pt x="2445" y="419"/>
                </a:lnTo>
                <a:lnTo>
                  <a:pt x="2427" y="411"/>
                </a:lnTo>
                <a:lnTo>
                  <a:pt x="2417" y="386"/>
                </a:lnTo>
                <a:lnTo>
                  <a:pt x="2406" y="371"/>
                </a:lnTo>
                <a:lnTo>
                  <a:pt x="2418" y="366"/>
                </a:lnTo>
                <a:lnTo>
                  <a:pt x="2433" y="372"/>
                </a:lnTo>
                <a:lnTo>
                  <a:pt x="2429" y="365"/>
                </a:lnTo>
                <a:lnTo>
                  <a:pt x="2437" y="356"/>
                </a:lnTo>
                <a:lnTo>
                  <a:pt x="2454" y="371"/>
                </a:lnTo>
                <a:lnTo>
                  <a:pt x="2455" y="360"/>
                </a:lnTo>
                <a:lnTo>
                  <a:pt x="2487" y="354"/>
                </a:lnTo>
                <a:lnTo>
                  <a:pt x="2519" y="366"/>
                </a:lnTo>
                <a:lnTo>
                  <a:pt x="2519" y="361"/>
                </a:lnTo>
                <a:lnTo>
                  <a:pt x="2528" y="345"/>
                </a:lnTo>
                <a:lnTo>
                  <a:pt x="2530" y="343"/>
                </a:lnTo>
                <a:lnTo>
                  <a:pt x="2529" y="336"/>
                </a:lnTo>
                <a:lnTo>
                  <a:pt x="2531" y="333"/>
                </a:lnTo>
                <a:lnTo>
                  <a:pt x="2549" y="321"/>
                </a:lnTo>
                <a:lnTo>
                  <a:pt x="2567" y="309"/>
                </a:lnTo>
                <a:lnTo>
                  <a:pt x="2558" y="307"/>
                </a:lnTo>
                <a:lnTo>
                  <a:pt x="2564" y="306"/>
                </a:lnTo>
                <a:lnTo>
                  <a:pt x="2603" y="314"/>
                </a:lnTo>
                <a:lnTo>
                  <a:pt x="2606" y="311"/>
                </a:lnTo>
                <a:lnTo>
                  <a:pt x="2588" y="300"/>
                </a:lnTo>
                <a:lnTo>
                  <a:pt x="2568" y="290"/>
                </a:lnTo>
                <a:lnTo>
                  <a:pt x="2558" y="287"/>
                </a:lnTo>
                <a:lnTo>
                  <a:pt x="2528" y="269"/>
                </a:lnTo>
                <a:lnTo>
                  <a:pt x="2526" y="272"/>
                </a:lnTo>
                <a:lnTo>
                  <a:pt x="2505" y="260"/>
                </a:lnTo>
                <a:lnTo>
                  <a:pt x="2517" y="263"/>
                </a:lnTo>
                <a:lnTo>
                  <a:pt x="2536" y="259"/>
                </a:lnTo>
                <a:lnTo>
                  <a:pt x="2505" y="236"/>
                </a:lnTo>
                <a:lnTo>
                  <a:pt x="2472" y="215"/>
                </a:lnTo>
                <a:lnTo>
                  <a:pt x="2441" y="192"/>
                </a:lnTo>
                <a:lnTo>
                  <a:pt x="2409" y="17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40" name="Freeform 223"/>
          <p:cNvSpPr>
            <a:spLocks/>
          </p:cNvSpPr>
          <p:nvPr/>
        </p:nvSpPr>
        <p:spPr bwMode="auto">
          <a:xfrm>
            <a:off x="5486400" y="2235200"/>
            <a:ext cx="249238" cy="98425"/>
          </a:xfrm>
          <a:custGeom>
            <a:avLst/>
            <a:gdLst>
              <a:gd name="T0" fmla="*/ 2147483647 w 188"/>
              <a:gd name="T1" fmla="*/ 2147483647 h 71"/>
              <a:gd name="T2" fmla="*/ 2147483647 w 188"/>
              <a:gd name="T3" fmla="*/ 2147483647 h 71"/>
              <a:gd name="T4" fmla="*/ 2147483647 w 188"/>
              <a:gd name="T5" fmla="*/ 2147483647 h 71"/>
              <a:gd name="T6" fmla="*/ 2147483647 w 188"/>
              <a:gd name="T7" fmla="*/ 2147483647 h 71"/>
              <a:gd name="T8" fmla="*/ 2147483647 w 188"/>
              <a:gd name="T9" fmla="*/ 2147483647 h 71"/>
              <a:gd name="T10" fmla="*/ 2147483647 w 188"/>
              <a:gd name="T11" fmla="*/ 2147483647 h 71"/>
              <a:gd name="T12" fmla="*/ 2147483647 w 188"/>
              <a:gd name="T13" fmla="*/ 2147483647 h 71"/>
              <a:gd name="T14" fmla="*/ 2147483647 w 188"/>
              <a:gd name="T15" fmla="*/ 2147483647 h 71"/>
              <a:gd name="T16" fmla="*/ 2147483647 w 188"/>
              <a:gd name="T17" fmla="*/ 2147483647 h 71"/>
              <a:gd name="T18" fmla="*/ 2147483647 w 188"/>
              <a:gd name="T19" fmla="*/ 2147483647 h 71"/>
              <a:gd name="T20" fmla="*/ 2147483647 w 188"/>
              <a:gd name="T21" fmla="*/ 2147483647 h 71"/>
              <a:gd name="T22" fmla="*/ 2147483647 w 188"/>
              <a:gd name="T23" fmla="*/ 2147483647 h 71"/>
              <a:gd name="T24" fmla="*/ 2147483647 w 188"/>
              <a:gd name="T25" fmla="*/ 2147483647 h 71"/>
              <a:gd name="T26" fmla="*/ 2147483647 w 188"/>
              <a:gd name="T27" fmla="*/ 2147483647 h 71"/>
              <a:gd name="T28" fmla="*/ 2147483647 w 188"/>
              <a:gd name="T29" fmla="*/ 2147483647 h 71"/>
              <a:gd name="T30" fmla="*/ 2147483647 w 188"/>
              <a:gd name="T31" fmla="*/ 2147483647 h 71"/>
              <a:gd name="T32" fmla="*/ 2147483647 w 188"/>
              <a:gd name="T33" fmla="*/ 2147483647 h 71"/>
              <a:gd name="T34" fmla="*/ 2147483647 w 188"/>
              <a:gd name="T35" fmla="*/ 2147483647 h 71"/>
              <a:gd name="T36" fmla="*/ 2147483647 w 188"/>
              <a:gd name="T37" fmla="*/ 2147483647 h 71"/>
              <a:gd name="T38" fmla="*/ 0 w 188"/>
              <a:gd name="T39" fmla="*/ 2147483647 h 71"/>
              <a:gd name="T40" fmla="*/ 2147483647 w 188"/>
              <a:gd name="T41" fmla="*/ 2147483647 h 71"/>
              <a:gd name="T42" fmla="*/ 2147483647 w 188"/>
              <a:gd name="T43" fmla="*/ 2147483647 h 71"/>
              <a:gd name="T44" fmla="*/ 2147483647 w 188"/>
              <a:gd name="T45" fmla="*/ 2147483647 h 71"/>
              <a:gd name="T46" fmla="*/ 2147483647 w 188"/>
              <a:gd name="T47" fmla="*/ 2147483647 h 71"/>
              <a:gd name="T48" fmla="*/ 2147483647 w 188"/>
              <a:gd name="T49" fmla="*/ 2147483647 h 71"/>
              <a:gd name="T50" fmla="*/ 2147483647 w 188"/>
              <a:gd name="T51" fmla="*/ 2147483647 h 71"/>
              <a:gd name="T52" fmla="*/ 2147483647 w 188"/>
              <a:gd name="T53" fmla="*/ 2147483647 h 71"/>
              <a:gd name="T54" fmla="*/ 2147483647 w 188"/>
              <a:gd name="T55" fmla="*/ 2147483647 h 71"/>
              <a:gd name="T56" fmla="*/ 2147483647 w 188"/>
              <a:gd name="T57" fmla="*/ 2147483647 h 71"/>
              <a:gd name="T58" fmla="*/ 2147483647 w 188"/>
              <a:gd name="T59" fmla="*/ 2147483647 h 71"/>
              <a:gd name="T60" fmla="*/ 2147483647 w 188"/>
              <a:gd name="T61" fmla="*/ 2147483647 h 71"/>
              <a:gd name="T62" fmla="*/ 2147483647 w 188"/>
              <a:gd name="T63" fmla="*/ 2147483647 h 71"/>
              <a:gd name="T64" fmla="*/ 2147483647 w 188"/>
              <a:gd name="T65" fmla="*/ 2147483647 h 71"/>
              <a:gd name="T66" fmla="*/ 2147483647 w 188"/>
              <a:gd name="T67" fmla="*/ 0 h 71"/>
              <a:gd name="T68" fmla="*/ 2147483647 w 188"/>
              <a:gd name="T69" fmla="*/ 2147483647 h 71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88"/>
              <a:gd name="T106" fmla="*/ 0 h 71"/>
              <a:gd name="T107" fmla="*/ 188 w 188"/>
              <a:gd name="T108" fmla="*/ 71 h 71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88" h="71">
                <a:moveTo>
                  <a:pt x="188" y="5"/>
                </a:moveTo>
                <a:lnTo>
                  <a:pt x="173" y="14"/>
                </a:lnTo>
                <a:lnTo>
                  <a:pt x="132" y="25"/>
                </a:lnTo>
                <a:lnTo>
                  <a:pt x="90" y="35"/>
                </a:lnTo>
                <a:lnTo>
                  <a:pt x="80" y="36"/>
                </a:lnTo>
                <a:lnTo>
                  <a:pt x="86" y="39"/>
                </a:lnTo>
                <a:lnTo>
                  <a:pt x="83" y="43"/>
                </a:lnTo>
                <a:lnTo>
                  <a:pt x="74" y="44"/>
                </a:lnTo>
                <a:lnTo>
                  <a:pt x="75" y="48"/>
                </a:lnTo>
                <a:lnTo>
                  <a:pt x="59" y="45"/>
                </a:lnTo>
                <a:lnTo>
                  <a:pt x="64" y="53"/>
                </a:lnTo>
                <a:lnTo>
                  <a:pt x="58" y="55"/>
                </a:lnTo>
                <a:lnTo>
                  <a:pt x="62" y="62"/>
                </a:lnTo>
                <a:lnTo>
                  <a:pt x="42" y="59"/>
                </a:lnTo>
                <a:lnTo>
                  <a:pt x="62" y="65"/>
                </a:lnTo>
                <a:lnTo>
                  <a:pt x="51" y="65"/>
                </a:lnTo>
                <a:lnTo>
                  <a:pt x="54" y="71"/>
                </a:lnTo>
                <a:lnTo>
                  <a:pt x="11" y="67"/>
                </a:lnTo>
                <a:lnTo>
                  <a:pt x="18" y="62"/>
                </a:lnTo>
                <a:lnTo>
                  <a:pt x="0" y="61"/>
                </a:lnTo>
                <a:lnTo>
                  <a:pt x="18" y="53"/>
                </a:lnTo>
                <a:lnTo>
                  <a:pt x="24" y="53"/>
                </a:lnTo>
                <a:lnTo>
                  <a:pt x="17" y="49"/>
                </a:lnTo>
                <a:lnTo>
                  <a:pt x="22" y="45"/>
                </a:lnTo>
                <a:lnTo>
                  <a:pt x="32" y="41"/>
                </a:lnTo>
                <a:lnTo>
                  <a:pt x="24" y="39"/>
                </a:lnTo>
                <a:lnTo>
                  <a:pt x="28" y="36"/>
                </a:lnTo>
                <a:lnTo>
                  <a:pt x="17" y="35"/>
                </a:lnTo>
                <a:lnTo>
                  <a:pt x="29" y="31"/>
                </a:lnTo>
                <a:lnTo>
                  <a:pt x="40" y="29"/>
                </a:lnTo>
                <a:lnTo>
                  <a:pt x="74" y="18"/>
                </a:lnTo>
                <a:lnTo>
                  <a:pt x="80" y="14"/>
                </a:lnTo>
                <a:lnTo>
                  <a:pt x="143" y="7"/>
                </a:lnTo>
                <a:lnTo>
                  <a:pt x="171" y="0"/>
                </a:lnTo>
                <a:lnTo>
                  <a:pt x="188" y="5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41" name="Freeform 224"/>
          <p:cNvSpPr>
            <a:spLocks/>
          </p:cNvSpPr>
          <p:nvPr/>
        </p:nvSpPr>
        <p:spPr bwMode="auto">
          <a:xfrm>
            <a:off x="5467350" y="2333625"/>
            <a:ext cx="144463" cy="71438"/>
          </a:xfrm>
          <a:custGeom>
            <a:avLst/>
            <a:gdLst>
              <a:gd name="T0" fmla="*/ 2147483647 w 109"/>
              <a:gd name="T1" fmla="*/ 2147483647 h 52"/>
              <a:gd name="T2" fmla="*/ 2147483647 w 109"/>
              <a:gd name="T3" fmla="*/ 2147483647 h 52"/>
              <a:gd name="T4" fmla="*/ 2147483647 w 109"/>
              <a:gd name="T5" fmla="*/ 2147483647 h 52"/>
              <a:gd name="T6" fmla="*/ 2147483647 w 109"/>
              <a:gd name="T7" fmla="*/ 2147483647 h 52"/>
              <a:gd name="T8" fmla="*/ 2147483647 w 109"/>
              <a:gd name="T9" fmla="*/ 2147483647 h 52"/>
              <a:gd name="T10" fmla="*/ 2147483647 w 109"/>
              <a:gd name="T11" fmla="*/ 2147483647 h 52"/>
              <a:gd name="T12" fmla="*/ 2147483647 w 109"/>
              <a:gd name="T13" fmla="*/ 0 h 52"/>
              <a:gd name="T14" fmla="*/ 2147483647 w 109"/>
              <a:gd name="T15" fmla="*/ 2147483647 h 52"/>
              <a:gd name="T16" fmla="*/ 2147483647 w 109"/>
              <a:gd name="T17" fmla="*/ 2147483647 h 52"/>
              <a:gd name="T18" fmla="*/ 2147483647 w 109"/>
              <a:gd name="T19" fmla="*/ 2147483647 h 52"/>
              <a:gd name="T20" fmla="*/ 2147483647 w 109"/>
              <a:gd name="T21" fmla="*/ 2147483647 h 52"/>
              <a:gd name="T22" fmla="*/ 0 w 109"/>
              <a:gd name="T23" fmla="*/ 2147483647 h 52"/>
              <a:gd name="T24" fmla="*/ 2147483647 w 109"/>
              <a:gd name="T25" fmla="*/ 2147483647 h 52"/>
              <a:gd name="T26" fmla="*/ 2147483647 w 109"/>
              <a:gd name="T27" fmla="*/ 2147483647 h 52"/>
              <a:gd name="T28" fmla="*/ 2147483647 w 109"/>
              <a:gd name="T29" fmla="*/ 2147483647 h 52"/>
              <a:gd name="T30" fmla="*/ 2147483647 w 109"/>
              <a:gd name="T31" fmla="*/ 2147483647 h 52"/>
              <a:gd name="T32" fmla="*/ 2147483647 w 109"/>
              <a:gd name="T33" fmla="*/ 2147483647 h 52"/>
              <a:gd name="T34" fmla="*/ 2147483647 w 109"/>
              <a:gd name="T35" fmla="*/ 2147483647 h 52"/>
              <a:gd name="T36" fmla="*/ 2147483647 w 109"/>
              <a:gd name="T37" fmla="*/ 2147483647 h 52"/>
              <a:gd name="T38" fmla="*/ 2147483647 w 109"/>
              <a:gd name="T39" fmla="*/ 2147483647 h 52"/>
              <a:gd name="T40" fmla="*/ 2147483647 w 109"/>
              <a:gd name="T41" fmla="*/ 2147483647 h 52"/>
              <a:gd name="T42" fmla="*/ 2147483647 w 109"/>
              <a:gd name="T43" fmla="*/ 2147483647 h 52"/>
              <a:gd name="T44" fmla="*/ 2147483647 w 109"/>
              <a:gd name="T45" fmla="*/ 2147483647 h 52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09"/>
              <a:gd name="T70" fmla="*/ 0 h 52"/>
              <a:gd name="T71" fmla="*/ 109 w 109"/>
              <a:gd name="T72" fmla="*/ 52 h 52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09" h="52">
                <a:moveTo>
                  <a:pt x="109" y="51"/>
                </a:moveTo>
                <a:lnTo>
                  <a:pt x="68" y="33"/>
                </a:lnTo>
                <a:lnTo>
                  <a:pt x="56" y="13"/>
                </a:lnTo>
                <a:lnTo>
                  <a:pt x="56" y="10"/>
                </a:lnTo>
                <a:lnTo>
                  <a:pt x="59" y="7"/>
                </a:lnTo>
                <a:lnTo>
                  <a:pt x="62" y="1"/>
                </a:lnTo>
                <a:lnTo>
                  <a:pt x="22" y="0"/>
                </a:lnTo>
                <a:lnTo>
                  <a:pt x="16" y="6"/>
                </a:lnTo>
                <a:lnTo>
                  <a:pt x="10" y="12"/>
                </a:lnTo>
                <a:lnTo>
                  <a:pt x="16" y="15"/>
                </a:lnTo>
                <a:lnTo>
                  <a:pt x="8" y="24"/>
                </a:lnTo>
                <a:lnTo>
                  <a:pt x="0" y="27"/>
                </a:lnTo>
                <a:lnTo>
                  <a:pt x="11" y="37"/>
                </a:lnTo>
                <a:lnTo>
                  <a:pt x="24" y="36"/>
                </a:lnTo>
                <a:lnTo>
                  <a:pt x="32" y="37"/>
                </a:lnTo>
                <a:lnTo>
                  <a:pt x="41" y="38"/>
                </a:lnTo>
                <a:lnTo>
                  <a:pt x="48" y="44"/>
                </a:lnTo>
                <a:lnTo>
                  <a:pt x="46" y="46"/>
                </a:lnTo>
                <a:lnTo>
                  <a:pt x="61" y="50"/>
                </a:lnTo>
                <a:lnTo>
                  <a:pt x="73" y="51"/>
                </a:lnTo>
                <a:lnTo>
                  <a:pt x="89" y="52"/>
                </a:lnTo>
                <a:lnTo>
                  <a:pt x="102" y="52"/>
                </a:lnTo>
                <a:lnTo>
                  <a:pt x="109" y="5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42" name="Freeform 225"/>
          <p:cNvSpPr>
            <a:spLocks/>
          </p:cNvSpPr>
          <p:nvPr/>
        </p:nvSpPr>
        <p:spPr bwMode="auto">
          <a:xfrm>
            <a:off x="4911725" y="2886075"/>
            <a:ext cx="52388" cy="19050"/>
          </a:xfrm>
          <a:custGeom>
            <a:avLst/>
            <a:gdLst>
              <a:gd name="T0" fmla="*/ 2147483647 w 40"/>
              <a:gd name="T1" fmla="*/ 0 h 14"/>
              <a:gd name="T2" fmla="*/ 2147483647 w 40"/>
              <a:gd name="T3" fmla="*/ 2147483647 h 14"/>
              <a:gd name="T4" fmla="*/ 0 w 40"/>
              <a:gd name="T5" fmla="*/ 2147483647 h 14"/>
              <a:gd name="T6" fmla="*/ 0 w 40"/>
              <a:gd name="T7" fmla="*/ 2147483647 h 14"/>
              <a:gd name="T8" fmla="*/ 2147483647 w 40"/>
              <a:gd name="T9" fmla="*/ 2147483647 h 14"/>
              <a:gd name="T10" fmla="*/ 0 w 40"/>
              <a:gd name="T11" fmla="*/ 2147483647 h 14"/>
              <a:gd name="T12" fmla="*/ 0 w 40"/>
              <a:gd name="T13" fmla="*/ 2147483647 h 14"/>
              <a:gd name="T14" fmla="*/ 2147483647 w 40"/>
              <a:gd name="T15" fmla="*/ 2147483647 h 14"/>
              <a:gd name="T16" fmla="*/ 2147483647 w 40"/>
              <a:gd name="T17" fmla="*/ 2147483647 h 14"/>
              <a:gd name="T18" fmla="*/ 2147483647 w 40"/>
              <a:gd name="T19" fmla="*/ 2147483647 h 14"/>
              <a:gd name="T20" fmla="*/ 2147483647 w 40"/>
              <a:gd name="T21" fmla="*/ 2147483647 h 14"/>
              <a:gd name="T22" fmla="*/ 2147483647 w 40"/>
              <a:gd name="T23" fmla="*/ 0 h 1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0"/>
              <a:gd name="T37" fmla="*/ 0 h 14"/>
              <a:gd name="T38" fmla="*/ 40 w 40"/>
              <a:gd name="T39" fmla="*/ 14 h 1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0" h="14">
                <a:moveTo>
                  <a:pt x="11" y="0"/>
                </a:moveTo>
                <a:lnTo>
                  <a:pt x="11" y="3"/>
                </a:lnTo>
                <a:lnTo>
                  <a:pt x="0" y="2"/>
                </a:lnTo>
                <a:lnTo>
                  <a:pt x="0" y="4"/>
                </a:lnTo>
                <a:lnTo>
                  <a:pt x="3" y="6"/>
                </a:lnTo>
                <a:lnTo>
                  <a:pt x="0" y="7"/>
                </a:lnTo>
                <a:lnTo>
                  <a:pt x="0" y="10"/>
                </a:lnTo>
                <a:lnTo>
                  <a:pt x="9" y="12"/>
                </a:lnTo>
                <a:lnTo>
                  <a:pt x="40" y="14"/>
                </a:lnTo>
                <a:lnTo>
                  <a:pt x="40" y="4"/>
                </a:lnTo>
                <a:lnTo>
                  <a:pt x="23" y="2"/>
                </a:lnTo>
                <a:lnTo>
                  <a:pt x="11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43" name="Freeform 226"/>
          <p:cNvSpPr>
            <a:spLocks/>
          </p:cNvSpPr>
          <p:nvPr/>
        </p:nvSpPr>
        <p:spPr bwMode="auto">
          <a:xfrm>
            <a:off x="5437188" y="2438400"/>
            <a:ext cx="42862" cy="23813"/>
          </a:xfrm>
          <a:custGeom>
            <a:avLst/>
            <a:gdLst>
              <a:gd name="T0" fmla="*/ 2147483647 w 34"/>
              <a:gd name="T1" fmla="*/ 2147483647 h 17"/>
              <a:gd name="T2" fmla="*/ 2147483647 w 34"/>
              <a:gd name="T3" fmla="*/ 2147483647 h 17"/>
              <a:gd name="T4" fmla="*/ 0 w 34"/>
              <a:gd name="T5" fmla="*/ 2147483647 h 17"/>
              <a:gd name="T6" fmla="*/ 2147483647 w 34"/>
              <a:gd name="T7" fmla="*/ 0 h 17"/>
              <a:gd name="T8" fmla="*/ 2147483647 w 34"/>
              <a:gd name="T9" fmla="*/ 2147483647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4"/>
              <a:gd name="T16" fmla="*/ 0 h 17"/>
              <a:gd name="T17" fmla="*/ 34 w 34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4" h="17">
                <a:moveTo>
                  <a:pt x="34" y="9"/>
                </a:moveTo>
                <a:lnTo>
                  <a:pt x="9" y="17"/>
                </a:lnTo>
                <a:lnTo>
                  <a:pt x="0" y="5"/>
                </a:lnTo>
                <a:lnTo>
                  <a:pt x="7" y="0"/>
                </a:lnTo>
                <a:lnTo>
                  <a:pt x="34" y="9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44" name="Freeform 227"/>
          <p:cNvSpPr>
            <a:spLocks/>
          </p:cNvSpPr>
          <p:nvPr/>
        </p:nvSpPr>
        <p:spPr bwMode="auto">
          <a:xfrm>
            <a:off x="5637213" y="2413000"/>
            <a:ext cx="49212" cy="15875"/>
          </a:xfrm>
          <a:custGeom>
            <a:avLst/>
            <a:gdLst>
              <a:gd name="T0" fmla="*/ 2147483647 w 39"/>
              <a:gd name="T1" fmla="*/ 2147483647 h 12"/>
              <a:gd name="T2" fmla="*/ 2147483647 w 39"/>
              <a:gd name="T3" fmla="*/ 0 h 12"/>
              <a:gd name="T4" fmla="*/ 0 w 39"/>
              <a:gd name="T5" fmla="*/ 2147483647 h 12"/>
              <a:gd name="T6" fmla="*/ 2147483647 w 39"/>
              <a:gd name="T7" fmla="*/ 2147483647 h 12"/>
              <a:gd name="T8" fmla="*/ 2147483647 w 39"/>
              <a:gd name="T9" fmla="*/ 2147483647 h 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9"/>
              <a:gd name="T16" fmla="*/ 0 h 12"/>
              <a:gd name="T17" fmla="*/ 39 w 39"/>
              <a:gd name="T18" fmla="*/ 12 h 1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9" h="12">
                <a:moveTo>
                  <a:pt x="39" y="12"/>
                </a:moveTo>
                <a:lnTo>
                  <a:pt x="4" y="0"/>
                </a:lnTo>
                <a:lnTo>
                  <a:pt x="0" y="3"/>
                </a:lnTo>
                <a:lnTo>
                  <a:pt x="24" y="12"/>
                </a:lnTo>
                <a:lnTo>
                  <a:pt x="39" y="1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45" name="Freeform 228"/>
          <p:cNvSpPr>
            <a:spLocks/>
          </p:cNvSpPr>
          <p:nvPr/>
        </p:nvSpPr>
        <p:spPr bwMode="auto">
          <a:xfrm>
            <a:off x="4938713" y="2770188"/>
            <a:ext cx="26987" cy="14287"/>
          </a:xfrm>
          <a:custGeom>
            <a:avLst/>
            <a:gdLst>
              <a:gd name="T0" fmla="*/ 2147483647 w 22"/>
              <a:gd name="T1" fmla="*/ 2147483647 h 10"/>
              <a:gd name="T2" fmla="*/ 2147483647 w 22"/>
              <a:gd name="T3" fmla="*/ 2147483647 h 10"/>
              <a:gd name="T4" fmla="*/ 0 w 22"/>
              <a:gd name="T5" fmla="*/ 2147483647 h 10"/>
              <a:gd name="T6" fmla="*/ 2147483647 w 22"/>
              <a:gd name="T7" fmla="*/ 0 h 10"/>
              <a:gd name="T8" fmla="*/ 2147483647 w 22"/>
              <a:gd name="T9" fmla="*/ 2147483647 h 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2"/>
              <a:gd name="T16" fmla="*/ 0 h 10"/>
              <a:gd name="T17" fmla="*/ 22 w 22"/>
              <a:gd name="T18" fmla="*/ 10 h 1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2" h="10">
                <a:moveTo>
                  <a:pt x="22" y="2"/>
                </a:moveTo>
                <a:lnTo>
                  <a:pt x="3" y="10"/>
                </a:lnTo>
                <a:lnTo>
                  <a:pt x="0" y="2"/>
                </a:lnTo>
                <a:lnTo>
                  <a:pt x="18" y="0"/>
                </a:lnTo>
                <a:lnTo>
                  <a:pt x="22" y="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46" name="Freeform 229"/>
          <p:cNvSpPr>
            <a:spLocks/>
          </p:cNvSpPr>
          <p:nvPr/>
        </p:nvSpPr>
        <p:spPr bwMode="auto">
          <a:xfrm>
            <a:off x="5821363" y="2327275"/>
            <a:ext cx="33337" cy="11113"/>
          </a:xfrm>
          <a:custGeom>
            <a:avLst/>
            <a:gdLst>
              <a:gd name="T0" fmla="*/ 2147483647 w 25"/>
              <a:gd name="T1" fmla="*/ 2147483647 h 7"/>
              <a:gd name="T2" fmla="*/ 0 w 25"/>
              <a:gd name="T3" fmla="*/ 2147483647 h 7"/>
              <a:gd name="T4" fmla="*/ 2147483647 w 25"/>
              <a:gd name="T5" fmla="*/ 0 h 7"/>
              <a:gd name="T6" fmla="*/ 2147483647 w 25"/>
              <a:gd name="T7" fmla="*/ 2147483647 h 7"/>
              <a:gd name="T8" fmla="*/ 2147483647 w 25"/>
              <a:gd name="T9" fmla="*/ 2147483647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5"/>
              <a:gd name="T16" fmla="*/ 0 h 7"/>
              <a:gd name="T17" fmla="*/ 25 w 25"/>
              <a:gd name="T18" fmla="*/ 7 h 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5" h="7">
                <a:moveTo>
                  <a:pt x="25" y="6"/>
                </a:moveTo>
                <a:lnTo>
                  <a:pt x="0" y="7"/>
                </a:lnTo>
                <a:lnTo>
                  <a:pt x="3" y="0"/>
                </a:lnTo>
                <a:lnTo>
                  <a:pt x="15" y="4"/>
                </a:lnTo>
                <a:lnTo>
                  <a:pt x="25" y="6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47" name="Freeform 230"/>
          <p:cNvSpPr>
            <a:spLocks/>
          </p:cNvSpPr>
          <p:nvPr/>
        </p:nvSpPr>
        <p:spPr bwMode="auto">
          <a:xfrm>
            <a:off x="6621463" y="2300288"/>
            <a:ext cx="36512" cy="9525"/>
          </a:xfrm>
          <a:custGeom>
            <a:avLst/>
            <a:gdLst>
              <a:gd name="T0" fmla="*/ 2147483647 w 28"/>
              <a:gd name="T1" fmla="*/ 0 h 5"/>
              <a:gd name="T2" fmla="*/ 0 w 28"/>
              <a:gd name="T3" fmla="*/ 2147483647 h 5"/>
              <a:gd name="T4" fmla="*/ 2147483647 w 28"/>
              <a:gd name="T5" fmla="*/ 2147483647 h 5"/>
              <a:gd name="T6" fmla="*/ 2147483647 w 28"/>
              <a:gd name="T7" fmla="*/ 0 h 5"/>
              <a:gd name="T8" fmla="*/ 0 60000 65536"/>
              <a:gd name="T9" fmla="*/ 0 60000 65536"/>
              <a:gd name="T10" fmla="*/ 0 60000 65536"/>
              <a:gd name="T11" fmla="*/ 0 60000 65536"/>
              <a:gd name="T12" fmla="*/ 0 w 28"/>
              <a:gd name="T13" fmla="*/ 0 h 5"/>
              <a:gd name="T14" fmla="*/ 28 w 28"/>
              <a:gd name="T15" fmla="*/ 5 h 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8" h="5">
                <a:moveTo>
                  <a:pt x="25" y="0"/>
                </a:moveTo>
                <a:lnTo>
                  <a:pt x="0" y="1"/>
                </a:lnTo>
                <a:lnTo>
                  <a:pt x="28" y="5"/>
                </a:lnTo>
                <a:lnTo>
                  <a:pt x="25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48" name="Freeform 231"/>
          <p:cNvSpPr>
            <a:spLocks/>
          </p:cNvSpPr>
          <p:nvPr/>
        </p:nvSpPr>
        <p:spPr bwMode="auto">
          <a:xfrm>
            <a:off x="5980113" y="2354263"/>
            <a:ext cx="25400" cy="6350"/>
          </a:xfrm>
          <a:custGeom>
            <a:avLst/>
            <a:gdLst>
              <a:gd name="T0" fmla="*/ 2147483647 w 17"/>
              <a:gd name="T1" fmla="*/ 0 h 4"/>
              <a:gd name="T2" fmla="*/ 0 w 17"/>
              <a:gd name="T3" fmla="*/ 2147483647 h 4"/>
              <a:gd name="T4" fmla="*/ 0 w 17"/>
              <a:gd name="T5" fmla="*/ 0 h 4"/>
              <a:gd name="T6" fmla="*/ 2147483647 w 17"/>
              <a:gd name="T7" fmla="*/ 0 h 4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4"/>
              <a:gd name="T14" fmla="*/ 17 w 17"/>
              <a:gd name="T15" fmla="*/ 4 h 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4">
                <a:moveTo>
                  <a:pt x="17" y="0"/>
                </a:moveTo>
                <a:lnTo>
                  <a:pt x="0" y="4"/>
                </a:lnTo>
                <a:lnTo>
                  <a:pt x="0" y="0"/>
                </a:lnTo>
                <a:lnTo>
                  <a:pt x="17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49" name="Freeform 232"/>
          <p:cNvSpPr>
            <a:spLocks/>
          </p:cNvSpPr>
          <p:nvPr/>
        </p:nvSpPr>
        <p:spPr bwMode="auto">
          <a:xfrm>
            <a:off x="4938713" y="2757488"/>
            <a:ext cx="20637" cy="1587"/>
          </a:xfrm>
          <a:custGeom>
            <a:avLst/>
            <a:gdLst>
              <a:gd name="T0" fmla="*/ 2147483647 w 16"/>
              <a:gd name="T1" fmla="*/ 2147483647 h 2"/>
              <a:gd name="T2" fmla="*/ 0 w 16"/>
              <a:gd name="T3" fmla="*/ 2147483647 h 2"/>
              <a:gd name="T4" fmla="*/ 2147483647 w 16"/>
              <a:gd name="T5" fmla="*/ 0 h 2"/>
              <a:gd name="T6" fmla="*/ 2147483647 w 16"/>
              <a:gd name="T7" fmla="*/ 2147483647 h 2"/>
              <a:gd name="T8" fmla="*/ 0 60000 65536"/>
              <a:gd name="T9" fmla="*/ 0 60000 65536"/>
              <a:gd name="T10" fmla="*/ 0 60000 65536"/>
              <a:gd name="T11" fmla="*/ 0 60000 65536"/>
              <a:gd name="T12" fmla="*/ 0 w 16"/>
              <a:gd name="T13" fmla="*/ 0 h 2"/>
              <a:gd name="T14" fmla="*/ 16 w 16"/>
              <a:gd name="T15" fmla="*/ 2 h 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6" h="2">
                <a:moveTo>
                  <a:pt x="16" y="2"/>
                </a:moveTo>
                <a:lnTo>
                  <a:pt x="0" y="1"/>
                </a:lnTo>
                <a:lnTo>
                  <a:pt x="5" y="0"/>
                </a:lnTo>
                <a:lnTo>
                  <a:pt x="16" y="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50" name="Freeform 233"/>
          <p:cNvSpPr>
            <a:spLocks/>
          </p:cNvSpPr>
          <p:nvPr/>
        </p:nvSpPr>
        <p:spPr bwMode="auto">
          <a:xfrm>
            <a:off x="4741863" y="3246438"/>
            <a:ext cx="1587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0 w 2"/>
              <a:gd name="T5" fmla="*/ 2147483647 h 2"/>
              <a:gd name="T6" fmla="*/ 2147483647 w 2"/>
              <a:gd name="T7" fmla="*/ 2147483647 h 2"/>
              <a:gd name="T8" fmla="*/ 2147483647 w 2"/>
              <a:gd name="T9" fmla="*/ 0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2"/>
              <a:gd name="T17" fmla="*/ 2 w 2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2">
                <a:moveTo>
                  <a:pt x="2" y="0"/>
                </a:moveTo>
                <a:lnTo>
                  <a:pt x="1" y="0"/>
                </a:lnTo>
                <a:lnTo>
                  <a:pt x="0" y="2"/>
                </a:lnTo>
                <a:lnTo>
                  <a:pt x="1" y="2"/>
                </a:lnTo>
                <a:lnTo>
                  <a:pt x="2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51" name="Freeform 234"/>
          <p:cNvSpPr>
            <a:spLocks/>
          </p:cNvSpPr>
          <p:nvPr/>
        </p:nvSpPr>
        <p:spPr bwMode="auto">
          <a:xfrm>
            <a:off x="4840288" y="3057525"/>
            <a:ext cx="150812" cy="58738"/>
          </a:xfrm>
          <a:custGeom>
            <a:avLst/>
            <a:gdLst>
              <a:gd name="T0" fmla="*/ 2147483647 w 114"/>
              <a:gd name="T1" fmla="*/ 0 h 41"/>
              <a:gd name="T2" fmla="*/ 2147483647 w 114"/>
              <a:gd name="T3" fmla="*/ 2147483647 h 41"/>
              <a:gd name="T4" fmla="*/ 2147483647 w 114"/>
              <a:gd name="T5" fmla="*/ 2147483647 h 41"/>
              <a:gd name="T6" fmla="*/ 2147483647 w 114"/>
              <a:gd name="T7" fmla="*/ 2147483647 h 41"/>
              <a:gd name="T8" fmla="*/ 2147483647 w 114"/>
              <a:gd name="T9" fmla="*/ 2147483647 h 41"/>
              <a:gd name="T10" fmla="*/ 2147483647 w 114"/>
              <a:gd name="T11" fmla="*/ 2147483647 h 41"/>
              <a:gd name="T12" fmla="*/ 2147483647 w 114"/>
              <a:gd name="T13" fmla="*/ 2147483647 h 41"/>
              <a:gd name="T14" fmla="*/ 2147483647 w 114"/>
              <a:gd name="T15" fmla="*/ 2147483647 h 41"/>
              <a:gd name="T16" fmla="*/ 0 w 114"/>
              <a:gd name="T17" fmla="*/ 2147483647 h 41"/>
              <a:gd name="T18" fmla="*/ 2147483647 w 114"/>
              <a:gd name="T19" fmla="*/ 2147483647 h 41"/>
              <a:gd name="T20" fmla="*/ 2147483647 w 114"/>
              <a:gd name="T21" fmla="*/ 2147483647 h 41"/>
              <a:gd name="T22" fmla="*/ 2147483647 w 114"/>
              <a:gd name="T23" fmla="*/ 2147483647 h 41"/>
              <a:gd name="T24" fmla="*/ 2147483647 w 114"/>
              <a:gd name="T25" fmla="*/ 2147483647 h 41"/>
              <a:gd name="T26" fmla="*/ 2147483647 w 114"/>
              <a:gd name="T27" fmla="*/ 2147483647 h 41"/>
              <a:gd name="T28" fmla="*/ 2147483647 w 114"/>
              <a:gd name="T29" fmla="*/ 2147483647 h 41"/>
              <a:gd name="T30" fmla="*/ 2147483647 w 114"/>
              <a:gd name="T31" fmla="*/ 2147483647 h 41"/>
              <a:gd name="T32" fmla="*/ 2147483647 w 114"/>
              <a:gd name="T33" fmla="*/ 2147483647 h 41"/>
              <a:gd name="T34" fmla="*/ 2147483647 w 114"/>
              <a:gd name="T35" fmla="*/ 2147483647 h 41"/>
              <a:gd name="T36" fmla="*/ 2147483647 w 114"/>
              <a:gd name="T37" fmla="*/ 0 h 41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14"/>
              <a:gd name="T58" fmla="*/ 0 h 41"/>
              <a:gd name="T59" fmla="*/ 114 w 114"/>
              <a:gd name="T60" fmla="*/ 41 h 41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14" h="41">
                <a:moveTo>
                  <a:pt x="42" y="0"/>
                </a:moveTo>
                <a:lnTo>
                  <a:pt x="41" y="2"/>
                </a:lnTo>
                <a:lnTo>
                  <a:pt x="35" y="7"/>
                </a:lnTo>
                <a:lnTo>
                  <a:pt x="30" y="8"/>
                </a:lnTo>
                <a:lnTo>
                  <a:pt x="30" y="11"/>
                </a:lnTo>
                <a:lnTo>
                  <a:pt x="24" y="18"/>
                </a:lnTo>
                <a:lnTo>
                  <a:pt x="13" y="19"/>
                </a:lnTo>
                <a:lnTo>
                  <a:pt x="7" y="20"/>
                </a:lnTo>
                <a:lnTo>
                  <a:pt x="0" y="19"/>
                </a:lnTo>
                <a:lnTo>
                  <a:pt x="13" y="37"/>
                </a:lnTo>
                <a:lnTo>
                  <a:pt x="19" y="41"/>
                </a:lnTo>
                <a:lnTo>
                  <a:pt x="43" y="41"/>
                </a:lnTo>
                <a:lnTo>
                  <a:pt x="74" y="26"/>
                </a:lnTo>
                <a:lnTo>
                  <a:pt x="108" y="27"/>
                </a:lnTo>
                <a:lnTo>
                  <a:pt x="114" y="11"/>
                </a:lnTo>
                <a:lnTo>
                  <a:pt x="84" y="5"/>
                </a:lnTo>
                <a:lnTo>
                  <a:pt x="67" y="6"/>
                </a:lnTo>
                <a:lnTo>
                  <a:pt x="64" y="1"/>
                </a:lnTo>
                <a:lnTo>
                  <a:pt x="42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52" name="Freeform 235"/>
          <p:cNvSpPr>
            <a:spLocks/>
          </p:cNvSpPr>
          <p:nvPr/>
        </p:nvSpPr>
        <p:spPr bwMode="auto">
          <a:xfrm>
            <a:off x="4768850" y="3149600"/>
            <a:ext cx="73025" cy="47625"/>
          </a:xfrm>
          <a:custGeom>
            <a:avLst/>
            <a:gdLst>
              <a:gd name="T0" fmla="*/ 2147483647 w 56"/>
              <a:gd name="T1" fmla="*/ 2147483647 h 34"/>
              <a:gd name="T2" fmla="*/ 2147483647 w 56"/>
              <a:gd name="T3" fmla="*/ 2147483647 h 34"/>
              <a:gd name="T4" fmla="*/ 2147483647 w 56"/>
              <a:gd name="T5" fmla="*/ 2147483647 h 34"/>
              <a:gd name="T6" fmla="*/ 2147483647 w 56"/>
              <a:gd name="T7" fmla="*/ 2147483647 h 34"/>
              <a:gd name="T8" fmla="*/ 2147483647 w 56"/>
              <a:gd name="T9" fmla="*/ 2147483647 h 34"/>
              <a:gd name="T10" fmla="*/ 2147483647 w 56"/>
              <a:gd name="T11" fmla="*/ 2147483647 h 34"/>
              <a:gd name="T12" fmla="*/ 2147483647 w 56"/>
              <a:gd name="T13" fmla="*/ 2147483647 h 34"/>
              <a:gd name="T14" fmla="*/ 2147483647 w 56"/>
              <a:gd name="T15" fmla="*/ 2147483647 h 34"/>
              <a:gd name="T16" fmla="*/ 2147483647 w 56"/>
              <a:gd name="T17" fmla="*/ 2147483647 h 34"/>
              <a:gd name="T18" fmla="*/ 2147483647 w 56"/>
              <a:gd name="T19" fmla="*/ 2147483647 h 34"/>
              <a:gd name="T20" fmla="*/ 2147483647 w 56"/>
              <a:gd name="T21" fmla="*/ 2147483647 h 34"/>
              <a:gd name="T22" fmla="*/ 2147483647 w 56"/>
              <a:gd name="T23" fmla="*/ 2147483647 h 34"/>
              <a:gd name="T24" fmla="*/ 2147483647 w 56"/>
              <a:gd name="T25" fmla="*/ 2147483647 h 34"/>
              <a:gd name="T26" fmla="*/ 2147483647 w 56"/>
              <a:gd name="T27" fmla="*/ 2147483647 h 34"/>
              <a:gd name="T28" fmla="*/ 2147483647 w 56"/>
              <a:gd name="T29" fmla="*/ 2147483647 h 34"/>
              <a:gd name="T30" fmla="*/ 2147483647 w 56"/>
              <a:gd name="T31" fmla="*/ 2147483647 h 34"/>
              <a:gd name="T32" fmla="*/ 2147483647 w 56"/>
              <a:gd name="T33" fmla="*/ 2147483647 h 34"/>
              <a:gd name="T34" fmla="*/ 2147483647 w 56"/>
              <a:gd name="T35" fmla="*/ 2147483647 h 34"/>
              <a:gd name="T36" fmla="*/ 2147483647 w 56"/>
              <a:gd name="T37" fmla="*/ 2147483647 h 34"/>
              <a:gd name="T38" fmla="*/ 2147483647 w 56"/>
              <a:gd name="T39" fmla="*/ 2147483647 h 34"/>
              <a:gd name="T40" fmla="*/ 2147483647 w 56"/>
              <a:gd name="T41" fmla="*/ 2147483647 h 34"/>
              <a:gd name="T42" fmla="*/ 2147483647 w 56"/>
              <a:gd name="T43" fmla="*/ 2147483647 h 34"/>
              <a:gd name="T44" fmla="*/ 2147483647 w 56"/>
              <a:gd name="T45" fmla="*/ 0 h 34"/>
              <a:gd name="T46" fmla="*/ 2147483647 w 56"/>
              <a:gd name="T47" fmla="*/ 2147483647 h 34"/>
              <a:gd name="T48" fmla="*/ 2147483647 w 56"/>
              <a:gd name="T49" fmla="*/ 2147483647 h 34"/>
              <a:gd name="T50" fmla="*/ 0 w 56"/>
              <a:gd name="T51" fmla="*/ 2147483647 h 34"/>
              <a:gd name="T52" fmla="*/ 2147483647 w 56"/>
              <a:gd name="T53" fmla="*/ 2147483647 h 34"/>
              <a:gd name="T54" fmla="*/ 2147483647 w 56"/>
              <a:gd name="T55" fmla="*/ 2147483647 h 3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56"/>
              <a:gd name="T85" fmla="*/ 0 h 34"/>
              <a:gd name="T86" fmla="*/ 56 w 56"/>
              <a:gd name="T87" fmla="*/ 34 h 34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56" h="34">
                <a:moveTo>
                  <a:pt x="8" y="33"/>
                </a:moveTo>
                <a:lnTo>
                  <a:pt x="18" y="33"/>
                </a:lnTo>
                <a:lnTo>
                  <a:pt x="22" y="30"/>
                </a:lnTo>
                <a:lnTo>
                  <a:pt x="24" y="32"/>
                </a:lnTo>
                <a:lnTo>
                  <a:pt x="25" y="32"/>
                </a:lnTo>
                <a:lnTo>
                  <a:pt x="26" y="31"/>
                </a:lnTo>
                <a:lnTo>
                  <a:pt x="31" y="34"/>
                </a:lnTo>
                <a:lnTo>
                  <a:pt x="36" y="33"/>
                </a:lnTo>
                <a:lnTo>
                  <a:pt x="35" y="30"/>
                </a:lnTo>
                <a:lnTo>
                  <a:pt x="35" y="27"/>
                </a:lnTo>
                <a:lnTo>
                  <a:pt x="41" y="25"/>
                </a:lnTo>
                <a:lnTo>
                  <a:pt x="44" y="25"/>
                </a:lnTo>
                <a:lnTo>
                  <a:pt x="42" y="21"/>
                </a:lnTo>
                <a:lnTo>
                  <a:pt x="41" y="19"/>
                </a:lnTo>
                <a:lnTo>
                  <a:pt x="40" y="14"/>
                </a:lnTo>
                <a:lnTo>
                  <a:pt x="47" y="13"/>
                </a:lnTo>
                <a:lnTo>
                  <a:pt x="48" y="10"/>
                </a:lnTo>
                <a:lnTo>
                  <a:pt x="54" y="10"/>
                </a:lnTo>
                <a:lnTo>
                  <a:pt x="54" y="8"/>
                </a:lnTo>
                <a:lnTo>
                  <a:pt x="56" y="8"/>
                </a:lnTo>
                <a:lnTo>
                  <a:pt x="56" y="6"/>
                </a:lnTo>
                <a:lnTo>
                  <a:pt x="50" y="2"/>
                </a:lnTo>
                <a:lnTo>
                  <a:pt x="49" y="0"/>
                </a:lnTo>
                <a:lnTo>
                  <a:pt x="11" y="9"/>
                </a:lnTo>
                <a:lnTo>
                  <a:pt x="2" y="8"/>
                </a:lnTo>
                <a:lnTo>
                  <a:pt x="0" y="15"/>
                </a:lnTo>
                <a:lnTo>
                  <a:pt x="5" y="31"/>
                </a:lnTo>
                <a:lnTo>
                  <a:pt x="8" y="3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53" name="Freeform 236"/>
          <p:cNvSpPr>
            <a:spLocks/>
          </p:cNvSpPr>
          <p:nvPr/>
        </p:nvSpPr>
        <p:spPr bwMode="auto">
          <a:xfrm>
            <a:off x="4679950" y="2452688"/>
            <a:ext cx="265113" cy="415925"/>
          </a:xfrm>
          <a:custGeom>
            <a:avLst/>
            <a:gdLst>
              <a:gd name="T0" fmla="*/ 2147483647 w 202"/>
              <a:gd name="T1" fmla="*/ 2147483647 h 305"/>
              <a:gd name="T2" fmla="*/ 2147483647 w 202"/>
              <a:gd name="T3" fmla="*/ 2147483647 h 305"/>
              <a:gd name="T4" fmla="*/ 2147483647 w 202"/>
              <a:gd name="T5" fmla="*/ 2147483647 h 305"/>
              <a:gd name="T6" fmla="*/ 2147483647 w 202"/>
              <a:gd name="T7" fmla="*/ 2147483647 h 305"/>
              <a:gd name="T8" fmla="*/ 2147483647 w 202"/>
              <a:gd name="T9" fmla="*/ 2147483647 h 305"/>
              <a:gd name="T10" fmla="*/ 2147483647 w 202"/>
              <a:gd name="T11" fmla="*/ 2147483647 h 305"/>
              <a:gd name="T12" fmla="*/ 2147483647 w 202"/>
              <a:gd name="T13" fmla="*/ 2147483647 h 305"/>
              <a:gd name="T14" fmla="*/ 2147483647 w 202"/>
              <a:gd name="T15" fmla="*/ 2147483647 h 305"/>
              <a:gd name="T16" fmla="*/ 2147483647 w 202"/>
              <a:gd name="T17" fmla="*/ 2147483647 h 305"/>
              <a:gd name="T18" fmla="*/ 2147483647 w 202"/>
              <a:gd name="T19" fmla="*/ 2147483647 h 305"/>
              <a:gd name="T20" fmla="*/ 2147483647 w 202"/>
              <a:gd name="T21" fmla="*/ 2147483647 h 305"/>
              <a:gd name="T22" fmla="*/ 2147483647 w 202"/>
              <a:gd name="T23" fmla="*/ 2147483647 h 305"/>
              <a:gd name="T24" fmla="*/ 2147483647 w 202"/>
              <a:gd name="T25" fmla="*/ 2147483647 h 305"/>
              <a:gd name="T26" fmla="*/ 2147483647 w 202"/>
              <a:gd name="T27" fmla="*/ 2147483647 h 305"/>
              <a:gd name="T28" fmla="*/ 2147483647 w 202"/>
              <a:gd name="T29" fmla="*/ 2147483647 h 305"/>
              <a:gd name="T30" fmla="*/ 2147483647 w 202"/>
              <a:gd name="T31" fmla="*/ 2147483647 h 305"/>
              <a:gd name="T32" fmla="*/ 2147483647 w 202"/>
              <a:gd name="T33" fmla="*/ 2147483647 h 305"/>
              <a:gd name="T34" fmla="*/ 0 w 202"/>
              <a:gd name="T35" fmla="*/ 2147483647 h 305"/>
              <a:gd name="T36" fmla="*/ 2147483647 w 202"/>
              <a:gd name="T37" fmla="*/ 2147483647 h 305"/>
              <a:gd name="T38" fmla="*/ 2147483647 w 202"/>
              <a:gd name="T39" fmla="*/ 2147483647 h 305"/>
              <a:gd name="T40" fmla="*/ 2147483647 w 202"/>
              <a:gd name="T41" fmla="*/ 2147483647 h 305"/>
              <a:gd name="T42" fmla="*/ 2147483647 w 202"/>
              <a:gd name="T43" fmla="*/ 2147483647 h 305"/>
              <a:gd name="T44" fmla="*/ 2147483647 w 202"/>
              <a:gd name="T45" fmla="*/ 2147483647 h 305"/>
              <a:gd name="T46" fmla="*/ 2147483647 w 202"/>
              <a:gd name="T47" fmla="*/ 2147483647 h 305"/>
              <a:gd name="T48" fmla="*/ 2147483647 w 202"/>
              <a:gd name="T49" fmla="*/ 2147483647 h 305"/>
              <a:gd name="T50" fmla="*/ 2147483647 w 202"/>
              <a:gd name="T51" fmla="*/ 2147483647 h 305"/>
              <a:gd name="T52" fmla="*/ 2147483647 w 202"/>
              <a:gd name="T53" fmla="*/ 2147483647 h 305"/>
              <a:gd name="T54" fmla="*/ 2147483647 w 202"/>
              <a:gd name="T55" fmla="*/ 0 h 305"/>
              <a:gd name="T56" fmla="*/ 2147483647 w 202"/>
              <a:gd name="T57" fmla="*/ 2147483647 h 305"/>
              <a:gd name="T58" fmla="*/ 2147483647 w 202"/>
              <a:gd name="T59" fmla="*/ 2147483647 h 305"/>
              <a:gd name="T60" fmla="*/ 2147483647 w 202"/>
              <a:gd name="T61" fmla="*/ 2147483647 h 305"/>
              <a:gd name="T62" fmla="*/ 2147483647 w 202"/>
              <a:gd name="T63" fmla="*/ 2147483647 h 305"/>
              <a:gd name="T64" fmla="*/ 2147483647 w 202"/>
              <a:gd name="T65" fmla="*/ 2147483647 h 30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02"/>
              <a:gd name="T100" fmla="*/ 0 h 305"/>
              <a:gd name="T101" fmla="*/ 202 w 202"/>
              <a:gd name="T102" fmla="*/ 305 h 305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02" h="305">
                <a:moveTo>
                  <a:pt x="160" y="101"/>
                </a:moveTo>
                <a:lnTo>
                  <a:pt x="140" y="118"/>
                </a:lnTo>
                <a:lnTo>
                  <a:pt x="125" y="126"/>
                </a:lnTo>
                <a:lnTo>
                  <a:pt x="118" y="131"/>
                </a:lnTo>
                <a:lnTo>
                  <a:pt x="107" y="132"/>
                </a:lnTo>
                <a:lnTo>
                  <a:pt x="104" y="142"/>
                </a:lnTo>
                <a:lnTo>
                  <a:pt x="101" y="146"/>
                </a:lnTo>
                <a:lnTo>
                  <a:pt x="100" y="160"/>
                </a:lnTo>
                <a:lnTo>
                  <a:pt x="104" y="184"/>
                </a:lnTo>
                <a:lnTo>
                  <a:pt x="125" y="193"/>
                </a:lnTo>
                <a:lnTo>
                  <a:pt x="133" y="203"/>
                </a:lnTo>
                <a:lnTo>
                  <a:pt x="116" y="212"/>
                </a:lnTo>
                <a:lnTo>
                  <a:pt x="109" y="205"/>
                </a:lnTo>
                <a:lnTo>
                  <a:pt x="109" y="209"/>
                </a:lnTo>
                <a:lnTo>
                  <a:pt x="86" y="211"/>
                </a:lnTo>
                <a:lnTo>
                  <a:pt x="127" y="214"/>
                </a:lnTo>
                <a:lnTo>
                  <a:pt x="116" y="223"/>
                </a:lnTo>
                <a:lnTo>
                  <a:pt x="113" y="218"/>
                </a:lnTo>
                <a:lnTo>
                  <a:pt x="102" y="229"/>
                </a:lnTo>
                <a:lnTo>
                  <a:pt x="94" y="229"/>
                </a:lnTo>
                <a:lnTo>
                  <a:pt x="100" y="234"/>
                </a:lnTo>
                <a:lnTo>
                  <a:pt x="97" y="245"/>
                </a:lnTo>
                <a:lnTo>
                  <a:pt x="101" y="250"/>
                </a:lnTo>
                <a:lnTo>
                  <a:pt x="98" y="248"/>
                </a:lnTo>
                <a:lnTo>
                  <a:pt x="95" y="268"/>
                </a:lnTo>
                <a:lnTo>
                  <a:pt x="92" y="286"/>
                </a:lnTo>
                <a:lnTo>
                  <a:pt x="62" y="292"/>
                </a:lnTo>
                <a:lnTo>
                  <a:pt x="59" y="305"/>
                </a:lnTo>
                <a:lnTo>
                  <a:pt x="38" y="304"/>
                </a:lnTo>
                <a:lnTo>
                  <a:pt x="32" y="286"/>
                </a:lnTo>
                <a:lnTo>
                  <a:pt x="29" y="271"/>
                </a:lnTo>
                <a:lnTo>
                  <a:pt x="11" y="245"/>
                </a:lnTo>
                <a:lnTo>
                  <a:pt x="13" y="239"/>
                </a:lnTo>
                <a:lnTo>
                  <a:pt x="7" y="236"/>
                </a:lnTo>
                <a:lnTo>
                  <a:pt x="6" y="238"/>
                </a:lnTo>
                <a:lnTo>
                  <a:pt x="0" y="224"/>
                </a:lnTo>
                <a:lnTo>
                  <a:pt x="4" y="221"/>
                </a:lnTo>
                <a:lnTo>
                  <a:pt x="14" y="200"/>
                </a:lnTo>
                <a:lnTo>
                  <a:pt x="17" y="180"/>
                </a:lnTo>
                <a:lnTo>
                  <a:pt x="17" y="174"/>
                </a:lnTo>
                <a:lnTo>
                  <a:pt x="24" y="167"/>
                </a:lnTo>
                <a:lnTo>
                  <a:pt x="11" y="158"/>
                </a:lnTo>
                <a:lnTo>
                  <a:pt x="10" y="138"/>
                </a:lnTo>
                <a:lnTo>
                  <a:pt x="10" y="116"/>
                </a:lnTo>
                <a:lnTo>
                  <a:pt x="24" y="107"/>
                </a:lnTo>
                <a:lnTo>
                  <a:pt x="40" y="104"/>
                </a:lnTo>
                <a:lnTo>
                  <a:pt x="31" y="96"/>
                </a:lnTo>
                <a:lnTo>
                  <a:pt x="43" y="68"/>
                </a:lnTo>
                <a:lnTo>
                  <a:pt x="41" y="62"/>
                </a:lnTo>
                <a:lnTo>
                  <a:pt x="56" y="59"/>
                </a:lnTo>
                <a:lnTo>
                  <a:pt x="64" y="46"/>
                </a:lnTo>
                <a:lnTo>
                  <a:pt x="72" y="24"/>
                </a:lnTo>
                <a:lnTo>
                  <a:pt x="94" y="19"/>
                </a:lnTo>
                <a:lnTo>
                  <a:pt x="96" y="11"/>
                </a:lnTo>
                <a:lnTo>
                  <a:pt x="124" y="12"/>
                </a:lnTo>
                <a:lnTo>
                  <a:pt x="122" y="0"/>
                </a:lnTo>
                <a:lnTo>
                  <a:pt x="130" y="0"/>
                </a:lnTo>
                <a:lnTo>
                  <a:pt x="176" y="19"/>
                </a:lnTo>
                <a:lnTo>
                  <a:pt x="193" y="48"/>
                </a:lnTo>
                <a:lnTo>
                  <a:pt x="202" y="68"/>
                </a:lnTo>
                <a:lnTo>
                  <a:pt x="178" y="68"/>
                </a:lnTo>
                <a:lnTo>
                  <a:pt x="172" y="71"/>
                </a:lnTo>
                <a:lnTo>
                  <a:pt x="170" y="74"/>
                </a:lnTo>
                <a:lnTo>
                  <a:pt x="167" y="73"/>
                </a:lnTo>
                <a:lnTo>
                  <a:pt x="157" y="79"/>
                </a:lnTo>
                <a:lnTo>
                  <a:pt x="155" y="90"/>
                </a:lnTo>
                <a:lnTo>
                  <a:pt x="160" y="10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54" name="Freeform 237"/>
          <p:cNvSpPr>
            <a:spLocks/>
          </p:cNvSpPr>
          <p:nvPr/>
        </p:nvSpPr>
        <p:spPr bwMode="auto">
          <a:xfrm>
            <a:off x="4849813" y="2792413"/>
            <a:ext cx="12700" cy="25400"/>
          </a:xfrm>
          <a:custGeom>
            <a:avLst/>
            <a:gdLst>
              <a:gd name="T0" fmla="*/ 2147483647 w 10"/>
              <a:gd name="T1" fmla="*/ 0 h 18"/>
              <a:gd name="T2" fmla="*/ 2147483647 w 10"/>
              <a:gd name="T3" fmla="*/ 2147483647 h 18"/>
              <a:gd name="T4" fmla="*/ 2147483647 w 10"/>
              <a:gd name="T5" fmla="*/ 2147483647 h 18"/>
              <a:gd name="T6" fmla="*/ 2147483647 w 10"/>
              <a:gd name="T7" fmla="*/ 2147483647 h 18"/>
              <a:gd name="T8" fmla="*/ 0 w 10"/>
              <a:gd name="T9" fmla="*/ 2147483647 h 18"/>
              <a:gd name="T10" fmla="*/ 2147483647 w 10"/>
              <a:gd name="T11" fmla="*/ 0 h 1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0"/>
              <a:gd name="T19" fmla="*/ 0 h 18"/>
              <a:gd name="T20" fmla="*/ 10 w 10"/>
              <a:gd name="T21" fmla="*/ 18 h 1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0" h="18">
                <a:moveTo>
                  <a:pt x="10" y="0"/>
                </a:moveTo>
                <a:lnTo>
                  <a:pt x="10" y="5"/>
                </a:lnTo>
                <a:lnTo>
                  <a:pt x="5" y="16"/>
                </a:lnTo>
                <a:lnTo>
                  <a:pt x="4" y="18"/>
                </a:lnTo>
                <a:lnTo>
                  <a:pt x="0" y="10"/>
                </a:lnTo>
                <a:lnTo>
                  <a:pt x="10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55" name="Freeform 238"/>
          <p:cNvSpPr>
            <a:spLocks/>
          </p:cNvSpPr>
          <p:nvPr/>
        </p:nvSpPr>
        <p:spPr bwMode="auto">
          <a:xfrm>
            <a:off x="4573588" y="3122613"/>
            <a:ext cx="111125" cy="57150"/>
          </a:xfrm>
          <a:custGeom>
            <a:avLst/>
            <a:gdLst>
              <a:gd name="T0" fmla="*/ 2147483647 w 84"/>
              <a:gd name="T1" fmla="*/ 2147483647 h 42"/>
              <a:gd name="T2" fmla="*/ 2147483647 w 84"/>
              <a:gd name="T3" fmla="*/ 2147483647 h 42"/>
              <a:gd name="T4" fmla="*/ 2147483647 w 84"/>
              <a:gd name="T5" fmla="*/ 2147483647 h 42"/>
              <a:gd name="T6" fmla="*/ 2147483647 w 84"/>
              <a:gd name="T7" fmla="*/ 2147483647 h 42"/>
              <a:gd name="T8" fmla="*/ 2147483647 w 84"/>
              <a:gd name="T9" fmla="*/ 2147483647 h 42"/>
              <a:gd name="T10" fmla="*/ 2147483647 w 84"/>
              <a:gd name="T11" fmla="*/ 2147483647 h 42"/>
              <a:gd name="T12" fmla="*/ 2147483647 w 84"/>
              <a:gd name="T13" fmla="*/ 2147483647 h 42"/>
              <a:gd name="T14" fmla="*/ 2147483647 w 84"/>
              <a:gd name="T15" fmla="*/ 2147483647 h 42"/>
              <a:gd name="T16" fmla="*/ 0 w 84"/>
              <a:gd name="T17" fmla="*/ 2147483647 h 42"/>
              <a:gd name="T18" fmla="*/ 2147483647 w 84"/>
              <a:gd name="T19" fmla="*/ 2147483647 h 42"/>
              <a:gd name="T20" fmla="*/ 2147483647 w 84"/>
              <a:gd name="T21" fmla="*/ 2147483647 h 42"/>
              <a:gd name="T22" fmla="*/ 2147483647 w 84"/>
              <a:gd name="T23" fmla="*/ 2147483647 h 42"/>
              <a:gd name="T24" fmla="*/ 2147483647 w 84"/>
              <a:gd name="T25" fmla="*/ 0 h 42"/>
              <a:gd name="T26" fmla="*/ 2147483647 w 84"/>
              <a:gd name="T27" fmla="*/ 2147483647 h 42"/>
              <a:gd name="T28" fmla="*/ 2147483647 w 84"/>
              <a:gd name="T29" fmla="*/ 2147483647 h 42"/>
              <a:gd name="T30" fmla="*/ 2147483647 w 84"/>
              <a:gd name="T31" fmla="*/ 2147483647 h 42"/>
              <a:gd name="T32" fmla="*/ 2147483647 w 84"/>
              <a:gd name="T33" fmla="*/ 2147483647 h 42"/>
              <a:gd name="T34" fmla="*/ 2147483647 w 84"/>
              <a:gd name="T35" fmla="*/ 2147483647 h 42"/>
              <a:gd name="T36" fmla="*/ 2147483647 w 84"/>
              <a:gd name="T37" fmla="*/ 2147483647 h 42"/>
              <a:gd name="T38" fmla="*/ 2147483647 w 84"/>
              <a:gd name="T39" fmla="*/ 2147483647 h 42"/>
              <a:gd name="T40" fmla="*/ 2147483647 w 84"/>
              <a:gd name="T41" fmla="*/ 2147483647 h 42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84"/>
              <a:gd name="T64" fmla="*/ 0 h 42"/>
              <a:gd name="T65" fmla="*/ 84 w 84"/>
              <a:gd name="T66" fmla="*/ 42 h 42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84" h="42">
                <a:moveTo>
                  <a:pt x="80" y="26"/>
                </a:moveTo>
                <a:lnTo>
                  <a:pt x="75" y="33"/>
                </a:lnTo>
                <a:lnTo>
                  <a:pt x="62" y="33"/>
                </a:lnTo>
                <a:lnTo>
                  <a:pt x="55" y="42"/>
                </a:lnTo>
                <a:lnTo>
                  <a:pt x="42" y="32"/>
                </a:lnTo>
                <a:lnTo>
                  <a:pt x="30" y="41"/>
                </a:lnTo>
                <a:lnTo>
                  <a:pt x="18" y="42"/>
                </a:lnTo>
                <a:lnTo>
                  <a:pt x="7" y="29"/>
                </a:lnTo>
                <a:lnTo>
                  <a:pt x="0" y="34"/>
                </a:lnTo>
                <a:lnTo>
                  <a:pt x="17" y="9"/>
                </a:lnTo>
                <a:lnTo>
                  <a:pt x="21" y="6"/>
                </a:lnTo>
                <a:lnTo>
                  <a:pt x="27" y="3"/>
                </a:lnTo>
                <a:lnTo>
                  <a:pt x="47" y="0"/>
                </a:lnTo>
                <a:lnTo>
                  <a:pt x="66" y="4"/>
                </a:lnTo>
                <a:lnTo>
                  <a:pt x="66" y="10"/>
                </a:lnTo>
                <a:lnTo>
                  <a:pt x="65" y="12"/>
                </a:lnTo>
                <a:lnTo>
                  <a:pt x="65" y="15"/>
                </a:lnTo>
                <a:lnTo>
                  <a:pt x="69" y="15"/>
                </a:lnTo>
                <a:lnTo>
                  <a:pt x="84" y="20"/>
                </a:lnTo>
                <a:lnTo>
                  <a:pt x="84" y="21"/>
                </a:lnTo>
                <a:lnTo>
                  <a:pt x="80" y="26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56" name="Freeform 239"/>
          <p:cNvSpPr>
            <a:spLocks/>
          </p:cNvSpPr>
          <p:nvPr/>
        </p:nvSpPr>
        <p:spPr bwMode="auto">
          <a:xfrm>
            <a:off x="4983163" y="2962275"/>
            <a:ext cx="469900" cy="268288"/>
          </a:xfrm>
          <a:custGeom>
            <a:avLst/>
            <a:gdLst>
              <a:gd name="T0" fmla="*/ 2147483647 w 354"/>
              <a:gd name="T1" fmla="*/ 0 h 194"/>
              <a:gd name="T2" fmla="*/ 2147483647 w 354"/>
              <a:gd name="T3" fmla="*/ 2147483647 h 194"/>
              <a:gd name="T4" fmla="*/ 2147483647 w 354"/>
              <a:gd name="T5" fmla="*/ 2147483647 h 194"/>
              <a:gd name="T6" fmla="*/ 2147483647 w 354"/>
              <a:gd name="T7" fmla="*/ 2147483647 h 194"/>
              <a:gd name="T8" fmla="*/ 2147483647 w 354"/>
              <a:gd name="T9" fmla="*/ 2147483647 h 194"/>
              <a:gd name="T10" fmla="*/ 2147483647 w 354"/>
              <a:gd name="T11" fmla="*/ 2147483647 h 194"/>
              <a:gd name="T12" fmla="*/ 2147483647 w 354"/>
              <a:gd name="T13" fmla="*/ 2147483647 h 194"/>
              <a:gd name="T14" fmla="*/ 2147483647 w 354"/>
              <a:gd name="T15" fmla="*/ 2147483647 h 194"/>
              <a:gd name="T16" fmla="*/ 2147483647 w 354"/>
              <a:gd name="T17" fmla="*/ 2147483647 h 194"/>
              <a:gd name="T18" fmla="*/ 2147483647 w 354"/>
              <a:gd name="T19" fmla="*/ 2147483647 h 194"/>
              <a:gd name="T20" fmla="*/ 2147483647 w 354"/>
              <a:gd name="T21" fmla="*/ 2147483647 h 194"/>
              <a:gd name="T22" fmla="*/ 2147483647 w 354"/>
              <a:gd name="T23" fmla="*/ 2147483647 h 194"/>
              <a:gd name="T24" fmla="*/ 0 w 354"/>
              <a:gd name="T25" fmla="*/ 2147483647 h 194"/>
              <a:gd name="T26" fmla="*/ 2147483647 w 354"/>
              <a:gd name="T27" fmla="*/ 2147483647 h 194"/>
              <a:gd name="T28" fmla="*/ 2147483647 w 354"/>
              <a:gd name="T29" fmla="*/ 2147483647 h 194"/>
              <a:gd name="T30" fmla="*/ 2147483647 w 354"/>
              <a:gd name="T31" fmla="*/ 2147483647 h 194"/>
              <a:gd name="T32" fmla="*/ 2147483647 w 354"/>
              <a:gd name="T33" fmla="*/ 2147483647 h 194"/>
              <a:gd name="T34" fmla="*/ 2147483647 w 354"/>
              <a:gd name="T35" fmla="*/ 2147483647 h 194"/>
              <a:gd name="T36" fmla="*/ 2147483647 w 354"/>
              <a:gd name="T37" fmla="*/ 2147483647 h 194"/>
              <a:gd name="T38" fmla="*/ 2147483647 w 354"/>
              <a:gd name="T39" fmla="*/ 2147483647 h 194"/>
              <a:gd name="T40" fmla="*/ 2147483647 w 354"/>
              <a:gd name="T41" fmla="*/ 2147483647 h 194"/>
              <a:gd name="T42" fmla="*/ 2147483647 w 354"/>
              <a:gd name="T43" fmla="*/ 2147483647 h 194"/>
              <a:gd name="T44" fmla="*/ 2147483647 w 354"/>
              <a:gd name="T45" fmla="*/ 2147483647 h 194"/>
              <a:gd name="T46" fmla="*/ 2147483647 w 354"/>
              <a:gd name="T47" fmla="*/ 2147483647 h 194"/>
              <a:gd name="T48" fmla="*/ 2147483647 w 354"/>
              <a:gd name="T49" fmla="*/ 2147483647 h 194"/>
              <a:gd name="T50" fmla="*/ 2147483647 w 354"/>
              <a:gd name="T51" fmla="*/ 2147483647 h 194"/>
              <a:gd name="T52" fmla="*/ 2147483647 w 354"/>
              <a:gd name="T53" fmla="*/ 2147483647 h 194"/>
              <a:gd name="T54" fmla="*/ 2147483647 w 354"/>
              <a:gd name="T55" fmla="*/ 2147483647 h 194"/>
              <a:gd name="T56" fmla="*/ 2147483647 w 354"/>
              <a:gd name="T57" fmla="*/ 2147483647 h 194"/>
              <a:gd name="T58" fmla="*/ 2147483647 w 354"/>
              <a:gd name="T59" fmla="*/ 2147483647 h 194"/>
              <a:gd name="T60" fmla="*/ 2147483647 w 354"/>
              <a:gd name="T61" fmla="*/ 2147483647 h 194"/>
              <a:gd name="T62" fmla="*/ 2147483647 w 354"/>
              <a:gd name="T63" fmla="*/ 2147483647 h 194"/>
              <a:gd name="T64" fmla="*/ 2147483647 w 354"/>
              <a:gd name="T65" fmla="*/ 2147483647 h 194"/>
              <a:gd name="T66" fmla="*/ 2147483647 w 354"/>
              <a:gd name="T67" fmla="*/ 2147483647 h 194"/>
              <a:gd name="T68" fmla="*/ 2147483647 w 354"/>
              <a:gd name="T69" fmla="*/ 2147483647 h 194"/>
              <a:gd name="T70" fmla="*/ 2147483647 w 354"/>
              <a:gd name="T71" fmla="*/ 2147483647 h 194"/>
              <a:gd name="T72" fmla="*/ 2147483647 w 354"/>
              <a:gd name="T73" fmla="*/ 2147483647 h 194"/>
              <a:gd name="T74" fmla="*/ 2147483647 w 354"/>
              <a:gd name="T75" fmla="*/ 2147483647 h 194"/>
              <a:gd name="T76" fmla="*/ 2147483647 w 354"/>
              <a:gd name="T77" fmla="*/ 2147483647 h 194"/>
              <a:gd name="T78" fmla="*/ 2147483647 w 354"/>
              <a:gd name="T79" fmla="*/ 2147483647 h 194"/>
              <a:gd name="T80" fmla="*/ 2147483647 w 354"/>
              <a:gd name="T81" fmla="*/ 2147483647 h 194"/>
              <a:gd name="T82" fmla="*/ 2147483647 w 354"/>
              <a:gd name="T83" fmla="*/ 2147483647 h 194"/>
              <a:gd name="T84" fmla="*/ 2147483647 w 354"/>
              <a:gd name="T85" fmla="*/ 2147483647 h 194"/>
              <a:gd name="T86" fmla="*/ 2147483647 w 354"/>
              <a:gd name="T87" fmla="*/ 2147483647 h 194"/>
              <a:gd name="T88" fmla="*/ 2147483647 w 354"/>
              <a:gd name="T89" fmla="*/ 2147483647 h 194"/>
              <a:gd name="T90" fmla="*/ 2147483647 w 354"/>
              <a:gd name="T91" fmla="*/ 2147483647 h 194"/>
              <a:gd name="T92" fmla="*/ 2147483647 w 354"/>
              <a:gd name="T93" fmla="*/ 2147483647 h 194"/>
              <a:gd name="T94" fmla="*/ 2147483647 w 354"/>
              <a:gd name="T95" fmla="*/ 2147483647 h 194"/>
              <a:gd name="T96" fmla="*/ 2147483647 w 354"/>
              <a:gd name="T97" fmla="*/ 2147483647 h 194"/>
              <a:gd name="T98" fmla="*/ 2147483647 w 354"/>
              <a:gd name="T99" fmla="*/ 2147483647 h 194"/>
              <a:gd name="T100" fmla="*/ 2147483647 w 354"/>
              <a:gd name="T101" fmla="*/ 2147483647 h 194"/>
              <a:gd name="T102" fmla="*/ 2147483647 w 354"/>
              <a:gd name="T103" fmla="*/ 2147483647 h 194"/>
              <a:gd name="T104" fmla="*/ 2147483647 w 354"/>
              <a:gd name="T105" fmla="*/ 2147483647 h 194"/>
              <a:gd name="T106" fmla="*/ 2147483647 w 354"/>
              <a:gd name="T107" fmla="*/ 2147483647 h 194"/>
              <a:gd name="T108" fmla="*/ 2147483647 w 354"/>
              <a:gd name="T109" fmla="*/ 2147483647 h 194"/>
              <a:gd name="T110" fmla="*/ 2147483647 w 354"/>
              <a:gd name="T111" fmla="*/ 2147483647 h 194"/>
              <a:gd name="T112" fmla="*/ 2147483647 w 354"/>
              <a:gd name="T113" fmla="*/ 0 h 19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354"/>
              <a:gd name="T172" fmla="*/ 0 h 194"/>
              <a:gd name="T173" fmla="*/ 354 w 354"/>
              <a:gd name="T174" fmla="*/ 194 h 194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354" h="194">
                <a:moveTo>
                  <a:pt x="187" y="0"/>
                </a:moveTo>
                <a:lnTo>
                  <a:pt x="172" y="5"/>
                </a:lnTo>
                <a:lnTo>
                  <a:pt x="149" y="17"/>
                </a:lnTo>
                <a:lnTo>
                  <a:pt x="150" y="25"/>
                </a:lnTo>
                <a:lnTo>
                  <a:pt x="117" y="19"/>
                </a:lnTo>
                <a:lnTo>
                  <a:pt x="84" y="13"/>
                </a:lnTo>
                <a:lnTo>
                  <a:pt x="51" y="13"/>
                </a:lnTo>
                <a:lnTo>
                  <a:pt x="18" y="13"/>
                </a:lnTo>
                <a:lnTo>
                  <a:pt x="29" y="38"/>
                </a:lnTo>
                <a:lnTo>
                  <a:pt x="27" y="50"/>
                </a:lnTo>
                <a:lnTo>
                  <a:pt x="9" y="74"/>
                </a:lnTo>
                <a:lnTo>
                  <a:pt x="6" y="82"/>
                </a:lnTo>
                <a:lnTo>
                  <a:pt x="0" y="98"/>
                </a:lnTo>
                <a:lnTo>
                  <a:pt x="16" y="109"/>
                </a:lnTo>
                <a:lnTo>
                  <a:pt x="17" y="109"/>
                </a:lnTo>
                <a:lnTo>
                  <a:pt x="53" y="113"/>
                </a:lnTo>
                <a:lnTo>
                  <a:pt x="85" y="102"/>
                </a:lnTo>
                <a:lnTo>
                  <a:pt x="103" y="89"/>
                </a:lnTo>
                <a:lnTo>
                  <a:pt x="109" y="91"/>
                </a:lnTo>
                <a:lnTo>
                  <a:pt x="125" y="106"/>
                </a:lnTo>
                <a:lnTo>
                  <a:pt x="141" y="120"/>
                </a:lnTo>
                <a:lnTo>
                  <a:pt x="156" y="134"/>
                </a:lnTo>
                <a:lnTo>
                  <a:pt x="172" y="149"/>
                </a:lnTo>
                <a:lnTo>
                  <a:pt x="187" y="138"/>
                </a:lnTo>
                <a:lnTo>
                  <a:pt x="193" y="142"/>
                </a:lnTo>
                <a:lnTo>
                  <a:pt x="191" y="130"/>
                </a:lnTo>
                <a:lnTo>
                  <a:pt x="195" y="138"/>
                </a:lnTo>
                <a:lnTo>
                  <a:pt x="209" y="142"/>
                </a:lnTo>
                <a:lnTo>
                  <a:pt x="189" y="143"/>
                </a:lnTo>
                <a:lnTo>
                  <a:pt x="197" y="149"/>
                </a:lnTo>
                <a:lnTo>
                  <a:pt x="214" y="154"/>
                </a:lnTo>
                <a:lnTo>
                  <a:pt x="232" y="156"/>
                </a:lnTo>
                <a:lnTo>
                  <a:pt x="211" y="169"/>
                </a:lnTo>
                <a:lnTo>
                  <a:pt x="225" y="176"/>
                </a:lnTo>
                <a:lnTo>
                  <a:pt x="234" y="185"/>
                </a:lnTo>
                <a:lnTo>
                  <a:pt x="238" y="194"/>
                </a:lnTo>
                <a:lnTo>
                  <a:pt x="265" y="184"/>
                </a:lnTo>
                <a:lnTo>
                  <a:pt x="279" y="181"/>
                </a:lnTo>
                <a:lnTo>
                  <a:pt x="291" y="174"/>
                </a:lnTo>
                <a:lnTo>
                  <a:pt x="275" y="173"/>
                </a:lnTo>
                <a:lnTo>
                  <a:pt x="256" y="158"/>
                </a:lnTo>
                <a:lnTo>
                  <a:pt x="261" y="148"/>
                </a:lnTo>
                <a:lnTo>
                  <a:pt x="258" y="154"/>
                </a:lnTo>
                <a:lnTo>
                  <a:pt x="263" y="149"/>
                </a:lnTo>
                <a:lnTo>
                  <a:pt x="291" y="138"/>
                </a:lnTo>
                <a:lnTo>
                  <a:pt x="322" y="127"/>
                </a:lnTo>
                <a:lnTo>
                  <a:pt x="331" y="126"/>
                </a:lnTo>
                <a:lnTo>
                  <a:pt x="339" y="112"/>
                </a:lnTo>
                <a:lnTo>
                  <a:pt x="354" y="104"/>
                </a:lnTo>
                <a:lnTo>
                  <a:pt x="341" y="70"/>
                </a:lnTo>
                <a:lnTo>
                  <a:pt x="312" y="61"/>
                </a:lnTo>
                <a:lnTo>
                  <a:pt x="283" y="52"/>
                </a:lnTo>
                <a:lnTo>
                  <a:pt x="271" y="54"/>
                </a:lnTo>
                <a:lnTo>
                  <a:pt x="246" y="32"/>
                </a:lnTo>
                <a:lnTo>
                  <a:pt x="221" y="12"/>
                </a:lnTo>
                <a:lnTo>
                  <a:pt x="217" y="4"/>
                </a:lnTo>
                <a:lnTo>
                  <a:pt x="187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57" name="Freeform 240"/>
          <p:cNvSpPr>
            <a:spLocks/>
          </p:cNvSpPr>
          <p:nvPr/>
        </p:nvSpPr>
        <p:spPr bwMode="auto">
          <a:xfrm>
            <a:off x="4903788" y="3175000"/>
            <a:ext cx="115887" cy="142875"/>
          </a:xfrm>
          <a:custGeom>
            <a:avLst/>
            <a:gdLst>
              <a:gd name="T0" fmla="*/ 2147483647 w 89"/>
              <a:gd name="T1" fmla="*/ 2147483647 h 104"/>
              <a:gd name="T2" fmla="*/ 2147483647 w 89"/>
              <a:gd name="T3" fmla="*/ 2147483647 h 104"/>
              <a:gd name="T4" fmla="*/ 2147483647 w 89"/>
              <a:gd name="T5" fmla="*/ 2147483647 h 104"/>
              <a:gd name="T6" fmla="*/ 2147483647 w 89"/>
              <a:gd name="T7" fmla="*/ 2147483647 h 104"/>
              <a:gd name="T8" fmla="*/ 2147483647 w 89"/>
              <a:gd name="T9" fmla="*/ 2147483647 h 104"/>
              <a:gd name="T10" fmla="*/ 2147483647 w 89"/>
              <a:gd name="T11" fmla="*/ 2147483647 h 104"/>
              <a:gd name="T12" fmla="*/ 2147483647 w 89"/>
              <a:gd name="T13" fmla="*/ 2147483647 h 104"/>
              <a:gd name="T14" fmla="*/ 2147483647 w 89"/>
              <a:gd name="T15" fmla="*/ 2147483647 h 104"/>
              <a:gd name="T16" fmla="*/ 2147483647 w 89"/>
              <a:gd name="T17" fmla="*/ 2147483647 h 104"/>
              <a:gd name="T18" fmla="*/ 2147483647 w 89"/>
              <a:gd name="T19" fmla="*/ 2147483647 h 104"/>
              <a:gd name="T20" fmla="*/ 2147483647 w 89"/>
              <a:gd name="T21" fmla="*/ 2147483647 h 104"/>
              <a:gd name="T22" fmla="*/ 2147483647 w 89"/>
              <a:gd name="T23" fmla="*/ 2147483647 h 104"/>
              <a:gd name="T24" fmla="*/ 2147483647 w 89"/>
              <a:gd name="T25" fmla="*/ 2147483647 h 104"/>
              <a:gd name="T26" fmla="*/ 2147483647 w 89"/>
              <a:gd name="T27" fmla="*/ 2147483647 h 104"/>
              <a:gd name="T28" fmla="*/ 2147483647 w 89"/>
              <a:gd name="T29" fmla="*/ 2147483647 h 104"/>
              <a:gd name="T30" fmla="*/ 2147483647 w 89"/>
              <a:gd name="T31" fmla="*/ 2147483647 h 104"/>
              <a:gd name="T32" fmla="*/ 2147483647 w 89"/>
              <a:gd name="T33" fmla="*/ 2147483647 h 104"/>
              <a:gd name="T34" fmla="*/ 2147483647 w 89"/>
              <a:gd name="T35" fmla="*/ 2147483647 h 104"/>
              <a:gd name="T36" fmla="*/ 2147483647 w 89"/>
              <a:gd name="T37" fmla="*/ 2147483647 h 104"/>
              <a:gd name="T38" fmla="*/ 2147483647 w 89"/>
              <a:gd name="T39" fmla="*/ 2147483647 h 104"/>
              <a:gd name="T40" fmla="*/ 2147483647 w 89"/>
              <a:gd name="T41" fmla="*/ 2147483647 h 104"/>
              <a:gd name="T42" fmla="*/ 2147483647 w 89"/>
              <a:gd name="T43" fmla="*/ 2147483647 h 104"/>
              <a:gd name="T44" fmla="*/ 2147483647 w 89"/>
              <a:gd name="T45" fmla="*/ 2147483647 h 104"/>
              <a:gd name="T46" fmla="*/ 0 w 89"/>
              <a:gd name="T47" fmla="*/ 2147483647 h 104"/>
              <a:gd name="T48" fmla="*/ 2147483647 w 89"/>
              <a:gd name="T49" fmla="*/ 2147483647 h 104"/>
              <a:gd name="T50" fmla="*/ 2147483647 w 89"/>
              <a:gd name="T51" fmla="*/ 2147483647 h 104"/>
              <a:gd name="T52" fmla="*/ 2147483647 w 89"/>
              <a:gd name="T53" fmla="*/ 2147483647 h 104"/>
              <a:gd name="T54" fmla="*/ 2147483647 w 89"/>
              <a:gd name="T55" fmla="*/ 2147483647 h 104"/>
              <a:gd name="T56" fmla="*/ 2147483647 w 89"/>
              <a:gd name="T57" fmla="*/ 2147483647 h 104"/>
              <a:gd name="T58" fmla="*/ 2147483647 w 89"/>
              <a:gd name="T59" fmla="*/ 2147483647 h 104"/>
              <a:gd name="T60" fmla="*/ 2147483647 w 89"/>
              <a:gd name="T61" fmla="*/ 2147483647 h 104"/>
              <a:gd name="T62" fmla="*/ 2147483647 w 89"/>
              <a:gd name="T63" fmla="*/ 2147483647 h 104"/>
              <a:gd name="T64" fmla="*/ 2147483647 w 89"/>
              <a:gd name="T65" fmla="*/ 2147483647 h 104"/>
              <a:gd name="T66" fmla="*/ 2147483647 w 89"/>
              <a:gd name="T67" fmla="*/ 2147483647 h 104"/>
              <a:gd name="T68" fmla="*/ 2147483647 w 89"/>
              <a:gd name="T69" fmla="*/ 2147483647 h 104"/>
              <a:gd name="T70" fmla="*/ 2147483647 w 89"/>
              <a:gd name="T71" fmla="*/ 2147483647 h 104"/>
              <a:gd name="T72" fmla="*/ 2147483647 w 89"/>
              <a:gd name="T73" fmla="*/ 2147483647 h 104"/>
              <a:gd name="T74" fmla="*/ 2147483647 w 89"/>
              <a:gd name="T75" fmla="*/ 2147483647 h 104"/>
              <a:gd name="T76" fmla="*/ 2147483647 w 89"/>
              <a:gd name="T77" fmla="*/ 2147483647 h 104"/>
              <a:gd name="T78" fmla="*/ 2147483647 w 89"/>
              <a:gd name="T79" fmla="*/ 2147483647 h 104"/>
              <a:gd name="T80" fmla="*/ 2147483647 w 89"/>
              <a:gd name="T81" fmla="*/ 2147483647 h 104"/>
              <a:gd name="T82" fmla="*/ 2147483647 w 89"/>
              <a:gd name="T83" fmla="*/ 2147483647 h 104"/>
              <a:gd name="T84" fmla="*/ 2147483647 w 89"/>
              <a:gd name="T85" fmla="*/ 2147483647 h 104"/>
              <a:gd name="T86" fmla="*/ 2147483647 w 89"/>
              <a:gd name="T87" fmla="*/ 2147483647 h 104"/>
              <a:gd name="T88" fmla="*/ 2147483647 w 89"/>
              <a:gd name="T89" fmla="*/ 2147483647 h 104"/>
              <a:gd name="T90" fmla="*/ 2147483647 w 89"/>
              <a:gd name="T91" fmla="*/ 2147483647 h 104"/>
              <a:gd name="T92" fmla="*/ 2147483647 w 89"/>
              <a:gd name="T93" fmla="*/ 2147483647 h 104"/>
              <a:gd name="T94" fmla="*/ 2147483647 w 89"/>
              <a:gd name="T95" fmla="*/ 2147483647 h 104"/>
              <a:gd name="T96" fmla="*/ 2147483647 w 89"/>
              <a:gd name="T97" fmla="*/ 0 h 104"/>
              <a:gd name="T98" fmla="*/ 2147483647 w 89"/>
              <a:gd name="T99" fmla="*/ 2147483647 h 104"/>
              <a:gd name="T100" fmla="*/ 2147483647 w 89"/>
              <a:gd name="T101" fmla="*/ 2147483647 h 104"/>
              <a:gd name="T102" fmla="*/ 2147483647 w 89"/>
              <a:gd name="T103" fmla="*/ 2147483647 h 104"/>
              <a:gd name="T104" fmla="*/ 2147483647 w 89"/>
              <a:gd name="T105" fmla="*/ 2147483647 h 104"/>
              <a:gd name="T106" fmla="*/ 2147483647 w 89"/>
              <a:gd name="T107" fmla="*/ 2147483647 h 104"/>
              <a:gd name="T108" fmla="*/ 2147483647 w 89"/>
              <a:gd name="T109" fmla="*/ 2147483647 h 10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89"/>
              <a:gd name="T166" fmla="*/ 0 h 104"/>
              <a:gd name="T167" fmla="*/ 89 w 89"/>
              <a:gd name="T168" fmla="*/ 104 h 104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89" h="104">
                <a:moveTo>
                  <a:pt x="16" y="21"/>
                </a:moveTo>
                <a:lnTo>
                  <a:pt x="16" y="22"/>
                </a:lnTo>
                <a:lnTo>
                  <a:pt x="10" y="24"/>
                </a:lnTo>
                <a:lnTo>
                  <a:pt x="8" y="30"/>
                </a:lnTo>
                <a:lnTo>
                  <a:pt x="14" y="30"/>
                </a:lnTo>
                <a:lnTo>
                  <a:pt x="14" y="33"/>
                </a:lnTo>
                <a:lnTo>
                  <a:pt x="13" y="37"/>
                </a:lnTo>
                <a:lnTo>
                  <a:pt x="10" y="40"/>
                </a:lnTo>
                <a:lnTo>
                  <a:pt x="11" y="43"/>
                </a:lnTo>
                <a:lnTo>
                  <a:pt x="14" y="45"/>
                </a:lnTo>
                <a:lnTo>
                  <a:pt x="23" y="50"/>
                </a:lnTo>
                <a:lnTo>
                  <a:pt x="16" y="54"/>
                </a:lnTo>
                <a:lnTo>
                  <a:pt x="20" y="57"/>
                </a:lnTo>
                <a:lnTo>
                  <a:pt x="20" y="62"/>
                </a:lnTo>
                <a:lnTo>
                  <a:pt x="10" y="64"/>
                </a:lnTo>
                <a:lnTo>
                  <a:pt x="14" y="69"/>
                </a:lnTo>
                <a:lnTo>
                  <a:pt x="12" y="72"/>
                </a:lnTo>
                <a:lnTo>
                  <a:pt x="8" y="68"/>
                </a:lnTo>
                <a:lnTo>
                  <a:pt x="4" y="75"/>
                </a:lnTo>
                <a:lnTo>
                  <a:pt x="1" y="78"/>
                </a:lnTo>
                <a:lnTo>
                  <a:pt x="6" y="85"/>
                </a:lnTo>
                <a:lnTo>
                  <a:pt x="1" y="86"/>
                </a:lnTo>
                <a:lnTo>
                  <a:pt x="1" y="87"/>
                </a:lnTo>
                <a:lnTo>
                  <a:pt x="0" y="90"/>
                </a:lnTo>
                <a:lnTo>
                  <a:pt x="14" y="97"/>
                </a:lnTo>
                <a:lnTo>
                  <a:pt x="22" y="104"/>
                </a:lnTo>
                <a:lnTo>
                  <a:pt x="25" y="87"/>
                </a:lnTo>
                <a:lnTo>
                  <a:pt x="37" y="91"/>
                </a:lnTo>
                <a:lnTo>
                  <a:pt x="43" y="103"/>
                </a:lnTo>
                <a:lnTo>
                  <a:pt x="47" y="102"/>
                </a:lnTo>
                <a:lnTo>
                  <a:pt x="47" y="99"/>
                </a:lnTo>
                <a:lnTo>
                  <a:pt x="54" y="97"/>
                </a:lnTo>
                <a:lnTo>
                  <a:pt x="59" y="98"/>
                </a:lnTo>
                <a:lnTo>
                  <a:pt x="61" y="94"/>
                </a:lnTo>
                <a:lnTo>
                  <a:pt x="65" y="94"/>
                </a:lnTo>
                <a:lnTo>
                  <a:pt x="69" y="96"/>
                </a:lnTo>
                <a:lnTo>
                  <a:pt x="71" y="94"/>
                </a:lnTo>
                <a:lnTo>
                  <a:pt x="78" y="92"/>
                </a:lnTo>
                <a:lnTo>
                  <a:pt x="83" y="98"/>
                </a:lnTo>
                <a:lnTo>
                  <a:pt x="87" y="96"/>
                </a:lnTo>
                <a:lnTo>
                  <a:pt x="81" y="87"/>
                </a:lnTo>
                <a:lnTo>
                  <a:pt x="89" y="75"/>
                </a:lnTo>
                <a:lnTo>
                  <a:pt x="81" y="61"/>
                </a:lnTo>
                <a:lnTo>
                  <a:pt x="82" y="45"/>
                </a:lnTo>
                <a:lnTo>
                  <a:pt x="81" y="38"/>
                </a:lnTo>
                <a:lnTo>
                  <a:pt x="73" y="36"/>
                </a:lnTo>
                <a:lnTo>
                  <a:pt x="67" y="34"/>
                </a:lnTo>
                <a:lnTo>
                  <a:pt x="59" y="30"/>
                </a:lnTo>
                <a:lnTo>
                  <a:pt x="30" y="0"/>
                </a:lnTo>
                <a:lnTo>
                  <a:pt x="1" y="6"/>
                </a:lnTo>
                <a:lnTo>
                  <a:pt x="6" y="14"/>
                </a:lnTo>
                <a:lnTo>
                  <a:pt x="10" y="15"/>
                </a:lnTo>
                <a:lnTo>
                  <a:pt x="7" y="18"/>
                </a:lnTo>
                <a:lnTo>
                  <a:pt x="10" y="19"/>
                </a:lnTo>
                <a:lnTo>
                  <a:pt x="16" y="2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58" name="Freeform 241"/>
          <p:cNvSpPr>
            <a:spLocks/>
          </p:cNvSpPr>
          <p:nvPr/>
        </p:nvSpPr>
        <p:spPr bwMode="auto">
          <a:xfrm>
            <a:off x="1452563" y="2368550"/>
            <a:ext cx="1889125" cy="955675"/>
          </a:xfrm>
          <a:custGeom>
            <a:avLst/>
            <a:gdLst>
              <a:gd name="T0" fmla="*/ 2147483647 w 1425"/>
              <a:gd name="T1" fmla="*/ 2147483647 h 695"/>
              <a:gd name="T2" fmla="*/ 2147483647 w 1425"/>
              <a:gd name="T3" fmla="*/ 2147483647 h 695"/>
              <a:gd name="T4" fmla="*/ 2147483647 w 1425"/>
              <a:gd name="T5" fmla="*/ 2147483647 h 695"/>
              <a:gd name="T6" fmla="*/ 2147483647 w 1425"/>
              <a:gd name="T7" fmla="*/ 2147483647 h 695"/>
              <a:gd name="T8" fmla="*/ 2147483647 w 1425"/>
              <a:gd name="T9" fmla="*/ 2147483647 h 695"/>
              <a:gd name="T10" fmla="*/ 2147483647 w 1425"/>
              <a:gd name="T11" fmla="*/ 2147483647 h 695"/>
              <a:gd name="T12" fmla="*/ 2147483647 w 1425"/>
              <a:gd name="T13" fmla="*/ 2147483647 h 695"/>
              <a:gd name="T14" fmla="*/ 2147483647 w 1425"/>
              <a:gd name="T15" fmla="*/ 2147483647 h 695"/>
              <a:gd name="T16" fmla="*/ 2147483647 w 1425"/>
              <a:gd name="T17" fmla="*/ 2147483647 h 695"/>
              <a:gd name="T18" fmla="*/ 2147483647 w 1425"/>
              <a:gd name="T19" fmla="*/ 2147483647 h 695"/>
              <a:gd name="T20" fmla="*/ 2147483647 w 1425"/>
              <a:gd name="T21" fmla="*/ 2147483647 h 695"/>
              <a:gd name="T22" fmla="*/ 2147483647 w 1425"/>
              <a:gd name="T23" fmla="*/ 2147483647 h 695"/>
              <a:gd name="T24" fmla="*/ 2147483647 w 1425"/>
              <a:gd name="T25" fmla="*/ 2147483647 h 695"/>
              <a:gd name="T26" fmla="*/ 2147483647 w 1425"/>
              <a:gd name="T27" fmla="*/ 2147483647 h 695"/>
              <a:gd name="T28" fmla="*/ 2147483647 w 1425"/>
              <a:gd name="T29" fmla="*/ 2147483647 h 695"/>
              <a:gd name="T30" fmla="*/ 2147483647 w 1425"/>
              <a:gd name="T31" fmla="*/ 2147483647 h 695"/>
              <a:gd name="T32" fmla="*/ 2147483647 w 1425"/>
              <a:gd name="T33" fmla="*/ 2147483647 h 695"/>
              <a:gd name="T34" fmla="*/ 2147483647 w 1425"/>
              <a:gd name="T35" fmla="*/ 2147483647 h 695"/>
              <a:gd name="T36" fmla="*/ 2147483647 w 1425"/>
              <a:gd name="T37" fmla="*/ 2147483647 h 695"/>
              <a:gd name="T38" fmla="*/ 2147483647 w 1425"/>
              <a:gd name="T39" fmla="*/ 2147483647 h 695"/>
              <a:gd name="T40" fmla="*/ 2147483647 w 1425"/>
              <a:gd name="T41" fmla="*/ 2147483647 h 695"/>
              <a:gd name="T42" fmla="*/ 2147483647 w 1425"/>
              <a:gd name="T43" fmla="*/ 2147483647 h 695"/>
              <a:gd name="T44" fmla="*/ 2147483647 w 1425"/>
              <a:gd name="T45" fmla="*/ 2147483647 h 695"/>
              <a:gd name="T46" fmla="*/ 2147483647 w 1425"/>
              <a:gd name="T47" fmla="*/ 2147483647 h 695"/>
              <a:gd name="T48" fmla="*/ 2147483647 w 1425"/>
              <a:gd name="T49" fmla="*/ 2147483647 h 695"/>
              <a:gd name="T50" fmla="*/ 2147483647 w 1425"/>
              <a:gd name="T51" fmla="*/ 2147483647 h 695"/>
              <a:gd name="T52" fmla="*/ 2147483647 w 1425"/>
              <a:gd name="T53" fmla="*/ 2147483647 h 695"/>
              <a:gd name="T54" fmla="*/ 2147483647 w 1425"/>
              <a:gd name="T55" fmla="*/ 2147483647 h 695"/>
              <a:gd name="T56" fmla="*/ 2147483647 w 1425"/>
              <a:gd name="T57" fmla="*/ 2147483647 h 695"/>
              <a:gd name="T58" fmla="*/ 2147483647 w 1425"/>
              <a:gd name="T59" fmla="*/ 2147483647 h 695"/>
              <a:gd name="T60" fmla="*/ 2147483647 w 1425"/>
              <a:gd name="T61" fmla="*/ 2147483647 h 695"/>
              <a:gd name="T62" fmla="*/ 2147483647 w 1425"/>
              <a:gd name="T63" fmla="*/ 2147483647 h 695"/>
              <a:gd name="T64" fmla="*/ 2147483647 w 1425"/>
              <a:gd name="T65" fmla="*/ 2147483647 h 695"/>
              <a:gd name="T66" fmla="*/ 2147483647 w 1425"/>
              <a:gd name="T67" fmla="*/ 2147483647 h 695"/>
              <a:gd name="T68" fmla="*/ 2147483647 w 1425"/>
              <a:gd name="T69" fmla="*/ 2147483647 h 695"/>
              <a:gd name="T70" fmla="*/ 2147483647 w 1425"/>
              <a:gd name="T71" fmla="*/ 2147483647 h 695"/>
              <a:gd name="T72" fmla="*/ 2147483647 w 1425"/>
              <a:gd name="T73" fmla="*/ 2147483647 h 695"/>
              <a:gd name="T74" fmla="*/ 2147483647 w 1425"/>
              <a:gd name="T75" fmla="*/ 2147483647 h 695"/>
              <a:gd name="T76" fmla="*/ 2147483647 w 1425"/>
              <a:gd name="T77" fmla="*/ 2147483647 h 695"/>
              <a:gd name="T78" fmla="*/ 2147483647 w 1425"/>
              <a:gd name="T79" fmla="*/ 2147483647 h 695"/>
              <a:gd name="T80" fmla="*/ 2147483647 w 1425"/>
              <a:gd name="T81" fmla="*/ 2147483647 h 695"/>
              <a:gd name="T82" fmla="*/ 2147483647 w 1425"/>
              <a:gd name="T83" fmla="*/ 2147483647 h 695"/>
              <a:gd name="T84" fmla="*/ 2147483647 w 1425"/>
              <a:gd name="T85" fmla="*/ 2147483647 h 695"/>
              <a:gd name="T86" fmla="*/ 2147483647 w 1425"/>
              <a:gd name="T87" fmla="*/ 2147483647 h 695"/>
              <a:gd name="T88" fmla="*/ 2147483647 w 1425"/>
              <a:gd name="T89" fmla="*/ 2147483647 h 695"/>
              <a:gd name="T90" fmla="*/ 2147483647 w 1425"/>
              <a:gd name="T91" fmla="*/ 2147483647 h 695"/>
              <a:gd name="T92" fmla="*/ 2147483647 w 1425"/>
              <a:gd name="T93" fmla="*/ 2147483647 h 695"/>
              <a:gd name="T94" fmla="*/ 2147483647 w 1425"/>
              <a:gd name="T95" fmla="*/ 2147483647 h 695"/>
              <a:gd name="T96" fmla="*/ 2147483647 w 1425"/>
              <a:gd name="T97" fmla="*/ 2147483647 h 695"/>
              <a:gd name="T98" fmla="*/ 2147483647 w 1425"/>
              <a:gd name="T99" fmla="*/ 2147483647 h 695"/>
              <a:gd name="T100" fmla="*/ 2147483647 w 1425"/>
              <a:gd name="T101" fmla="*/ 2147483647 h 695"/>
              <a:gd name="T102" fmla="*/ 2147483647 w 1425"/>
              <a:gd name="T103" fmla="*/ 2147483647 h 695"/>
              <a:gd name="T104" fmla="*/ 2147483647 w 1425"/>
              <a:gd name="T105" fmla="*/ 2147483647 h 695"/>
              <a:gd name="T106" fmla="*/ 2147483647 w 1425"/>
              <a:gd name="T107" fmla="*/ 2147483647 h 695"/>
              <a:gd name="T108" fmla="*/ 2147483647 w 1425"/>
              <a:gd name="T109" fmla="*/ 2147483647 h 695"/>
              <a:gd name="T110" fmla="*/ 2147483647 w 1425"/>
              <a:gd name="T111" fmla="*/ 2147483647 h 695"/>
              <a:gd name="T112" fmla="*/ 2147483647 w 1425"/>
              <a:gd name="T113" fmla="*/ 2147483647 h 695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425"/>
              <a:gd name="T172" fmla="*/ 0 h 695"/>
              <a:gd name="T173" fmla="*/ 1425 w 1425"/>
              <a:gd name="T174" fmla="*/ 695 h 695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425" h="695">
                <a:moveTo>
                  <a:pt x="1049" y="121"/>
                </a:moveTo>
                <a:lnTo>
                  <a:pt x="1041" y="114"/>
                </a:lnTo>
                <a:lnTo>
                  <a:pt x="1063" y="114"/>
                </a:lnTo>
                <a:lnTo>
                  <a:pt x="1075" y="120"/>
                </a:lnTo>
                <a:lnTo>
                  <a:pt x="1085" y="118"/>
                </a:lnTo>
                <a:lnTo>
                  <a:pt x="1078" y="106"/>
                </a:lnTo>
                <a:lnTo>
                  <a:pt x="1086" y="108"/>
                </a:lnTo>
                <a:lnTo>
                  <a:pt x="1090" y="109"/>
                </a:lnTo>
                <a:lnTo>
                  <a:pt x="1097" y="116"/>
                </a:lnTo>
                <a:lnTo>
                  <a:pt x="1137" y="102"/>
                </a:lnTo>
                <a:lnTo>
                  <a:pt x="1144" y="90"/>
                </a:lnTo>
                <a:lnTo>
                  <a:pt x="1143" y="79"/>
                </a:lnTo>
                <a:lnTo>
                  <a:pt x="1144" y="73"/>
                </a:lnTo>
                <a:lnTo>
                  <a:pt x="1164" y="66"/>
                </a:lnTo>
                <a:lnTo>
                  <a:pt x="1153" y="64"/>
                </a:lnTo>
                <a:lnTo>
                  <a:pt x="1169" y="56"/>
                </a:lnTo>
                <a:lnTo>
                  <a:pt x="1143" y="49"/>
                </a:lnTo>
                <a:lnTo>
                  <a:pt x="1161" y="48"/>
                </a:lnTo>
                <a:lnTo>
                  <a:pt x="1111" y="46"/>
                </a:lnTo>
                <a:lnTo>
                  <a:pt x="1107" y="58"/>
                </a:lnTo>
                <a:lnTo>
                  <a:pt x="1110" y="62"/>
                </a:lnTo>
                <a:lnTo>
                  <a:pt x="1107" y="67"/>
                </a:lnTo>
                <a:lnTo>
                  <a:pt x="1093" y="67"/>
                </a:lnTo>
                <a:lnTo>
                  <a:pt x="1056" y="96"/>
                </a:lnTo>
                <a:lnTo>
                  <a:pt x="1043" y="98"/>
                </a:lnTo>
                <a:lnTo>
                  <a:pt x="1039" y="82"/>
                </a:lnTo>
                <a:lnTo>
                  <a:pt x="1045" y="77"/>
                </a:lnTo>
                <a:lnTo>
                  <a:pt x="1055" y="62"/>
                </a:lnTo>
                <a:lnTo>
                  <a:pt x="1042" y="56"/>
                </a:lnTo>
                <a:lnTo>
                  <a:pt x="1012" y="77"/>
                </a:lnTo>
                <a:lnTo>
                  <a:pt x="1019" y="59"/>
                </a:lnTo>
                <a:lnTo>
                  <a:pt x="1014" y="55"/>
                </a:lnTo>
                <a:lnTo>
                  <a:pt x="1030" y="52"/>
                </a:lnTo>
                <a:lnTo>
                  <a:pt x="1019" y="48"/>
                </a:lnTo>
                <a:lnTo>
                  <a:pt x="1001" y="47"/>
                </a:lnTo>
                <a:lnTo>
                  <a:pt x="999" y="44"/>
                </a:lnTo>
                <a:lnTo>
                  <a:pt x="1013" y="38"/>
                </a:lnTo>
                <a:lnTo>
                  <a:pt x="1013" y="35"/>
                </a:lnTo>
                <a:lnTo>
                  <a:pt x="1021" y="36"/>
                </a:lnTo>
                <a:lnTo>
                  <a:pt x="1015" y="23"/>
                </a:lnTo>
                <a:lnTo>
                  <a:pt x="1020" y="11"/>
                </a:lnTo>
                <a:lnTo>
                  <a:pt x="1012" y="4"/>
                </a:lnTo>
                <a:lnTo>
                  <a:pt x="1006" y="4"/>
                </a:lnTo>
                <a:lnTo>
                  <a:pt x="1011" y="0"/>
                </a:lnTo>
                <a:lnTo>
                  <a:pt x="997" y="2"/>
                </a:lnTo>
                <a:lnTo>
                  <a:pt x="1005" y="2"/>
                </a:lnTo>
                <a:lnTo>
                  <a:pt x="981" y="8"/>
                </a:lnTo>
                <a:lnTo>
                  <a:pt x="984" y="12"/>
                </a:lnTo>
                <a:lnTo>
                  <a:pt x="966" y="14"/>
                </a:lnTo>
                <a:lnTo>
                  <a:pt x="959" y="28"/>
                </a:lnTo>
                <a:lnTo>
                  <a:pt x="963" y="29"/>
                </a:lnTo>
                <a:lnTo>
                  <a:pt x="951" y="31"/>
                </a:lnTo>
                <a:lnTo>
                  <a:pt x="945" y="42"/>
                </a:lnTo>
                <a:lnTo>
                  <a:pt x="981" y="53"/>
                </a:lnTo>
                <a:lnTo>
                  <a:pt x="971" y="55"/>
                </a:lnTo>
                <a:lnTo>
                  <a:pt x="972" y="54"/>
                </a:lnTo>
                <a:lnTo>
                  <a:pt x="963" y="59"/>
                </a:lnTo>
                <a:lnTo>
                  <a:pt x="953" y="67"/>
                </a:lnTo>
                <a:lnTo>
                  <a:pt x="970" y="61"/>
                </a:lnTo>
                <a:lnTo>
                  <a:pt x="961" y="70"/>
                </a:lnTo>
                <a:lnTo>
                  <a:pt x="929" y="80"/>
                </a:lnTo>
                <a:lnTo>
                  <a:pt x="915" y="96"/>
                </a:lnTo>
                <a:lnTo>
                  <a:pt x="906" y="104"/>
                </a:lnTo>
                <a:lnTo>
                  <a:pt x="895" y="104"/>
                </a:lnTo>
                <a:lnTo>
                  <a:pt x="897" y="109"/>
                </a:lnTo>
                <a:lnTo>
                  <a:pt x="895" y="104"/>
                </a:lnTo>
                <a:lnTo>
                  <a:pt x="897" y="104"/>
                </a:lnTo>
                <a:lnTo>
                  <a:pt x="909" y="102"/>
                </a:lnTo>
                <a:lnTo>
                  <a:pt x="904" y="100"/>
                </a:lnTo>
                <a:lnTo>
                  <a:pt x="909" y="95"/>
                </a:lnTo>
                <a:lnTo>
                  <a:pt x="899" y="97"/>
                </a:lnTo>
                <a:lnTo>
                  <a:pt x="922" y="76"/>
                </a:lnTo>
                <a:lnTo>
                  <a:pt x="907" y="79"/>
                </a:lnTo>
                <a:lnTo>
                  <a:pt x="910" y="77"/>
                </a:lnTo>
                <a:lnTo>
                  <a:pt x="892" y="73"/>
                </a:lnTo>
                <a:lnTo>
                  <a:pt x="879" y="77"/>
                </a:lnTo>
                <a:lnTo>
                  <a:pt x="882" y="84"/>
                </a:lnTo>
                <a:lnTo>
                  <a:pt x="893" y="86"/>
                </a:lnTo>
                <a:lnTo>
                  <a:pt x="877" y="88"/>
                </a:lnTo>
                <a:lnTo>
                  <a:pt x="873" y="80"/>
                </a:lnTo>
                <a:lnTo>
                  <a:pt x="867" y="88"/>
                </a:lnTo>
                <a:lnTo>
                  <a:pt x="834" y="86"/>
                </a:lnTo>
                <a:lnTo>
                  <a:pt x="802" y="86"/>
                </a:lnTo>
                <a:lnTo>
                  <a:pt x="792" y="80"/>
                </a:lnTo>
                <a:lnTo>
                  <a:pt x="779" y="79"/>
                </a:lnTo>
                <a:lnTo>
                  <a:pt x="773" y="71"/>
                </a:lnTo>
                <a:lnTo>
                  <a:pt x="768" y="62"/>
                </a:lnTo>
                <a:lnTo>
                  <a:pt x="717" y="74"/>
                </a:lnTo>
                <a:lnTo>
                  <a:pt x="727" y="79"/>
                </a:lnTo>
                <a:lnTo>
                  <a:pt x="753" y="73"/>
                </a:lnTo>
                <a:lnTo>
                  <a:pt x="768" y="71"/>
                </a:lnTo>
                <a:lnTo>
                  <a:pt x="738" y="80"/>
                </a:lnTo>
                <a:lnTo>
                  <a:pt x="723" y="83"/>
                </a:lnTo>
                <a:lnTo>
                  <a:pt x="713" y="108"/>
                </a:lnTo>
                <a:lnTo>
                  <a:pt x="707" y="103"/>
                </a:lnTo>
                <a:lnTo>
                  <a:pt x="702" y="118"/>
                </a:lnTo>
                <a:lnTo>
                  <a:pt x="695" y="101"/>
                </a:lnTo>
                <a:lnTo>
                  <a:pt x="707" y="101"/>
                </a:lnTo>
                <a:lnTo>
                  <a:pt x="703" y="90"/>
                </a:lnTo>
                <a:lnTo>
                  <a:pt x="695" y="95"/>
                </a:lnTo>
                <a:lnTo>
                  <a:pt x="695" y="88"/>
                </a:lnTo>
                <a:lnTo>
                  <a:pt x="683" y="83"/>
                </a:lnTo>
                <a:lnTo>
                  <a:pt x="621" y="89"/>
                </a:lnTo>
                <a:lnTo>
                  <a:pt x="599" y="84"/>
                </a:lnTo>
                <a:lnTo>
                  <a:pt x="623" y="77"/>
                </a:lnTo>
                <a:lnTo>
                  <a:pt x="633" y="74"/>
                </a:lnTo>
                <a:lnTo>
                  <a:pt x="615" y="61"/>
                </a:lnTo>
                <a:lnTo>
                  <a:pt x="604" y="64"/>
                </a:lnTo>
                <a:lnTo>
                  <a:pt x="563" y="54"/>
                </a:lnTo>
                <a:lnTo>
                  <a:pt x="521" y="43"/>
                </a:lnTo>
                <a:lnTo>
                  <a:pt x="499" y="53"/>
                </a:lnTo>
                <a:lnTo>
                  <a:pt x="490" y="52"/>
                </a:lnTo>
                <a:lnTo>
                  <a:pt x="497" y="46"/>
                </a:lnTo>
                <a:lnTo>
                  <a:pt x="502" y="37"/>
                </a:lnTo>
                <a:lnTo>
                  <a:pt x="496" y="41"/>
                </a:lnTo>
                <a:lnTo>
                  <a:pt x="489" y="46"/>
                </a:lnTo>
                <a:lnTo>
                  <a:pt x="478" y="49"/>
                </a:lnTo>
                <a:lnTo>
                  <a:pt x="471" y="54"/>
                </a:lnTo>
                <a:lnTo>
                  <a:pt x="463" y="40"/>
                </a:lnTo>
                <a:lnTo>
                  <a:pt x="456" y="29"/>
                </a:lnTo>
                <a:lnTo>
                  <a:pt x="459" y="35"/>
                </a:lnTo>
                <a:lnTo>
                  <a:pt x="424" y="46"/>
                </a:lnTo>
                <a:lnTo>
                  <a:pt x="425" y="42"/>
                </a:lnTo>
                <a:lnTo>
                  <a:pt x="389" y="49"/>
                </a:lnTo>
                <a:lnTo>
                  <a:pt x="425" y="36"/>
                </a:lnTo>
                <a:lnTo>
                  <a:pt x="400" y="40"/>
                </a:lnTo>
                <a:lnTo>
                  <a:pt x="359" y="50"/>
                </a:lnTo>
                <a:lnTo>
                  <a:pt x="317" y="60"/>
                </a:lnTo>
                <a:lnTo>
                  <a:pt x="312" y="67"/>
                </a:lnTo>
                <a:lnTo>
                  <a:pt x="299" y="65"/>
                </a:lnTo>
                <a:lnTo>
                  <a:pt x="296" y="68"/>
                </a:lnTo>
                <a:lnTo>
                  <a:pt x="264" y="58"/>
                </a:lnTo>
                <a:lnTo>
                  <a:pt x="232" y="47"/>
                </a:lnTo>
                <a:lnTo>
                  <a:pt x="202" y="72"/>
                </a:lnTo>
                <a:lnTo>
                  <a:pt x="172" y="97"/>
                </a:lnTo>
                <a:lnTo>
                  <a:pt x="143" y="121"/>
                </a:lnTo>
                <a:lnTo>
                  <a:pt x="113" y="146"/>
                </a:lnTo>
                <a:lnTo>
                  <a:pt x="85" y="173"/>
                </a:lnTo>
                <a:lnTo>
                  <a:pt x="56" y="199"/>
                </a:lnTo>
                <a:lnTo>
                  <a:pt x="29" y="224"/>
                </a:lnTo>
                <a:lnTo>
                  <a:pt x="0" y="251"/>
                </a:lnTo>
                <a:lnTo>
                  <a:pt x="35" y="250"/>
                </a:lnTo>
                <a:lnTo>
                  <a:pt x="26" y="256"/>
                </a:lnTo>
                <a:lnTo>
                  <a:pt x="31" y="260"/>
                </a:lnTo>
                <a:lnTo>
                  <a:pt x="31" y="283"/>
                </a:lnTo>
                <a:lnTo>
                  <a:pt x="48" y="277"/>
                </a:lnTo>
                <a:lnTo>
                  <a:pt x="61" y="270"/>
                </a:lnTo>
                <a:lnTo>
                  <a:pt x="85" y="263"/>
                </a:lnTo>
                <a:lnTo>
                  <a:pt x="91" y="287"/>
                </a:lnTo>
                <a:lnTo>
                  <a:pt x="88" y="308"/>
                </a:lnTo>
                <a:lnTo>
                  <a:pt x="83" y="330"/>
                </a:lnTo>
                <a:lnTo>
                  <a:pt x="92" y="341"/>
                </a:lnTo>
                <a:lnTo>
                  <a:pt x="101" y="352"/>
                </a:lnTo>
                <a:lnTo>
                  <a:pt x="80" y="373"/>
                </a:lnTo>
                <a:lnTo>
                  <a:pt x="98" y="359"/>
                </a:lnTo>
                <a:lnTo>
                  <a:pt x="98" y="362"/>
                </a:lnTo>
                <a:lnTo>
                  <a:pt x="83" y="373"/>
                </a:lnTo>
                <a:lnTo>
                  <a:pt x="85" y="373"/>
                </a:lnTo>
                <a:lnTo>
                  <a:pt x="76" y="382"/>
                </a:lnTo>
                <a:lnTo>
                  <a:pt x="68" y="382"/>
                </a:lnTo>
                <a:lnTo>
                  <a:pt x="70" y="389"/>
                </a:lnTo>
                <a:lnTo>
                  <a:pt x="66" y="384"/>
                </a:lnTo>
                <a:lnTo>
                  <a:pt x="64" y="394"/>
                </a:lnTo>
                <a:lnTo>
                  <a:pt x="74" y="392"/>
                </a:lnTo>
                <a:lnTo>
                  <a:pt x="68" y="392"/>
                </a:lnTo>
                <a:lnTo>
                  <a:pt x="67" y="398"/>
                </a:lnTo>
                <a:lnTo>
                  <a:pt x="62" y="395"/>
                </a:lnTo>
                <a:lnTo>
                  <a:pt x="65" y="412"/>
                </a:lnTo>
                <a:lnTo>
                  <a:pt x="90" y="396"/>
                </a:lnTo>
                <a:lnTo>
                  <a:pt x="80" y="410"/>
                </a:lnTo>
                <a:lnTo>
                  <a:pt x="86" y="413"/>
                </a:lnTo>
                <a:lnTo>
                  <a:pt x="74" y="409"/>
                </a:lnTo>
                <a:lnTo>
                  <a:pt x="73" y="425"/>
                </a:lnTo>
                <a:lnTo>
                  <a:pt x="77" y="424"/>
                </a:lnTo>
                <a:lnTo>
                  <a:pt x="62" y="438"/>
                </a:lnTo>
                <a:lnTo>
                  <a:pt x="71" y="433"/>
                </a:lnTo>
                <a:lnTo>
                  <a:pt x="70" y="439"/>
                </a:lnTo>
                <a:lnTo>
                  <a:pt x="98" y="425"/>
                </a:lnTo>
                <a:lnTo>
                  <a:pt x="89" y="437"/>
                </a:lnTo>
                <a:lnTo>
                  <a:pt x="88" y="445"/>
                </a:lnTo>
                <a:lnTo>
                  <a:pt x="84" y="437"/>
                </a:lnTo>
                <a:lnTo>
                  <a:pt x="61" y="449"/>
                </a:lnTo>
                <a:lnTo>
                  <a:pt x="64" y="455"/>
                </a:lnTo>
                <a:lnTo>
                  <a:pt x="70" y="450"/>
                </a:lnTo>
                <a:lnTo>
                  <a:pt x="82" y="452"/>
                </a:lnTo>
                <a:lnTo>
                  <a:pt x="61" y="457"/>
                </a:lnTo>
                <a:lnTo>
                  <a:pt x="55" y="460"/>
                </a:lnTo>
                <a:lnTo>
                  <a:pt x="65" y="461"/>
                </a:lnTo>
                <a:lnTo>
                  <a:pt x="53" y="466"/>
                </a:lnTo>
                <a:lnTo>
                  <a:pt x="67" y="472"/>
                </a:lnTo>
                <a:lnTo>
                  <a:pt x="73" y="468"/>
                </a:lnTo>
                <a:lnTo>
                  <a:pt x="78" y="470"/>
                </a:lnTo>
                <a:lnTo>
                  <a:pt x="70" y="473"/>
                </a:lnTo>
                <a:lnTo>
                  <a:pt x="78" y="473"/>
                </a:lnTo>
                <a:lnTo>
                  <a:pt x="72" y="476"/>
                </a:lnTo>
                <a:lnTo>
                  <a:pt x="89" y="470"/>
                </a:lnTo>
                <a:lnTo>
                  <a:pt x="92" y="467"/>
                </a:lnTo>
                <a:lnTo>
                  <a:pt x="83" y="475"/>
                </a:lnTo>
                <a:lnTo>
                  <a:pt x="74" y="476"/>
                </a:lnTo>
                <a:lnTo>
                  <a:pt x="72" y="481"/>
                </a:lnTo>
                <a:lnTo>
                  <a:pt x="86" y="476"/>
                </a:lnTo>
                <a:lnTo>
                  <a:pt x="85" y="481"/>
                </a:lnTo>
                <a:lnTo>
                  <a:pt x="100" y="473"/>
                </a:lnTo>
                <a:lnTo>
                  <a:pt x="92" y="485"/>
                </a:lnTo>
                <a:lnTo>
                  <a:pt x="104" y="480"/>
                </a:lnTo>
                <a:lnTo>
                  <a:pt x="88" y="491"/>
                </a:lnTo>
                <a:lnTo>
                  <a:pt x="97" y="497"/>
                </a:lnTo>
                <a:lnTo>
                  <a:pt x="107" y="487"/>
                </a:lnTo>
                <a:lnTo>
                  <a:pt x="101" y="500"/>
                </a:lnTo>
                <a:lnTo>
                  <a:pt x="104" y="500"/>
                </a:lnTo>
                <a:lnTo>
                  <a:pt x="96" y="500"/>
                </a:lnTo>
                <a:lnTo>
                  <a:pt x="104" y="504"/>
                </a:lnTo>
                <a:lnTo>
                  <a:pt x="113" y="500"/>
                </a:lnTo>
                <a:lnTo>
                  <a:pt x="106" y="508"/>
                </a:lnTo>
                <a:lnTo>
                  <a:pt x="112" y="509"/>
                </a:lnTo>
                <a:lnTo>
                  <a:pt x="104" y="512"/>
                </a:lnTo>
                <a:lnTo>
                  <a:pt x="110" y="516"/>
                </a:lnTo>
                <a:lnTo>
                  <a:pt x="144" y="516"/>
                </a:lnTo>
                <a:lnTo>
                  <a:pt x="176" y="516"/>
                </a:lnTo>
                <a:lnTo>
                  <a:pt x="210" y="516"/>
                </a:lnTo>
                <a:lnTo>
                  <a:pt x="242" y="516"/>
                </a:lnTo>
                <a:lnTo>
                  <a:pt x="276" y="516"/>
                </a:lnTo>
                <a:lnTo>
                  <a:pt x="310" y="516"/>
                </a:lnTo>
                <a:lnTo>
                  <a:pt x="342" y="516"/>
                </a:lnTo>
                <a:lnTo>
                  <a:pt x="376" y="516"/>
                </a:lnTo>
                <a:lnTo>
                  <a:pt x="408" y="516"/>
                </a:lnTo>
                <a:lnTo>
                  <a:pt x="442" y="516"/>
                </a:lnTo>
                <a:lnTo>
                  <a:pt x="474" y="516"/>
                </a:lnTo>
                <a:lnTo>
                  <a:pt x="508" y="516"/>
                </a:lnTo>
                <a:lnTo>
                  <a:pt x="540" y="516"/>
                </a:lnTo>
                <a:lnTo>
                  <a:pt x="574" y="516"/>
                </a:lnTo>
                <a:lnTo>
                  <a:pt x="606" y="516"/>
                </a:lnTo>
                <a:lnTo>
                  <a:pt x="640" y="516"/>
                </a:lnTo>
                <a:lnTo>
                  <a:pt x="648" y="508"/>
                </a:lnTo>
                <a:lnTo>
                  <a:pt x="646" y="521"/>
                </a:lnTo>
                <a:lnTo>
                  <a:pt x="667" y="526"/>
                </a:lnTo>
                <a:lnTo>
                  <a:pt x="696" y="538"/>
                </a:lnTo>
                <a:lnTo>
                  <a:pt x="713" y="534"/>
                </a:lnTo>
                <a:lnTo>
                  <a:pt x="729" y="541"/>
                </a:lnTo>
                <a:lnTo>
                  <a:pt x="755" y="534"/>
                </a:lnTo>
                <a:lnTo>
                  <a:pt x="772" y="545"/>
                </a:lnTo>
                <a:lnTo>
                  <a:pt x="789" y="556"/>
                </a:lnTo>
                <a:lnTo>
                  <a:pt x="805" y="566"/>
                </a:lnTo>
                <a:lnTo>
                  <a:pt x="822" y="576"/>
                </a:lnTo>
                <a:lnTo>
                  <a:pt x="823" y="587"/>
                </a:lnTo>
                <a:lnTo>
                  <a:pt x="831" y="586"/>
                </a:lnTo>
                <a:lnTo>
                  <a:pt x="828" y="593"/>
                </a:lnTo>
                <a:lnTo>
                  <a:pt x="844" y="605"/>
                </a:lnTo>
                <a:lnTo>
                  <a:pt x="839" y="626"/>
                </a:lnTo>
                <a:lnTo>
                  <a:pt x="835" y="648"/>
                </a:lnTo>
                <a:lnTo>
                  <a:pt x="825" y="661"/>
                </a:lnTo>
                <a:lnTo>
                  <a:pt x="801" y="685"/>
                </a:lnTo>
                <a:lnTo>
                  <a:pt x="807" y="695"/>
                </a:lnTo>
                <a:lnTo>
                  <a:pt x="828" y="688"/>
                </a:lnTo>
                <a:lnTo>
                  <a:pt x="849" y="680"/>
                </a:lnTo>
                <a:lnTo>
                  <a:pt x="870" y="673"/>
                </a:lnTo>
                <a:lnTo>
                  <a:pt x="891" y="666"/>
                </a:lnTo>
                <a:lnTo>
                  <a:pt x="893" y="650"/>
                </a:lnTo>
                <a:lnTo>
                  <a:pt x="917" y="648"/>
                </a:lnTo>
                <a:lnTo>
                  <a:pt x="941" y="647"/>
                </a:lnTo>
                <a:lnTo>
                  <a:pt x="961" y="631"/>
                </a:lnTo>
                <a:lnTo>
                  <a:pt x="981" y="617"/>
                </a:lnTo>
                <a:lnTo>
                  <a:pt x="1019" y="614"/>
                </a:lnTo>
                <a:lnTo>
                  <a:pt x="1057" y="612"/>
                </a:lnTo>
                <a:lnTo>
                  <a:pt x="1071" y="605"/>
                </a:lnTo>
                <a:lnTo>
                  <a:pt x="1090" y="589"/>
                </a:lnTo>
                <a:lnTo>
                  <a:pt x="1107" y="571"/>
                </a:lnTo>
                <a:lnTo>
                  <a:pt x="1123" y="553"/>
                </a:lnTo>
                <a:lnTo>
                  <a:pt x="1125" y="558"/>
                </a:lnTo>
                <a:lnTo>
                  <a:pt x="1134" y="558"/>
                </a:lnTo>
                <a:lnTo>
                  <a:pt x="1147" y="563"/>
                </a:lnTo>
                <a:lnTo>
                  <a:pt x="1138" y="593"/>
                </a:lnTo>
                <a:lnTo>
                  <a:pt x="1144" y="608"/>
                </a:lnTo>
                <a:lnTo>
                  <a:pt x="1149" y="611"/>
                </a:lnTo>
                <a:lnTo>
                  <a:pt x="1167" y="605"/>
                </a:lnTo>
                <a:lnTo>
                  <a:pt x="1165" y="606"/>
                </a:lnTo>
                <a:lnTo>
                  <a:pt x="1194" y="598"/>
                </a:lnTo>
                <a:lnTo>
                  <a:pt x="1199" y="587"/>
                </a:lnTo>
                <a:lnTo>
                  <a:pt x="1201" y="592"/>
                </a:lnTo>
                <a:lnTo>
                  <a:pt x="1205" y="592"/>
                </a:lnTo>
                <a:lnTo>
                  <a:pt x="1191" y="602"/>
                </a:lnTo>
                <a:lnTo>
                  <a:pt x="1221" y="604"/>
                </a:lnTo>
                <a:lnTo>
                  <a:pt x="1201" y="610"/>
                </a:lnTo>
                <a:lnTo>
                  <a:pt x="1200" y="606"/>
                </a:lnTo>
                <a:lnTo>
                  <a:pt x="1170" y="620"/>
                </a:lnTo>
                <a:lnTo>
                  <a:pt x="1175" y="618"/>
                </a:lnTo>
                <a:lnTo>
                  <a:pt x="1157" y="628"/>
                </a:lnTo>
                <a:lnTo>
                  <a:pt x="1163" y="623"/>
                </a:lnTo>
                <a:lnTo>
                  <a:pt x="1155" y="635"/>
                </a:lnTo>
                <a:lnTo>
                  <a:pt x="1159" y="648"/>
                </a:lnTo>
                <a:lnTo>
                  <a:pt x="1173" y="644"/>
                </a:lnTo>
                <a:lnTo>
                  <a:pt x="1201" y="622"/>
                </a:lnTo>
                <a:lnTo>
                  <a:pt x="1204" y="625"/>
                </a:lnTo>
                <a:lnTo>
                  <a:pt x="1211" y="622"/>
                </a:lnTo>
                <a:lnTo>
                  <a:pt x="1214" y="623"/>
                </a:lnTo>
                <a:lnTo>
                  <a:pt x="1239" y="614"/>
                </a:lnTo>
                <a:lnTo>
                  <a:pt x="1264" y="606"/>
                </a:lnTo>
                <a:lnTo>
                  <a:pt x="1257" y="604"/>
                </a:lnTo>
                <a:lnTo>
                  <a:pt x="1263" y="602"/>
                </a:lnTo>
                <a:lnTo>
                  <a:pt x="1253" y="592"/>
                </a:lnTo>
                <a:lnTo>
                  <a:pt x="1245" y="596"/>
                </a:lnTo>
                <a:lnTo>
                  <a:pt x="1229" y="594"/>
                </a:lnTo>
                <a:lnTo>
                  <a:pt x="1215" y="588"/>
                </a:lnTo>
                <a:lnTo>
                  <a:pt x="1205" y="583"/>
                </a:lnTo>
                <a:lnTo>
                  <a:pt x="1205" y="565"/>
                </a:lnTo>
                <a:lnTo>
                  <a:pt x="1198" y="563"/>
                </a:lnTo>
                <a:lnTo>
                  <a:pt x="1212" y="547"/>
                </a:lnTo>
                <a:lnTo>
                  <a:pt x="1195" y="548"/>
                </a:lnTo>
                <a:lnTo>
                  <a:pt x="1194" y="544"/>
                </a:lnTo>
                <a:lnTo>
                  <a:pt x="1175" y="541"/>
                </a:lnTo>
                <a:lnTo>
                  <a:pt x="1180" y="539"/>
                </a:lnTo>
                <a:lnTo>
                  <a:pt x="1200" y="539"/>
                </a:lnTo>
                <a:lnTo>
                  <a:pt x="1226" y="530"/>
                </a:lnTo>
                <a:lnTo>
                  <a:pt x="1228" y="522"/>
                </a:lnTo>
                <a:lnTo>
                  <a:pt x="1232" y="522"/>
                </a:lnTo>
                <a:lnTo>
                  <a:pt x="1230" y="517"/>
                </a:lnTo>
                <a:lnTo>
                  <a:pt x="1209" y="510"/>
                </a:lnTo>
                <a:lnTo>
                  <a:pt x="1180" y="517"/>
                </a:lnTo>
                <a:lnTo>
                  <a:pt x="1152" y="524"/>
                </a:lnTo>
                <a:lnTo>
                  <a:pt x="1132" y="539"/>
                </a:lnTo>
                <a:lnTo>
                  <a:pt x="1111" y="552"/>
                </a:lnTo>
                <a:lnTo>
                  <a:pt x="1080" y="568"/>
                </a:lnTo>
                <a:lnTo>
                  <a:pt x="1099" y="553"/>
                </a:lnTo>
                <a:lnTo>
                  <a:pt x="1119" y="538"/>
                </a:lnTo>
                <a:lnTo>
                  <a:pt x="1098" y="529"/>
                </a:lnTo>
                <a:lnTo>
                  <a:pt x="1117" y="536"/>
                </a:lnTo>
                <a:lnTo>
                  <a:pt x="1146" y="517"/>
                </a:lnTo>
                <a:lnTo>
                  <a:pt x="1175" y="508"/>
                </a:lnTo>
                <a:lnTo>
                  <a:pt x="1197" y="488"/>
                </a:lnTo>
                <a:lnTo>
                  <a:pt x="1239" y="487"/>
                </a:lnTo>
                <a:lnTo>
                  <a:pt x="1281" y="486"/>
                </a:lnTo>
                <a:lnTo>
                  <a:pt x="1318" y="486"/>
                </a:lnTo>
                <a:lnTo>
                  <a:pt x="1353" y="467"/>
                </a:lnTo>
                <a:lnTo>
                  <a:pt x="1385" y="458"/>
                </a:lnTo>
                <a:lnTo>
                  <a:pt x="1422" y="439"/>
                </a:lnTo>
                <a:lnTo>
                  <a:pt x="1413" y="434"/>
                </a:lnTo>
                <a:lnTo>
                  <a:pt x="1422" y="432"/>
                </a:lnTo>
                <a:lnTo>
                  <a:pt x="1409" y="430"/>
                </a:lnTo>
                <a:lnTo>
                  <a:pt x="1419" y="428"/>
                </a:lnTo>
                <a:lnTo>
                  <a:pt x="1420" y="425"/>
                </a:lnTo>
                <a:lnTo>
                  <a:pt x="1424" y="418"/>
                </a:lnTo>
                <a:lnTo>
                  <a:pt x="1425" y="410"/>
                </a:lnTo>
                <a:lnTo>
                  <a:pt x="1413" y="404"/>
                </a:lnTo>
                <a:lnTo>
                  <a:pt x="1415" y="403"/>
                </a:lnTo>
                <a:lnTo>
                  <a:pt x="1402" y="407"/>
                </a:lnTo>
                <a:lnTo>
                  <a:pt x="1404" y="392"/>
                </a:lnTo>
                <a:lnTo>
                  <a:pt x="1388" y="395"/>
                </a:lnTo>
                <a:lnTo>
                  <a:pt x="1397" y="395"/>
                </a:lnTo>
                <a:lnTo>
                  <a:pt x="1366" y="404"/>
                </a:lnTo>
                <a:lnTo>
                  <a:pt x="1342" y="413"/>
                </a:lnTo>
                <a:lnTo>
                  <a:pt x="1350" y="409"/>
                </a:lnTo>
                <a:lnTo>
                  <a:pt x="1341" y="403"/>
                </a:lnTo>
                <a:lnTo>
                  <a:pt x="1353" y="404"/>
                </a:lnTo>
                <a:lnTo>
                  <a:pt x="1388" y="391"/>
                </a:lnTo>
                <a:lnTo>
                  <a:pt x="1364" y="396"/>
                </a:lnTo>
                <a:lnTo>
                  <a:pt x="1408" y="383"/>
                </a:lnTo>
                <a:lnTo>
                  <a:pt x="1382" y="373"/>
                </a:lnTo>
                <a:lnTo>
                  <a:pt x="1376" y="374"/>
                </a:lnTo>
                <a:lnTo>
                  <a:pt x="1380" y="368"/>
                </a:lnTo>
                <a:lnTo>
                  <a:pt x="1365" y="377"/>
                </a:lnTo>
                <a:lnTo>
                  <a:pt x="1372" y="370"/>
                </a:lnTo>
                <a:lnTo>
                  <a:pt x="1371" y="368"/>
                </a:lnTo>
                <a:lnTo>
                  <a:pt x="1361" y="371"/>
                </a:lnTo>
                <a:lnTo>
                  <a:pt x="1364" y="366"/>
                </a:lnTo>
                <a:lnTo>
                  <a:pt x="1353" y="372"/>
                </a:lnTo>
                <a:lnTo>
                  <a:pt x="1358" y="367"/>
                </a:lnTo>
                <a:lnTo>
                  <a:pt x="1361" y="364"/>
                </a:lnTo>
                <a:lnTo>
                  <a:pt x="1362" y="355"/>
                </a:lnTo>
                <a:lnTo>
                  <a:pt x="1358" y="360"/>
                </a:lnTo>
                <a:lnTo>
                  <a:pt x="1358" y="356"/>
                </a:lnTo>
                <a:lnTo>
                  <a:pt x="1349" y="347"/>
                </a:lnTo>
                <a:lnTo>
                  <a:pt x="1338" y="343"/>
                </a:lnTo>
                <a:lnTo>
                  <a:pt x="1348" y="343"/>
                </a:lnTo>
                <a:lnTo>
                  <a:pt x="1341" y="338"/>
                </a:lnTo>
                <a:lnTo>
                  <a:pt x="1347" y="337"/>
                </a:lnTo>
                <a:lnTo>
                  <a:pt x="1340" y="336"/>
                </a:lnTo>
                <a:lnTo>
                  <a:pt x="1344" y="336"/>
                </a:lnTo>
                <a:lnTo>
                  <a:pt x="1337" y="330"/>
                </a:lnTo>
                <a:lnTo>
                  <a:pt x="1341" y="331"/>
                </a:lnTo>
                <a:lnTo>
                  <a:pt x="1347" y="334"/>
                </a:lnTo>
                <a:lnTo>
                  <a:pt x="1360" y="325"/>
                </a:lnTo>
                <a:lnTo>
                  <a:pt x="1353" y="318"/>
                </a:lnTo>
                <a:lnTo>
                  <a:pt x="1348" y="314"/>
                </a:lnTo>
                <a:lnTo>
                  <a:pt x="1355" y="310"/>
                </a:lnTo>
                <a:lnTo>
                  <a:pt x="1348" y="304"/>
                </a:lnTo>
                <a:lnTo>
                  <a:pt x="1346" y="300"/>
                </a:lnTo>
                <a:lnTo>
                  <a:pt x="1336" y="302"/>
                </a:lnTo>
                <a:lnTo>
                  <a:pt x="1349" y="296"/>
                </a:lnTo>
                <a:lnTo>
                  <a:pt x="1348" y="293"/>
                </a:lnTo>
                <a:lnTo>
                  <a:pt x="1332" y="296"/>
                </a:lnTo>
                <a:lnTo>
                  <a:pt x="1349" y="286"/>
                </a:lnTo>
                <a:lnTo>
                  <a:pt x="1343" y="281"/>
                </a:lnTo>
                <a:lnTo>
                  <a:pt x="1336" y="280"/>
                </a:lnTo>
                <a:lnTo>
                  <a:pt x="1343" y="274"/>
                </a:lnTo>
                <a:lnTo>
                  <a:pt x="1340" y="271"/>
                </a:lnTo>
                <a:lnTo>
                  <a:pt x="1335" y="259"/>
                </a:lnTo>
                <a:lnTo>
                  <a:pt x="1335" y="256"/>
                </a:lnTo>
                <a:lnTo>
                  <a:pt x="1328" y="258"/>
                </a:lnTo>
                <a:lnTo>
                  <a:pt x="1334" y="252"/>
                </a:lnTo>
                <a:lnTo>
                  <a:pt x="1323" y="257"/>
                </a:lnTo>
                <a:lnTo>
                  <a:pt x="1323" y="263"/>
                </a:lnTo>
                <a:lnTo>
                  <a:pt x="1312" y="264"/>
                </a:lnTo>
                <a:lnTo>
                  <a:pt x="1316" y="270"/>
                </a:lnTo>
                <a:lnTo>
                  <a:pt x="1311" y="274"/>
                </a:lnTo>
                <a:lnTo>
                  <a:pt x="1304" y="280"/>
                </a:lnTo>
                <a:lnTo>
                  <a:pt x="1294" y="288"/>
                </a:lnTo>
                <a:lnTo>
                  <a:pt x="1290" y="294"/>
                </a:lnTo>
                <a:lnTo>
                  <a:pt x="1287" y="286"/>
                </a:lnTo>
                <a:lnTo>
                  <a:pt x="1269" y="295"/>
                </a:lnTo>
                <a:lnTo>
                  <a:pt x="1254" y="306"/>
                </a:lnTo>
                <a:lnTo>
                  <a:pt x="1257" y="296"/>
                </a:lnTo>
                <a:lnTo>
                  <a:pt x="1250" y="301"/>
                </a:lnTo>
                <a:lnTo>
                  <a:pt x="1253" y="292"/>
                </a:lnTo>
                <a:lnTo>
                  <a:pt x="1244" y="304"/>
                </a:lnTo>
                <a:lnTo>
                  <a:pt x="1223" y="310"/>
                </a:lnTo>
                <a:lnTo>
                  <a:pt x="1250" y="296"/>
                </a:lnTo>
                <a:lnTo>
                  <a:pt x="1247" y="283"/>
                </a:lnTo>
                <a:lnTo>
                  <a:pt x="1224" y="288"/>
                </a:lnTo>
                <a:lnTo>
                  <a:pt x="1218" y="286"/>
                </a:lnTo>
                <a:lnTo>
                  <a:pt x="1227" y="282"/>
                </a:lnTo>
                <a:lnTo>
                  <a:pt x="1234" y="284"/>
                </a:lnTo>
                <a:lnTo>
                  <a:pt x="1240" y="272"/>
                </a:lnTo>
                <a:lnTo>
                  <a:pt x="1235" y="269"/>
                </a:lnTo>
                <a:lnTo>
                  <a:pt x="1241" y="258"/>
                </a:lnTo>
                <a:lnTo>
                  <a:pt x="1221" y="256"/>
                </a:lnTo>
                <a:lnTo>
                  <a:pt x="1246" y="253"/>
                </a:lnTo>
                <a:lnTo>
                  <a:pt x="1250" y="242"/>
                </a:lnTo>
                <a:lnTo>
                  <a:pt x="1253" y="236"/>
                </a:lnTo>
                <a:lnTo>
                  <a:pt x="1246" y="238"/>
                </a:lnTo>
                <a:lnTo>
                  <a:pt x="1222" y="227"/>
                </a:lnTo>
                <a:lnTo>
                  <a:pt x="1228" y="221"/>
                </a:lnTo>
                <a:lnTo>
                  <a:pt x="1221" y="222"/>
                </a:lnTo>
                <a:lnTo>
                  <a:pt x="1216" y="214"/>
                </a:lnTo>
                <a:lnTo>
                  <a:pt x="1217" y="210"/>
                </a:lnTo>
                <a:lnTo>
                  <a:pt x="1200" y="203"/>
                </a:lnTo>
                <a:lnTo>
                  <a:pt x="1181" y="210"/>
                </a:lnTo>
                <a:lnTo>
                  <a:pt x="1162" y="210"/>
                </a:lnTo>
                <a:lnTo>
                  <a:pt x="1168" y="206"/>
                </a:lnTo>
                <a:lnTo>
                  <a:pt x="1133" y="203"/>
                </a:lnTo>
                <a:lnTo>
                  <a:pt x="1120" y="220"/>
                </a:lnTo>
                <a:lnTo>
                  <a:pt x="1121" y="226"/>
                </a:lnTo>
                <a:lnTo>
                  <a:pt x="1109" y="241"/>
                </a:lnTo>
                <a:lnTo>
                  <a:pt x="1114" y="241"/>
                </a:lnTo>
                <a:lnTo>
                  <a:pt x="1109" y="257"/>
                </a:lnTo>
                <a:lnTo>
                  <a:pt x="1102" y="266"/>
                </a:lnTo>
                <a:lnTo>
                  <a:pt x="1097" y="266"/>
                </a:lnTo>
                <a:lnTo>
                  <a:pt x="1069" y="289"/>
                </a:lnTo>
                <a:lnTo>
                  <a:pt x="1089" y="312"/>
                </a:lnTo>
                <a:lnTo>
                  <a:pt x="1078" y="331"/>
                </a:lnTo>
                <a:lnTo>
                  <a:pt x="1067" y="352"/>
                </a:lnTo>
                <a:lnTo>
                  <a:pt x="1041" y="364"/>
                </a:lnTo>
                <a:lnTo>
                  <a:pt x="1014" y="377"/>
                </a:lnTo>
                <a:lnTo>
                  <a:pt x="1001" y="383"/>
                </a:lnTo>
                <a:lnTo>
                  <a:pt x="1003" y="398"/>
                </a:lnTo>
                <a:lnTo>
                  <a:pt x="996" y="432"/>
                </a:lnTo>
                <a:lnTo>
                  <a:pt x="987" y="445"/>
                </a:lnTo>
                <a:lnTo>
                  <a:pt x="979" y="456"/>
                </a:lnTo>
                <a:lnTo>
                  <a:pt x="975" y="461"/>
                </a:lnTo>
                <a:lnTo>
                  <a:pt x="972" y="452"/>
                </a:lnTo>
                <a:lnTo>
                  <a:pt x="958" y="467"/>
                </a:lnTo>
                <a:lnTo>
                  <a:pt x="961" y="474"/>
                </a:lnTo>
                <a:lnTo>
                  <a:pt x="948" y="460"/>
                </a:lnTo>
                <a:lnTo>
                  <a:pt x="933" y="467"/>
                </a:lnTo>
                <a:lnTo>
                  <a:pt x="948" y="456"/>
                </a:lnTo>
                <a:lnTo>
                  <a:pt x="934" y="439"/>
                </a:lnTo>
                <a:lnTo>
                  <a:pt x="937" y="432"/>
                </a:lnTo>
                <a:lnTo>
                  <a:pt x="935" y="415"/>
                </a:lnTo>
                <a:lnTo>
                  <a:pt x="943" y="392"/>
                </a:lnTo>
                <a:lnTo>
                  <a:pt x="953" y="370"/>
                </a:lnTo>
                <a:lnTo>
                  <a:pt x="929" y="368"/>
                </a:lnTo>
                <a:lnTo>
                  <a:pt x="906" y="367"/>
                </a:lnTo>
                <a:lnTo>
                  <a:pt x="900" y="371"/>
                </a:lnTo>
                <a:lnTo>
                  <a:pt x="909" y="365"/>
                </a:lnTo>
                <a:lnTo>
                  <a:pt x="891" y="356"/>
                </a:lnTo>
                <a:lnTo>
                  <a:pt x="874" y="348"/>
                </a:lnTo>
                <a:lnTo>
                  <a:pt x="853" y="329"/>
                </a:lnTo>
                <a:lnTo>
                  <a:pt x="829" y="320"/>
                </a:lnTo>
                <a:lnTo>
                  <a:pt x="798" y="329"/>
                </a:lnTo>
                <a:lnTo>
                  <a:pt x="799" y="326"/>
                </a:lnTo>
                <a:lnTo>
                  <a:pt x="793" y="328"/>
                </a:lnTo>
                <a:lnTo>
                  <a:pt x="809" y="300"/>
                </a:lnTo>
                <a:lnTo>
                  <a:pt x="808" y="288"/>
                </a:lnTo>
                <a:lnTo>
                  <a:pt x="791" y="290"/>
                </a:lnTo>
                <a:lnTo>
                  <a:pt x="783" y="299"/>
                </a:lnTo>
                <a:lnTo>
                  <a:pt x="790" y="287"/>
                </a:lnTo>
                <a:lnTo>
                  <a:pt x="789" y="278"/>
                </a:lnTo>
                <a:lnTo>
                  <a:pt x="815" y="246"/>
                </a:lnTo>
                <a:lnTo>
                  <a:pt x="852" y="220"/>
                </a:lnTo>
                <a:lnTo>
                  <a:pt x="855" y="214"/>
                </a:lnTo>
                <a:lnTo>
                  <a:pt x="873" y="208"/>
                </a:lnTo>
                <a:lnTo>
                  <a:pt x="868" y="205"/>
                </a:lnTo>
                <a:lnTo>
                  <a:pt x="876" y="208"/>
                </a:lnTo>
                <a:lnTo>
                  <a:pt x="883" y="200"/>
                </a:lnTo>
                <a:lnTo>
                  <a:pt x="894" y="198"/>
                </a:lnTo>
                <a:lnTo>
                  <a:pt x="894" y="194"/>
                </a:lnTo>
                <a:lnTo>
                  <a:pt x="923" y="190"/>
                </a:lnTo>
                <a:lnTo>
                  <a:pt x="925" y="182"/>
                </a:lnTo>
                <a:lnTo>
                  <a:pt x="905" y="176"/>
                </a:lnTo>
                <a:lnTo>
                  <a:pt x="907" y="175"/>
                </a:lnTo>
                <a:lnTo>
                  <a:pt x="888" y="172"/>
                </a:lnTo>
                <a:lnTo>
                  <a:pt x="888" y="167"/>
                </a:lnTo>
                <a:lnTo>
                  <a:pt x="915" y="172"/>
                </a:lnTo>
                <a:lnTo>
                  <a:pt x="940" y="176"/>
                </a:lnTo>
                <a:lnTo>
                  <a:pt x="947" y="169"/>
                </a:lnTo>
                <a:lnTo>
                  <a:pt x="953" y="166"/>
                </a:lnTo>
                <a:lnTo>
                  <a:pt x="963" y="169"/>
                </a:lnTo>
                <a:lnTo>
                  <a:pt x="963" y="164"/>
                </a:lnTo>
                <a:lnTo>
                  <a:pt x="973" y="167"/>
                </a:lnTo>
                <a:lnTo>
                  <a:pt x="1012" y="146"/>
                </a:lnTo>
                <a:lnTo>
                  <a:pt x="1017" y="142"/>
                </a:lnTo>
                <a:lnTo>
                  <a:pt x="982" y="136"/>
                </a:lnTo>
                <a:lnTo>
                  <a:pt x="960" y="126"/>
                </a:lnTo>
                <a:lnTo>
                  <a:pt x="1000" y="133"/>
                </a:lnTo>
                <a:lnTo>
                  <a:pt x="1012" y="139"/>
                </a:lnTo>
                <a:lnTo>
                  <a:pt x="1049" y="121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59" name="Freeform 242"/>
          <p:cNvSpPr>
            <a:spLocks/>
          </p:cNvSpPr>
          <p:nvPr/>
        </p:nvSpPr>
        <p:spPr bwMode="auto">
          <a:xfrm>
            <a:off x="3198813" y="2995613"/>
            <a:ext cx="171450" cy="161925"/>
          </a:xfrm>
          <a:custGeom>
            <a:avLst/>
            <a:gdLst>
              <a:gd name="T0" fmla="*/ 2147483647 w 128"/>
              <a:gd name="T1" fmla="*/ 2147483647 h 118"/>
              <a:gd name="T2" fmla="*/ 2147483647 w 128"/>
              <a:gd name="T3" fmla="*/ 2147483647 h 118"/>
              <a:gd name="T4" fmla="*/ 2147483647 w 128"/>
              <a:gd name="T5" fmla="*/ 2147483647 h 118"/>
              <a:gd name="T6" fmla="*/ 0 w 128"/>
              <a:gd name="T7" fmla="*/ 2147483647 h 118"/>
              <a:gd name="T8" fmla="*/ 2147483647 w 128"/>
              <a:gd name="T9" fmla="*/ 2147483647 h 118"/>
              <a:gd name="T10" fmla="*/ 2147483647 w 128"/>
              <a:gd name="T11" fmla="*/ 2147483647 h 118"/>
              <a:gd name="T12" fmla="*/ 2147483647 w 128"/>
              <a:gd name="T13" fmla="*/ 2147483647 h 118"/>
              <a:gd name="T14" fmla="*/ 2147483647 w 128"/>
              <a:gd name="T15" fmla="*/ 2147483647 h 118"/>
              <a:gd name="T16" fmla="*/ 2147483647 w 128"/>
              <a:gd name="T17" fmla="*/ 2147483647 h 118"/>
              <a:gd name="T18" fmla="*/ 2147483647 w 128"/>
              <a:gd name="T19" fmla="*/ 2147483647 h 118"/>
              <a:gd name="T20" fmla="*/ 2147483647 w 128"/>
              <a:gd name="T21" fmla="*/ 2147483647 h 118"/>
              <a:gd name="T22" fmla="*/ 2147483647 w 128"/>
              <a:gd name="T23" fmla="*/ 2147483647 h 118"/>
              <a:gd name="T24" fmla="*/ 2147483647 w 128"/>
              <a:gd name="T25" fmla="*/ 2147483647 h 118"/>
              <a:gd name="T26" fmla="*/ 2147483647 w 128"/>
              <a:gd name="T27" fmla="*/ 2147483647 h 118"/>
              <a:gd name="T28" fmla="*/ 2147483647 w 128"/>
              <a:gd name="T29" fmla="*/ 2147483647 h 118"/>
              <a:gd name="T30" fmla="*/ 2147483647 w 128"/>
              <a:gd name="T31" fmla="*/ 0 h 118"/>
              <a:gd name="T32" fmla="*/ 2147483647 w 128"/>
              <a:gd name="T33" fmla="*/ 0 h 118"/>
              <a:gd name="T34" fmla="*/ 2147483647 w 128"/>
              <a:gd name="T35" fmla="*/ 2147483647 h 118"/>
              <a:gd name="T36" fmla="*/ 2147483647 w 128"/>
              <a:gd name="T37" fmla="*/ 2147483647 h 118"/>
              <a:gd name="T38" fmla="*/ 2147483647 w 128"/>
              <a:gd name="T39" fmla="*/ 2147483647 h 118"/>
              <a:gd name="T40" fmla="*/ 2147483647 w 128"/>
              <a:gd name="T41" fmla="*/ 2147483647 h 118"/>
              <a:gd name="T42" fmla="*/ 2147483647 w 128"/>
              <a:gd name="T43" fmla="*/ 2147483647 h 118"/>
              <a:gd name="T44" fmla="*/ 2147483647 w 128"/>
              <a:gd name="T45" fmla="*/ 2147483647 h 118"/>
              <a:gd name="T46" fmla="*/ 2147483647 w 128"/>
              <a:gd name="T47" fmla="*/ 2147483647 h 118"/>
              <a:gd name="T48" fmla="*/ 2147483647 w 128"/>
              <a:gd name="T49" fmla="*/ 2147483647 h 118"/>
              <a:gd name="T50" fmla="*/ 2147483647 w 128"/>
              <a:gd name="T51" fmla="*/ 2147483647 h 118"/>
              <a:gd name="T52" fmla="*/ 2147483647 w 128"/>
              <a:gd name="T53" fmla="*/ 2147483647 h 118"/>
              <a:gd name="T54" fmla="*/ 2147483647 w 128"/>
              <a:gd name="T55" fmla="*/ 2147483647 h 118"/>
              <a:gd name="T56" fmla="*/ 2147483647 w 128"/>
              <a:gd name="T57" fmla="*/ 2147483647 h 118"/>
              <a:gd name="T58" fmla="*/ 2147483647 w 128"/>
              <a:gd name="T59" fmla="*/ 2147483647 h 118"/>
              <a:gd name="T60" fmla="*/ 2147483647 w 128"/>
              <a:gd name="T61" fmla="*/ 2147483647 h 118"/>
              <a:gd name="T62" fmla="*/ 2147483647 w 128"/>
              <a:gd name="T63" fmla="*/ 2147483647 h 118"/>
              <a:gd name="T64" fmla="*/ 2147483647 w 128"/>
              <a:gd name="T65" fmla="*/ 2147483647 h 118"/>
              <a:gd name="T66" fmla="*/ 2147483647 w 128"/>
              <a:gd name="T67" fmla="*/ 2147483647 h 118"/>
              <a:gd name="T68" fmla="*/ 2147483647 w 128"/>
              <a:gd name="T69" fmla="*/ 2147483647 h 118"/>
              <a:gd name="T70" fmla="*/ 2147483647 w 128"/>
              <a:gd name="T71" fmla="*/ 2147483647 h 118"/>
              <a:gd name="T72" fmla="*/ 2147483647 w 128"/>
              <a:gd name="T73" fmla="*/ 2147483647 h 118"/>
              <a:gd name="T74" fmla="*/ 2147483647 w 128"/>
              <a:gd name="T75" fmla="*/ 2147483647 h 118"/>
              <a:gd name="T76" fmla="*/ 2147483647 w 128"/>
              <a:gd name="T77" fmla="*/ 2147483647 h 118"/>
              <a:gd name="T78" fmla="*/ 2147483647 w 128"/>
              <a:gd name="T79" fmla="*/ 2147483647 h 118"/>
              <a:gd name="T80" fmla="*/ 2147483647 w 128"/>
              <a:gd name="T81" fmla="*/ 2147483647 h 118"/>
              <a:gd name="T82" fmla="*/ 2147483647 w 128"/>
              <a:gd name="T83" fmla="*/ 2147483647 h 118"/>
              <a:gd name="T84" fmla="*/ 2147483647 w 128"/>
              <a:gd name="T85" fmla="*/ 2147483647 h 118"/>
              <a:gd name="T86" fmla="*/ 2147483647 w 128"/>
              <a:gd name="T87" fmla="*/ 2147483647 h 118"/>
              <a:gd name="T88" fmla="*/ 2147483647 w 128"/>
              <a:gd name="T89" fmla="*/ 2147483647 h 118"/>
              <a:gd name="T90" fmla="*/ 2147483647 w 128"/>
              <a:gd name="T91" fmla="*/ 2147483647 h 118"/>
              <a:gd name="T92" fmla="*/ 2147483647 w 128"/>
              <a:gd name="T93" fmla="*/ 2147483647 h 118"/>
              <a:gd name="T94" fmla="*/ 2147483647 w 128"/>
              <a:gd name="T95" fmla="*/ 2147483647 h 118"/>
              <a:gd name="T96" fmla="*/ 2147483647 w 128"/>
              <a:gd name="T97" fmla="*/ 2147483647 h 118"/>
              <a:gd name="T98" fmla="*/ 2147483647 w 128"/>
              <a:gd name="T99" fmla="*/ 2147483647 h 118"/>
              <a:gd name="T100" fmla="*/ 2147483647 w 128"/>
              <a:gd name="T101" fmla="*/ 2147483647 h 118"/>
              <a:gd name="T102" fmla="*/ 2147483647 w 128"/>
              <a:gd name="T103" fmla="*/ 2147483647 h 118"/>
              <a:gd name="T104" fmla="*/ 2147483647 w 128"/>
              <a:gd name="T105" fmla="*/ 2147483647 h 118"/>
              <a:gd name="T106" fmla="*/ 2147483647 w 128"/>
              <a:gd name="T107" fmla="*/ 2147483647 h 118"/>
              <a:gd name="T108" fmla="*/ 2147483647 w 128"/>
              <a:gd name="T109" fmla="*/ 2147483647 h 118"/>
              <a:gd name="T110" fmla="*/ 2147483647 w 128"/>
              <a:gd name="T111" fmla="*/ 2147483647 h 118"/>
              <a:gd name="T112" fmla="*/ 2147483647 w 128"/>
              <a:gd name="T113" fmla="*/ 2147483647 h 118"/>
              <a:gd name="T114" fmla="*/ 2147483647 w 128"/>
              <a:gd name="T115" fmla="*/ 2147483647 h 118"/>
              <a:gd name="T116" fmla="*/ 2147483647 w 128"/>
              <a:gd name="T117" fmla="*/ 2147483647 h 118"/>
              <a:gd name="T118" fmla="*/ 2147483647 w 128"/>
              <a:gd name="T119" fmla="*/ 2147483647 h 11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28"/>
              <a:gd name="T181" fmla="*/ 0 h 118"/>
              <a:gd name="T182" fmla="*/ 128 w 128"/>
              <a:gd name="T183" fmla="*/ 118 h 118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28" h="118">
                <a:moveTo>
                  <a:pt x="67" y="94"/>
                </a:moveTo>
                <a:lnTo>
                  <a:pt x="67" y="89"/>
                </a:lnTo>
                <a:lnTo>
                  <a:pt x="31" y="94"/>
                </a:lnTo>
                <a:lnTo>
                  <a:pt x="0" y="91"/>
                </a:lnTo>
                <a:lnTo>
                  <a:pt x="8" y="82"/>
                </a:lnTo>
                <a:lnTo>
                  <a:pt x="23" y="72"/>
                </a:lnTo>
                <a:lnTo>
                  <a:pt x="7" y="72"/>
                </a:lnTo>
                <a:lnTo>
                  <a:pt x="14" y="68"/>
                </a:lnTo>
                <a:lnTo>
                  <a:pt x="32" y="59"/>
                </a:lnTo>
                <a:lnTo>
                  <a:pt x="33" y="60"/>
                </a:lnTo>
                <a:lnTo>
                  <a:pt x="38" y="54"/>
                </a:lnTo>
                <a:lnTo>
                  <a:pt x="33" y="50"/>
                </a:lnTo>
                <a:lnTo>
                  <a:pt x="42" y="47"/>
                </a:lnTo>
                <a:lnTo>
                  <a:pt x="62" y="20"/>
                </a:lnTo>
                <a:lnTo>
                  <a:pt x="84" y="2"/>
                </a:lnTo>
                <a:lnTo>
                  <a:pt x="95" y="0"/>
                </a:lnTo>
                <a:lnTo>
                  <a:pt x="102" y="0"/>
                </a:lnTo>
                <a:lnTo>
                  <a:pt x="89" y="6"/>
                </a:lnTo>
                <a:lnTo>
                  <a:pt x="92" y="11"/>
                </a:lnTo>
                <a:lnTo>
                  <a:pt x="84" y="18"/>
                </a:lnTo>
                <a:lnTo>
                  <a:pt x="61" y="47"/>
                </a:lnTo>
                <a:lnTo>
                  <a:pt x="79" y="34"/>
                </a:lnTo>
                <a:lnTo>
                  <a:pt x="75" y="38"/>
                </a:lnTo>
                <a:lnTo>
                  <a:pt x="90" y="37"/>
                </a:lnTo>
                <a:lnTo>
                  <a:pt x="77" y="44"/>
                </a:lnTo>
                <a:lnTo>
                  <a:pt x="77" y="48"/>
                </a:lnTo>
                <a:lnTo>
                  <a:pt x="90" y="50"/>
                </a:lnTo>
                <a:lnTo>
                  <a:pt x="87" y="56"/>
                </a:lnTo>
                <a:lnTo>
                  <a:pt x="105" y="49"/>
                </a:lnTo>
                <a:lnTo>
                  <a:pt x="104" y="53"/>
                </a:lnTo>
                <a:lnTo>
                  <a:pt x="121" y="52"/>
                </a:lnTo>
                <a:lnTo>
                  <a:pt x="109" y="64"/>
                </a:lnTo>
                <a:lnTo>
                  <a:pt x="113" y="70"/>
                </a:lnTo>
                <a:lnTo>
                  <a:pt x="105" y="74"/>
                </a:lnTo>
                <a:lnTo>
                  <a:pt x="128" y="70"/>
                </a:lnTo>
                <a:lnTo>
                  <a:pt x="107" y="83"/>
                </a:lnTo>
                <a:lnTo>
                  <a:pt x="110" y="86"/>
                </a:lnTo>
                <a:lnTo>
                  <a:pt x="108" y="86"/>
                </a:lnTo>
                <a:lnTo>
                  <a:pt x="108" y="94"/>
                </a:lnTo>
                <a:lnTo>
                  <a:pt x="127" y="80"/>
                </a:lnTo>
                <a:lnTo>
                  <a:pt x="119" y="94"/>
                </a:lnTo>
                <a:lnTo>
                  <a:pt x="127" y="89"/>
                </a:lnTo>
                <a:lnTo>
                  <a:pt x="128" y="96"/>
                </a:lnTo>
                <a:lnTo>
                  <a:pt x="111" y="118"/>
                </a:lnTo>
                <a:lnTo>
                  <a:pt x="104" y="114"/>
                </a:lnTo>
                <a:lnTo>
                  <a:pt x="104" y="107"/>
                </a:lnTo>
                <a:lnTo>
                  <a:pt x="93" y="112"/>
                </a:lnTo>
                <a:lnTo>
                  <a:pt x="103" y="94"/>
                </a:lnTo>
                <a:lnTo>
                  <a:pt x="99" y="88"/>
                </a:lnTo>
                <a:lnTo>
                  <a:pt x="89" y="100"/>
                </a:lnTo>
                <a:lnTo>
                  <a:pt x="93" y="95"/>
                </a:lnTo>
                <a:lnTo>
                  <a:pt x="63" y="112"/>
                </a:lnTo>
                <a:lnTo>
                  <a:pt x="62" y="107"/>
                </a:lnTo>
                <a:lnTo>
                  <a:pt x="87" y="92"/>
                </a:lnTo>
                <a:lnTo>
                  <a:pt x="81" y="95"/>
                </a:lnTo>
                <a:lnTo>
                  <a:pt x="85" y="90"/>
                </a:lnTo>
                <a:lnTo>
                  <a:pt x="75" y="92"/>
                </a:lnTo>
                <a:lnTo>
                  <a:pt x="67" y="97"/>
                </a:lnTo>
                <a:lnTo>
                  <a:pt x="60" y="96"/>
                </a:lnTo>
                <a:lnTo>
                  <a:pt x="67" y="9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60" name="Freeform 243"/>
          <p:cNvSpPr>
            <a:spLocks/>
          </p:cNvSpPr>
          <p:nvPr/>
        </p:nvSpPr>
        <p:spPr bwMode="auto">
          <a:xfrm>
            <a:off x="4160838" y="2873375"/>
            <a:ext cx="103187" cy="120650"/>
          </a:xfrm>
          <a:custGeom>
            <a:avLst/>
            <a:gdLst>
              <a:gd name="T0" fmla="*/ 2147483647 w 78"/>
              <a:gd name="T1" fmla="*/ 2147483647 h 89"/>
              <a:gd name="T2" fmla="*/ 2147483647 w 78"/>
              <a:gd name="T3" fmla="*/ 2147483647 h 89"/>
              <a:gd name="T4" fmla="*/ 2147483647 w 78"/>
              <a:gd name="T5" fmla="*/ 2147483647 h 89"/>
              <a:gd name="T6" fmla="*/ 2147483647 w 78"/>
              <a:gd name="T7" fmla="*/ 2147483647 h 89"/>
              <a:gd name="T8" fmla="*/ 2147483647 w 78"/>
              <a:gd name="T9" fmla="*/ 2147483647 h 89"/>
              <a:gd name="T10" fmla="*/ 2147483647 w 78"/>
              <a:gd name="T11" fmla="*/ 2147483647 h 89"/>
              <a:gd name="T12" fmla="*/ 2147483647 w 78"/>
              <a:gd name="T13" fmla="*/ 2147483647 h 89"/>
              <a:gd name="T14" fmla="*/ 2147483647 w 78"/>
              <a:gd name="T15" fmla="*/ 0 h 89"/>
              <a:gd name="T16" fmla="*/ 2147483647 w 78"/>
              <a:gd name="T17" fmla="*/ 2147483647 h 89"/>
              <a:gd name="T18" fmla="*/ 2147483647 w 78"/>
              <a:gd name="T19" fmla="*/ 2147483647 h 89"/>
              <a:gd name="T20" fmla="*/ 2147483647 w 78"/>
              <a:gd name="T21" fmla="*/ 2147483647 h 89"/>
              <a:gd name="T22" fmla="*/ 2147483647 w 78"/>
              <a:gd name="T23" fmla="*/ 2147483647 h 89"/>
              <a:gd name="T24" fmla="*/ 2147483647 w 78"/>
              <a:gd name="T25" fmla="*/ 2147483647 h 89"/>
              <a:gd name="T26" fmla="*/ 2147483647 w 78"/>
              <a:gd name="T27" fmla="*/ 2147483647 h 89"/>
              <a:gd name="T28" fmla="*/ 2147483647 w 78"/>
              <a:gd name="T29" fmla="*/ 2147483647 h 89"/>
              <a:gd name="T30" fmla="*/ 2147483647 w 78"/>
              <a:gd name="T31" fmla="*/ 2147483647 h 89"/>
              <a:gd name="T32" fmla="*/ 2147483647 w 78"/>
              <a:gd name="T33" fmla="*/ 2147483647 h 89"/>
              <a:gd name="T34" fmla="*/ 2147483647 w 78"/>
              <a:gd name="T35" fmla="*/ 2147483647 h 89"/>
              <a:gd name="T36" fmla="*/ 2147483647 w 78"/>
              <a:gd name="T37" fmla="*/ 2147483647 h 89"/>
              <a:gd name="T38" fmla="*/ 2147483647 w 78"/>
              <a:gd name="T39" fmla="*/ 2147483647 h 89"/>
              <a:gd name="T40" fmla="*/ 0 w 78"/>
              <a:gd name="T41" fmla="*/ 2147483647 h 89"/>
              <a:gd name="T42" fmla="*/ 2147483647 w 78"/>
              <a:gd name="T43" fmla="*/ 2147483647 h 89"/>
              <a:gd name="T44" fmla="*/ 0 w 78"/>
              <a:gd name="T45" fmla="*/ 2147483647 h 89"/>
              <a:gd name="T46" fmla="*/ 2147483647 w 78"/>
              <a:gd name="T47" fmla="*/ 2147483647 h 89"/>
              <a:gd name="T48" fmla="*/ 2147483647 w 78"/>
              <a:gd name="T49" fmla="*/ 2147483647 h 89"/>
              <a:gd name="T50" fmla="*/ 2147483647 w 78"/>
              <a:gd name="T51" fmla="*/ 2147483647 h 89"/>
              <a:gd name="T52" fmla="*/ 2147483647 w 78"/>
              <a:gd name="T53" fmla="*/ 2147483647 h 89"/>
              <a:gd name="T54" fmla="*/ 2147483647 w 78"/>
              <a:gd name="T55" fmla="*/ 2147483647 h 89"/>
              <a:gd name="T56" fmla="*/ 2147483647 w 78"/>
              <a:gd name="T57" fmla="*/ 2147483647 h 89"/>
              <a:gd name="T58" fmla="*/ 2147483647 w 78"/>
              <a:gd name="T59" fmla="*/ 2147483647 h 89"/>
              <a:gd name="T60" fmla="*/ 2147483647 w 78"/>
              <a:gd name="T61" fmla="*/ 2147483647 h 89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78"/>
              <a:gd name="T94" fmla="*/ 0 h 89"/>
              <a:gd name="T95" fmla="*/ 78 w 78"/>
              <a:gd name="T96" fmla="*/ 89 h 89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78" h="89">
                <a:moveTo>
                  <a:pt x="78" y="65"/>
                </a:moveTo>
                <a:lnTo>
                  <a:pt x="78" y="47"/>
                </a:lnTo>
                <a:lnTo>
                  <a:pt x="78" y="29"/>
                </a:lnTo>
                <a:lnTo>
                  <a:pt x="66" y="23"/>
                </a:lnTo>
                <a:lnTo>
                  <a:pt x="61" y="25"/>
                </a:lnTo>
                <a:lnTo>
                  <a:pt x="47" y="23"/>
                </a:lnTo>
                <a:lnTo>
                  <a:pt x="60" y="6"/>
                </a:lnTo>
                <a:lnTo>
                  <a:pt x="62" y="0"/>
                </a:lnTo>
                <a:lnTo>
                  <a:pt x="55" y="5"/>
                </a:lnTo>
                <a:lnTo>
                  <a:pt x="49" y="4"/>
                </a:lnTo>
                <a:lnTo>
                  <a:pt x="35" y="13"/>
                </a:lnTo>
                <a:lnTo>
                  <a:pt x="39" y="17"/>
                </a:lnTo>
                <a:lnTo>
                  <a:pt x="33" y="23"/>
                </a:lnTo>
                <a:lnTo>
                  <a:pt x="11" y="26"/>
                </a:lnTo>
                <a:lnTo>
                  <a:pt x="13" y="34"/>
                </a:lnTo>
                <a:lnTo>
                  <a:pt x="5" y="42"/>
                </a:lnTo>
                <a:lnTo>
                  <a:pt x="25" y="48"/>
                </a:lnTo>
                <a:lnTo>
                  <a:pt x="9" y="64"/>
                </a:lnTo>
                <a:lnTo>
                  <a:pt x="26" y="60"/>
                </a:lnTo>
                <a:lnTo>
                  <a:pt x="9" y="70"/>
                </a:lnTo>
                <a:lnTo>
                  <a:pt x="0" y="73"/>
                </a:lnTo>
                <a:lnTo>
                  <a:pt x="6" y="76"/>
                </a:lnTo>
                <a:lnTo>
                  <a:pt x="0" y="79"/>
                </a:lnTo>
                <a:lnTo>
                  <a:pt x="8" y="83"/>
                </a:lnTo>
                <a:lnTo>
                  <a:pt x="6" y="86"/>
                </a:lnTo>
                <a:lnTo>
                  <a:pt x="13" y="86"/>
                </a:lnTo>
                <a:lnTo>
                  <a:pt x="12" y="89"/>
                </a:lnTo>
                <a:lnTo>
                  <a:pt x="32" y="86"/>
                </a:lnTo>
                <a:lnTo>
                  <a:pt x="51" y="78"/>
                </a:lnTo>
                <a:lnTo>
                  <a:pt x="69" y="74"/>
                </a:lnTo>
                <a:lnTo>
                  <a:pt x="78" y="65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61" name="Freeform 244"/>
          <p:cNvSpPr>
            <a:spLocks/>
          </p:cNvSpPr>
          <p:nvPr/>
        </p:nvSpPr>
        <p:spPr bwMode="auto">
          <a:xfrm>
            <a:off x="4271963" y="2767013"/>
            <a:ext cx="188912" cy="276225"/>
          </a:xfrm>
          <a:custGeom>
            <a:avLst/>
            <a:gdLst>
              <a:gd name="T0" fmla="*/ 2147483647 w 140"/>
              <a:gd name="T1" fmla="*/ 2147483647 h 200"/>
              <a:gd name="T2" fmla="*/ 2147483647 w 140"/>
              <a:gd name="T3" fmla="*/ 2147483647 h 200"/>
              <a:gd name="T4" fmla="*/ 2147483647 w 140"/>
              <a:gd name="T5" fmla="*/ 2147483647 h 200"/>
              <a:gd name="T6" fmla="*/ 2147483647 w 140"/>
              <a:gd name="T7" fmla="*/ 2147483647 h 200"/>
              <a:gd name="T8" fmla="*/ 2147483647 w 140"/>
              <a:gd name="T9" fmla="*/ 2147483647 h 200"/>
              <a:gd name="T10" fmla="*/ 2147483647 w 140"/>
              <a:gd name="T11" fmla="*/ 2147483647 h 200"/>
              <a:gd name="T12" fmla="*/ 2147483647 w 140"/>
              <a:gd name="T13" fmla="*/ 2147483647 h 200"/>
              <a:gd name="T14" fmla="*/ 2147483647 w 140"/>
              <a:gd name="T15" fmla="*/ 2147483647 h 200"/>
              <a:gd name="T16" fmla="*/ 2147483647 w 140"/>
              <a:gd name="T17" fmla="*/ 2147483647 h 200"/>
              <a:gd name="T18" fmla="*/ 2147483647 w 140"/>
              <a:gd name="T19" fmla="*/ 2147483647 h 200"/>
              <a:gd name="T20" fmla="*/ 2147483647 w 140"/>
              <a:gd name="T21" fmla="*/ 2147483647 h 200"/>
              <a:gd name="T22" fmla="*/ 2147483647 w 140"/>
              <a:gd name="T23" fmla="*/ 2147483647 h 200"/>
              <a:gd name="T24" fmla="*/ 2147483647 w 140"/>
              <a:gd name="T25" fmla="*/ 2147483647 h 200"/>
              <a:gd name="T26" fmla="*/ 2147483647 w 140"/>
              <a:gd name="T27" fmla="*/ 2147483647 h 200"/>
              <a:gd name="T28" fmla="*/ 2147483647 w 140"/>
              <a:gd name="T29" fmla="*/ 2147483647 h 200"/>
              <a:gd name="T30" fmla="*/ 2147483647 w 140"/>
              <a:gd name="T31" fmla="*/ 2147483647 h 200"/>
              <a:gd name="T32" fmla="*/ 2147483647 w 140"/>
              <a:gd name="T33" fmla="*/ 2147483647 h 200"/>
              <a:gd name="T34" fmla="*/ 2147483647 w 140"/>
              <a:gd name="T35" fmla="*/ 2147483647 h 200"/>
              <a:gd name="T36" fmla="*/ 2147483647 w 140"/>
              <a:gd name="T37" fmla="*/ 2147483647 h 200"/>
              <a:gd name="T38" fmla="*/ 2147483647 w 140"/>
              <a:gd name="T39" fmla="*/ 2147483647 h 200"/>
              <a:gd name="T40" fmla="*/ 2147483647 w 140"/>
              <a:gd name="T41" fmla="*/ 2147483647 h 200"/>
              <a:gd name="T42" fmla="*/ 2147483647 w 140"/>
              <a:gd name="T43" fmla="*/ 2147483647 h 200"/>
              <a:gd name="T44" fmla="*/ 2147483647 w 140"/>
              <a:gd name="T45" fmla="*/ 2147483647 h 200"/>
              <a:gd name="T46" fmla="*/ 2147483647 w 140"/>
              <a:gd name="T47" fmla="*/ 2147483647 h 200"/>
              <a:gd name="T48" fmla="*/ 2147483647 w 140"/>
              <a:gd name="T49" fmla="*/ 2147483647 h 200"/>
              <a:gd name="T50" fmla="*/ 2147483647 w 140"/>
              <a:gd name="T51" fmla="*/ 2147483647 h 200"/>
              <a:gd name="T52" fmla="*/ 2147483647 w 140"/>
              <a:gd name="T53" fmla="*/ 0 h 200"/>
              <a:gd name="T54" fmla="*/ 2147483647 w 140"/>
              <a:gd name="T55" fmla="*/ 2147483647 h 200"/>
              <a:gd name="T56" fmla="*/ 2147483647 w 140"/>
              <a:gd name="T57" fmla="*/ 2147483647 h 200"/>
              <a:gd name="T58" fmla="*/ 2147483647 w 140"/>
              <a:gd name="T59" fmla="*/ 2147483647 h 200"/>
              <a:gd name="T60" fmla="*/ 2147483647 w 140"/>
              <a:gd name="T61" fmla="*/ 2147483647 h 200"/>
              <a:gd name="T62" fmla="*/ 2147483647 w 140"/>
              <a:gd name="T63" fmla="*/ 2147483647 h 200"/>
              <a:gd name="T64" fmla="*/ 2147483647 w 140"/>
              <a:gd name="T65" fmla="*/ 2147483647 h 20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40"/>
              <a:gd name="T100" fmla="*/ 0 h 200"/>
              <a:gd name="T101" fmla="*/ 140 w 140"/>
              <a:gd name="T102" fmla="*/ 200 h 200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40" h="200">
                <a:moveTo>
                  <a:pt x="1" y="76"/>
                </a:moveTo>
                <a:lnTo>
                  <a:pt x="12" y="60"/>
                </a:lnTo>
                <a:lnTo>
                  <a:pt x="18" y="60"/>
                </a:lnTo>
                <a:lnTo>
                  <a:pt x="23" y="62"/>
                </a:lnTo>
                <a:lnTo>
                  <a:pt x="20" y="68"/>
                </a:lnTo>
                <a:lnTo>
                  <a:pt x="17" y="80"/>
                </a:lnTo>
                <a:lnTo>
                  <a:pt x="19" y="90"/>
                </a:lnTo>
                <a:lnTo>
                  <a:pt x="28" y="88"/>
                </a:lnTo>
                <a:lnTo>
                  <a:pt x="48" y="84"/>
                </a:lnTo>
                <a:lnTo>
                  <a:pt x="42" y="92"/>
                </a:lnTo>
                <a:lnTo>
                  <a:pt x="52" y="102"/>
                </a:lnTo>
                <a:lnTo>
                  <a:pt x="53" y="122"/>
                </a:lnTo>
                <a:lnTo>
                  <a:pt x="47" y="123"/>
                </a:lnTo>
                <a:lnTo>
                  <a:pt x="22" y="132"/>
                </a:lnTo>
                <a:lnTo>
                  <a:pt x="26" y="134"/>
                </a:lnTo>
                <a:lnTo>
                  <a:pt x="32" y="141"/>
                </a:lnTo>
                <a:lnTo>
                  <a:pt x="14" y="154"/>
                </a:lnTo>
                <a:lnTo>
                  <a:pt x="12" y="160"/>
                </a:lnTo>
                <a:lnTo>
                  <a:pt x="31" y="162"/>
                </a:lnTo>
                <a:lnTo>
                  <a:pt x="40" y="167"/>
                </a:lnTo>
                <a:lnTo>
                  <a:pt x="61" y="161"/>
                </a:lnTo>
                <a:lnTo>
                  <a:pt x="53" y="168"/>
                </a:lnTo>
                <a:lnTo>
                  <a:pt x="37" y="172"/>
                </a:lnTo>
                <a:lnTo>
                  <a:pt x="18" y="185"/>
                </a:lnTo>
                <a:lnTo>
                  <a:pt x="0" y="198"/>
                </a:lnTo>
                <a:lnTo>
                  <a:pt x="6" y="200"/>
                </a:lnTo>
                <a:lnTo>
                  <a:pt x="11" y="198"/>
                </a:lnTo>
                <a:lnTo>
                  <a:pt x="35" y="196"/>
                </a:lnTo>
                <a:lnTo>
                  <a:pt x="42" y="190"/>
                </a:lnTo>
                <a:lnTo>
                  <a:pt x="59" y="186"/>
                </a:lnTo>
                <a:lnTo>
                  <a:pt x="80" y="184"/>
                </a:lnTo>
                <a:lnTo>
                  <a:pt x="113" y="184"/>
                </a:lnTo>
                <a:lnTo>
                  <a:pt x="134" y="171"/>
                </a:lnTo>
                <a:lnTo>
                  <a:pt x="119" y="166"/>
                </a:lnTo>
                <a:lnTo>
                  <a:pt x="124" y="160"/>
                </a:lnTo>
                <a:lnTo>
                  <a:pt x="140" y="143"/>
                </a:lnTo>
                <a:lnTo>
                  <a:pt x="134" y="134"/>
                </a:lnTo>
                <a:lnTo>
                  <a:pt x="113" y="135"/>
                </a:lnTo>
                <a:lnTo>
                  <a:pt x="114" y="129"/>
                </a:lnTo>
                <a:lnTo>
                  <a:pt x="100" y="114"/>
                </a:lnTo>
                <a:lnTo>
                  <a:pt x="106" y="116"/>
                </a:lnTo>
                <a:lnTo>
                  <a:pt x="104" y="106"/>
                </a:lnTo>
                <a:lnTo>
                  <a:pt x="90" y="93"/>
                </a:lnTo>
                <a:lnTo>
                  <a:pt x="70" y="63"/>
                </a:lnTo>
                <a:lnTo>
                  <a:pt x="44" y="60"/>
                </a:lnTo>
                <a:lnTo>
                  <a:pt x="59" y="56"/>
                </a:lnTo>
                <a:lnTo>
                  <a:pt x="50" y="52"/>
                </a:lnTo>
                <a:lnTo>
                  <a:pt x="56" y="50"/>
                </a:lnTo>
                <a:lnTo>
                  <a:pt x="76" y="24"/>
                </a:lnTo>
                <a:lnTo>
                  <a:pt x="40" y="23"/>
                </a:lnTo>
                <a:lnTo>
                  <a:pt x="32" y="22"/>
                </a:lnTo>
                <a:lnTo>
                  <a:pt x="37" y="18"/>
                </a:lnTo>
                <a:lnTo>
                  <a:pt x="53" y="3"/>
                </a:lnTo>
                <a:lnTo>
                  <a:pt x="23" y="0"/>
                </a:lnTo>
                <a:lnTo>
                  <a:pt x="17" y="8"/>
                </a:lnTo>
                <a:lnTo>
                  <a:pt x="16" y="15"/>
                </a:lnTo>
                <a:lnTo>
                  <a:pt x="8" y="17"/>
                </a:lnTo>
                <a:lnTo>
                  <a:pt x="7" y="24"/>
                </a:lnTo>
                <a:lnTo>
                  <a:pt x="7" y="28"/>
                </a:lnTo>
                <a:lnTo>
                  <a:pt x="7" y="32"/>
                </a:lnTo>
                <a:lnTo>
                  <a:pt x="0" y="42"/>
                </a:lnTo>
                <a:lnTo>
                  <a:pt x="2" y="45"/>
                </a:lnTo>
                <a:lnTo>
                  <a:pt x="0" y="46"/>
                </a:lnTo>
                <a:lnTo>
                  <a:pt x="13" y="44"/>
                </a:lnTo>
                <a:lnTo>
                  <a:pt x="12" y="45"/>
                </a:lnTo>
                <a:lnTo>
                  <a:pt x="1" y="76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62" name="Freeform 245"/>
          <p:cNvSpPr>
            <a:spLocks/>
          </p:cNvSpPr>
          <p:nvPr/>
        </p:nvSpPr>
        <p:spPr bwMode="auto">
          <a:xfrm>
            <a:off x="4221163" y="2874963"/>
            <a:ext cx="57150" cy="36512"/>
          </a:xfrm>
          <a:custGeom>
            <a:avLst/>
            <a:gdLst>
              <a:gd name="T0" fmla="*/ 2147483647 w 43"/>
              <a:gd name="T1" fmla="*/ 2147483647 h 28"/>
              <a:gd name="T2" fmla="*/ 2147483647 w 43"/>
              <a:gd name="T3" fmla="*/ 2147483647 h 28"/>
              <a:gd name="T4" fmla="*/ 2147483647 w 43"/>
              <a:gd name="T5" fmla="*/ 0 h 28"/>
              <a:gd name="T6" fmla="*/ 2147483647 w 43"/>
              <a:gd name="T7" fmla="*/ 2147483647 h 28"/>
              <a:gd name="T8" fmla="*/ 0 w 43"/>
              <a:gd name="T9" fmla="*/ 2147483647 h 28"/>
              <a:gd name="T10" fmla="*/ 2147483647 w 43"/>
              <a:gd name="T11" fmla="*/ 2147483647 h 28"/>
              <a:gd name="T12" fmla="*/ 2147483647 w 43"/>
              <a:gd name="T13" fmla="*/ 2147483647 h 28"/>
              <a:gd name="T14" fmla="*/ 2147483647 w 43"/>
              <a:gd name="T15" fmla="*/ 2147483647 h 28"/>
              <a:gd name="T16" fmla="*/ 2147483647 w 43"/>
              <a:gd name="T17" fmla="*/ 2147483647 h 2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3"/>
              <a:gd name="T28" fmla="*/ 0 h 28"/>
              <a:gd name="T29" fmla="*/ 43 w 43"/>
              <a:gd name="T30" fmla="*/ 28 h 2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3" h="28">
                <a:moveTo>
                  <a:pt x="43" y="19"/>
                </a:moveTo>
                <a:lnTo>
                  <a:pt x="40" y="13"/>
                </a:lnTo>
                <a:lnTo>
                  <a:pt x="28" y="0"/>
                </a:lnTo>
                <a:lnTo>
                  <a:pt x="13" y="5"/>
                </a:lnTo>
                <a:lnTo>
                  <a:pt x="0" y="22"/>
                </a:lnTo>
                <a:lnTo>
                  <a:pt x="14" y="24"/>
                </a:lnTo>
                <a:lnTo>
                  <a:pt x="19" y="22"/>
                </a:lnTo>
                <a:lnTo>
                  <a:pt x="31" y="28"/>
                </a:lnTo>
                <a:lnTo>
                  <a:pt x="43" y="19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63" name="Freeform 246"/>
          <p:cNvSpPr>
            <a:spLocks/>
          </p:cNvSpPr>
          <p:nvPr/>
        </p:nvSpPr>
        <p:spPr bwMode="auto">
          <a:xfrm>
            <a:off x="4254500" y="2800350"/>
            <a:ext cx="23813" cy="14288"/>
          </a:xfrm>
          <a:custGeom>
            <a:avLst/>
            <a:gdLst>
              <a:gd name="T0" fmla="*/ 2147483647 w 18"/>
              <a:gd name="T1" fmla="*/ 2147483647 h 10"/>
              <a:gd name="T2" fmla="*/ 2147483647 w 18"/>
              <a:gd name="T3" fmla="*/ 0 h 10"/>
              <a:gd name="T4" fmla="*/ 0 w 18"/>
              <a:gd name="T5" fmla="*/ 2147483647 h 10"/>
              <a:gd name="T6" fmla="*/ 2147483647 w 18"/>
              <a:gd name="T7" fmla="*/ 2147483647 h 10"/>
              <a:gd name="T8" fmla="*/ 2147483647 w 18"/>
              <a:gd name="T9" fmla="*/ 2147483647 h 10"/>
              <a:gd name="T10" fmla="*/ 2147483647 w 18"/>
              <a:gd name="T11" fmla="*/ 2147483647 h 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8"/>
              <a:gd name="T19" fmla="*/ 0 h 10"/>
              <a:gd name="T20" fmla="*/ 18 w 18"/>
              <a:gd name="T21" fmla="*/ 10 h 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8" h="10">
                <a:moveTo>
                  <a:pt x="11" y="2"/>
                </a:moveTo>
                <a:lnTo>
                  <a:pt x="6" y="0"/>
                </a:lnTo>
                <a:lnTo>
                  <a:pt x="0" y="5"/>
                </a:lnTo>
                <a:lnTo>
                  <a:pt x="16" y="10"/>
                </a:lnTo>
                <a:lnTo>
                  <a:pt x="18" y="8"/>
                </a:lnTo>
                <a:lnTo>
                  <a:pt x="11" y="2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64" name="Freeform 247"/>
          <p:cNvSpPr>
            <a:spLocks/>
          </p:cNvSpPr>
          <p:nvPr/>
        </p:nvSpPr>
        <p:spPr bwMode="auto">
          <a:xfrm>
            <a:off x="4251325" y="2776538"/>
            <a:ext cx="20638" cy="14287"/>
          </a:xfrm>
          <a:custGeom>
            <a:avLst/>
            <a:gdLst>
              <a:gd name="T0" fmla="*/ 2147483647 w 16"/>
              <a:gd name="T1" fmla="*/ 2147483647 h 11"/>
              <a:gd name="T2" fmla="*/ 2147483647 w 16"/>
              <a:gd name="T3" fmla="*/ 0 h 11"/>
              <a:gd name="T4" fmla="*/ 2147483647 w 16"/>
              <a:gd name="T5" fmla="*/ 2147483647 h 11"/>
              <a:gd name="T6" fmla="*/ 0 w 16"/>
              <a:gd name="T7" fmla="*/ 2147483647 h 11"/>
              <a:gd name="T8" fmla="*/ 2147483647 w 16"/>
              <a:gd name="T9" fmla="*/ 2147483647 h 1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"/>
              <a:gd name="T16" fmla="*/ 0 h 11"/>
              <a:gd name="T17" fmla="*/ 16 w 16"/>
              <a:gd name="T18" fmla="*/ 11 h 1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" h="11">
                <a:moveTo>
                  <a:pt x="16" y="4"/>
                </a:moveTo>
                <a:lnTo>
                  <a:pt x="15" y="0"/>
                </a:lnTo>
                <a:lnTo>
                  <a:pt x="4" y="5"/>
                </a:lnTo>
                <a:lnTo>
                  <a:pt x="0" y="11"/>
                </a:lnTo>
                <a:lnTo>
                  <a:pt x="16" y="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65" name="Freeform 248"/>
          <p:cNvSpPr>
            <a:spLocks/>
          </p:cNvSpPr>
          <p:nvPr/>
        </p:nvSpPr>
        <p:spPr bwMode="auto">
          <a:xfrm>
            <a:off x="4383088" y="2709863"/>
            <a:ext cx="7937" cy="14287"/>
          </a:xfrm>
          <a:custGeom>
            <a:avLst/>
            <a:gdLst>
              <a:gd name="T0" fmla="*/ 2147483647 w 7"/>
              <a:gd name="T1" fmla="*/ 0 h 11"/>
              <a:gd name="T2" fmla="*/ 2147483647 w 7"/>
              <a:gd name="T3" fmla="*/ 2147483647 h 11"/>
              <a:gd name="T4" fmla="*/ 0 w 7"/>
              <a:gd name="T5" fmla="*/ 2147483647 h 11"/>
              <a:gd name="T6" fmla="*/ 2147483647 w 7"/>
              <a:gd name="T7" fmla="*/ 2147483647 h 11"/>
              <a:gd name="T8" fmla="*/ 2147483647 w 7"/>
              <a:gd name="T9" fmla="*/ 0 h 11"/>
              <a:gd name="T10" fmla="*/ 2147483647 w 7"/>
              <a:gd name="T11" fmla="*/ 0 h 1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7"/>
              <a:gd name="T19" fmla="*/ 0 h 11"/>
              <a:gd name="T20" fmla="*/ 7 w 7"/>
              <a:gd name="T21" fmla="*/ 11 h 1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7" h="11">
                <a:moveTo>
                  <a:pt x="2" y="0"/>
                </a:moveTo>
                <a:lnTo>
                  <a:pt x="1" y="4"/>
                </a:lnTo>
                <a:lnTo>
                  <a:pt x="0" y="7"/>
                </a:lnTo>
                <a:lnTo>
                  <a:pt x="2" y="11"/>
                </a:lnTo>
                <a:lnTo>
                  <a:pt x="7" y="0"/>
                </a:lnTo>
                <a:lnTo>
                  <a:pt x="2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66" name="Freeform 249"/>
          <p:cNvSpPr>
            <a:spLocks/>
          </p:cNvSpPr>
          <p:nvPr/>
        </p:nvSpPr>
        <p:spPr bwMode="auto">
          <a:xfrm>
            <a:off x="4267200" y="2833688"/>
            <a:ext cx="11113" cy="7937"/>
          </a:xfrm>
          <a:custGeom>
            <a:avLst/>
            <a:gdLst>
              <a:gd name="T0" fmla="*/ 2147483647 w 10"/>
              <a:gd name="T1" fmla="*/ 2147483647 h 5"/>
              <a:gd name="T2" fmla="*/ 2147483647 w 10"/>
              <a:gd name="T3" fmla="*/ 2147483647 h 5"/>
              <a:gd name="T4" fmla="*/ 0 w 10"/>
              <a:gd name="T5" fmla="*/ 0 h 5"/>
              <a:gd name="T6" fmla="*/ 2147483647 w 10"/>
              <a:gd name="T7" fmla="*/ 2147483647 h 5"/>
              <a:gd name="T8" fmla="*/ 0 60000 65536"/>
              <a:gd name="T9" fmla="*/ 0 60000 65536"/>
              <a:gd name="T10" fmla="*/ 0 60000 65536"/>
              <a:gd name="T11" fmla="*/ 0 60000 65536"/>
              <a:gd name="T12" fmla="*/ 0 w 10"/>
              <a:gd name="T13" fmla="*/ 0 h 5"/>
              <a:gd name="T14" fmla="*/ 10 w 10"/>
              <a:gd name="T15" fmla="*/ 5 h 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0" h="5">
                <a:moveTo>
                  <a:pt x="2" y="5"/>
                </a:moveTo>
                <a:lnTo>
                  <a:pt x="10" y="2"/>
                </a:lnTo>
                <a:lnTo>
                  <a:pt x="0" y="0"/>
                </a:lnTo>
                <a:lnTo>
                  <a:pt x="2" y="5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67" name="Freeform 250"/>
          <p:cNvSpPr>
            <a:spLocks/>
          </p:cNvSpPr>
          <p:nvPr/>
        </p:nvSpPr>
        <p:spPr bwMode="auto">
          <a:xfrm>
            <a:off x="4305300" y="2933700"/>
            <a:ext cx="11113" cy="7938"/>
          </a:xfrm>
          <a:custGeom>
            <a:avLst/>
            <a:gdLst>
              <a:gd name="T0" fmla="*/ 2147483647 w 7"/>
              <a:gd name="T1" fmla="*/ 2147483647 h 6"/>
              <a:gd name="T2" fmla="*/ 2147483647 w 7"/>
              <a:gd name="T3" fmla="*/ 0 h 6"/>
              <a:gd name="T4" fmla="*/ 0 w 7"/>
              <a:gd name="T5" fmla="*/ 2147483647 h 6"/>
              <a:gd name="T6" fmla="*/ 2147483647 w 7"/>
              <a:gd name="T7" fmla="*/ 2147483647 h 6"/>
              <a:gd name="T8" fmla="*/ 0 60000 65536"/>
              <a:gd name="T9" fmla="*/ 0 60000 65536"/>
              <a:gd name="T10" fmla="*/ 0 60000 65536"/>
              <a:gd name="T11" fmla="*/ 0 60000 65536"/>
              <a:gd name="T12" fmla="*/ 0 w 7"/>
              <a:gd name="T13" fmla="*/ 0 h 6"/>
              <a:gd name="T14" fmla="*/ 7 w 7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" h="6">
                <a:moveTo>
                  <a:pt x="7" y="5"/>
                </a:moveTo>
                <a:lnTo>
                  <a:pt x="1" y="0"/>
                </a:lnTo>
                <a:lnTo>
                  <a:pt x="0" y="6"/>
                </a:lnTo>
                <a:lnTo>
                  <a:pt x="7" y="5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68" name="Freeform 251"/>
          <p:cNvSpPr>
            <a:spLocks/>
          </p:cNvSpPr>
          <p:nvPr/>
        </p:nvSpPr>
        <p:spPr bwMode="auto">
          <a:xfrm>
            <a:off x="4456113" y="3292475"/>
            <a:ext cx="7937" cy="1588"/>
          </a:xfrm>
          <a:custGeom>
            <a:avLst/>
            <a:gdLst>
              <a:gd name="T0" fmla="*/ 2147483647 w 6"/>
              <a:gd name="T1" fmla="*/ 0 h 2"/>
              <a:gd name="T2" fmla="*/ 0 w 6"/>
              <a:gd name="T3" fmla="*/ 0 h 2"/>
              <a:gd name="T4" fmla="*/ 0 w 6"/>
              <a:gd name="T5" fmla="*/ 2147483647 h 2"/>
              <a:gd name="T6" fmla="*/ 2147483647 w 6"/>
              <a:gd name="T7" fmla="*/ 2147483647 h 2"/>
              <a:gd name="T8" fmla="*/ 2147483647 w 6"/>
              <a:gd name="T9" fmla="*/ 0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2"/>
              <a:gd name="T17" fmla="*/ 6 w 6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2">
                <a:moveTo>
                  <a:pt x="6" y="0"/>
                </a:moveTo>
                <a:lnTo>
                  <a:pt x="0" y="0"/>
                </a:lnTo>
                <a:lnTo>
                  <a:pt x="0" y="2"/>
                </a:lnTo>
                <a:lnTo>
                  <a:pt x="5" y="2"/>
                </a:lnTo>
                <a:lnTo>
                  <a:pt x="6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69" name="Freeform 252"/>
          <p:cNvSpPr>
            <a:spLocks/>
          </p:cNvSpPr>
          <p:nvPr/>
        </p:nvSpPr>
        <p:spPr bwMode="auto">
          <a:xfrm>
            <a:off x="4160838" y="3313113"/>
            <a:ext cx="85725" cy="166687"/>
          </a:xfrm>
          <a:custGeom>
            <a:avLst/>
            <a:gdLst>
              <a:gd name="T0" fmla="*/ 2147483647 w 66"/>
              <a:gd name="T1" fmla="*/ 0 h 123"/>
              <a:gd name="T2" fmla="*/ 2147483647 w 66"/>
              <a:gd name="T3" fmla="*/ 2147483647 h 123"/>
              <a:gd name="T4" fmla="*/ 2147483647 w 66"/>
              <a:gd name="T5" fmla="*/ 2147483647 h 123"/>
              <a:gd name="T6" fmla="*/ 2147483647 w 66"/>
              <a:gd name="T7" fmla="*/ 2147483647 h 123"/>
              <a:gd name="T8" fmla="*/ 2147483647 w 66"/>
              <a:gd name="T9" fmla="*/ 2147483647 h 123"/>
              <a:gd name="T10" fmla="*/ 0 w 66"/>
              <a:gd name="T11" fmla="*/ 2147483647 h 123"/>
              <a:gd name="T12" fmla="*/ 2147483647 w 66"/>
              <a:gd name="T13" fmla="*/ 2147483647 h 123"/>
              <a:gd name="T14" fmla="*/ 2147483647 w 66"/>
              <a:gd name="T15" fmla="*/ 2147483647 h 123"/>
              <a:gd name="T16" fmla="*/ 2147483647 w 66"/>
              <a:gd name="T17" fmla="*/ 2147483647 h 123"/>
              <a:gd name="T18" fmla="*/ 2147483647 w 66"/>
              <a:gd name="T19" fmla="*/ 2147483647 h 123"/>
              <a:gd name="T20" fmla="*/ 2147483647 w 66"/>
              <a:gd name="T21" fmla="*/ 2147483647 h 123"/>
              <a:gd name="T22" fmla="*/ 2147483647 w 66"/>
              <a:gd name="T23" fmla="*/ 2147483647 h 123"/>
              <a:gd name="T24" fmla="*/ 2147483647 w 66"/>
              <a:gd name="T25" fmla="*/ 2147483647 h 123"/>
              <a:gd name="T26" fmla="*/ 2147483647 w 66"/>
              <a:gd name="T27" fmla="*/ 2147483647 h 123"/>
              <a:gd name="T28" fmla="*/ 2147483647 w 66"/>
              <a:gd name="T29" fmla="*/ 2147483647 h 123"/>
              <a:gd name="T30" fmla="*/ 2147483647 w 66"/>
              <a:gd name="T31" fmla="*/ 2147483647 h 123"/>
              <a:gd name="T32" fmla="*/ 2147483647 w 66"/>
              <a:gd name="T33" fmla="*/ 2147483647 h 123"/>
              <a:gd name="T34" fmla="*/ 2147483647 w 66"/>
              <a:gd name="T35" fmla="*/ 2147483647 h 123"/>
              <a:gd name="T36" fmla="*/ 2147483647 w 66"/>
              <a:gd name="T37" fmla="*/ 2147483647 h 123"/>
              <a:gd name="T38" fmla="*/ 2147483647 w 66"/>
              <a:gd name="T39" fmla="*/ 2147483647 h 123"/>
              <a:gd name="T40" fmla="*/ 2147483647 w 66"/>
              <a:gd name="T41" fmla="*/ 0 h 12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66"/>
              <a:gd name="T64" fmla="*/ 0 h 123"/>
              <a:gd name="T65" fmla="*/ 66 w 66"/>
              <a:gd name="T66" fmla="*/ 123 h 123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66" h="123">
                <a:moveTo>
                  <a:pt x="30" y="0"/>
                </a:moveTo>
                <a:lnTo>
                  <a:pt x="18" y="2"/>
                </a:lnTo>
                <a:lnTo>
                  <a:pt x="19" y="30"/>
                </a:lnTo>
                <a:lnTo>
                  <a:pt x="12" y="47"/>
                </a:lnTo>
                <a:lnTo>
                  <a:pt x="3" y="65"/>
                </a:lnTo>
                <a:lnTo>
                  <a:pt x="0" y="81"/>
                </a:lnTo>
                <a:lnTo>
                  <a:pt x="9" y="88"/>
                </a:lnTo>
                <a:lnTo>
                  <a:pt x="14" y="88"/>
                </a:lnTo>
                <a:lnTo>
                  <a:pt x="12" y="123"/>
                </a:lnTo>
                <a:lnTo>
                  <a:pt x="41" y="119"/>
                </a:lnTo>
                <a:lnTo>
                  <a:pt x="41" y="112"/>
                </a:lnTo>
                <a:lnTo>
                  <a:pt x="48" y="98"/>
                </a:lnTo>
                <a:lnTo>
                  <a:pt x="47" y="92"/>
                </a:lnTo>
                <a:lnTo>
                  <a:pt x="49" y="78"/>
                </a:lnTo>
                <a:lnTo>
                  <a:pt x="41" y="59"/>
                </a:lnTo>
                <a:lnTo>
                  <a:pt x="48" y="58"/>
                </a:lnTo>
                <a:lnTo>
                  <a:pt x="55" y="28"/>
                </a:lnTo>
                <a:lnTo>
                  <a:pt x="66" y="15"/>
                </a:lnTo>
                <a:lnTo>
                  <a:pt x="62" y="4"/>
                </a:lnTo>
                <a:lnTo>
                  <a:pt x="36" y="3"/>
                </a:lnTo>
                <a:lnTo>
                  <a:pt x="30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70" name="Freeform 253"/>
          <p:cNvSpPr>
            <a:spLocks/>
          </p:cNvSpPr>
          <p:nvPr/>
        </p:nvSpPr>
        <p:spPr bwMode="auto">
          <a:xfrm>
            <a:off x="4175125" y="3254375"/>
            <a:ext cx="325438" cy="255588"/>
          </a:xfrm>
          <a:custGeom>
            <a:avLst/>
            <a:gdLst>
              <a:gd name="T0" fmla="*/ 2147483647 w 244"/>
              <a:gd name="T1" fmla="*/ 2147483647 h 186"/>
              <a:gd name="T2" fmla="*/ 2147483647 w 244"/>
              <a:gd name="T3" fmla="*/ 2147483647 h 186"/>
              <a:gd name="T4" fmla="*/ 2147483647 w 244"/>
              <a:gd name="T5" fmla="*/ 2147483647 h 186"/>
              <a:gd name="T6" fmla="*/ 2147483647 w 244"/>
              <a:gd name="T7" fmla="*/ 2147483647 h 186"/>
              <a:gd name="T8" fmla="*/ 2147483647 w 244"/>
              <a:gd name="T9" fmla="*/ 2147483647 h 186"/>
              <a:gd name="T10" fmla="*/ 2147483647 w 244"/>
              <a:gd name="T11" fmla="*/ 2147483647 h 186"/>
              <a:gd name="T12" fmla="*/ 2147483647 w 244"/>
              <a:gd name="T13" fmla="*/ 2147483647 h 186"/>
              <a:gd name="T14" fmla="*/ 0 w 244"/>
              <a:gd name="T15" fmla="*/ 2147483647 h 186"/>
              <a:gd name="T16" fmla="*/ 0 w 244"/>
              <a:gd name="T17" fmla="*/ 2147483647 h 186"/>
              <a:gd name="T18" fmla="*/ 2147483647 w 244"/>
              <a:gd name="T19" fmla="*/ 0 h 186"/>
              <a:gd name="T20" fmla="*/ 2147483647 w 244"/>
              <a:gd name="T21" fmla="*/ 2147483647 h 186"/>
              <a:gd name="T22" fmla="*/ 2147483647 w 244"/>
              <a:gd name="T23" fmla="*/ 2147483647 h 186"/>
              <a:gd name="T24" fmla="*/ 2147483647 w 244"/>
              <a:gd name="T25" fmla="*/ 2147483647 h 186"/>
              <a:gd name="T26" fmla="*/ 2147483647 w 244"/>
              <a:gd name="T27" fmla="*/ 2147483647 h 186"/>
              <a:gd name="T28" fmla="*/ 2147483647 w 244"/>
              <a:gd name="T29" fmla="*/ 2147483647 h 186"/>
              <a:gd name="T30" fmla="*/ 2147483647 w 244"/>
              <a:gd name="T31" fmla="*/ 2147483647 h 186"/>
              <a:gd name="T32" fmla="*/ 2147483647 w 244"/>
              <a:gd name="T33" fmla="*/ 2147483647 h 186"/>
              <a:gd name="T34" fmla="*/ 2147483647 w 244"/>
              <a:gd name="T35" fmla="*/ 2147483647 h 186"/>
              <a:gd name="T36" fmla="*/ 2147483647 w 244"/>
              <a:gd name="T37" fmla="*/ 2147483647 h 186"/>
              <a:gd name="T38" fmla="*/ 2147483647 w 244"/>
              <a:gd name="T39" fmla="*/ 2147483647 h 186"/>
              <a:gd name="T40" fmla="*/ 2147483647 w 244"/>
              <a:gd name="T41" fmla="*/ 2147483647 h 186"/>
              <a:gd name="T42" fmla="*/ 2147483647 w 244"/>
              <a:gd name="T43" fmla="*/ 2147483647 h 186"/>
              <a:gd name="T44" fmla="*/ 2147483647 w 244"/>
              <a:gd name="T45" fmla="*/ 2147483647 h 186"/>
              <a:gd name="T46" fmla="*/ 2147483647 w 244"/>
              <a:gd name="T47" fmla="*/ 2147483647 h 186"/>
              <a:gd name="T48" fmla="*/ 2147483647 w 244"/>
              <a:gd name="T49" fmla="*/ 2147483647 h 186"/>
              <a:gd name="T50" fmla="*/ 2147483647 w 244"/>
              <a:gd name="T51" fmla="*/ 2147483647 h 186"/>
              <a:gd name="T52" fmla="*/ 2147483647 w 244"/>
              <a:gd name="T53" fmla="*/ 2147483647 h 186"/>
              <a:gd name="T54" fmla="*/ 2147483647 w 244"/>
              <a:gd name="T55" fmla="*/ 2147483647 h 186"/>
              <a:gd name="T56" fmla="*/ 2147483647 w 244"/>
              <a:gd name="T57" fmla="*/ 2147483647 h 186"/>
              <a:gd name="T58" fmla="*/ 2147483647 w 244"/>
              <a:gd name="T59" fmla="*/ 2147483647 h 186"/>
              <a:gd name="T60" fmla="*/ 2147483647 w 244"/>
              <a:gd name="T61" fmla="*/ 2147483647 h 186"/>
              <a:gd name="T62" fmla="*/ 2147483647 w 244"/>
              <a:gd name="T63" fmla="*/ 2147483647 h 186"/>
              <a:gd name="T64" fmla="*/ 2147483647 w 244"/>
              <a:gd name="T65" fmla="*/ 2147483647 h 186"/>
              <a:gd name="T66" fmla="*/ 2147483647 w 244"/>
              <a:gd name="T67" fmla="*/ 2147483647 h 186"/>
              <a:gd name="T68" fmla="*/ 2147483647 w 244"/>
              <a:gd name="T69" fmla="*/ 2147483647 h 186"/>
              <a:gd name="T70" fmla="*/ 2147483647 w 244"/>
              <a:gd name="T71" fmla="*/ 2147483647 h 186"/>
              <a:gd name="T72" fmla="*/ 2147483647 w 244"/>
              <a:gd name="T73" fmla="*/ 2147483647 h 186"/>
              <a:gd name="T74" fmla="*/ 2147483647 w 244"/>
              <a:gd name="T75" fmla="*/ 2147483647 h 186"/>
              <a:gd name="T76" fmla="*/ 2147483647 w 244"/>
              <a:gd name="T77" fmla="*/ 2147483647 h 186"/>
              <a:gd name="T78" fmla="*/ 2147483647 w 244"/>
              <a:gd name="T79" fmla="*/ 2147483647 h 186"/>
              <a:gd name="T80" fmla="*/ 2147483647 w 244"/>
              <a:gd name="T81" fmla="*/ 2147483647 h 186"/>
              <a:gd name="T82" fmla="*/ 2147483647 w 244"/>
              <a:gd name="T83" fmla="*/ 2147483647 h 186"/>
              <a:gd name="T84" fmla="*/ 2147483647 w 244"/>
              <a:gd name="T85" fmla="*/ 2147483647 h 186"/>
              <a:gd name="T86" fmla="*/ 2147483647 w 244"/>
              <a:gd name="T87" fmla="*/ 2147483647 h 186"/>
              <a:gd name="T88" fmla="*/ 2147483647 w 244"/>
              <a:gd name="T89" fmla="*/ 2147483647 h 186"/>
              <a:gd name="T90" fmla="*/ 2147483647 w 244"/>
              <a:gd name="T91" fmla="*/ 2147483647 h 18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244"/>
              <a:gd name="T139" fmla="*/ 0 h 186"/>
              <a:gd name="T140" fmla="*/ 244 w 244"/>
              <a:gd name="T141" fmla="*/ 186 h 18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244" h="186">
                <a:moveTo>
                  <a:pt x="49" y="46"/>
                </a:moveTo>
                <a:lnTo>
                  <a:pt x="23" y="45"/>
                </a:lnTo>
                <a:lnTo>
                  <a:pt x="17" y="42"/>
                </a:lnTo>
                <a:lnTo>
                  <a:pt x="5" y="44"/>
                </a:lnTo>
                <a:lnTo>
                  <a:pt x="5" y="36"/>
                </a:lnTo>
                <a:lnTo>
                  <a:pt x="2" y="30"/>
                </a:lnTo>
                <a:lnTo>
                  <a:pt x="2" y="28"/>
                </a:lnTo>
                <a:lnTo>
                  <a:pt x="0" y="23"/>
                </a:lnTo>
                <a:lnTo>
                  <a:pt x="0" y="12"/>
                </a:lnTo>
                <a:lnTo>
                  <a:pt x="30" y="0"/>
                </a:lnTo>
                <a:lnTo>
                  <a:pt x="55" y="4"/>
                </a:lnTo>
                <a:lnTo>
                  <a:pt x="78" y="5"/>
                </a:lnTo>
                <a:lnTo>
                  <a:pt x="100" y="5"/>
                </a:lnTo>
                <a:lnTo>
                  <a:pt x="122" y="6"/>
                </a:lnTo>
                <a:lnTo>
                  <a:pt x="145" y="8"/>
                </a:lnTo>
                <a:lnTo>
                  <a:pt x="155" y="16"/>
                </a:lnTo>
                <a:lnTo>
                  <a:pt x="210" y="28"/>
                </a:lnTo>
                <a:lnTo>
                  <a:pt x="210" y="30"/>
                </a:lnTo>
                <a:lnTo>
                  <a:pt x="215" y="30"/>
                </a:lnTo>
                <a:lnTo>
                  <a:pt x="244" y="32"/>
                </a:lnTo>
                <a:lnTo>
                  <a:pt x="240" y="48"/>
                </a:lnTo>
                <a:lnTo>
                  <a:pt x="218" y="60"/>
                </a:lnTo>
                <a:lnTo>
                  <a:pt x="196" y="72"/>
                </a:lnTo>
                <a:lnTo>
                  <a:pt x="185" y="89"/>
                </a:lnTo>
                <a:lnTo>
                  <a:pt x="173" y="107"/>
                </a:lnTo>
                <a:lnTo>
                  <a:pt x="181" y="125"/>
                </a:lnTo>
                <a:lnTo>
                  <a:pt x="164" y="146"/>
                </a:lnTo>
                <a:lnTo>
                  <a:pt x="160" y="152"/>
                </a:lnTo>
                <a:lnTo>
                  <a:pt x="143" y="161"/>
                </a:lnTo>
                <a:lnTo>
                  <a:pt x="133" y="171"/>
                </a:lnTo>
                <a:lnTo>
                  <a:pt x="109" y="173"/>
                </a:lnTo>
                <a:lnTo>
                  <a:pt x="85" y="177"/>
                </a:lnTo>
                <a:lnTo>
                  <a:pt x="70" y="186"/>
                </a:lnTo>
                <a:lnTo>
                  <a:pt x="55" y="186"/>
                </a:lnTo>
                <a:lnTo>
                  <a:pt x="50" y="168"/>
                </a:lnTo>
                <a:lnTo>
                  <a:pt x="35" y="161"/>
                </a:lnTo>
                <a:lnTo>
                  <a:pt x="28" y="161"/>
                </a:lnTo>
                <a:lnTo>
                  <a:pt x="28" y="154"/>
                </a:lnTo>
                <a:lnTo>
                  <a:pt x="35" y="140"/>
                </a:lnTo>
                <a:lnTo>
                  <a:pt x="34" y="134"/>
                </a:lnTo>
                <a:lnTo>
                  <a:pt x="36" y="120"/>
                </a:lnTo>
                <a:lnTo>
                  <a:pt x="28" y="101"/>
                </a:lnTo>
                <a:lnTo>
                  <a:pt x="35" y="100"/>
                </a:lnTo>
                <a:lnTo>
                  <a:pt x="43" y="70"/>
                </a:lnTo>
                <a:lnTo>
                  <a:pt x="53" y="57"/>
                </a:lnTo>
                <a:lnTo>
                  <a:pt x="49" y="46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71" name="Freeform 254"/>
          <p:cNvSpPr>
            <a:spLocks/>
          </p:cNvSpPr>
          <p:nvPr/>
        </p:nvSpPr>
        <p:spPr bwMode="auto">
          <a:xfrm>
            <a:off x="4483100" y="3386138"/>
            <a:ext cx="26988" cy="15875"/>
          </a:xfrm>
          <a:custGeom>
            <a:avLst/>
            <a:gdLst>
              <a:gd name="T0" fmla="*/ 2147483647 w 21"/>
              <a:gd name="T1" fmla="*/ 2147483647 h 12"/>
              <a:gd name="T2" fmla="*/ 2147483647 w 21"/>
              <a:gd name="T3" fmla="*/ 2147483647 h 12"/>
              <a:gd name="T4" fmla="*/ 0 w 21"/>
              <a:gd name="T5" fmla="*/ 2147483647 h 12"/>
              <a:gd name="T6" fmla="*/ 2147483647 w 21"/>
              <a:gd name="T7" fmla="*/ 0 h 12"/>
              <a:gd name="T8" fmla="*/ 2147483647 w 21"/>
              <a:gd name="T9" fmla="*/ 2147483647 h 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1"/>
              <a:gd name="T16" fmla="*/ 0 h 12"/>
              <a:gd name="T17" fmla="*/ 21 w 21"/>
              <a:gd name="T18" fmla="*/ 12 h 1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1" h="12">
                <a:moveTo>
                  <a:pt x="21" y="4"/>
                </a:moveTo>
                <a:lnTo>
                  <a:pt x="10" y="12"/>
                </a:lnTo>
                <a:lnTo>
                  <a:pt x="0" y="5"/>
                </a:lnTo>
                <a:lnTo>
                  <a:pt x="14" y="0"/>
                </a:lnTo>
                <a:lnTo>
                  <a:pt x="21" y="4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72" name="Freeform 255"/>
          <p:cNvSpPr>
            <a:spLocks/>
          </p:cNvSpPr>
          <p:nvPr/>
        </p:nvSpPr>
        <p:spPr bwMode="auto">
          <a:xfrm>
            <a:off x="1389063" y="3068638"/>
            <a:ext cx="1587500" cy="814387"/>
          </a:xfrm>
          <a:custGeom>
            <a:avLst/>
            <a:gdLst>
              <a:gd name="T0" fmla="*/ 2147483647 w 1194"/>
              <a:gd name="T1" fmla="*/ 2147483647 h 594"/>
              <a:gd name="T2" fmla="*/ 2147483647 w 1194"/>
              <a:gd name="T3" fmla="*/ 2147483647 h 594"/>
              <a:gd name="T4" fmla="*/ 2147483647 w 1194"/>
              <a:gd name="T5" fmla="*/ 2147483647 h 594"/>
              <a:gd name="T6" fmla="*/ 2147483647 w 1194"/>
              <a:gd name="T7" fmla="*/ 2147483647 h 594"/>
              <a:gd name="T8" fmla="*/ 2147483647 w 1194"/>
              <a:gd name="T9" fmla="*/ 2147483647 h 594"/>
              <a:gd name="T10" fmla="*/ 2147483647 w 1194"/>
              <a:gd name="T11" fmla="*/ 2147483647 h 594"/>
              <a:gd name="T12" fmla="*/ 2147483647 w 1194"/>
              <a:gd name="T13" fmla="*/ 2147483647 h 594"/>
              <a:gd name="T14" fmla="*/ 2147483647 w 1194"/>
              <a:gd name="T15" fmla="*/ 2147483647 h 594"/>
              <a:gd name="T16" fmla="*/ 2147483647 w 1194"/>
              <a:gd name="T17" fmla="*/ 2147483647 h 594"/>
              <a:gd name="T18" fmla="*/ 2147483647 w 1194"/>
              <a:gd name="T19" fmla="*/ 2147483647 h 594"/>
              <a:gd name="T20" fmla="*/ 2147483647 w 1194"/>
              <a:gd name="T21" fmla="*/ 2147483647 h 594"/>
              <a:gd name="T22" fmla="*/ 2147483647 w 1194"/>
              <a:gd name="T23" fmla="*/ 2147483647 h 594"/>
              <a:gd name="T24" fmla="*/ 2147483647 w 1194"/>
              <a:gd name="T25" fmla="*/ 2147483647 h 594"/>
              <a:gd name="T26" fmla="*/ 2147483647 w 1194"/>
              <a:gd name="T27" fmla="*/ 2147483647 h 594"/>
              <a:gd name="T28" fmla="*/ 2147483647 w 1194"/>
              <a:gd name="T29" fmla="*/ 2147483647 h 594"/>
              <a:gd name="T30" fmla="*/ 2147483647 w 1194"/>
              <a:gd name="T31" fmla="*/ 2147483647 h 594"/>
              <a:gd name="T32" fmla="*/ 0 w 1194"/>
              <a:gd name="T33" fmla="*/ 2147483647 h 594"/>
              <a:gd name="T34" fmla="*/ 2147483647 w 1194"/>
              <a:gd name="T35" fmla="*/ 2147483647 h 594"/>
              <a:gd name="T36" fmla="*/ 2147483647 w 1194"/>
              <a:gd name="T37" fmla="*/ 2147483647 h 594"/>
              <a:gd name="T38" fmla="*/ 2147483647 w 1194"/>
              <a:gd name="T39" fmla="*/ 2147483647 h 594"/>
              <a:gd name="T40" fmla="*/ 2147483647 w 1194"/>
              <a:gd name="T41" fmla="*/ 2147483647 h 594"/>
              <a:gd name="T42" fmla="*/ 2147483647 w 1194"/>
              <a:gd name="T43" fmla="*/ 2147483647 h 594"/>
              <a:gd name="T44" fmla="*/ 2147483647 w 1194"/>
              <a:gd name="T45" fmla="*/ 2147483647 h 594"/>
              <a:gd name="T46" fmla="*/ 2147483647 w 1194"/>
              <a:gd name="T47" fmla="*/ 2147483647 h 594"/>
              <a:gd name="T48" fmla="*/ 2147483647 w 1194"/>
              <a:gd name="T49" fmla="*/ 2147483647 h 594"/>
              <a:gd name="T50" fmla="*/ 2147483647 w 1194"/>
              <a:gd name="T51" fmla="*/ 2147483647 h 594"/>
              <a:gd name="T52" fmla="*/ 2147483647 w 1194"/>
              <a:gd name="T53" fmla="*/ 2147483647 h 594"/>
              <a:gd name="T54" fmla="*/ 2147483647 w 1194"/>
              <a:gd name="T55" fmla="*/ 2147483647 h 594"/>
              <a:gd name="T56" fmla="*/ 2147483647 w 1194"/>
              <a:gd name="T57" fmla="*/ 2147483647 h 594"/>
              <a:gd name="T58" fmla="*/ 2147483647 w 1194"/>
              <a:gd name="T59" fmla="*/ 2147483647 h 594"/>
              <a:gd name="T60" fmla="*/ 2147483647 w 1194"/>
              <a:gd name="T61" fmla="*/ 2147483647 h 594"/>
              <a:gd name="T62" fmla="*/ 2147483647 w 1194"/>
              <a:gd name="T63" fmla="*/ 2147483647 h 594"/>
              <a:gd name="T64" fmla="*/ 2147483647 w 1194"/>
              <a:gd name="T65" fmla="*/ 2147483647 h 594"/>
              <a:gd name="T66" fmla="*/ 2147483647 w 1194"/>
              <a:gd name="T67" fmla="*/ 2147483647 h 594"/>
              <a:gd name="T68" fmla="*/ 2147483647 w 1194"/>
              <a:gd name="T69" fmla="*/ 2147483647 h 594"/>
              <a:gd name="T70" fmla="*/ 2147483647 w 1194"/>
              <a:gd name="T71" fmla="*/ 2147483647 h 594"/>
              <a:gd name="T72" fmla="*/ 2147483647 w 1194"/>
              <a:gd name="T73" fmla="*/ 2147483647 h 594"/>
              <a:gd name="T74" fmla="*/ 2147483647 w 1194"/>
              <a:gd name="T75" fmla="*/ 2147483647 h 594"/>
              <a:gd name="T76" fmla="*/ 2147483647 w 1194"/>
              <a:gd name="T77" fmla="*/ 2147483647 h 594"/>
              <a:gd name="T78" fmla="*/ 2147483647 w 1194"/>
              <a:gd name="T79" fmla="*/ 2147483647 h 594"/>
              <a:gd name="T80" fmla="*/ 2147483647 w 1194"/>
              <a:gd name="T81" fmla="*/ 2147483647 h 594"/>
              <a:gd name="T82" fmla="*/ 2147483647 w 1194"/>
              <a:gd name="T83" fmla="*/ 2147483647 h 594"/>
              <a:gd name="T84" fmla="*/ 2147483647 w 1194"/>
              <a:gd name="T85" fmla="*/ 2147483647 h 594"/>
              <a:gd name="T86" fmla="*/ 2147483647 w 1194"/>
              <a:gd name="T87" fmla="*/ 2147483647 h 594"/>
              <a:gd name="T88" fmla="*/ 2147483647 w 1194"/>
              <a:gd name="T89" fmla="*/ 2147483647 h 594"/>
              <a:gd name="T90" fmla="*/ 2147483647 w 1194"/>
              <a:gd name="T91" fmla="*/ 2147483647 h 594"/>
              <a:gd name="T92" fmla="*/ 2147483647 w 1194"/>
              <a:gd name="T93" fmla="*/ 2147483647 h 594"/>
              <a:gd name="T94" fmla="*/ 2147483647 w 1194"/>
              <a:gd name="T95" fmla="*/ 2147483647 h 594"/>
              <a:gd name="T96" fmla="*/ 2147483647 w 1194"/>
              <a:gd name="T97" fmla="*/ 2147483647 h 594"/>
              <a:gd name="T98" fmla="*/ 2147483647 w 1194"/>
              <a:gd name="T99" fmla="*/ 2147483647 h 594"/>
              <a:gd name="T100" fmla="*/ 2147483647 w 1194"/>
              <a:gd name="T101" fmla="*/ 2147483647 h 594"/>
              <a:gd name="T102" fmla="*/ 2147483647 w 1194"/>
              <a:gd name="T103" fmla="*/ 2147483647 h 594"/>
              <a:gd name="T104" fmla="*/ 2147483647 w 1194"/>
              <a:gd name="T105" fmla="*/ 2147483647 h 594"/>
              <a:gd name="T106" fmla="*/ 2147483647 w 1194"/>
              <a:gd name="T107" fmla="*/ 2147483647 h 594"/>
              <a:gd name="T108" fmla="*/ 2147483647 w 1194"/>
              <a:gd name="T109" fmla="*/ 2147483647 h 594"/>
              <a:gd name="T110" fmla="*/ 2147483647 w 1194"/>
              <a:gd name="T111" fmla="*/ 2147483647 h 59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194"/>
              <a:gd name="T169" fmla="*/ 0 h 594"/>
              <a:gd name="T170" fmla="*/ 1194 w 1194"/>
              <a:gd name="T171" fmla="*/ 594 h 594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194" h="594">
                <a:moveTo>
                  <a:pt x="1192" y="109"/>
                </a:moveTo>
                <a:lnTo>
                  <a:pt x="1191" y="100"/>
                </a:lnTo>
                <a:lnTo>
                  <a:pt x="1185" y="85"/>
                </a:lnTo>
                <a:lnTo>
                  <a:pt x="1194" y="55"/>
                </a:lnTo>
                <a:lnTo>
                  <a:pt x="1181" y="50"/>
                </a:lnTo>
                <a:lnTo>
                  <a:pt x="1172" y="50"/>
                </a:lnTo>
                <a:lnTo>
                  <a:pt x="1170" y="45"/>
                </a:lnTo>
                <a:lnTo>
                  <a:pt x="1154" y="63"/>
                </a:lnTo>
                <a:lnTo>
                  <a:pt x="1137" y="81"/>
                </a:lnTo>
                <a:lnTo>
                  <a:pt x="1118" y="97"/>
                </a:lnTo>
                <a:lnTo>
                  <a:pt x="1104" y="104"/>
                </a:lnTo>
                <a:lnTo>
                  <a:pt x="1066" y="106"/>
                </a:lnTo>
                <a:lnTo>
                  <a:pt x="1028" y="109"/>
                </a:lnTo>
                <a:lnTo>
                  <a:pt x="1008" y="123"/>
                </a:lnTo>
                <a:lnTo>
                  <a:pt x="988" y="139"/>
                </a:lnTo>
                <a:lnTo>
                  <a:pt x="964" y="140"/>
                </a:lnTo>
                <a:lnTo>
                  <a:pt x="940" y="142"/>
                </a:lnTo>
                <a:lnTo>
                  <a:pt x="938" y="158"/>
                </a:lnTo>
                <a:lnTo>
                  <a:pt x="917" y="165"/>
                </a:lnTo>
                <a:lnTo>
                  <a:pt x="896" y="172"/>
                </a:lnTo>
                <a:lnTo>
                  <a:pt x="875" y="180"/>
                </a:lnTo>
                <a:lnTo>
                  <a:pt x="854" y="187"/>
                </a:lnTo>
                <a:lnTo>
                  <a:pt x="848" y="177"/>
                </a:lnTo>
                <a:lnTo>
                  <a:pt x="872" y="153"/>
                </a:lnTo>
                <a:lnTo>
                  <a:pt x="882" y="140"/>
                </a:lnTo>
                <a:lnTo>
                  <a:pt x="886" y="118"/>
                </a:lnTo>
                <a:lnTo>
                  <a:pt x="891" y="97"/>
                </a:lnTo>
                <a:lnTo>
                  <a:pt x="875" y="85"/>
                </a:lnTo>
                <a:lnTo>
                  <a:pt x="878" y="78"/>
                </a:lnTo>
                <a:lnTo>
                  <a:pt x="870" y="79"/>
                </a:lnTo>
                <a:lnTo>
                  <a:pt x="869" y="68"/>
                </a:lnTo>
                <a:lnTo>
                  <a:pt x="852" y="58"/>
                </a:lnTo>
                <a:lnTo>
                  <a:pt x="836" y="48"/>
                </a:lnTo>
                <a:lnTo>
                  <a:pt x="819" y="37"/>
                </a:lnTo>
                <a:lnTo>
                  <a:pt x="802" y="26"/>
                </a:lnTo>
                <a:lnTo>
                  <a:pt x="776" y="33"/>
                </a:lnTo>
                <a:lnTo>
                  <a:pt x="760" y="26"/>
                </a:lnTo>
                <a:lnTo>
                  <a:pt x="743" y="30"/>
                </a:lnTo>
                <a:lnTo>
                  <a:pt x="714" y="18"/>
                </a:lnTo>
                <a:lnTo>
                  <a:pt x="693" y="13"/>
                </a:lnTo>
                <a:lnTo>
                  <a:pt x="695" y="0"/>
                </a:lnTo>
                <a:lnTo>
                  <a:pt x="687" y="8"/>
                </a:lnTo>
                <a:lnTo>
                  <a:pt x="653" y="8"/>
                </a:lnTo>
                <a:lnTo>
                  <a:pt x="621" y="8"/>
                </a:lnTo>
                <a:lnTo>
                  <a:pt x="587" y="8"/>
                </a:lnTo>
                <a:lnTo>
                  <a:pt x="555" y="8"/>
                </a:lnTo>
                <a:lnTo>
                  <a:pt x="521" y="8"/>
                </a:lnTo>
                <a:lnTo>
                  <a:pt x="489" y="8"/>
                </a:lnTo>
                <a:lnTo>
                  <a:pt x="455" y="8"/>
                </a:lnTo>
                <a:lnTo>
                  <a:pt x="423" y="8"/>
                </a:lnTo>
                <a:lnTo>
                  <a:pt x="389" y="8"/>
                </a:lnTo>
                <a:lnTo>
                  <a:pt x="357" y="8"/>
                </a:lnTo>
                <a:lnTo>
                  <a:pt x="323" y="8"/>
                </a:lnTo>
                <a:lnTo>
                  <a:pt x="289" y="8"/>
                </a:lnTo>
                <a:lnTo>
                  <a:pt x="257" y="8"/>
                </a:lnTo>
                <a:lnTo>
                  <a:pt x="223" y="8"/>
                </a:lnTo>
                <a:lnTo>
                  <a:pt x="191" y="8"/>
                </a:lnTo>
                <a:lnTo>
                  <a:pt x="157" y="8"/>
                </a:lnTo>
                <a:lnTo>
                  <a:pt x="150" y="28"/>
                </a:lnTo>
                <a:lnTo>
                  <a:pt x="142" y="48"/>
                </a:lnTo>
                <a:lnTo>
                  <a:pt x="125" y="55"/>
                </a:lnTo>
                <a:lnTo>
                  <a:pt x="129" y="49"/>
                </a:lnTo>
                <a:lnTo>
                  <a:pt x="130" y="52"/>
                </a:lnTo>
                <a:lnTo>
                  <a:pt x="145" y="34"/>
                </a:lnTo>
                <a:lnTo>
                  <a:pt x="129" y="48"/>
                </a:lnTo>
                <a:lnTo>
                  <a:pt x="126" y="48"/>
                </a:lnTo>
                <a:lnTo>
                  <a:pt x="137" y="38"/>
                </a:lnTo>
                <a:lnTo>
                  <a:pt x="144" y="30"/>
                </a:lnTo>
                <a:lnTo>
                  <a:pt x="113" y="22"/>
                </a:lnTo>
                <a:lnTo>
                  <a:pt x="103" y="55"/>
                </a:lnTo>
                <a:lnTo>
                  <a:pt x="101" y="60"/>
                </a:lnTo>
                <a:lnTo>
                  <a:pt x="100" y="63"/>
                </a:lnTo>
                <a:lnTo>
                  <a:pt x="99" y="68"/>
                </a:lnTo>
                <a:lnTo>
                  <a:pt x="97" y="64"/>
                </a:lnTo>
                <a:lnTo>
                  <a:pt x="91" y="74"/>
                </a:lnTo>
                <a:lnTo>
                  <a:pt x="105" y="76"/>
                </a:lnTo>
                <a:lnTo>
                  <a:pt x="94" y="76"/>
                </a:lnTo>
                <a:lnTo>
                  <a:pt x="84" y="88"/>
                </a:lnTo>
                <a:lnTo>
                  <a:pt x="60" y="121"/>
                </a:lnTo>
                <a:lnTo>
                  <a:pt x="36" y="153"/>
                </a:lnTo>
                <a:lnTo>
                  <a:pt x="29" y="174"/>
                </a:lnTo>
                <a:lnTo>
                  <a:pt x="22" y="193"/>
                </a:lnTo>
                <a:lnTo>
                  <a:pt x="1" y="217"/>
                </a:lnTo>
                <a:lnTo>
                  <a:pt x="4" y="225"/>
                </a:lnTo>
                <a:lnTo>
                  <a:pt x="0" y="243"/>
                </a:lnTo>
                <a:lnTo>
                  <a:pt x="3" y="259"/>
                </a:lnTo>
                <a:lnTo>
                  <a:pt x="6" y="276"/>
                </a:lnTo>
                <a:lnTo>
                  <a:pt x="4" y="271"/>
                </a:lnTo>
                <a:lnTo>
                  <a:pt x="3" y="276"/>
                </a:lnTo>
                <a:lnTo>
                  <a:pt x="12" y="277"/>
                </a:lnTo>
                <a:lnTo>
                  <a:pt x="17" y="277"/>
                </a:lnTo>
                <a:lnTo>
                  <a:pt x="15" y="289"/>
                </a:lnTo>
                <a:lnTo>
                  <a:pt x="10" y="285"/>
                </a:lnTo>
                <a:lnTo>
                  <a:pt x="6" y="289"/>
                </a:lnTo>
                <a:lnTo>
                  <a:pt x="12" y="303"/>
                </a:lnTo>
                <a:lnTo>
                  <a:pt x="6" y="312"/>
                </a:lnTo>
                <a:lnTo>
                  <a:pt x="11" y="326"/>
                </a:lnTo>
                <a:lnTo>
                  <a:pt x="16" y="340"/>
                </a:lnTo>
                <a:lnTo>
                  <a:pt x="12" y="362"/>
                </a:lnTo>
                <a:lnTo>
                  <a:pt x="24" y="364"/>
                </a:lnTo>
                <a:lnTo>
                  <a:pt x="45" y="375"/>
                </a:lnTo>
                <a:lnTo>
                  <a:pt x="66" y="392"/>
                </a:lnTo>
                <a:lnTo>
                  <a:pt x="66" y="412"/>
                </a:lnTo>
                <a:lnTo>
                  <a:pt x="91" y="411"/>
                </a:lnTo>
                <a:lnTo>
                  <a:pt x="117" y="410"/>
                </a:lnTo>
                <a:lnTo>
                  <a:pt x="133" y="418"/>
                </a:lnTo>
                <a:lnTo>
                  <a:pt x="150" y="426"/>
                </a:lnTo>
                <a:lnTo>
                  <a:pt x="166" y="434"/>
                </a:lnTo>
                <a:lnTo>
                  <a:pt x="183" y="442"/>
                </a:lnTo>
                <a:lnTo>
                  <a:pt x="213" y="442"/>
                </a:lnTo>
                <a:lnTo>
                  <a:pt x="243" y="442"/>
                </a:lnTo>
                <a:lnTo>
                  <a:pt x="246" y="432"/>
                </a:lnTo>
                <a:lnTo>
                  <a:pt x="281" y="432"/>
                </a:lnTo>
                <a:lnTo>
                  <a:pt x="299" y="456"/>
                </a:lnTo>
                <a:lnTo>
                  <a:pt x="306" y="480"/>
                </a:lnTo>
                <a:lnTo>
                  <a:pt x="319" y="490"/>
                </a:lnTo>
                <a:lnTo>
                  <a:pt x="331" y="501"/>
                </a:lnTo>
                <a:lnTo>
                  <a:pt x="347" y="482"/>
                </a:lnTo>
                <a:lnTo>
                  <a:pt x="376" y="484"/>
                </a:lnTo>
                <a:lnTo>
                  <a:pt x="385" y="507"/>
                </a:lnTo>
                <a:lnTo>
                  <a:pt x="395" y="530"/>
                </a:lnTo>
                <a:lnTo>
                  <a:pt x="402" y="559"/>
                </a:lnTo>
                <a:lnTo>
                  <a:pt x="417" y="571"/>
                </a:lnTo>
                <a:lnTo>
                  <a:pt x="442" y="576"/>
                </a:lnTo>
                <a:lnTo>
                  <a:pt x="441" y="547"/>
                </a:lnTo>
                <a:lnTo>
                  <a:pt x="438" y="543"/>
                </a:lnTo>
                <a:lnTo>
                  <a:pt x="437" y="538"/>
                </a:lnTo>
                <a:lnTo>
                  <a:pt x="444" y="542"/>
                </a:lnTo>
                <a:lnTo>
                  <a:pt x="448" y="529"/>
                </a:lnTo>
                <a:lnTo>
                  <a:pt x="453" y="525"/>
                </a:lnTo>
                <a:lnTo>
                  <a:pt x="465" y="517"/>
                </a:lnTo>
                <a:lnTo>
                  <a:pt x="471" y="512"/>
                </a:lnTo>
                <a:lnTo>
                  <a:pt x="471" y="508"/>
                </a:lnTo>
                <a:lnTo>
                  <a:pt x="482" y="510"/>
                </a:lnTo>
                <a:lnTo>
                  <a:pt x="476" y="513"/>
                </a:lnTo>
                <a:lnTo>
                  <a:pt x="488" y="507"/>
                </a:lnTo>
                <a:lnTo>
                  <a:pt x="483" y="507"/>
                </a:lnTo>
                <a:lnTo>
                  <a:pt x="508" y="490"/>
                </a:lnTo>
                <a:lnTo>
                  <a:pt x="510" y="483"/>
                </a:lnTo>
                <a:lnTo>
                  <a:pt x="516" y="487"/>
                </a:lnTo>
                <a:lnTo>
                  <a:pt x="514" y="489"/>
                </a:lnTo>
                <a:lnTo>
                  <a:pt x="531" y="480"/>
                </a:lnTo>
                <a:lnTo>
                  <a:pt x="534" y="480"/>
                </a:lnTo>
                <a:lnTo>
                  <a:pt x="551" y="482"/>
                </a:lnTo>
                <a:lnTo>
                  <a:pt x="568" y="483"/>
                </a:lnTo>
                <a:lnTo>
                  <a:pt x="580" y="482"/>
                </a:lnTo>
                <a:lnTo>
                  <a:pt x="586" y="490"/>
                </a:lnTo>
                <a:lnTo>
                  <a:pt x="598" y="494"/>
                </a:lnTo>
                <a:lnTo>
                  <a:pt x="610" y="495"/>
                </a:lnTo>
                <a:lnTo>
                  <a:pt x="609" y="486"/>
                </a:lnTo>
                <a:lnTo>
                  <a:pt x="626" y="496"/>
                </a:lnTo>
                <a:lnTo>
                  <a:pt x="622" y="502"/>
                </a:lnTo>
                <a:lnTo>
                  <a:pt x="629" y="494"/>
                </a:lnTo>
                <a:lnTo>
                  <a:pt x="620" y="483"/>
                </a:lnTo>
                <a:lnTo>
                  <a:pt x="627" y="478"/>
                </a:lnTo>
                <a:lnTo>
                  <a:pt x="624" y="476"/>
                </a:lnTo>
                <a:lnTo>
                  <a:pt x="622" y="474"/>
                </a:lnTo>
                <a:lnTo>
                  <a:pt x="608" y="470"/>
                </a:lnTo>
                <a:lnTo>
                  <a:pt x="622" y="470"/>
                </a:lnTo>
                <a:lnTo>
                  <a:pt x="657" y="468"/>
                </a:lnTo>
                <a:lnTo>
                  <a:pt x="662" y="457"/>
                </a:lnTo>
                <a:lnTo>
                  <a:pt x="660" y="469"/>
                </a:lnTo>
                <a:lnTo>
                  <a:pt x="671" y="468"/>
                </a:lnTo>
                <a:lnTo>
                  <a:pt x="681" y="463"/>
                </a:lnTo>
                <a:lnTo>
                  <a:pt x="676" y="466"/>
                </a:lnTo>
                <a:lnTo>
                  <a:pt x="696" y="465"/>
                </a:lnTo>
                <a:lnTo>
                  <a:pt x="690" y="465"/>
                </a:lnTo>
                <a:lnTo>
                  <a:pt x="704" y="469"/>
                </a:lnTo>
                <a:lnTo>
                  <a:pt x="707" y="469"/>
                </a:lnTo>
                <a:lnTo>
                  <a:pt x="711" y="475"/>
                </a:lnTo>
                <a:lnTo>
                  <a:pt x="707" y="472"/>
                </a:lnTo>
                <a:lnTo>
                  <a:pt x="711" y="483"/>
                </a:lnTo>
                <a:lnTo>
                  <a:pt x="742" y="472"/>
                </a:lnTo>
                <a:lnTo>
                  <a:pt x="753" y="489"/>
                </a:lnTo>
                <a:lnTo>
                  <a:pt x="764" y="505"/>
                </a:lnTo>
                <a:lnTo>
                  <a:pt x="758" y="534"/>
                </a:lnTo>
                <a:lnTo>
                  <a:pt x="756" y="529"/>
                </a:lnTo>
                <a:lnTo>
                  <a:pt x="759" y="532"/>
                </a:lnTo>
                <a:lnTo>
                  <a:pt x="762" y="526"/>
                </a:lnTo>
                <a:lnTo>
                  <a:pt x="759" y="542"/>
                </a:lnTo>
                <a:lnTo>
                  <a:pt x="765" y="552"/>
                </a:lnTo>
                <a:lnTo>
                  <a:pt x="767" y="553"/>
                </a:lnTo>
                <a:lnTo>
                  <a:pt x="768" y="561"/>
                </a:lnTo>
                <a:lnTo>
                  <a:pt x="772" y="556"/>
                </a:lnTo>
                <a:lnTo>
                  <a:pt x="770" y="562"/>
                </a:lnTo>
                <a:lnTo>
                  <a:pt x="773" y="577"/>
                </a:lnTo>
                <a:lnTo>
                  <a:pt x="783" y="594"/>
                </a:lnTo>
                <a:lnTo>
                  <a:pt x="796" y="591"/>
                </a:lnTo>
                <a:lnTo>
                  <a:pt x="803" y="571"/>
                </a:lnTo>
                <a:lnTo>
                  <a:pt x="810" y="552"/>
                </a:lnTo>
                <a:lnTo>
                  <a:pt x="807" y="530"/>
                </a:lnTo>
                <a:lnTo>
                  <a:pt x="803" y="508"/>
                </a:lnTo>
                <a:lnTo>
                  <a:pt x="806" y="529"/>
                </a:lnTo>
                <a:lnTo>
                  <a:pt x="804" y="508"/>
                </a:lnTo>
                <a:lnTo>
                  <a:pt x="802" y="488"/>
                </a:lnTo>
                <a:lnTo>
                  <a:pt x="801" y="469"/>
                </a:lnTo>
                <a:lnTo>
                  <a:pt x="800" y="448"/>
                </a:lnTo>
                <a:lnTo>
                  <a:pt x="807" y="444"/>
                </a:lnTo>
                <a:lnTo>
                  <a:pt x="807" y="441"/>
                </a:lnTo>
                <a:lnTo>
                  <a:pt x="816" y="429"/>
                </a:lnTo>
                <a:lnTo>
                  <a:pt x="822" y="418"/>
                </a:lnTo>
                <a:lnTo>
                  <a:pt x="824" y="416"/>
                </a:lnTo>
                <a:lnTo>
                  <a:pt x="831" y="414"/>
                </a:lnTo>
                <a:lnTo>
                  <a:pt x="860" y="394"/>
                </a:lnTo>
                <a:lnTo>
                  <a:pt x="862" y="393"/>
                </a:lnTo>
                <a:lnTo>
                  <a:pt x="884" y="379"/>
                </a:lnTo>
                <a:lnTo>
                  <a:pt x="892" y="375"/>
                </a:lnTo>
                <a:lnTo>
                  <a:pt x="908" y="362"/>
                </a:lnTo>
                <a:lnTo>
                  <a:pt x="933" y="352"/>
                </a:lnTo>
                <a:lnTo>
                  <a:pt x="917" y="348"/>
                </a:lnTo>
                <a:lnTo>
                  <a:pt x="927" y="349"/>
                </a:lnTo>
                <a:lnTo>
                  <a:pt x="930" y="344"/>
                </a:lnTo>
                <a:lnTo>
                  <a:pt x="921" y="338"/>
                </a:lnTo>
                <a:lnTo>
                  <a:pt x="942" y="339"/>
                </a:lnTo>
                <a:lnTo>
                  <a:pt x="948" y="328"/>
                </a:lnTo>
                <a:lnTo>
                  <a:pt x="942" y="332"/>
                </a:lnTo>
                <a:lnTo>
                  <a:pt x="938" y="327"/>
                </a:lnTo>
                <a:lnTo>
                  <a:pt x="930" y="324"/>
                </a:lnTo>
                <a:lnTo>
                  <a:pt x="932" y="322"/>
                </a:lnTo>
                <a:lnTo>
                  <a:pt x="940" y="324"/>
                </a:lnTo>
                <a:lnTo>
                  <a:pt x="946" y="322"/>
                </a:lnTo>
                <a:lnTo>
                  <a:pt x="951" y="325"/>
                </a:lnTo>
                <a:lnTo>
                  <a:pt x="952" y="309"/>
                </a:lnTo>
                <a:lnTo>
                  <a:pt x="954" y="332"/>
                </a:lnTo>
                <a:lnTo>
                  <a:pt x="947" y="303"/>
                </a:lnTo>
                <a:lnTo>
                  <a:pt x="940" y="301"/>
                </a:lnTo>
                <a:lnTo>
                  <a:pt x="933" y="294"/>
                </a:lnTo>
                <a:lnTo>
                  <a:pt x="946" y="300"/>
                </a:lnTo>
                <a:lnTo>
                  <a:pt x="941" y="289"/>
                </a:lnTo>
                <a:lnTo>
                  <a:pt x="950" y="294"/>
                </a:lnTo>
                <a:lnTo>
                  <a:pt x="939" y="274"/>
                </a:lnTo>
                <a:lnTo>
                  <a:pt x="952" y="283"/>
                </a:lnTo>
                <a:lnTo>
                  <a:pt x="941" y="267"/>
                </a:lnTo>
                <a:lnTo>
                  <a:pt x="936" y="267"/>
                </a:lnTo>
                <a:lnTo>
                  <a:pt x="945" y="258"/>
                </a:lnTo>
                <a:lnTo>
                  <a:pt x="941" y="266"/>
                </a:lnTo>
                <a:lnTo>
                  <a:pt x="954" y="273"/>
                </a:lnTo>
                <a:lnTo>
                  <a:pt x="951" y="260"/>
                </a:lnTo>
                <a:lnTo>
                  <a:pt x="954" y="268"/>
                </a:lnTo>
                <a:lnTo>
                  <a:pt x="958" y="247"/>
                </a:lnTo>
                <a:lnTo>
                  <a:pt x="971" y="241"/>
                </a:lnTo>
                <a:lnTo>
                  <a:pt x="963" y="254"/>
                </a:lnTo>
                <a:lnTo>
                  <a:pt x="962" y="261"/>
                </a:lnTo>
                <a:lnTo>
                  <a:pt x="958" y="267"/>
                </a:lnTo>
                <a:lnTo>
                  <a:pt x="965" y="271"/>
                </a:lnTo>
                <a:lnTo>
                  <a:pt x="962" y="278"/>
                </a:lnTo>
                <a:lnTo>
                  <a:pt x="963" y="283"/>
                </a:lnTo>
                <a:lnTo>
                  <a:pt x="959" y="286"/>
                </a:lnTo>
                <a:lnTo>
                  <a:pt x="954" y="295"/>
                </a:lnTo>
                <a:lnTo>
                  <a:pt x="981" y="267"/>
                </a:lnTo>
                <a:lnTo>
                  <a:pt x="978" y="241"/>
                </a:lnTo>
                <a:lnTo>
                  <a:pt x="990" y="230"/>
                </a:lnTo>
                <a:lnTo>
                  <a:pt x="980" y="237"/>
                </a:lnTo>
                <a:lnTo>
                  <a:pt x="988" y="247"/>
                </a:lnTo>
                <a:lnTo>
                  <a:pt x="987" y="254"/>
                </a:lnTo>
                <a:lnTo>
                  <a:pt x="1012" y="230"/>
                </a:lnTo>
                <a:lnTo>
                  <a:pt x="1011" y="232"/>
                </a:lnTo>
                <a:lnTo>
                  <a:pt x="1016" y="217"/>
                </a:lnTo>
                <a:lnTo>
                  <a:pt x="1025" y="199"/>
                </a:lnTo>
                <a:lnTo>
                  <a:pt x="1023" y="206"/>
                </a:lnTo>
                <a:lnTo>
                  <a:pt x="1030" y="202"/>
                </a:lnTo>
                <a:lnTo>
                  <a:pt x="1053" y="198"/>
                </a:lnTo>
                <a:lnTo>
                  <a:pt x="1074" y="194"/>
                </a:lnTo>
                <a:lnTo>
                  <a:pt x="1079" y="187"/>
                </a:lnTo>
                <a:lnTo>
                  <a:pt x="1083" y="187"/>
                </a:lnTo>
                <a:lnTo>
                  <a:pt x="1084" y="188"/>
                </a:lnTo>
                <a:lnTo>
                  <a:pt x="1092" y="192"/>
                </a:lnTo>
                <a:lnTo>
                  <a:pt x="1096" y="193"/>
                </a:lnTo>
                <a:lnTo>
                  <a:pt x="1109" y="187"/>
                </a:lnTo>
                <a:lnTo>
                  <a:pt x="1109" y="177"/>
                </a:lnTo>
                <a:lnTo>
                  <a:pt x="1109" y="183"/>
                </a:lnTo>
                <a:lnTo>
                  <a:pt x="1097" y="178"/>
                </a:lnTo>
                <a:lnTo>
                  <a:pt x="1100" y="165"/>
                </a:lnTo>
                <a:lnTo>
                  <a:pt x="1101" y="160"/>
                </a:lnTo>
                <a:lnTo>
                  <a:pt x="1124" y="135"/>
                </a:lnTo>
                <a:lnTo>
                  <a:pt x="1131" y="132"/>
                </a:lnTo>
                <a:lnTo>
                  <a:pt x="1134" y="133"/>
                </a:lnTo>
                <a:lnTo>
                  <a:pt x="1152" y="117"/>
                </a:lnTo>
                <a:lnTo>
                  <a:pt x="1152" y="120"/>
                </a:lnTo>
                <a:lnTo>
                  <a:pt x="1157" y="118"/>
                </a:lnTo>
                <a:lnTo>
                  <a:pt x="1167" y="121"/>
                </a:lnTo>
                <a:lnTo>
                  <a:pt x="1192" y="109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73" name="Freeform 256"/>
          <p:cNvSpPr>
            <a:spLocks/>
          </p:cNvSpPr>
          <p:nvPr/>
        </p:nvSpPr>
        <p:spPr bwMode="auto">
          <a:xfrm>
            <a:off x="749300" y="2387600"/>
            <a:ext cx="1009650" cy="500063"/>
          </a:xfrm>
          <a:custGeom>
            <a:avLst/>
            <a:gdLst>
              <a:gd name="T0" fmla="*/ 2147483647 w 760"/>
              <a:gd name="T1" fmla="*/ 2147483647 h 365"/>
              <a:gd name="T2" fmla="*/ 2147483647 w 760"/>
              <a:gd name="T3" fmla="*/ 2147483647 h 365"/>
              <a:gd name="T4" fmla="*/ 2147483647 w 760"/>
              <a:gd name="T5" fmla="*/ 2147483647 h 365"/>
              <a:gd name="T6" fmla="*/ 2147483647 w 760"/>
              <a:gd name="T7" fmla="*/ 2147483647 h 365"/>
              <a:gd name="T8" fmla="*/ 2147483647 w 760"/>
              <a:gd name="T9" fmla="*/ 2147483647 h 365"/>
              <a:gd name="T10" fmla="*/ 2147483647 w 760"/>
              <a:gd name="T11" fmla="*/ 2147483647 h 365"/>
              <a:gd name="T12" fmla="*/ 2147483647 w 760"/>
              <a:gd name="T13" fmla="*/ 2147483647 h 365"/>
              <a:gd name="T14" fmla="*/ 2147483647 w 760"/>
              <a:gd name="T15" fmla="*/ 2147483647 h 365"/>
              <a:gd name="T16" fmla="*/ 2147483647 w 760"/>
              <a:gd name="T17" fmla="*/ 2147483647 h 365"/>
              <a:gd name="T18" fmla="*/ 2147483647 w 760"/>
              <a:gd name="T19" fmla="*/ 2147483647 h 365"/>
              <a:gd name="T20" fmla="*/ 2147483647 w 760"/>
              <a:gd name="T21" fmla="*/ 2147483647 h 365"/>
              <a:gd name="T22" fmla="*/ 2147483647 w 760"/>
              <a:gd name="T23" fmla="*/ 2147483647 h 365"/>
              <a:gd name="T24" fmla="*/ 2147483647 w 760"/>
              <a:gd name="T25" fmla="*/ 2147483647 h 365"/>
              <a:gd name="T26" fmla="*/ 2147483647 w 760"/>
              <a:gd name="T27" fmla="*/ 2147483647 h 365"/>
              <a:gd name="T28" fmla="*/ 2147483647 w 760"/>
              <a:gd name="T29" fmla="*/ 2147483647 h 365"/>
              <a:gd name="T30" fmla="*/ 2147483647 w 760"/>
              <a:gd name="T31" fmla="*/ 2147483647 h 365"/>
              <a:gd name="T32" fmla="*/ 2147483647 w 760"/>
              <a:gd name="T33" fmla="*/ 2147483647 h 365"/>
              <a:gd name="T34" fmla="*/ 2147483647 w 760"/>
              <a:gd name="T35" fmla="*/ 2147483647 h 365"/>
              <a:gd name="T36" fmla="*/ 2147483647 w 760"/>
              <a:gd name="T37" fmla="*/ 2147483647 h 365"/>
              <a:gd name="T38" fmla="*/ 2147483647 w 760"/>
              <a:gd name="T39" fmla="*/ 2147483647 h 365"/>
              <a:gd name="T40" fmla="*/ 2147483647 w 760"/>
              <a:gd name="T41" fmla="*/ 2147483647 h 365"/>
              <a:gd name="T42" fmla="*/ 2147483647 w 760"/>
              <a:gd name="T43" fmla="*/ 2147483647 h 365"/>
              <a:gd name="T44" fmla="*/ 2147483647 w 760"/>
              <a:gd name="T45" fmla="*/ 2147483647 h 365"/>
              <a:gd name="T46" fmla="*/ 2147483647 w 760"/>
              <a:gd name="T47" fmla="*/ 2147483647 h 365"/>
              <a:gd name="T48" fmla="*/ 2147483647 w 760"/>
              <a:gd name="T49" fmla="*/ 2147483647 h 365"/>
              <a:gd name="T50" fmla="*/ 2147483647 w 760"/>
              <a:gd name="T51" fmla="*/ 2147483647 h 365"/>
              <a:gd name="T52" fmla="*/ 2147483647 w 760"/>
              <a:gd name="T53" fmla="*/ 2147483647 h 365"/>
              <a:gd name="T54" fmla="*/ 2147483647 w 760"/>
              <a:gd name="T55" fmla="*/ 2147483647 h 365"/>
              <a:gd name="T56" fmla="*/ 2147483647 w 760"/>
              <a:gd name="T57" fmla="*/ 2147483647 h 365"/>
              <a:gd name="T58" fmla="*/ 2147483647 w 760"/>
              <a:gd name="T59" fmla="*/ 2147483647 h 365"/>
              <a:gd name="T60" fmla="*/ 2147483647 w 760"/>
              <a:gd name="T61" fmla="*/ 2147483647 h 365"/>
              <a:gd name="T62" fmla="*/ 2147483647 w 760"/>
              <a:gd name="T63" fmla="*/ 2147483647 h 365"/>
              <a:gd name="T64" fmla="*/ 2147483647 w 760"/>
              <a:gd name="T65" fmla="*/ 2147483647 h 365"/>
              <a:gd name="T66" fmla="*/ 2147483647 w 760"/>
              <a:gd name="T67" fmla="*/ 2147483647 h 365"/>
              <a:gd name="T68" fmla="*/ 2147483647 w 760"/>
              <a:gd name="T69" fmla="*/ 2147483647 h 365"/>
              <a:gd name="T70" fmla="*/ 2147483647 w 760"/>
              <a:gd name="T71" fmla="*/ 2147483647 h 365"/>
              <a:gd name="T72" fmla="*/ 2147483647 w 760"/>
              <a:gd name="T73" fmla="*/ 2147483647 h 365"/>
              <a:gd name="T74" fmla="*/ 2147483647 w 760"/>
              <a:gd name="T75" fmla="*/ 2147483647 h 365"/>
              <a:gd name="T76" fmla="*/ 2147483647 w 760"/>
              <a:gd name="T77" fmla="*/ 2147483647 h 365"/>
              <a:gd name="T78" fmla="*/ 2147483647 w 760"/>
              <a:gd name="T79" fmla="*/ 2147483647 h 365"/>
              <a:gd name="T80" fmla="*/ 2147483647 w 760"/>
              <a:gd name="T81" fmla="*/ 2147483647 h 365"/>
              <a:gd name="T82" fmla="*/ 2147483647 w 760"/>
              <a:gd name="T83" fmla="*/ 2147483647 h 365"/>
              <a:gd name="T84" fmla="*/ 2147483647 w 760"/>
              <a:gd name="T85" fmla="*/ 2147483647 h 365"/>
              <a:gd name="T86" fmla="*/ 2147483647 w 760"/>
              <a:gd name="T87" fmla="*/ 2147483647 h 365"/>
              <a:gd name="T88" fmla="*/ 2147483647 w 760"/>
              <a:gd name="T89" fmla="*/ 2147483647 h 365"/>
              <a:gd name="T90" fmla="*/ 2147483647 w 760"/>
              <a:gd name="T91" fmla="*/ 2147483647 h 365"/>
              <a:gd name="T92" fmla="*/ 2147483647 w 760"/>
              <a:gd name="T93" fmla="*/ 2147483647 h 365"/>
              <a:gd name="T94" fmla="*/ 2147483647 w 760"/>
              <a:gd name="T95" fmla="*/ 2147483647 h 365"/>
              <a:gd name="T96" fmla="*/ 2147483647 w 760"/>
              <a:gd name="T97" fmla="*/ 2147483647 h 365"/>
              <a:gd name="T98" fmla="*/ 2147483647 w 760"/>
              <a:gd name="T99" fmla="*/ 2147483647 h 365"/>
              <a:gd name="T100" fmla="*/ 2147483647 w 760"/>
              <a:gd name="T101" fmla="*/ 2147483647 h 365"/>
              <a:gd name="T102" fmla="*/ 2147483647 w 760"/>
              <a:gd name="T103" fmla="*/ 2147483647 h 365"/>
              <a:gd name="T104" fmla="*/ 2147483647 w 760"/>
              <a:gd name="T105" fmla="*/ 2147483647 h 365"/>
              <a:gd name="T106" fmla="*/ 2147483647 w 760"/>
              <a:gd name="T107" fmla="*/ 2147483647 h 36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760"/>
              <a:gd name="T163" fmla="*/ 0 h 365"/>
              <a:gd name="T164" fmla="*/ 760 w 760"/>
              <a:gd name="T165" fmla="*/ 365 h 365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760" h="365">
                <a:moveTo>
                  <a:pt x="616" y="353"/>
                </a:moveTo>
                <a:lnTo>
                  <a:pt x="629" y="339"/>
                </a:lnTo>
                <a:lnTo>
                  <a:pt x="620" y="328"/>
                </a:lnTo>
                <a:lnTo>
                  <a:pt x="611" y="317"/>
                </a:lnTo>
                <a:lnTo>
                  <a:pt x="616" y="295"/>
                </a:lnTo>
                <a:lnTo>
                  <a:pt x="619" y="274"/>
                </a:lnTo>
                <a:lnTo>
                  <a:pt x="613" y="250"/>
                </a:lnTo>
                <a:lnTo>
                  <a:pt x="589" y="257"/>
                </a:lnTo>
                <a:lnTo>
                  <a:pt x="576" y="264"/>
                </a:lnTo>
                <a:lnTo>
                  <a:pt x="559" y="270"/>
                </a:lnTo>
                <a:lnTo>
                  <a:pt x="559" y="247"/>
                </a:lnTo>
                <a:lnTo>
                  <a:pt x="554" y="243"/>
                </a:lnTo>
                <a:lnTo>
                  <a:pt x="563" y="237"/>
                </a:lnTo>
                <a:lnTo>
                  <a:pt x="528" y="238"/>
                </a:lnTo>
                <a:lnTo>
                  <a:pt x="557" y="211"/>
                </a:lnTo>
                <a:lnTo>
                  <a:pt x="584" y="186"/>
                </a:lnTo>
                <a:lnTo>
                  <a:pt x="613" y="160"/>
                </a:lnTo>
                <a:lnTo>
                  <a:pt x="641" y="133"/>
                </a:lnTo>
                <a:lnTo>
                  <a:pt x="671" y="108"/>
                </a:lnTo>
                <a:lnTo>
                  <a:pt x="700" y="84"/>
                </a:lnTo>
                <a:lnTo>
                  <a:pt x="730" y="59"/>
                </a:lnTo>
                <a:lnTo>
                  <a:pt x="760" y="34"/>
                </a:lnTo>
                <a:lnTo>
                  <a:pt x="722" y="25"/>
                </a:lnTo>
                <a:lnTo>
                  <a:pt x="689" y="22"/>
                </a:lnTo>
                <a:lnTo>
                  <a:pt x="655" y="18"/>
                </a:lnTo>
                <a:lnTo>
                  <a:pt x="611" y="16"/>
                </a:lnTo>
                <a:lnTo>
                  <a:pt x="608" y="12"/>
                </a:lnTo>
                <a:lnTo>
                  <a:pt x="592" y="9"/>
                </a:lnTo>
                <a:lnTo>
                  <a:pt x="582" y="9"/>
                </a:lnTo>
                <a:lnTo>
                  <a:pt x="577" y="6"/>
                </a:lnTo>
                <a:lnTo>
                  <a:pt x="560" y="9"/>
                </a:lnTo>
                <a:lnTo>
                  <a:pt x="571" y="3"/>
                </a:lnTo>
                <a:lnTo>
                  <a:pt x="559" y="0"/>
                </a:lnTo>
                <a:lnTo>
                  <a:pt x="515" y="11"/>
                </a:lnTo>
                <a:lnTo>
                  <a:pt x="506" y="10"/>
                </a:lnTo>
                <a:lnTo>
                  <a:pt x="491" y="13"/>
                </a:lnTo>
                <a:lnTo>
                  <a:pt x="488" y="17"/>
                </a:lnTo>
                <a:lnTo>
                  <a:pt x="479" y="23"/>
                </a:lnTo>
                <a:lnTo>
                  <a:pt x="485" y="15"/>
                </a:lnTo>
                <a:lnTo>
                  <a:pt x="448" y="22"/>
                </a:lnTo>
                <a:lnTo>
                  <a:pt x="408" y="36"/>
                </a:lnTo>
                <a:lnTo>
                  <a:pt x="370" y="49"/>
                </a:lnTo>
                <a:lnTo>
                  <a:pt x="337" y="51"/>
                </a:lnTo>
                <a:lnTo>
                  <a:pt x="317" y="61"/>
                </a:lnTo>
                <a:lnTo>
                  <a:pt x="331" y="83"/>
                </a:lnTo>
                <a:lnTo>
                  <a:pt x="325" y="88"/>
                </a:lnTo>
                <a:lnTo>
                  <a:pt x="352" y="93"/>
                </a:lnTo>
                <a:lnTo>
                  <a:pt x="344" y="101"/>
                </a:lnTo>
                <a:lnTo>
                  <a:pt x="365" y="101"/>
                </a:lnTo>
                <a:lnTo>
                  <a:pt x="338" y="101"/>
                </a:lnTo>
                <a:lnTo>
                  <a:pt x="337" y="93"/>
                </a:lnTo>
                <a:lnTo>
                  <a:pt x="332" y="105"/>
                </a:lnTo>
                <a:lnTo>
                  <a:pt x="341" y="109"/>
                </a:lnTo>
                <a:lnTo>
                  <a:pt x="328" y="111"/>
                </a:lnTo>
                <a:lnTo>
                  <a:pt x="290" y="107"/>
                </a:lnTo>
                <a:lnTo>
                  <a:pt x="306" y="99"/>
                </a:lnTo>
                <a:lnTo>
                  <a:pt x="263" y="107"/>
                </a:lnTo>
                <a:lnTo>
                  <a:pt x="208" y="120"/>
                </a:lnTo>
                <a:lnTo>
                  <a:pt x="227" y="127"/>
                </a:lnTo>
                <a:lnTo>
                  <a:pt x="215" y="130"/>
                </a:lnTo>
                <a:lnTo>
                  <a:pt x="211" y="143"/>
                </a:lnTo>
                <a:lnTo>
                  <a:pt x="258" y="143"/>
                </a:lnTo>
                <a:lnTo>
                  <a:pt x="264" y="147"/>
                </a:lnTo>
                <a:lnTo>
                  <a:pt x="304" y="135"/>
                </a:lnTo>
                <a:lnTo>
                  <a:pt x="295" y="144"/>
                </a:lnTo>
                <a:lnTo>
                  <a:pt x="288" y="147"/>
                </a:lnTo>
                <a:lnTo>
                  <a:pt x="278" y="160"/>
                </a:lnTo>
                <a:lnTo>
                  <a:pt x="250" y="167"/>
                </a:lnTo>
                <a:lnTo>
                  <a:pt x="206" y="178"/>
                </a:lnTo>
                <a:lnTo>
                  <a:pt x="214" y="173"/>
                </a:lnTo>
                <a:lnTo>
                  <a:pt x="198" y="177"/>
                </a:lnTo>
                <a:lnTo>
                  <a:pt x="178" y="186"/>
                </a:lnTo>
                <a:lnTo>
                  <a:pt x="181" y="186"/>
                </a:lnTo>
                <a:lnTo>
                  <a:pt x="173" y="190"/>
                </a:lnTo>
                <a:lnTo>
                  <a:pt x="143" y="202"/>
                </a:lnTo>
                <a:lnTo>
                  <a:pt x="133" y="204"/>
                </a:lnTo>
                <a:lnTo>
                  <a:pt x="134" y="207"/>
                </a:lnTo>
                <a:lnTo>
                  <a:pt x="124" y="210"/>
                </a:lnTo>
                <a:lnTo>
                  <a:pt x="127" y="217"/>
                </a:lnTo>
                <a:lnTo>
                  <a:pt x="149" y="210"/>
                </a:lnTo>
                <a:lnTo>
                  <a:pt x="130" y="220"/>
                </a:lnTo>
                <a:lnTo>
                  <a:pt x="130" y="222"/>
                </a:lnTo>
                <a:lnTo>
                  <a:pt x="151" y="225"/>
                </a:lnTo>
                <a:lnTo>
                  <a:pt x="143" y="226"/>
                </a:lnTo>
                <a:lnTo>
                  <a:pt x="148" y="229"/>
                </a:lnTo>
                <a:lnTo>
                  <a:pt x="133" y="229"/>
                </a:lnTo>
                <a:lnTo>
                  <a:pt x="126" y="226"/>
                </a:lnTo>
                <a:lnTo>
                  <a:pt x="112" y="233"/>
                </a:lnTo>
                <a:lnTo>
                  <a:pt x="119" y="250"/>
                </a:lnTo>
                <a:lnTo>
                  <a:pt x="150" y="240"/>
                </a:lnTo>
                <a:lnTo>
                  <a:pt x="170" y="231"/>
                </a:lnTo>
                <a:lnTo>
                  <a:pt x="150" y="245"/>
                </a:lnTo>
                <a:lnTo>
                  <a:pt x="138" y="259"/>
                </a:lnTo>
                <a:lnTo>
                  <a:pt x="132" y="265"/>
                </a:lnTo>
                <a:lnTo>
                  <a:pt x="132" y="267"/>
                </a:lnTo>
                <a:lnTo>
                  <a:pt x="120" y="276"/>
                </a:lnTo>
                <a:lnTo>
                  <a:pt x="157" y="270"/>
                </a:lnTo>
                <a:lnTo>
                  <a:pt x="167" y="271"/>
                </a:lnTo>
                <a:lnTo>
                  <a:pt x="167" y="281"/>
                </a:lnTo>
                <a:lnTo>
                  <a:pt x="190" y="267"/>
                </a:lnTo>
                <a:lnTo>
                  <a:pt x="196" y="268"/>
                </a:lnTo>
                <a:lnTo>
                  <a:pt x="184" y="273"/>
                </a:lnTo>
                <a:lnTo>
                  <a:pt x="185" y="277"/>
                </a:lnTo>
                <a:lnTo>
                  <a:pt x="218" y="268"/>
                </a:lnTo>
                <a:lnTo>
                  <a:pt x="188" y="286"/>
                </a:lnTo>
                <a:lnTo>
                  <a:pt x="193" y="286"/>
                </a:lnTo>
                <a:lnTo>
                  <a:pt x="188" y="286"/>
                </a:lnTo>
                <a:lnTo>
                  <a:pt x="170" y="300"/>
                </a:lnTo>
                <a:lnTo>
                  <a:pt x="161" y="303"/>
                </a:lnTo>
                <a:lnTo>
                  <a:pt x="131" y="319"/>
                </a:lnTo>
                <a:lnTo>
                  <a:pt x="83" y="333"/>
                </a:lnTo>
                <a:lnTo>
                  <a:pt x="78" y="341"/>
                </a:lnTo>
                <a:lnTo>
                  <a:pt x="71" y="341"/>
                </a:lnTo>
                <a:lnTo>
                  <a:pt x="66" y="343"/>
                </a:lnTo>
                <a:lnTo>
                  <a:pt x="66" y="340"/>
                </a:lnTo>
                <a:lnTo>
                  <a:pt x="50" y="340"/>
                </a:lnTo>
                <a:lnTo>
                  <a:pt x="0" y="361"/>
                </a:lnTo>
                <a:lnTo>
                  <a:pt x="2" y="359"/>
                </a:lnTo>
                <a:lnTo>
                  <a:pt x="6" y="361"/>
                </a:lnTo>
                <a:lnTo>
                  <a:pt x="17" y="357"/>
                </a:lnTo>
                <a:lnTo>
                  <a:pt x="20" y="359"/>
                </a:lnTo>
                <a:lnTo>
                  <a:pt x="42" y="348"/>
                </a:lnTo>
                <a:lnTo>
                  <a:pt x="54" y="348"/>
                </a:lnTo>
                <a:lnTo>
                  <a:pt x="45" y="349"/>
                </a:lnTo>
                <a:lnTo>
                  <a:pt x="70" y="345"/>
                </a:lnTo>
                <a:lnTo>
                  <a:pt x="85" y="343"/>
                </a:lnTo>
                <a:lnTo>
                  <a:pt x="89" y="342"/>
                </a:lnTo>
                <a:lnTo>
                  <a:pt x="112" y="336"/>
                </a:lnTo>
                <a:lnTo>
                  <a:pt x="118" y="335"/>
                </a:lnTo>
                <a:lnTo>
                  <a:pt x="122" y="330"/>
                </a:lnTo>
                <a:lnTo>
                  <a:pt x="181" y="309"/>
                </a:lnTo>
                <a:lnTo>
                  <a:pt x="232" y="291"/>
                </a:lnTo>
                <a:lnTo>
                  <a:pt x="277" y="271"/>
                </a:lnTo>
                <a:lnTo>
                  <a:pt x="268" y="265"/>
                </a:lnTo>
                <a:lnTo>
                  <a:pt x="306" y="249"/>
                </a:lnTo>
                <a:lnTo>
                  <a:pt x="314" y="246"/>
                </a:lnTo>
                <a:lnTo>
                  <a:pt x="320" y="239"/>
                </a:lnTo>
                <a:lnTo>
                  <a:pt x="354" y="226"/>
                </a:lnTo>
                <a:lnTo>
                  <a:pt x="386" y="216"/>
                </a:lnTo>
                <a:lnTo>
                  <a:pt x="410" y="211"/>
                </a:lnTo>
                <a:lnTo>
                  <a:pt x="395" y="217"/>
                </a:lnTo>
                <a:lnTo>
                  <a:pt x="398" y="223"/>
                </a:lnTo>
                <a:lnTo>
                  <a:pt x="391" y="223"/>
                </a:lnTo>
                <a:lnTo>
                  <a:pt x="358" y="228"/>
                </a:lnTo>
                <a:lnTo>
                  <a:pt x="325" y="252"/>
                </a:lnTo>
                <a:lnTo>
                  <a:pt x="341" y="250"/>
                </a:lnTo>
                <a:lnTo>
                  <a:pt x="316" y="259"/>
                </a:lnTo>
                <a:lnTo>
                  <a:pt x="329" y="262"/>
                </a:lnTo>
                <a:lnTo>
                  <a:pt x="353" y="251"/>
                </a:lnTo>
                <a:lnTo>
                  <a:pt x="346" y="256"/>
                </a:lnTo>
                <a:lnTo>
                  <a:pt x="354" y="251"/>
                </a:lnTo>
                <a:lnTo>
                  <a:pt x="360" y="252"/>
                </a:lnTo>
                <a:lnTo>
                  <a:pt x="362" y="249"/>
                </a:lnTo>
                <a:lnTo>
                  <a:pt x="364" y="251"/>
                </a:lnTo>
                <a:lnTo>
                  <a:pt x="376" y="244"/>
                </a:lnTo>
                <a:lnTo>
                  <a:pt x="385" y="246"/>
                </a:lnTo>
                <a:lnTo>
                  <a:pt x="408" y="235"/>
                </a:lnTo>
                <a:lnTo>
                  <a:pt x="404" y="233"/>
                </a:lnTo>
                <a:lnTo>
                  <a:pt x="412" y="231"/>
                </a:lnTo>
                <a:lnTo>
                  <a:pt x="407" y="228"/>
                </a:lnTo>
                <a:lnTo>
                  <a:pt x="418" y="225"/>
                </a:lnTo>
                <a:lnTo>
                  <a:pt x="436" y="216"/>
                </a:lnTo>
                <a:lnTo>
                  <a:pt x="421" y="223"/>
                </a:lnTo>
                <a:lnTo>
                  <a:pt x="431" y="222"/>
                </a:lnTo>
                <a:lnTo>
                  <a:pt x="430" y="225"/>
                </a:lnTo>
                <a:lnTo>
                  <a:pt x="456" y="220"/>
                </a:lnTo>
                <a:lnTo>
                  <a:pt x="449" y="221"/>
                </a:lnTo>
                <a:lnTo>
                  <a:pt x="448" y="226"/>
                </a:lnTo>
                <a:lnTo>
                  <a:pt x="443" y="227"/>
                </a:lnTo>
                <a:lnTo>
                  <a:pt x="451" y="228"/>
                </a:lnTo>
                <a:lnTo>
                  <a:pt x="452" y="229"/>
                </a:lnTo>
                <a:lnTo>
                  <a:pt x="446" y="234"/>
                </a:lnTo>
                <a:lnTo>
                  <a:pt x="454" y="237"/>
                </a:lnTo>
                <a:lnTo>
                  <a:pt x="470" y="231"/>
                </a:lnTo>
                <a:lnTo>
                  <a:pt x="464" y="235"/>
                </a:lnTo>
                <a:lnTo>
                  <a:pt x="469" y="241"/>
                </a:lnTo>
                <a:lnTo>
                  <a:pt x="493" y="243"/>
                </a:lnTo>
                <a:lnTo>
                  <a:pt x="517" y="244"/>
                </a:lnTo>
                <a:lnTo>
                  <a:pt x="518" y="251"/>
                </a:lnTo>
                <a:lnTo>
                  <a:pt x="542" y="246"/>
                </a:lnTo>
                <a:lnTo>
                  <a:pt x="553" y="249"/>
                </a:lnTo>
                <a:lnTo>
                  <a:pt x="544" y="252"/>
                </a:lnTo>
                <a:lnTo>
                  <a:pt x="548" y="246"/>
                </a:lnTo>
                <a:lnTo>
                  <a:pt x="538" y="253"/>
                </a:lnTo>
                <a:lnTo>
                  <a:pt x="550" y="269"/>
                </a:lnTo>
                <a:lnTo>
                  <a:pt x="562" y="285"/>
                </a:lnTo>
                <a:lnTo>
                  <a:pt x="571" y="283"/>
                </a:lnTo>
                <a:lnTo>
                  <a:pt x="566" y="270"/>
                </a:lnTo>
                <a:lnTo>
                  <a:pt x="575" y="271"/>
                </a:lnTo>
                <a:lnTo>
                  <a:pt x="583" y="269"/>
                </a:lnTo>
                <a:lnTo>
                  <a:pt x="586" y="270"/>
                </a:lnTo>
                <a:lnTo>
                  <a:pt x="580" y="277"/>
                </a:lnTo>
                <a:lnTo>
                  <a:pt x="581" y="281"/>
                </a:lnTo>
                <a:lnTo>
                  <a:pt x="582" y="285"/>
                </a:lnTo>
                <a:lnTo>
                  <a:pt x="601" y="263"/>
                </a:lnTo>
                <a:lnTo>
                  <a:pt x="599" y="276"/>
                </a:lnTo>
                <a:lnTo>
                  <a:pt x="602" y="286"/>
                </a:lnTo>
                <a:lnTo>
                  <a:pt x="607" y="285"/>
                </a:lnTo>
                <a:lnTo>
                  <a:pt x="607" y="288"/>
                </a:lnTo>
                <a:lnTo>
                  <a:pt x="602" y="292"/>
                </a:lnTo>
                <a:lnTo>
                  <a:pt x="613" y="293"/>
                </a:lnTo>
                <a:lnTo>
                  <a:pt x="607" y="293"/>
                </a:lnTo>
                <a:lnTo>
                  <a:pt x="607" y="300"/>
                </a:lnTo>
                <a:lnTo>
                  <a:pt x="601" y="298"/>
                </a:lnTo>
                <a:lnTo>
                  <a:pt x="602" y="306"/>
                </a:lnTo>
                <a:lnTo>
                  <a:pt x="595" y="307"/>
                </a:lnTo>
                <a:lnTo>
                  <a:pt x="598" y="310"/>
                </a:lnTo>
                <a:lnTo>
                  <a:pt x="600" y="321"/>
                </a:lnTo>
                <a:lnTo>
                  <a:pt x="608" y="333"/>
                </a:lnTo>
                <a:lnTo>
                  <a:pt x="601" y="333"/>
                </a:lnTo>
                <a:lnTo>
                  <a:pt x="582" y="347"/>
                </a:lnTo>
                <a:lnTo>
                  <a:pt x="590" y="343"/>
                </a:lnTo>
                <a:lnTo>
                  <a:pt x="614" y="335"/>
                </a:lnTo>
                <a:lnTo>
                  <a:pt x="600" y="353"/>
                </a:lnTo>
                <a:lnTo>
                  <a:pt x="594" y="355"/>
                </a:lnTo>
                <a:lnTo>
                  <a:pt x="608" y="353"/>
                </a:lnTo>
                <a:lnTo>
                  <a:pt x="599" y="358"/>
                </a:lnTo>
                <a:lnTo>
                  <a:pt x="594" y="365"/>
                </a:lnTo>
                <a:lnTo>
                  <a:pt x="616" y="353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74" name="Freeform 257"/>
          <p:cNvSpPr>
            <a:spLocks/>
          </p:cNvSpPr>
          <p:nvPr/>
        </p:nvSpPr>
        <p:spPr bwMode="auto">
          <a:xfrm>
            <a:off x="2741613" y="3346450"/>
            <a:ext cx="65087" cy="12700"/>
          </a:xfrm>
          <a:custGeom>
            <a:avLst/>
            <a:gdLst>
              <a:gd name="T0" fmla="*/ 2147483647 w 47"/>
              <a:gd name="T1" fmla="*/ 0 h 11"/>
              <a:gd name="T2" fmla="*/ 2147483647 w 47"/>
              <a:gd name="T3" fmla="*/ 2147483647 h 11"/>
              <a:gd name="T4" fmla="*/ 2147483647 w 47"/>
              <a:gd name="T5" fmla="*/ 0 h 11"/>
              <a:gd name="T6" fmla="*/ 0 w 47"/>
              <a:gd name="T7" fmla="*/ 2147483647 h 11"/>
              <a:gd name="T8" fmla="*/ 2147483647 w 47"/>
              <a:gd name="T9" fmla="*/ 2147483647 h 11"/>
              <a:gd name="T10" fmla="*/ 2147483647 w 47"/>
              <a:gd name="T11" fmla="*/ 0 h 1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7"/>
              <a:gd name="T19" fmla="*/ 0 h 11"/>
              <a:gd name="T20" fmla="*/ 47 w 47"/>
              <a:gd name="T21" fmla="*/ 11 h 1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7" h="11">
                <a:moveTo>
                  <a:pt x="47" y="0"/>
                </a:moveTo>
                <a:lnTo>
                  <a:pt x="34" y="4"/>
                </a:lnTo>
                <a:lnTo>
                  <a:pt x="36" y="0"/>
                </a:lnTo>
                <a:lnTo>
                  <a:pt x="0" y="11"/>
                </a:lnTo>
                <a:lnTo>
                  <a:pt x="23" y="6"/>
                </a:lnTo>
                <a:lnTo>
                  <a:pt x="47" y="0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75" name="Freeform 258"/>
          <p:cNvSpPr>
            <a:spLocks/>
          </p:cNvSpPr>
          <p:nvPr/>
        </p:nvSpPr>
        <p:spPr bwMode="auto">
          <a:xfrm>
            <a:off x="3927475" y="3800475"/>
            <a:ext cx="246063" cy="234950"/>
          </a:xfrm>
          <a:custGeom>
            <a:avLst/>
            <a:gdLst>
              <a:gd name="T0" fmla="*/ 2147483647 w 183"/>
              <a:gd name="T1" fmla="*/ 2147483647 h 170"/>
              <a:gd name="T2" fmla="*/ 0 w 183"/>
              <a:gd name="T3" fmla="*/ 2147483647 h 170"/>
              <a:gd name="T4" fmla="*/ 2147483647 w 183"/>
              <a:gd name="T5" fmla="*/ 2147483647 h 170"/>
              <a:gd name="T6" fmla="*/ 2147483647 w 183"/>
              <a:gd name="T7" fmla="*/ 2147483647 h 170"/>
              <a:gd name="T8" fmla="*/ 2147483647 w 183"/>
              <a:gd name="T9" fmla="*/ 2147483647 h 170"/>
              <a:gd name="T10" fmla="*/ 2147483647 w 183"/>
              <a:gd name="T11" fmla="*/ 2147483647 h 170"/>
              <a:gd name="T12" fmla="*/ 2147483647 w 183"/>
              <a:gd name="T13" fmla="*/ 2147483647 h 170"/>
              <a:gd name="T14" fmla="*/ 2147483647 w 183"/>
              <a:gd name="T15" fmla="*/ 2147483647 h 170"/>
              <a:gd name="T16" fmla="*/ 2147483647 w 183"/>
              <a:gd name="T17" fmla="*/ 2147483647 h 170"/>
              <a:gd name="T18" fmla="*/ 2147483647 w 183"/>
              <a:gd name="T19" fmla="*/ 2147483647 h 170"/>
              <a:gd name="T20" fmla="*/ 2147483647 w 183"/>
              <a:gd name="T21" fmla="*/ 0 h 170"/>
              <a:gd name="T22" fmla="*/ 2147483647 w 183"/>
              <a:gd name="T23" fmla="*/ 0 h 170"/>
              <a:gd name="T24" fmla="*/ 2147483647 w 183"/>
              <a:gd name="T25" fmla="*/ 0 h 170"/>
              <a:gd name="T26" fmla="*/ 2147483647 w 183"/>
              <a:gd name="T27" fmla="*/ 0 h 170"/>
              <a:gd name="T28" fmla="*/ 2147483647 w 183"/>
              <a:gd name="T29" fmla="*/ 0 h 170"/>
              <a:gd name="T30" fmla="*/ 2147483647 w 183"/>
              <a:gd name="T31" fmla="*/ 2147483647 h 170"/>
              <a:gd name="T32" fmla="*/ 2147483647 w 183"/>
              <a:gd name="T33" fmla="*/ 2147483647 h 170"/>
              <a:gd name="T34" fmla="*/ 2147483647 w 183"/>
              <a:gd name="T35" fmla="*/ 2147483647 h 170"/>
              <a:gd name="T36" fmla="*/ 2147483647 w 183"/>
              <a:gd name="T37" fmla="*/ 2147483647 h 170"/>
              <a:gd name="T38" fmla="*/ 2147483647 w 183"/>
              <a:gd name="T39" fmla="*/ 2147483647 h 170"/>
              <a:gd name="T40" fmla="*/ 2147483647 w 183"/>
              <a:gd name="T41" fmla="*/ 2147483647 h 170"/>
              <a:gd name="T42" fmla="*/ 2147483647 w 183"/>
              <a:gd name="T43" fmla="*/ 2147483647 h 170"/>
              <a:gd name="T44" fmla="*/ 2147483647 w 183"/>
              <a:gd name="T45" fmla="*/ 2147483647 h 170"/>
              <a:gd name="T46" fmla="*/ 2147483647 w 183"/>
              <a:gd name="T47" fmla="*/ 2147483647 h 170"/>
              <a:gd name="T48" fmla="*/ 2147483647 w 183"/>
              <a:gd name="T49" fmla="*/ 2147483647 h 170"/>
              <a:gd name="T50" fmla="*/ 2147483647 w 183"/>
              <a:gd name="T51" fmla="*/ 2147483647 h 170"/>
              <a:gd name="T52" fmla="*/ 2147483647 w 183"/>
              <a:gd name="T53" fmla="*/ 2147483647 h 170"/>
              <a:gd name="T54" fmla="*/ 2147483647 w 183"/>
              <a:gd name="T55" fmla="*/ 2147483647 h 170"/>
              <a:gd name="T56" fmla="*/ 2147483647 w 183"/>
              <a:gd name="T57" fmla="*/ 2147483647 h 170"/>
              <a:gd name="T58" fmla="*/ 2147483647 w 183"/>
              <a:gd name="T59" fmla="*/ 2147483647 h 170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83"/>
              <a:gd name="T91" fmla="*/ 0 h 170"/>
              <a:gd name="T92" fmla="*/ 183 w 183"/>
              <a:gd name="T93" fmla="*/ 170 h 170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83" h="170">
                <a:moveTo>
                  <a:pt x="3" y="157"/>
                </a:moveTo>
                <a:lnTo>
                  <a:pt x="0" y="170"/>
                </a:lnTo>
                <a:lnTo>
                  <a:pt x="1" y="157"/>
                </a:lnTo>
                <a:lnTo>
                  <a:pt x="15" y="126"/>
                </a:lnTo>
                <a:lnTo>
                  <a:pt x="30" y="96"/>
                </a:lnTo>
                <a:lnTo>
                  <a:pt x="26" y="98"/>
                </a:lnTo>
                <a:lnTo>
                  <a:pt x="43" y="79"/>
                </a:lnTo>
                <a:lnTo>
                  <a:pt x="50" y="60"/>
                </a:lnTo>
                <a:lnTo>
                  <a:pt x="59" y="40"/>
                </a:lnTo>
                <a:lnTo>
                  <a:pt x="75" y="25"/>
                </a:lnTo>
                <a:lnTo>
                  <a:pt x="87" y="0"/>
                </a:lnTo>
                <a:lnTo>
                  <a:pt x="111" y="0"/>
                </a:lnTo>
                <a:lnTo>
                  <a:pt x="135" y="0"/>
                </a:lnTo>
                <a:lnTo>
                  <a:pt x="159" y="0"/>
                </a:lnTo>
                <a:lnTo>
                  <a:pt x="183" y="0"/>
                </a:lnTo>
                <a:lnTo>
                  <a:pt x="183" y="9"/>
                </a:lnTo>
                <a:lnTo>
                  <a:pt x="182" y="40"/>
                </a:lnTo>
                <a:lnTo>
                  <a:pt x="165" y="40"/>
                </a:lnTo>
                <a:lnTo>
                  <a:pt x="147" y="40"/>
                </a:lnTo>
                <a:lnTo>
                  <a:pt x="129" y="40"/>
                </a:lnTo>
                <a:lnTo>
                  <a:pt x="111" y="40"/>
                </a:lnTo>
                <a:lnTo>
                  <a:pt x="110" y="73"/>
                </a:lnTo>
                <a:lnTo>
                  <a:pt x="110" y="104"/>
                </a:lnTo>
                <a:lnTo>
                  <a:pt x="89" y="115"/>
                </a:lnTo>
                <a:lnTo>
                  <a:pt x="89" y="135"/>
                </a:lnTo>
                <a:lnTo>
                  <a:pt x="87" y="157"/>
                </a:lnTo>
                <a:lnTo>
                  <a:pt x="67" y="157"/>
                </a:lnTo>
                <a:lnTo>
                  <a:pt x="45" y="157"/>
                </a:lnTo>
                <a:lnTo>
                  <a:pt x="24" y="157"/>
                </a:lnTo>
                <a:lnTo>
                  <a:pt x="3" y="157"/>
                </a:lnTo>
                <a:close/>
              </a:path>
            </a:pathLst>
          </a:custGeom>
          <a:gradFill rotWithShape="1">
            <a:gsLst>
              <a:gs pos="0">
                <a:srgbClr val="DDDDDD">
                  <a:alpha val="98000"/>
                </a:srgbClr>
              </a:gs>
              <a:gs pos="100000">
                <a:schemeClr val="bg1">
                  <a:alpha val="98000"/>
                </a:schemeClr>
              </a:gs>
            </a:gsLst>
            <a:lin ang="5400000" scaled="1"/>
          </a:gra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76" name="Freeform 268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49250" y="4991100"/>
            <a:ext cx="2074863" cy="1296988"/>
          </a:xfrm>
          <a:custGeom>
            <a:avLst/>
            <a:gdLst>
              <a:gd name="T0" fmla="*/ 2147483647 w 1307"/>
              <a:gd name="T1" fmla="*/ 2147483647 h 817"/>
              <a:gd name="T2" fmla="*/ 0 w 1307"/>
              <a:gd name="T3" fmla="*/ 2147483647 h 817"/>
              <a:gd name="T4" fmla="*/ 0 w 1307"/>
              <a:gd name="T5" fmla="*/ 2147483647 h 817"/>
              <a:gd name="T6" fmla="*/ 2147483647 w 1307"/>
              <a:gd name="T7" fmla="*/ 2147483647 h 817"/>
              <a:gd name="T8" fmla="*/ 2147483647 w 1307"/>
              <a:gd name="T9" fmla="*/ 2147483647 h 817"/>
              <a:gd name="T10" fmla="*/ 2147483647 w 1307"/>
              <a:gd name="T11" fmla="*/ 2147483647 h 817"/>
              <a:gd name="T12" fmla="*/ 2147483647 w 1307"/>
              <a:gd name="T13" fmla="*/ 2147483647 h 817"/>
              <a:gd name="T14" fmla="*/ 2147483647 w 1307"/>
              <a:gd name="T15" fmla="*/ 2147483647 h 817"/>
              <a:gd name="T16" fmla="*/ 2147483647 w 1307"/>
              <a:gd name="T17" fmla="*/ 2147483647 h 817"/>
              <a:gd name="T18" fmla="*/ 2147483647 w 1307"/>
              <a:gd name="T19" fmla="*/ 2147483647 h 817"/>
              <a:gd name="T20" fmla="*/ 2147483647 w 1307"/>
              <a:gd name="T21" fmla="*/ 2147483647 h 817"/>
              <a:gd name="T22" fmla="*/ 2147483647 w 1307"/>
              <a:gd name="T23" fmla="*/ 2147483647 h 817"/>
              <a:gd name="T24" fmla="*/ 2147483647 w 1307"/>
              <a:gd name="T25" fmla="*/ 2147483647 h 817"/>
              <a:gd name="T26" fmla="*/ 2147483647 w 1307"/>
              <a:gd name="T27" fmla="*/ 2147483647 h 817"/>
              <a:gd name="T28" fmla="*/ 2147483647 w 1307"/>
              <a:gd name="T29" fmla="*/ 2147483647 h 817"/>
              <a:gd name="T30" fmla="*/ 2147483647 w 1307"/>
              <a:gd name="T31" fmla="*/ 2147483647 h 817"/>
              <a:gd name="T32" fmla="*/ 2147483647 w 1307"/>
              <a:gd name="T33" fmla="*/ 2147483647 h 817"/>
              <a:gd name="T34" fmla="*/ 2147483647 w 1307"/>
              <a:gd name="T35" fmla="*/ 2147483647 h 817"/>
              <a:gd name="T36" fmla="*/ 2147483647 w 1307"/>
              <a:gd name="T37" fmla="*/ 2147483647 h 817"/>
              <a:gd name="T38" fmla="*/ 2147483647 w 1307"/>
              <a:gd name="T39" fmla="*/ 2147483647 h 817"/>
              <a:gd name="T40" fmla="*/ 2147483647 w 1307"/>
              <a:gd name="T41" fmla="*/ 2147483647 h 817"/>
              <a:gd name="T42" fmla="*/ 2147483647 w 1307"/>
              <a:gd name="T43" fmla="*/ 2147483647 h 817"/>
              <a:gd name="T44" fmla="*/ 2147483647 w 1307"/>
              <a:gd name="T45" fmla="*/ 2147483647 h 817"/>
              <a:gd name="T46" fmla="*/ 2147483647 w 1307"/>
              <a:gd name="T47" fmla="*/ 2147483647 h 817"/>
              <a:gd name="T48" fmla="*/ 2147483647 w 1307"/>
              <a:gd name="T49" fmla="*/ 2147483647 h 817"/>
              <a:gd name="T50" fmla="*/ 2147483647 w 1307"/>
              <a:gd name="T51" fmla="*/ 2147483647 h 817"/>
              <a:gd name="T52" fmla="*/ 2147483647 w 1307"/>
              <a:gd name="T53" fmla="*/ 2147483647 h 817"/>
              <a:gd name="T54" fmla="*/ 2147483647 w 1307"/>
              <a:gd name="T55" fmla="*/ 2147483647 h 817"/>
              <a:gd name="T56" fmla="*/ 2147483647 w 1307"/>
              <a:gd name="T57" fmla="*/ 2147483647 h 817"/>
              <a:gd name="T58" fmla="*/ 2147483647 w 1307"/>
              <a:gd name="T59" fmla="*/ 2147483647 h 817"/>
              <a:gd name="T60" fmla="*/ 2147483647 w 1307"/>
              <a:gd name="T61" fmla="*/ 2147483647 h 817"/>
              <a:gd name="T62" fmla="*/ 2147483647 w 1307"/>
              <a:gd name="T63" fmla="*/ 2147483647 h 817"/>
              <a:gd name="T64" fmla="*/ 2147483647 w 1307"/>
              <a:gd name="T65" fmla="*/ 2147483647 h 8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307"/>
              <a:gd name="T100" fmla="*/ 0 h 817"/>
              <a:gd name="T101" fmla="*/ 1307 w 1307"/>
              <a:gd name="T102" fmla="*/ 817 h 817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307" h="817">
                <a:moveTo>
                  <a:pt x="27" y="799"/>
                </a:moveTo>
                <a:lnTo>
                  <a:pt x="15" y="788"/>
                </a:lnTo>
                <a:lnTo>
                  <a:pt x="8" y="775"/>
                </a:lnTo>
                <a:lnTo>
                  <a:pt x="0" y="752"/>
                </a:lnTo>
                <a:lnTo>
                  <a:pt x="1" y="699"/>
                </a:lnTo>
                <a:lnTo>
                  <a:pt x="0" y="668"/>
                </a:lnTo>
                <a:lnTo>
                  <a:pt x="1" y="636"/>
                </a:lnTo>
                <a:lnTo>
                  <a:pt x="1" y="572"/>
                </a:lnTo>
                <a:lnTo>
                  <a:pt x="1" y="526"/>
                </a:lnTo>
                <a:lnTo>
                  <a:pt x="1" y="478"/>
                </a:lnTo>
                <a:lnTo>
                  <a:pt x="1" y="426"/>
                </a:lnTo>
                <a:lnTo>
                  <a:pt x="1" y="391"/>
                </a:lnTo>
                <a:lnTo>
                  <a:pt x="1" y="354"/>
                </a:lnTo>
                <a:lnTo>
                  <a:pt x="1" y="300"/>
                </a:lnTo>
                <a:lnTo>
                  <a:pt x="7" y="280"/>
                </a:lnTo>
                <a:lnTo>
                  <a:pt x="14" y="265"/>
                </a:lnTo>
                <a:lnTo>
                  <a:pt x="27" y="256"/>
                </a:lnTo>
                <a:lnTo>
                  <a:pt x="45" y="246"/>
                </a:lnTo>
                <a:lnTo>
                  <a:pt x="71" y="243"/>
                </a:lnTo>
                <a:lnTo>
                  <a:pt x="99" y="240"/>
                </a:lnTo>
                <a:lnTo>
                  <a:pt x="135" y="238"/>
                </a:lnTo>
                <a:lnTo>
                  <a:pt x="271" y="238"/>
                </a:lnTo>
                <a:lnTo>
                  <a:pt x="324" y="238"/>
                </a:lnTo>
                <a:lnTo>
                  <a:pt x="383" y="238"/>
                </a:lnTo>
                <a:lnTo>
                  <a:pt x="574" y="238"/>
                </a:lnTo>
                <a:lnTo>
                  <a:pt x="658" y="238"/>
                </a:lnTo>
                <a:lnTo>
                  <a:pt x="739" y="238"/>
                </a:lnTo>
                <a:lnTo>
                  <a:pt x="940" y="238"/>
                </a:lnTo>
                <a:lnTo>
                  <a:pt x="1226" y="0"/>
                </a:lnTo>
                <a:lnTo>
                  <a:pt x="1084" y="238"/>
                </a:lnTo>
                <a:lnTo>
                  <a:pt x="1208" y="239"/>
                </a:lnTo>
                <a:lnTo>
                  <a:pt x="1236" y="239"/>
                </a:lnTo>
                <a:lnTo>
                  <a:pt x="1262" y="243"/>
                </a:lnTo>
                <a:lnTo>
                  <a:pt x="1283" y="251"/>
                </a:lnTo>
                <a:lnTo>
                  <a:pt x="1296" y="262"/>
                </a:lnTo>
                <a:lnTo>
                  <a:pt x="1305" y="277"/>
                </a:lnTo>
                <a:lnTo>
                  <a:pt x="1307" y="301"/>
                </a:lnTo>
                <a:lnTo>
                  <a:pt x="1307" y="350"/>
                </a:lnTo>
                <a:lnTo>
                  <a:pt x="1307" y="380"/>
                </a:lnTo>
                <a:lnTo>
                  <a:pt x="1307" y="409"/>
                </a:lnTo>
                <a:lnTo>
                  <a:pt x="1307" y="472"/>
                </a:lnTo>
                <a:lnTo>
                  <a:pt x="1307" y="523"/>
                </a:lnTo>
                <a:lnTo>
                  <a:pt x="1307" y="574"/>
                </a:lnTo>
                <a:lnTo>
                  <a:pt x="1307" y="627"/>
                </a:lnTo>
                <a:lnTo>
                  <a:pt x="1307" y="668"/>
                </a:lnTo>
                <a:lnTo>
                  <a:pt x="1307" y="708"/>
                </a:lnTo>
                <a:lnTo>
                  <a:pt x="1307" y="751"/>
                </a:lnTo>
                <a:lnTo>
                  <a:pt x="1307" y="773"/>
                </a:lnTo>
                <a:lnTo>
                  <a:pt x="1301" y="789"/>
                </a:lnTo>
                <a:lnTo>
                  <a:pt x="1287" y="803"/>
                </a:lnTo>
                <a:lnTo>
                  <a:pt x="1264" y="812"/>
                </a:lnTo>
                <a:lnTo>
                  <a:pt x="1237" y="816"/>
                </a:lnTo>
                <a:lnTo>
                  <a:pt x="1209" y="817"/>
                </a:lnTo>
                <a:lnTo>
                  <a:pt x="1066" y="817"/>
                </a:lnTo>
                <a:lnTo>
                  <a:pt x="1006" y="817"/>
                </a:lnTo>
                <a:lnTo>
                  <a:pt x="941" y="817"/>
                </a:lnTo>
                <a:lnTo>
                  <a:pt x="748" y="817"/>
                </a:lnTo>
                <a:lnTo>
                  <a:pt x="658" y="817"/>
                </a:lnTo>
                <a:lnTo>
                  <a:pt x="568" y="817"/>
                </a:lnTo>
                <a:lnTo>
                  <a:pt x="366" y="817"/>
                </a:lnTo>
                <a:lnTo>
                  <a:pt x="298" y="817"/>
                </a:lnTo>
                <a:lnTo>
                  <a:pt x="230" y="817"/>
                </a:lnTo>
                <a:lnTo>
                  <a:pt x="98" y="817"/>
                </a:lnTo>
                <a:lnTo>
                  <a:pt x="66" y="813"/>
                </a:lnTo>
                <a:lnTo>
                  <a:pt x="44" y="808"/>
                </a:lnTo>
                <a:lnTo>
                  <a:pt x="27" y="799"/>
                </a:lnTo>
                <a:close/>
              </a:path>
            </a:pathLst>
          </a:custGeom>
          <a:solidFill>
            <a:schemeClr val="bg1">
              <a:alpha val="79999"/>
            </a:schemeClr>
          </a:solidFill>
          <a:ln w="12700">
            <a:solidFill>
              <a:schemeClr val="hlink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endParaRPr lang="en-US"/>
          </a:p>
        </p:txBody>
      </p:sp>
      <p:sp>
        <p:nvSpPr>
          <p:cNvPr id="9477" name="Rectangle 26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55613" y="5359400"/>
            <a:ext cx="1863725" cy="922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r>
              <a:rPr lang="en-US" sz="1200" i="1"/>
              <a:t>SME Promotion effort created in six countries in 2008 with MIF grant. Replication in Africa in 2010</a:t>
            </a:r>
            <a:r>
              <a:rPr lang="en-US" sz="1200"/>
              <a:t>.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7" name="think-cell Slide" r:id="rId10" imgW="0" imgH="0" progId="TCLayout.ActiveDocument.1">
                  <p:embed/>
                </p:oleObj>
              </mc:Choice>
              <mc:Fallback>
                <p:oleObj name="think-cell Slide" r:id="rId10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3" name="4 Marcador de número de diapositiva"/>
          <p:cNvSpPr txBox="1"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8153400" y="6648450"/>
            <a:ext cx="885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581F433A-BE59-453F-9A61-9F411861F760}" type="slidenum">
              <a:rPr lang="en-US" sz="900">
                <a:solidFill>
                  <a:srgbClr val="7F329A"/>
                </a:solidFill>
                <a:cs typeface="Arial" pitchFamily="34" charset="0"/>
              </a:rPr>
              <a:pPr algn="r" eaLnBrk="1" hangingPunct="1"/>
              <a:t>6</a:t>
            </a:fld>
            <a:endParaRPr lang="en-US" sz="900">
              <a:solidFill>
                <a:srgbClr val="7F329A"/>
              </a:solidFill>
              <a:cs typeface="Arial" pitchFamily="34" charset="0"/>
            </a:endParaRPr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smtClean="0">
                <a:ea typeface="ＭＳ Ｐゴシック" pitchFamily="34" charset="-128"/>
                <a:cs typeface="Arial" pitchFamily="34" charset="0"/>
              </a:rPr>
              <a:t>From BPC we evolved to SME Promotion, and then to Business Accelerator</a:t>
            </a:r>
          </a:p>
        </p:txBody>
      </p:sp>
      <p:grpSp>
        <p:nvGrpSpPr>
          <p:cNvPr id="10245" name="Group 3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749300" y="2217738"/>
            <a:ext cx="7737475" cy="4384675"/>
            <a:chOff x="670" y="799"/>
            <a:chExt cx="4097" cy="2243"/>
          </a:xfrm>
        </p:grpSpPr>
        <p:sp>
          <p:nvSpPr>
            <p:cNvPr id="10248" name="Freeform 4"/>
            <p:cNvSpPr>
              <a:spLocks/>
            </p:cNvSpPr>
            <p:nvPr/>
          </p:nvSpPr>
          <p:spPr bwMode="auto">
            <a:xfrm>
              <a:off x="4210" y="2068"/>
              <a:ext cx="5" cy="1"/>
            </a:xfrm>
            <a:custGeom>
              <a:avLst/>
              <a:gdLst>
                <a:gd name="T0" fmla="*/ 1 w 9"/>
                <a:gd name="T1" fmla="*/ 0 h 3"/>
                <a:gd name="T2" fmla="*/ 0 w 9"/>
                <a:gd name="T3" fmla="*/ 0 h 3"/>
                <a:gd name="T4" fmla="*/ 1 w 9"/>
                <a:gd name="T5" fmla="*/ 0 h 3"/>
                <a:gd name="T6" fmla="*/ 1 w 9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"/>
                <a:gd name="T13" fmla="*/ 0 h 3"/>
                <a:gd name="T14" fmla="*/ 9 w 9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" h="3">
                  <a:moveTo>
                    <a:pt x="9" y="1"/>
                  </a:moveTo>
                  <a:lnTo>
                    <a:pt x="0" y="3"/>
                  </a:lnTo>
                  <a:lnTo>
                    <a:pt x="1" y="0"/>
                  </a:lnTo>
                  <a:lnTo>
                    <a:pt x="9" y="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49" name="Freeform 5"/>
            <p:cNvSpPr>
              <a:spLocks/>
            </p:cNvSpPr>
            <p:nvPr/>
          </p:nvSpPr>
          <p:spPr bwMode="auto">
            <a:xfrm>
              <a:off x="4078" y="1996"/>
              <a:ext cx="168" cy="198"/>
            </a:xfrm>
            <a:custGeom>
              <a:avLst/>
              <a:gdLst>
                <a:gd name="T0" fmla="*/ 2 w 240"/>
                <a:gd name="T1" fmla="*/ 1 h 282"/>
                <a:gd name="T2" fmla="*/ 2 w 240"/>
                <a:gd name="T3" fmla="*/ 1 h 282"/>
                <a:gd name="T4" fmla="*/ 2 w 240"/>
                <a:gd name="T5" fmla="*/ 2 h 282"/>
                <a:gd name="T6" fmla="*/ 1 w 240"/>
                <a:gd name="T7" fmla="*/ 2 h 282"/>
                <a:gd name="T8" fmla="*/ 1 w 240"/>
                <a:gd name="T9" fmla="*/ 2 h 282"/>
                <a:gd name="T10" fmla="*/ 1 w 240"/>
                <a:gd name="T11" fmla="*/ 2 h 282"/>
                <a:gd name="T12" fmla="*/ 1 w 240"/>
                <a:gd name="T13" fmla="*/ 2 h 282"/>
                <a:gd name="T14" fmla="*/ 1 w 240"/>
                <a:gd name="T15" fmla="*/ 2 h 282"/>
                <a:gd name="T16" fmla="*/ 1 w 240"/>
                <a:gd name="T17" fmla="*/ 2 h 282"/>
                <a:gd name="T18" fmla="*/ 1 w 240"/>
                <a:gd name="T19" fmla="*/ 2 h 282"/>
                <a:gd name="T20" fmla="*/ 1 w 240"/>
                <a:gd name="T21" fmla="*/ 2 h 282"/>
                <a:gd name="T22" fmla="*/ 1 w 240"/>
                <a:gd name="T23" fmla="*/ 1 h 282"/>
                <a:gd name="T24" fmla="*/ 1 w 240"/>
                <a:gd name="T25" fmla="*/ 1 h 282"/>
                <a:gd name="T26" fmla="*/ 1 w 240"/>
                <a:gd name="T27" fmla="*/ 1 h 282"/>
                <a:gd name="T28" fmla="*/ 1 w 240"/>
                <a:gd name="T29" fmla="*/ 1 h 282"/>
                <a:gd name="T30" fmla="*/ 1 w 240"/>
                <a:gd name="T31" fmla="*/ 1 h 282"/>
                <a:gd name="T32" fmla="*/ 1 w 240"/>
                <a:gd name="T33" fmla="*/ 1 h 282"/>
                <a:gd name="T34" fmla="*/ 1 w 240"/>
                <a:gd name="T35" fmla="*/ 1 h 282"/>
                <a:gd name="T36" fmla="*/ 1 w 240"/>
                <a:gd name="T37" fmla="*/ 1 h 282"/>
                <a:gd name="T38" fmla="*/ 1 w 240"/>
                <a:gd name="T39" fmla="*/ 1 h 282"/>
                <a:gd name="T40" fmla="*/ 1 w 240"/>
                <a:gd name="T41" fmla="*/ 1 h 282"/>
                <a:gd name="T42" fmla="*/ 1 w 240"/>
                <a:gd name="T43" fmla="*/ 1 h 282"/>
                <a:gd name="T44" fmla="*/ 1 w 240"/>
                <a:gd name="T45" fmla="*/ 1 h 282"/>
                <a:gd name="T46" fmla="*/ 1 w 240"/>
                <a:gd name="T47" fmla="*/ 1 h 282"/>
                <a:gd name="T48" fmla="*/ 0 w 240"/>
                <a:gd name="T49" fmla="*/ 0 h 282"/>
                <a:gd name="T50" fmla="*/ 1 w 240"/>
                <a:gd name="T51" fmla="*/ 1 h 282"/>
                <a:gd name="T52" fmla="*/ 1 w 240"/>
                <a:gd name="T53" fmla="*/ 1 h 282"/>
                <a:gd name="T54" fmla="*/ 1 w 240"/>
                <a:gd name="T55" fmla="*/ 1 h 282"/>
                <a:gd name="T56" fmla="*/ 1 w 240"/>
                <a:gd name="T57" fmla="*/ 1 h 282"/>
                <a:gd name="T58" fmla="*/ 1 w 240"/>
                <a:gd name="T59" fmla="*/ 1 h 282"/>
                <a:gd name="T60" fmla="*/ 1 w 240"/>
                <a:gd name="T61" fmla="*/ 1 h 282"/>
                <a:gd name="T62" fmla="*/ 1 w 240"/>
                <a:gd name="T63" fmla="*/ 1 h 282"/>
                <a:gd name="T64" fmla="*/ 1 w 240"/>
                <a:gd name="T65" fmla="*/ 1 h 282"/>
                <a:gd name="T66" fmla="*/ 1 w 240"/>
                <a:gd name="T67" fmla="*/ 1 h 282"/>
                <a:gd name="T68" fmla="*/ 1 w 240"/>
                <a:gd name="T69" fmla="*/ 1 h 282"/>
                <a:gd name="T70" fmla="*/ 1 w 240"/>
                <a:gd name="T71" fmla="*/ 1 h 282"/>
                <a:gd name="T72" fmla="*/ 1 w 240"/>
                <a:gd name="T73" fmla="*/ 1 h 282"/>
                <a:gd name="T74" fmla="*/ 1 w 240"/>
                <a:gd name="T75" fmla="*/ 1 h 282"/>
                <a:gd name="T76" fmla="*/ 1 w 240"/>
                <a:gd name="T77" fmla="*/ 1 h 282"/>
                <a:gd name="T78" fmla="*/ 1 w 240"/>
                <a:gd name="T79" fmla="*/ 1 h 282"/>
                <a:gd name="T80" fmla="*/ 1 w 240"/>
                <a:gd name="T81" fmla="*/ 1 h 282"/>
                <a:gd name="T82" fmla="*/ 1 w 240"/>
                <a:gd name="T83" fmla="*/ 1 h 282"/>
                <a:gd name="T84" fmla="*/ 1 w 240"/>
                <a:gd name="T85" fmla="*/ 1 h 282"/>
                <a:gd name="T86" fmla="*/ 1 w 240"/>
                <a:gd name="T87" fmla="*/ 1 h 282"/>
                <a:gd name="T88" fmla="*/ 1 w 240"/>
                <a:gd name="T89" fmla="*/ 1 h 282"/>
                <a:gd name="T90" fmla="*/ 1 w 240"/>
                <a:gd name="T91" fmla="*/ 1 h 282"/>
                <a:gd name="T92" fmla="*/ 1 w 240"/>
                <a:gd name="T93" fmla="*/ 1 h 282"/>
                <a:gd name="T94" fmla="*/ 1 w 240"/>
                <a:gd name="T95" fmla="*/ 1 h 282"/>
                <a:gd name="T96" fmla="*/ 2 w 240"/>
                <a:gd name="T97" fmla="*/ 1 h 28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40"/>
                <a:gd name="T148" fmla="*/ 0 h 282"/>
                <a:gd name="T149" fmla="*/ 240 w 240"/>
                <a:gd name="T150" fmla="*/ 282 h 28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40" h="282">
                  <a:moveTo>
                    <a:pt x="240" y="217"/>
                  </a:moveTo>
                  <a:lnTo>
                    <a:pt x="238" y="220"/>
                  </a:lnTo>
                  <a:lnTo>
                    <a:pt x="234" y="251"/>
                  </a:lnTo>
                  <a:lnTo>
                    <a:pt x="230" y="282"/>
                  </a:lnTo>
                  <a:lnTo>
                    <a:pt x="221" y="273"/>
                  </a:lnTo>
                  <a:lnTo>
                    <a:pt x="218" y="279"/>
                  </a:lnTo>
                  <a:lnTo>
                    <a:pt x="208" y="274"/>
                  </a:lnTo>
                  <a:lnTo>
                    <a:pt x="208" y="282"/>
                  </a:lnTo>
                  <a:lnTo>
                    <a:pt x="186" y="261"/>
                  </a:lnTo>
                  <a:lnTo>
                    <a:pt x="174" y="249"/>
                  </a:lnTo>
                  <a:lnTo>
                    <a:pt x="162" y="237"/>
                  </a:lnTo>
                  <a:lnTo>
                    <a:pt x="150" y="225"/>
                  </a:lnTo>
                  <a:lnTo>
                    <a:pt x="139" y="213"/>
                  </a:lnTo>
                  <a:lnTo>
                    <a:pt x="130" y="192"/>
                  </a:lnTo>
                  <a:lnTo>
                    <a:pt x="120" y="172"/>
                  </a:lnTo>
                  <a:lnTo>
                    <a:pt x="116" y="168"/>
                  </a:lnTo>
                  <a:lnTo>
                    <a:pt x="106" y="150"/>
                  </a:lnTo>
                  <a:lnTo>
                    <a:pt x="94" y="131"/>
                  </a:lnTo>
                  <a:lnTo>
                    <a:pt x="86" y="114"/>
                  </a:lnTo>
                  <a:lnTo>
                    <a:pt x="80" y="99"/>
                  </a:lnTo>
                  <a:lnTo>
                    <a:pt x="62" y="81"/>
                  </a:lnTo>
                  <a:lnTo>
                    <a:pt x="48" y="61"/>
                  </a:lnTo>
                  <a:lnTo>
                    <a:pt x="31" y="45"/>
                  </a:lnTo>
                  <a:lnTo>
                    <a:pt x="14" y="28"/>
                  </a:lnTo>
                  <a:lnTo>
                    <a:pt x="0" y="0"/>
                  </a:lnTo>
                  <a:lnTo>
                    <a:pt x="16" y="1"/>
                  </a:lnTo>
                  <a:lnTo>
                    <a:pt x="31" y="5"/>
                  </a:lnTo>
                  <a:lnTo>
                    <a:pt x="48" y="7"/>
                  </a:lnTo>
                  <a:lnTo>
                    <a:pt x="68" y="30"/>
                  </a:lnTo>
                  <a:lnTo>
                    <a:pt x="71" y="36"/>
                  </a:lnTo>
                  <a:lnTo>
                    <a:pt x="90" y="53"/>
                  </a:lnTo>
                  <a:lnTo>
                    <a:pt x="109" y="71"/>
                  </a:lnTo>
                  <a:lnTo>
                    <a:pt x="126" y="89"/>
                  </a:lnTo>
                  <a:lnTo>
                    <a:pt x="125" y="81"/>
                  </a:lnTo>
                  <a:lnTo>
                    <a:pt x="144" y="96"/>
                  </a:lnTo>
                  <a:lnTo>
                    <a:pt x="156" y="109"/>
                  </a:lnTo>
                  <a:lnTo>
                    <a:pt x="176" y="124"/>
                  </a:lnTo>
                  <a:lnTo>
                    <a:pt x="179" y="125"/>
                  </a:lnTo>
                  <a:lnTo>
                    <a:pt x="192" y="137"/>
                  </a:lnTo>
                  <a:lnTo>
                    <a:pt x="184" y="142"/>
                  </a:lnTo>
                  <a:lnTo>
                    <a:pt x="185" y="147"/>
                  </a:lnTo>
                  <a:lnTo>
                    <a:pt x="184" y="150"/>
                  </a:lnTo>
                  <a:lnTo>
                    <a:pt x="186" y="159"/>
                  </a:lnTo>
                  <a:lnTo>
                    <a:pt x="203" y="162"/>
                  </a:lnTo>
                  <a:lnTo>
                    <a:pt x="206" y="181"/>
                  </a:lnTo>
                  <a:lnTo>
                    <a:pt x="211" y="186"/>
                  </a:lnTo>
                  <a:lnTo>
                    <a:pt x="211" y="197"/>
                  </a:lnTo>
                  <a:lnTo>
                    <a:pt x="229" y="197"/>
                  </a:lnTo>
                  <a:lnTo>
                    <a:pt x="240" y="21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50" name="Freeform 6"/>
            <p:cNvSpPr>
              <a:spLocks/>
            </p:cNvSpPr>
            <p:nvPr/>
          </p:nvSpPr>
          <p:spPr bwMode="auto">
            <a:xfrm>
              <a:off x="4232" y="2196"/>
              <a:ext cx="141" cy="49"/>
            </a:xfrm>
            <a:custGeom>
              <a:avLst/>
              <a:gdLst>
                <a:gd name="T0" fmla="*/ 1 w 200"/>
                <a:gd name="T1" fmla="*/ 1 h 68"/>
                <a:gd name="T2" fmla="*/ 1 w 200"/>
                <a:gd name="T3" fmla="*/ 1 h 68"/>
                <a:gd name="T4" fmla="*/ 1 w 200"/>
                <a:gd name="T5" fmla="*/ 1 h 68"/>
                <a:gd name="T6" fmla="*/ 1 w 200"/>
                <a:gd name="T7" fmla="*/ 1 h 68"/>
                <a:gd name="T8" fmla="*/ 1 w 200"/>
                <a:gd name="T9" fmla="*/ 1 h 68"/>
                <a:gd name="T10" fmla="*/ 1 w 200"/>
                <a:gd name="T11" fmla="*/ 1 h 68"/>
                <a:gd name="T12" fmla="*/ 1 w 200"/>
                <a:gd name="T13" fmla="*/ 1 h 68"/>
                <a:gd name="T14" fmla="*/ 1 w 200"/>
                <a:gd name="T15" fmla="*/ 1 h 68"/>
                <a:gd name="T16" fmla="*/ 1 w 200"/>
                <a:gd name="T17" fmla="*/ 1 h 68"/>
                <a:gd name="T18" fmla="*/ 1 w 200"/>
                <a:gd name="T19" fmla="*/ 1 h 68"/>
                <a:gd name="T20" fmla="*/ 1 w 200"/>
                <a:gd name="T21" fmla="*/ 1 h 68"/>
                <a:gd name="T22" fmla="*/ 1 w 200"/>
                <a:gd name="T23" fmla="*/ 1 h 68"/>
                <a:gd name="T24" fmla="*/ 1 w 200"/>
                <a:gd name="T25" fmla="*/ 0 h 68"/>
                <a:gd name="T26" fmla="*/ 1 w 200"/>
                <a:gd name="T27" fmla="*/ 0 h 68"/>
                <a:gd name="T28" fmla="*/ 1 w 200"/>
                <a:gd name="T29" fmla="*/ 1 h 68"/>
                <a:gd name="T30" fmla="*/ 0 w 200"/>
                <a:gd name="T31" fmla="*/ 1 h 68"/>
                <a:gd name="T32" fmla="*/ 1 w 200"/>
                <a:gd name="T33" fmla="*/ 1 h 68"/>
                <a:gd name="T34" fmla="*/ 1 w 200"/>
                <a:gd name="T35" fmla="*/ 1 h 68"/>
                <a:gd name="T36" fmla="*/ 1 w 200"/>
                <a:gd name="T37" fmla="*/ 1 h 68"/>
                <a:gd name="T38" fmla="*/ 1 w 200"/>
                <a:gd name="T39" fmla="*/ 1 h 68"/>
                <a:gd name="T40" fmla="*/ 1 w 200"/>
                <a:gd name="T41" fmla="*/ 1 h 68"/>
                <a:gd name="T42" fmla="*/ 1 w 200"/>
                <a:gd name="T43" fmla="*/ 1 h 68"/>
                <a:gd name="T44" fmla="*/ 1 w 200"/>
                <a:gd name="T45" fmla="*/ 1 h 68"/>
                <a:gd name="T46" fmla="*/ 1 w 200"/>
                <a:gd name="T47" fmla="*/ 1 h 68"/>
                <a:gd name="T48" fmla="*/ 1 w 200"/>
                <a:gd name="T49" fmla="*/ 1 h 68"/>
                <a:gd name="T50" fmla="*/ 1 w 200"/>
                <a:gd name="T51" fmla="*/ 1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00"/>
                <a:gd name="T79" fmla="*/ 0 h 68"/>
                <a:gd name="T80" fmla="*/ 200 w 200"/>
                <a:gd name="T81" fmla="*/ 68 h 6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00" h="68">
                  <a:moveTo>
                    <a:pt x="200" y="68"/>
                  </a:moveTo>
                  <a:lnTo>
                    <a:pt x="198" y="65"/>
                  </a:lnTo>
                  <a:lnTo>
                    <a:pt x="198" y="45"/>
                  </a:lnTo>
                  <a:lnTo>
                    <a:pt x="182" y="43"/>
                  </a:lnTo>
                  <a:lnTo>
                    <a:pt x="165" y="41"/>
                  </a:lnTo>
                  <a:lnTo>
                    <a:pt x="159" y="26"/>
                  </a:lnTo>
                  <a:lnTo>
                    <a:pt x="133" y="18"/>
                  </a:lnTo>
                  <a:lnTo>
                    <a:pt x="123" y="11"/>
                  </a:lnTo>
                  <a:lnTo>
                    <a:pt x="114" y="21"/>
                  </a:lnTo>
                  <a:lnTo>
                    <a:pt x="97" y="21"/>
                  </a:lnTo>
                  <a:lnTo>
                    <a:pt x="79" y="21"/>
                  </a:lnTo>
                  <a:lnTo>
                    <a:pt x="70" y="12"/>
                  </a:lnTo>
                  <a:lnTo>
                    <a:pt x="45" y="0"/>
                  </a:lnTo>
                  <a:lnTo>
                    <a:pt x="18" y="0"/>
                  </a:lnTo>
                  <a:lnTo>
                    <a:pt x="7" y="15"/>
                  </a:lnTo>
                  <a:lnTo>
                    <a:pt x="0" y="18"/>
                  </a:lnTo>
                  <a:lnTo>
                    <a:pt x="22" y="25"/>
                  </a:lnTo>
                  <a:lnTo>
                    <a:pt x="22" y="31"/>
                  </a:lnTo>
                  <a:lnTo>
                    <a:pt x="45" y="37"/>
                  </a:lnTo>
                  <a:lnTo>
                    <a:pt x="68" y="43"/>
                  </a:lnTo>
                  <a:lnTo>
                    <a:pt x="87" y="47"/>
                  </a:lnTo>
                  <a:lnTo>
                    <a:pt x="108" y="51"/>
                  </a:lnTo>
                  <a:lnTo>
                    <a:pt x="136" y="55"/>
                  </a:lnTo>
                  <a:lnTo>
                    <a:pt x="164" y="57"/>
                  </a:lnTo>
                  <a:lnTo>
                    <a:pt x="182" y="63"/>
                  </a:lnTo>
                  <a:lnTo>
                    <a:pt x="200" y="6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51" name="Freeform 7"/>
            <p:cNvSpPr>
              <a:spLocks/>
            </p:cNvSpPr>
            <p:nvPr/>
          </p:nvSpPr>
          <p:spPr bwMode="auto">
            <a:xfrm>
              <a:off x="4232" y="2118"/>
              <a:ext cx="26" cy="27"/>
            </a:xfrm>
            <a:custGeom>
              <a:avLst/>
              <a:gdLst>
                <a:gd name="T0" fmla="*/ 1 w 36"/>
                <a:gd name="T1" fmla="*/ 1 h 38"/>
                <a:gd name="T2" fmla="*/ 1 w 36"/>
                <a:gd name="T3" fmla="*/ 1 h 38"/>
                <a:gd name="T4" fmla="*/ 1 w 36"/>
                <a:gd name="T5" fmla="*/ 1 h 38"/>
                <a:gd name="T6" fmla="*/ 1 w 36"/>
                <a:gd name="T7" fmla="*/ 1 h 38"/>
                <a:gd name="T8" fmla="*/ 0 w 36"/>
                <a:gd name="T9" fmla="*/ 1 h 38"/>
                <a:gd name="T10" fmla="*/ 1 w 36"/>
                <a:gd name="T11" fmla="*/ 1 h 38"/>
                <a:gd name="T12" fmla="*/ 1 w 36"/>
                <a:gd name="T13" fmla="*/ 0 h 38"/>
                <a:gd name="T14" fmla="*/ 1 w 36"/>
                <a:gd name="T15" fmla="*/ 1 h 38"/>
                <a:gd name="T16" fmla="*/ 1 w 36"/>
                <a:gd name="T17" fmla="*/ 1 h 3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6"/>
                <a:gd name="T28" fmla="*/ 0 h 38"/>
                <a:gd name="T29" fmla="*/ 36 w 36"/>
                <a:gd name="T30" fmla="*/ 38 h 3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6" h="38">
                  <a:moveTo>
                    <a:pt x="36" y="26"/>
                  </a:moveTo>
                  <a:lnTo>
                    <a:pt x="33" y="38"/>
                  </a:lnTo>
                  <a:lnTo>
                    <a:pt x="15" y="27"/>
                  </a:lnTo>
                  <a:lnTo>
                    <a:pt x="8" y="14"/>
                  </a:lnTo>
                  <a:lnTo>
                    <a:pt x="0" y="10"/>
                  </a:lnTo>
                  <a:lnTo>
                    <a:pt x="11" y="3"/>
                  </a:lnTo>
                  <a:lnTo>
                    <a:pt x="14" y="0"/>
                  </a:lnTo>
                  <a:lnTo>
                    <a:pt x="23" y="21"/>
                  </a:lnTo>
                  <a:lnTo>
                    <a:pt x="36" y="26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52" name="Freeform 8"/>
            <p:cNvSpPr>
              <a:spLocks/>
            </p:cNvSpPr>
            <p:nvPr/>
          </p:nvSpPr>
          <p:spPr bwMode="auto">
            <a:xfrm>
              <a:off x="4152" y="1976"/>
              <a:ext cx="68" cy="92"/>
            </a:xfrm>
            <a:custGeom>
              <a:avLst/>
              <a:gdLst>
                <a:gd name="T0" fmla="*/ 1 w 95"/>
                <a:gd name="T1" fmla="*/ 1 h 128"/>
                <a:gd name="T2" fmla="*/ 1 w 95"/>
                <a:gd name="T3" fmla="*/ 1 h 128"/>
                <a:gd name="T4" fmla="*/ 1 w 95"/>
                <a:gd name="T5" fmla="*/ 1 h 128"/>
                <a:gd name="T6" fmla="*/ 1 w 95"/>
                <a:gd name="T7" fmla="*/ 1 h 128"/>
                <a:gd name="T8" fmla="*/ 1 w 95"/>
                <a:gd name="T9" fmla="*/ 1 h 128"/>
                <a:gd name="T10" fmla="*/ 0 w 95"/>
                <a:gd name="T11" fmla="*/ 1 h 128"/>
                <a:gd name="T12" fmla="*/ 1 w 95"/>
                <a:gd name="T13" fmla="*/ 0 h 128"/>
                <a:gd name="T14" fmla="*/ 1 w 95"/>
                <a:gd name="T15" fmla="*/ 1 h 128"/>
                <a:gd name="T16" fmla="*/ 1 w 95"/>
                <a:gd name="T17" fmla="*/ 1 h 128"/>
                <a:gd name="T18" fmla="*/ 1 w 95"/>
                <a:gd name="T19" fmla="*/ 1 h 128"/>
                <a:gd name="T20" fmla="*/ 1 w 95"/>
                <a:gd name="T21" fmla="*/ 1 h 128"/>
                <a:gd name="T22" fmla="*/ 1 w 95"/>
                <a:gd name="T23" fmla="*/ 1 h 128"/>
                <a:gd name="T24" fmla="*/ 1 w 95"/>
                <a:gd name="T25" fmla="*/ 1 h 128"/>
                <a:gd name="T26" fmla="*/ 1 w 95"/>
                <a:gd name="T27" fmla="*/ 1 h 128"/>
                <a:gd name="T28" fmla="*/ 1 w 95"/>
                <a:gd name="T29" fmla="*/ 1 h 128"/>
                <a:gd name="T30" fmla="*/ 1 w 95"/>
                <a:gd name="T31" fmla="*/ 1 h 128"/>
                <a:gd name="T32" fmla="*/ 1 w 95"/>
                <a:gd name="T33" fmla="*/ 1 h 128"/>
                <a:gd name="T34" fmla="*/ 1 w 95"/>
                <a:gd name="T35" fmla="*/ 1 h 128"/>
                <a:gd name="T36" fmla="*/ 1 w 95"/>
                <a:gd name="T37" fmla="*/ 1 h 12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95"/>
                <a:gd name="T58" fmla="*/ 0 h 128"/>
                <a:gd name="T59" fmla="*/ 95 w 95"/>
                <a:gd name="T60" fmla="*/ 128 h 12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95" h="128">
                  <a:moveTo>
                    <a:pt x="80" y="128"/>
                  </a:moveTo>
                  <a:lnTo>
                    <a:pt x="54" y="110"/>
                  </a:lnTo>
                  <a:lnTo>
                    <a:pt x="29" y="91"/>
                  </a:lnTo>
                  <a:lnTo>
                    <a:pt x="17" y="63"/>
                  </a:lnTo>
                  <a:lnTo>
                    <a:pt x="8" y="33"/>
                  </a:lnTo>
                  <a:lnTo>
                    <a:pt x="0" y="3"/>
                  </a:lnTo>
                  <a:lnTo>
                    <a:pt x="1" y="0"/>
                  </a:lnTo>
                  <a:lnTo>
                    <a:pt x="18" y="8"/>
                  </a:lnTo>
                  <a:lnTo>
                    <a:pt x="19" y="19"/>
                  </a:lnTo>
                  <a:lnTo>
                    <a:pt x="33" y="19"/>
                  </a:lnTo>
                  <a:lnTo>
                    <a:pt x="43" y="8"/>
                  </a:lnTo>
                  <a:lnTo>
                    <a:pt x="56" y="23"/>
                  </a:lnTo>
                  <a:lnTo>
                    <a:pt x="71" y="37"/>
                  </a:lnTo>
                  <a:lnTo>
                    <a:pt x="73" y="61"/>
                  </a:lnTo>
                  <a:lnTo>
                    <a:pt x="75" y="84"/>
                  </a:lnTo>
                  <a:lnTo>
                    <a:pt x="85" y="105"/>
                  </a:lnTo>
                  <a:lnTo>
                    <a:pt x="95" y="127"/>
                  </a:lnTo>
                  <a:lnTo>
                    <a:pt x="87" y="123"/>
                  </a:lnTo>
                  <a:lnTo>
                    <a:pt x="80" y="12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53" name="Freeform 9"/>
            <p:cNvSpPr>
              <a:spLocks/>
            </p:cNvSpPr>
            <p:nvPr/>
          </p:nvSpPr>
          <p:spPr bwMode="auto">
            <a:xfrm>
              <a:off x="3933" y="1629"/>
              <a:ext cx="77" cy="98"/>
            </a:xfrm>
            <a:custGeom>
              <a:avLst/>
              <a:gdLst>
                <a:gd name="T0" fmla="*/ 1 w 109"/>
                <a:gd name="T1" fmla="*/ 1 h 141"/>
                <a:gd name="T2" fmla="*/ 1 w 109"/>
                <a:gd name="T3" fmla="*/ 1 h 141"/>
                <a:gd name="T4" fmla="*/ 1 w 109"/>
                <a:gd name="T5" fmla="*/ 1 h 141"/>
                <a:gd name="T6" fmla="*/ 1 w 109"/>
                <a:gd name="T7" fmla="*/ 1 h 141"/>
                <a:gd name="T8" fmla="*/ 1 w 109"/>
                <a:gd name="T9" fmla="*/ 1 h 141"/>
                <a:gd name="T10" fmla="*/ 1 w 109"/>
                <a:gd name="T11" fmla="*/ 1 h 141"/>
                <a:gd name="T12" fmla="*/ 1 w 109"/>
                <a:gd name="T13" fmla="*/ 1 h 141"/>
                <a:gd name="T14" fmla="*/ 1 w 109"/>
                <a:gd name="T15" fmla="*/ 1 h 141"/>
                <a:gd name="T16" fmla="*/ 1 w 109"/>
                <a:gd name="T17" fmla="*/ 1 h 141"/>
                <a:gd name="T18" fmla="*/ 1 w 109"/>
                <a:gd name="T19" fmla="*/ 1 h 141"/>
                <a:gd name="T20" fmla="*/ 0 w 109"/>
                <a:gd name="T21" fmla="*/ 1 h 141"/>
                <a:gd name="T22" fmla="*/ 0 w 109"/>
                <a:gd name="T23" fmla="*/ 0 h 141"/>
                <a:gd name="T24" fmla="*/ 1 w 109"/>
                <a:gd name="T25" fmla="*/ 1 h 141"/>
                <a:gd name="T26" fmla="*/ 1 w 109"/>
                <a:gd name="T27" fmla="*/ 1 h 141"/>
                <a:gd name="T28" fmla="*/ 1 w 109"/>
                <a:gd name="T29" fmla="*/ 1 h 141"/>
                <a:gd name="T30" fmla="*/ 1 w 109"/>
                <a:gd name="T31" fmla="*/ 1 h 141"/>
                <a:gd name="T32" fmla="*/ 1 w 109"/>
                <a:gd name="T33" fmla="*/ 1 h 141"/>
                <a:gd name="T34" fmla="*/ 1 w 109"/>
                <a:gd name="T35" fmla="*/ 1 h 141"/>
                <a:gd name="T36" fmla="*/ 1 w 109"/>
                <a:gd name="T37" fmla="*/ 1 h 141"/>
                <a:gd name="T38" fmla="*/ 1 w 109"/>
                <a:gd name="T39" fmla="*/ 1 h 141"/>
                <a:gd name="T40" fmla="*/ 1 w 109"/>
                <a:gd name="T41" fmla="*/ 1 h 141"/>
                <a:gd name="T42" fmla="*/ 1 w 109"/>
                <a:gd name="T43" fmla="*/ 1 h 141"/>
                <a:gd name="T44" fmla="*/ 1 w 109"/>
                <a:gd name="T45" fmla="*/ 1 h 141"/>
                <a:gd name="T46" fmla="*/ 1 w 109"/>
                <a:gd name="T47" fmla="*/ 1 h 141"/>
                <a:gd name="T48" fmla="*/ 1 w 109"/>
                <a:gd name="T49" fmla="*/ 1 h 141"/>
                <a:gd name="T50" fmla="*/ 1 w 109"/>
                <a:gd name="T51" fmla="*/ 1 h 141"/>
                <a:gd name="T52" fmla="*/ 1 w 109"/>
                <a:gd name="T53" fmla="*/ 1 h 141"/>
                <a:gd name="T54" fmla="*/ 1 w 109"/>
                <a:gd name="T55" fmla="*/ 1 h 141"/>
                <a:gd name="T56" fmla="*/ 1 w 109"/>
                <a:gd name="T57" fmla="*/ 1 h 141"/>
                <a:gd name="T58" fmla="*/ 1 w 109"/>
                <a:gd name="T59" fmla="*/ 1 h 141"/>
                <a:gd name="T60" fmla="*/ 1 w 109"/>
                <a:gd name="T61" fmla="*/ 1 h 141"/>
                <a:gd name="T62" fmla="*/ 1 w 109"/>
                <a:gd name="T63" fmla="*/ 1 h 141"/>
                <a:gd name="T64" fmla="*/ 1 w 109"/>
                <a:gd name="T65" fmla="*/ 1 h 141"/>
                <a:gd name="T66" fmla="*/ 1 w 109"/>
                <a:gd name="T67" fmla="*/ 1 h 141"/>
                <a:gd name="T68" fmla="*/ 1 w 109"/>
                <a:gd name="T69" fmla="*/ 1 h 141"/>
                <a:gd name="T70" fmla="*/ 1 w 109"/>
                <a:gd name="T71" fmla="*/ 1 h 141"/>
                <a:gd name="T72" fmla="*/ 1 w 109"/>
                <a:gd name="T73" fmla="*/ 1 h 141"/>
                <a:gd name="T74" fmla="*/ 1 w 109"/>
                <a:gd name="T75" fmla="*/ 1 h 141"/>
                <a:gd name="T76" fmla="*/ 1 w 109"/>
                <a:gd name="T77" fmla="*/ 1 h 141"/>
                <a:gd name="T78" fmla="*/ 1 w 109"/>
                <a:gd name="T79" fmla="*/ 1 h 141"/>
                <a:gd name="T80" fmla="*/ 1 w 109"/>
                <a:gd name="T81" fmla="*/ 1 h 141"/>
                <a:gd name="T82" fmla="*/ 1 w 109"/>
                <a:gd name="T83" fmla="*/ 1 h 141"/>
                <a:gd name="T84" fmla="*/ 1 w 109"/>
                <a:gd name="T85" fmla="*/ 1 h 14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09"/>
                <a:gd name="T130" fmla="*/ 0 h 141"/>
                <a:gd name="T131" fmla="*/ 109 w 109"/>
                <a:gd name="T132" fmla="*/ 141 h 14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09" h="141">
                  <a:moveTo>
                    <a:pt x="39" y="117"/>
                  </a:moveTo>
                  <a:lnTo>
                    <a:pt x="38" y="119"/>
                  </a:lnTo>
                  <a:lnTo>
                    <a:pt x="32" y="113"/>
                  </a:lnTo>
                  <a:lnTo>
                    <a:pt x="32" y="114"/>
                  </a:lnTo>
                  <a:lnTo>
                    <a:pt x="26" y="95"/>
                  </a:lnTo>
                  <a:lnTo>
                    <a:pt x="20" y="77"/>
                  </a:lnTo>
                  <a:lnTo>
                    <a:pt x="18" y="63"/>
                  </a:lnTo>
                  <a:lnTo>
                    <a:pt x="2" y="48"/>
                  </a:lnTo>
                  <a:lnTo>
                    <a:pt x="7" y="39"/>
                  </a:lnTo>
                  <a:lnTo>
                    <a:pt x="16" y="34"/>
                  </a:lnTo>
                  <a:lnTo>
                    <a:pt x="0" y="18"/>
                  </a:lnTo>
                  <a:lnTo>
                    <a:pt x="0" y="0"/>
                  </a:lnTo>
                  <a:lnTo>
                    <a:pt x="14" y="6"/>
                  </a:lnTo>
                  <a:lnTo>
                    <a:pt x="21" y="13"/>
                  </a:lnTo>
                  <a:lnTo>
                    <a:pt x="26" y="9"/>
                  </a:lnTo>
                  <a:lnTo>
                    <a:pt x="34" y="29"/>
                  </a:lnTo>
                  <a:lnTo>
                    <a:pt x="58" y="31"/>
                  </a:lnTo>
                  <a:lnTo>
                    <a:pt x="81" y="34"/>
                  </a:lnTo>
                  <a:lnTo>
                    <a:pt x="92" y="42"/>
                  </a:lnTo>
                  <a:lnTo>
                    <a:pt x="88" y="53"/>
                  </a:lnTo>
                  <a:lnTo>
                    <a:pt x="73" y="64"/>
                  </a:lnTo>
                  <a:lnTo>
                    <a:pt x="76" y="83"/>
                  </a:lnTo>
                  <a:lnTo>
                    <a:pt x="81" y="88"/>
                  </a:lnTo>
                  <a:lnTo>
                    <a:pt x="91" y="70"/>
                  </a:lnTo>
                  <a:lnTo>
                    <a:pt x="99" y="91"/>
                  </a:lnTo>
                  <a:lnTo>
                    <a:pt x="108" y="113"/>
                  </a:lnTo>
                  <a:lnTo>
                    <a:pt x="109" y="129"/>
                  </a:lnTo>
                  <a:lnTo>
                    <a:pt x="102" y="133"/>
                  </a:lnTo>
                  <a:lnTo>
                    <a:pt x="105" y="141"/>
                  </a:lnTo>
                  <a:lnTo>
                    <a:pt x="92" y="117"/>
                  </a:lnTo>
                  <a:lnTo>
                    <a:pt x="80" y="94"/>
                  </a:lnTo>
                  <a:lnTo>
                    <a:pt x="67" y="91"/>
                  </a:lnTo>
                  <a:lnTo>
                    <a:pt x="58" y="77"/>
                  </a:lnTo>
                  <a:lnTo>
                    <a:pt x="38" y="64"/>
                  </a:lnTo>
                  <a:lnTo>
                    <a:pt x="31" y="65"/>
                  </a:lnTo>
                  <a:lnTo>
                    <a:pt x="54" y="78"/>
                  </a:lnTo>
                  <a:lnTo>
                    <a:pt x="61" y="93"/>
                  </a:lnTo>
                  <a:lnTo>
                    <a:pt x="62" y="100"/>
                  </a:lnTo>
                  <a:lnTo>
                    <a:pt x="57" y="118"/>
                  </a:lnTo>
                  <a:lnTo>
                    <a:pt x="54" y="112"/>
                  </a:lnTo>
                  <a:lnTo>
                    <a:pt x="49" y="112"/>
                  </a:lnTo>
                  <a:lnTo>
                    <a:pt x="44" y="117"/>
                  </a:lnTo>
                  <a:lnTo>
                    <a:pt x="39" y="11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54" name="Freeform 10"/>
            <p:cNvSpPr>
              <a:spLocks/>
            </p:cNvSpPr>
            <p:nvPr/>
          </p:nvSpPr>
          <p:spPr bwMode="auto">
            <a:xfrm>
              <a:off x="3937" y="1599"/>
              <a:ext cx="49" cy="24"/>
            </a:xfrm>
            <a:custGeom>
              <a:avLst/>
              <a:gdLst>
                <a:gd name="T0" fmla="*/ 1 w 69"/>
                <a:gd name="T1" fmla="*/ 1 h 34"/>
                <a:gd name="T2" fmla="*/ 1 w 69"/>
                <a:gd name="T3" fmla="*/ 0 h 34"/>
                <a:gd name="T4" fmla="*/ 0 w 69"/>
                <a:gd name="T5" fmla="*/ 1 h 34"/>
                <a:gd name="T6" fmla="*/ 1 w 69"/>
                <a:gd name="T7" fmla="*/ 1 h 34"/>
                <a:gd name="T8" fmla="*/ 1 w 69"/>
                <a:gd name="T9" fmla="*/ 1 h 34"/>
                <a:gd name="T10" fmla="*/ 1 w 69"/>
                <a:gd name="T11" fmla="*/ 1 h 34"/>
                <a:gd name="T12" fmla="*/ 1 w 69"/>
                <a:gd name="T13" fmla="*/ 1 h 34"/>
                <a:gd name="T14" fmla="*/ 1 w 69"/>
                <a:gd name="T15" fmla="*/ 1 h 34"/>
                <a:gd name="T16" fmla="*/ 1 w 69"/>
                <a:gd name="T17" fmla="*/ 1 h 34"/>
                <a:gd name="T18" fmla="*/ 1 w 69"/>
                <a:gd name="T19" fmla="*/ 1 h 3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9"/>
                <a:gd name="T31" fmla="*/ 0 h 34"/>
                <a:gd name="T32" fmla="*/ 69 w 69"/>
                <a:gd name="T33" fmla="*/ 34 h 3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9" h="34">
                  <a:moveTo>
                    <a:pt x="45" y="3"/>
                  </a:moveTo>
                  <a:lnTo>
                    <a:pt x="14" y="0"/>
                  </a:lnTo>
                  <a:lnTo>
                    <a:pt x="0" y="22"/>
                  </a:lnTo>
                  <a:lnTo>
                    <a:pt x="3" y="32"/>
                  </a:lnTo>
                  <a:lnTo>
                    <a:pt x="30" y="34"/>
                  </a:lnTo>
                  <a:lnTo>
                    <a:pt x="50" y="33"/>
                  </a:lnTo>
                  <a:lnTo>
                    <a:pt x="69" y="32"/>
                  </a:lnTo>
                  <a:lnTo>
                    <a:pt x="62" y="18"/>
                  </a:lnTo>
                  <a:lnTo>
                    <a:pt x="56" y="11"/>
                  </a:lnTo>
                  <a:lnTo>
                    <a:pt x="45" y="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55" name="Freeform 11"/>
            <p:cNvSpPr>
              <a:spLocks/>
            </p:cNvSpPr>
            <p:nvPr/>
          </p:nvSpPr>
          <p:spPr bwMode="auto">
            <a:xfrm>
              <a:off x="4177" y="1836"/>
              <a:ext cx="79" cy="74"/>
            </a:xfrm>
            <a:custGeom>
              <a:avLst/>
              <a:gdLst>
                <a:gd name="T0" fmla="*/ 1 w 112"/>
                <a:gd name="T1" fmla="*/ 1 h 107"/>
                <a:gd name="T2" fmla="*/ 1 w 112"/>
                <a:gd name="T3" fmla="*/ 1 h 107"/>
                <a:gd name="T4" fmla="*/ 1 w 112"/>
                <a:gd name="T5" fmla="*/ 1 h 107"/>
                <a:gd name="T6" fmla="*/ 1 w 112"/>
                <a:gd name="T7" fmla="*/ 1 h 107"/>
                <a:gd name="T8" fmla="*/ 1 w 112"/>
                <a:gd name="T9" fmla="*/ 1 h 107"/>
                <a:gd name="T10" fmla="*/ 1 w 112"/>
                <a:gd name="T11" fmla="*/ 1 h 107"/>
                <a:gd name="T12" fmla="*/ 1 w 112"/>
                <a:gd name="T13" fmla="*/ 1 h 107"/>
                <a:gd name="T14" fmla="*/ 1 w 112"/>
                <a:gd name="T15" fmla="*/ 1 h 107"/>
                <a:gd name="T16" fmla="*/ 1 w 112"/>
                <a:gd name="T17" fmla="*/ 1 h 107"/>
                <a:gd name="T18" fmla="*/ 1 w 112"/>
                <a:gd name="T19" fmla="*/ 1 h 107"/>
                <a:gd name="T20" fmla="*/ 1 w 112"/>
                <a:gd name="T21" fmla="*/ 1 h 107"/>
                <a:gd name="T22" fmla="*/ 1 w 112"/>
                <a:gd name="T23" fmla="*/ 1 h 107"/>
                <a:gd name="T24" fmla="*/ 0 w 112"/>
                <a:gd name="T25" fmla="*/ 1 h 107"/>
                <a:gd name="T26" fmla="*/ 1 w 112"/>
                <a:gd name="T27" fmla="*/ 1 h 107"/>
                <a:gd name="T28" fmla="*/ 1 w 112"/>
                <a:gd name="T29" fmla="*/ 1 h 107"/>
                <a:gd name="T30" fmla="*/ 1 w 112"/>
                <a:gd name="T31" fmla="*/ 1 h 107"/>
                <a:gd name="T32" fmla="*/ 1 w 112"/>
                <a:gd name="T33" fmla="*/ 1 h 107"/>
                <a:gd name="T34" fmla="*/ 1 w 112"/>
                <a:gd name="T35" fmla="*/ 1 h 107"/>
                <a:gd name="T36" fmla="*/ 1 w 112"/>
                <a:gd name="T37" fmla="*/ 1 h 107"/>
                <a:gd name="T38" fmla="*/ 1 w 112"/>
                <a:gd name="T39" fmla="*/ 1 h 107"/>
                <a:gd name="T40" fmla="*/ 1 w 112"/>
                <a:gd name="T41" fmla="*/ 0 h 107"/>
                <a:gd name="T42" fmla="*/ 1 w 112"/>
                <a:gd name="T43" fmla="*/ 1 h 107"/>
                <a:gd name="T44" fmla="*/ 1 w 112"/>
                <a:gd name="T45" fmla="*/ 1 h 107"/>
                <a:gd name="T46" fmla="*/ 1 w 112"/>
                <a:gd name="T47" fmla="*/ 1 h 107"/>
                <a:gd name="T48" fmla="*/ 1 w 112"/>
                <a:gd name="T49" fmla="*/ 1 h 107"/>
                <a:gd name="T50" fmla="*/ 1 w 112"/>
                <a:gd name="T51" fmla="*/ 1 h 10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12"/>
                <a:gd name="T79" fmla="*/ 0 h 107"/>
                <a:gd name="T80" fmla="*/ 112 w 112"/>
                <a:gd name="T81" fmla="*/ 107 h 107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12" h="107">
                  <a:moveTo>
                    <a:pt x="81" y="78"/>
                  </a:moveTo>
                  <a:lnTo>
                    <a:pt x="87" y="97"/>
                  </a:lnTo>
                  <a:lnTo>
                    <a:pt x="72" y="95"/>
                  </a:lnTo>
                  <a:lnTo>
                    <a:pt x="66" y="97"/>
                  </a:lnTo>
                  <a:lnTo>
                    <a:pt x="52" y="107"/>
                  </a:lnTo>
                  <a:lnTo>
                    <a:pt x="39" y="103"/>
                  </a:lnTo>
                  <a:lnTo>
                    <a:pt x="32" y="99"/>
                  </a:lnTo>
                  <a:lnTo>
                    <a:pt x="30" y="89"/>
                  </a:lnTo>
                  <a:lnTo>
                    <a:pt x="22" y="95"/>
                  </a:lnTo>
                  <a:lnTo>
                    <a:pt x="18" y="78"/>
                  </a:lnTo>
                  <a:lnTo>
                    <a:pt x="16" y="76"/>
                  </a:lnTo>
                  <a:lnTo>
                    <a:pt x="8" y="55"/>
                  </a:lnTo>
                  <a:lnTo>
                    <a:pt x="0" y="35"/>
                  </a:lnTo>
                  <a:lnTo>
                    <a:pt x="14" y="10"/>
                  </a:lnTo>
                  <a:lnTo>
                    <a:pt x="37" y="10"/>
                  </a:lnTo>
                  <a:lnTo>
                    <a:pt x="60" y="9"/>
                  </a:lnTo>
                  <a:lnTo>
                    <a:pt x="78" y="19"/>
                  </a:lnTo>
                  <a:lnTo>
                    <a:pt x="78" y="12"/>
                  </a:lnTo>
                  <a:lnTo>
                    <a:pt x="86" y="5"/>
                  </a:lnTo>
                  <a:lnTo>
                    <a:pt x="94" y="9"/>
                  </a:lnTo>
                  <a:lnTo>
                    <a:pt x="109" y="0"/>
                  </a:lnTo>
                  <a:lnTo>
                    <a:pt x="110" y="23"/>
                  </a:lnTo>
                  <a:lnTo>
                    <a:pt x="111" y="42"/>
                  </a:lnTo>
                  <a:lnTo>
                    <a:pt x="112" y="61"/>
                  </a:lnTo>
                  <a:lnTo>
                    <a:pt x="93" y="72"/>
                  </a:lnTo>
                  <a:lnTo>
                    <a:pt x="81" y="7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56" name="Freeform 12"/>
            <p:cNvSpPr>
              <a:spLocks/>
            </p:cNvSpPr>
            <p:nvPr/>
          </p:nvSpPr>
          <p:spPr bwMode="auto">
            <a:xfrm>
              <a:off x="4127" y="1701"/>
              <a:ext cx="126" cy="147"/>
            </a:xfrm>
            <a:custGeom>
              <a:avLst/>
              <a:gdLst>
                <a:gd name="T0" fmla="*/ 1 w 181"/>
                <a:gd name="T1" fmla="*/ 1 h 210"/>
                <a:gd name="T2" fmla="*/ 1 w 181"/>
                <a:gd name="T3" fmla="*/ 1 h 210"/>
                <a:gd name="T4" fmla="*/ 1 w 181"/>
                <a:gd name="T5" fmla="*/ 1 h 210"/>
                <a:gd name="T6" fmla="*/ 1 w 181"/>
                <a:gd name="T7" fmla="*/ 1 h 210"/>
                <a:gd name="T8" fmla="*/ 1 w 181"/>
                <a:gd name="T9" fmla="*/ 1 h 210"/>
                <a:gd name="T10" fmla="*/ 1 w 181"/>
                <a:gd name="T11" fmla="*/ 1 h 210"/>
                <a:gd name="T12" fmla="*/ 1 w 181"/>
                <a:gd name="T13" fmla="*/ 0 h 210"/>
                <a:gd name="T14" fmla="*/ 1 w 181"/>
                <a:gd name="T15" fmla="*/ 0 h 210"/>
                <a:gd name="T16" fmla="*/ 1 w 181"/>
                <a:gd name="T17" fmla="*/ 1 h 210"/>
                <a:gd name="T18" fmla="*/ 1 w 181"/>
                <a:gd name="T19" fmla="*/ 1 h 210"/>
                <a:gd name="T20" fmla="*/ 1 w 181"/>
                <a:gd name="T21" fmla="*/ 1 h 210"/>
                <a:gd name="T22" fmla="*/ 1 w 181"/>
                <a:gd name="T23" fmla="*/ 1 h 210"/>
                <a:gd name="T24" fmla="*/ 0 w 181"/>
                <a:gd name="T25" fmla="*/ 1 h 210"/>
                <a:gd name="T26" fmla="*/ 1 w 181"/>
                <a:gd name="T27" fmla="*/ 1 h 210"/>
                <a:gd name="T28" fmla="*/ 1 w 181"/>
                <a:gd name="T29" fmla="*/ 1 h 210"/>
                <a:gd name="T30" fmla="*/ 1 w 181"/>
                <a:gd name="T31" fmla="*/ 1 h 210"/>
                <a:gd name="T32" fmla="*/ 1 w 181"/>
                <a:gd name="T33" fmla="*/ 1 h 210"/>
                <a:gd name="T34" fmla="*/ 1 w 181"/>
                <a:gd name="T35" fmla="*/ 1 h 210"/>
                <a:gd name="T36" fmla="*/ 1 w 181"/>
                <a:gd name="T37" fmla="*/ 1 h 210"/>
                <a:gd name="T38" fmla="*/ 1 w 181"/>
                <a:gd name="T39" fmla="*/ 1 h 210"/>
                <a:gd name="T40" fmla="*/ 1 w 181"/>
                <a:gd name="T41" fmla="*/ 1 h 210"/>
                <a:gd name="T42" fmla="*/ 1 w 181"/>
                <a:gd name="T43" fmla="*/ 1 h 210"/>
                <a:gd name="T44" fmla="*/ 1 w 181"/>
                <a:gd name="T45" fmla="*/ 1 h 210"/>
                <a:gd name="T46" fmla="*/ 1 w 181"/>
                <a:gd name="T47" fmla="*/ 1 h 210"/>
                <a:gd name="T48" fmla="*/ 1 w 181"/>
                <a:gd name="T49" fmla="*/ 1 h 210"/>
                <a:gd name="T50" fmla="*/ 1 w 181"/>
                <a:gd name="T51" fmla="*/ 1 h 210"/>
                <a:gd name="T52" fmla="*/ 1 w 181"/>
                <a:gd name="T53" fmla="*/ 1 h 210"/>
                <a:gd name="T54" fmla="*/ 1 w 181"/>
                <a:gd name="T55" fmla="*/ 1 h 210"/>
                <a:gd name="T56" fmla="*/ 1 w 181"/>
                <a:gd name="T57" fmla="*/ 1 h 210"/>
                <a:gd name="T58" fmla="*/ 1 w 181"/>
                <a:gd name="T59" fmla="*/ 1 h 210"/>
                <a:gd name="T60" fmla="*/ 1 w 181"/>
                <a:gd name="T61" fmla="*/ 1 h 210"/>
                <a:gd name="T62" fmla="*/ 1 w 181"/>
                <a:gd name="T63" fmla="*/ 1 h 210"/>
                <a:gd name="T64" fmla="*/ 1 w 181"/>
                <a:gd name="T65" fmla="*/ 1 h 210"/>
                <a:gd name="T66" fmla="*/ 1 w 181"/>
                <a:gd name="T67" fmla="*/ 1 h 210"/>
                <a:gd name="T68" fmla="*/ 1 w 181"/>
                <a:gd name="T69" fmla="*/ 1 h 210"/>
                <a:gd name="T70" fmla="*/ 1 w 181"/>
                <a:gd name="T71" fmla="*/ 1 h 210"/>
                <a:gd name="T72" fmla="*/ 1 w 181"/>
                <a:gd name="T73" fmla="*/ 1 h 210"/>
                <a:gd name="T74" fmla="*/ 1 w 181"/>
                <a:gd name="T75" fmla="*/ 1 h 210"/>
                <a:gd name="T76" fmla="*/ 1 w 181"/>
                <a:gd name="T77" fmla="*/ 1 h 210"/>
                <a:gd name="T78" fmla="*/ 1 w 181"/>
                <a:gd name="T79" fmla="*/ 1 h 210"/>
                <a:gd name="T80" fmla="*/ 1 w 181"/>
                <a:gd name="T81" fmla="*/ 1 h 210"/>
                <a:gd name="T82" fmla="*/ 1 w 181"/>
                <a:gd name="T83" fmla="*/ 1 h 210"/>
                <a:gd name="T84" fmla="*/ 1 w 181"/>
                <a:gd name="T85" fmla="*/ 1 h 21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81"/>
                <a:gd name="T130" fmla="*/ 0 h 210"/>
                <a:gd name="T131" fmla="*/ 181 w 181"/>
                <a:gd name="T132" fmla="*/ 210 h 21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81" h="210">
                  <a:moveTo>
                    <a:pt x="102" y="54"/>
                  </a:moveTo>
                  <a:lnTo>
                    <a:pt x="96" y="47"/>
                  </a:lnTo>
                  <a:lnTo>
                    <a:pt x="84" y="36"/>
                  </a:lnTo>
                  <a:lnTo>
                    <a:pt x="72" y="41"/>
                  </a:lnTo>
                  <a:lnTo>
                    <a:pt x="56" y="27"/>
                  </a:lnTo>
                  <a:lnTo>
                    <a:pt x="52" y="16"/>
                  </a:lnTo>
                  <a:lnTo>
                    <a:pt x="36" y="0"/>
                  </a:lnTo>
                  <a:lnTo>
                    <a:pt x="25" y="0"/>
                  </a:lnTo>
                  <a:lnTo>
                    <a:pt x="31" y="30"/>
                  </a:lnTo>
                  <a:lnTo>
                    <a:pt x="21" y="26"/>
                  </a:lnTo>
                  <a:lnTo>
                    <a:pt x="18" y="21"/>
                  </a:lnTo>
                  <a:lnTo>
                    <a:pt x="8" y="38"/>
                  </a:lnTo>
                  <a:lnTo>
                    <a:pt x="0" y="51"/>
                  </a:lnTo>
                  <a:lnTo>
                    <a:pt x="8" y="54"/>
                  </a:lnTo>
                  <a:lnTo>
                    <a:pt x="10" y="69"/>
                  </a:lnTo>
                  <a:lnTo>
                    <a:pt x="27" y="70"/>
                  </a:lnTo>
                  <a:lnTo>
                    <a:pt x="28" y="95"/>
                  </a:lnTo>
                  <a:lnTo>
                    <a:pt x="31" y="120"/>
                  </a:lnTo>
                  <a:lnTo>
                    <a:pt x="49" y="106"/>
                  </a:lnTo>
                  <a:lnTo>
                    <a:pt x="63" y="111"/>
                  </a:lnTo>
                  <a:lnTo>
                    <a:pt x="73" y="106"/>
                  </a:lnTo>
                  <a:lnTo>
                    <a:pt x="82" y="99"/>
                  </a:lnTo>
                  <a:lnTo>
                    <a:pt x="109" y="120"/>
                  </a:lnTo>
                  <a:lnTo>
                    <a:pt x="114" y="140"/>
                  </a:lnTo>
                  <a:lnTo>
                    <a:pt x="133" y="165"/>
                  </a:lnTo>
                  <a:lnTo>
                    <a:pt x="138" y="186"/>
                  </a:lnTo>
                  <a:lnTo>
                    <a:pt x="132" y="200"/>
                  </a:lnTo>
                  <a:lnTo>
                    <a:pt x="150" y="210"/>
                  </a:lnTo>
                  <a:lnTo>
                    <a:pt x="150" y="203"/>
                  </a:lnTo>
                  <a:lnTo>
                    <a:pt x="158" y="196"/>
                  </a:lnTo>
                  <a:lnTo>
                    <a:pt x="166" y="200"/>
                  </a:lnTo>
                  <a:lnTo>
                    <a:pt x="181" y="191"/>
                  </a:lnTo>
                  <a:lnTo>
                    <a:pt x="178" y="171"/>
                  </a:lnTo>
                  <a:lnTo>
                    <a:pt x="171" y="162"/>
                  </a:lnTo>
                  <a:lnTo>
                    <a:pt x="172" y="158"/>
                  </a:lnTo>
                  <a:lnTo>
                    <a:pt x="153" y="142"/>
                  </a:lnTo>
                  <a:lnTo>
                    <a:pt x="144" y="128"/>
                  </a:lnTo>
                  <a:lnTo>
                    <a:pt x="129" y="111"/>
                  </a:lnTo>
                  <a:lnTo>
                    <a:pt x="116" y="94"/>
                  </a:lnTo>
                  <a:lnTo>
                    <a:pt x="88" y="74"/>
                  </a:lnTo>
                  <a:lnTo>
                    <a:pt x="92" y="68"/>
                  </a:lnTo>
                  <a:lnTo>
                    <a:pt x="104" y="63"/>
                  </a:lnTo>
                  <a:lnTo>
                    <a:pt x="102" y="5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57" name="Freeform 13"/>
            <p:cNvSpPr>
              <a:spLocks/>
            </p:cNvSpPr>
            <p:nvPr/>
          </p:nvSpPr>
          <p:spPr bwMode="auto">
            <a:xfrm>
              <a:off x="4004" y="1592"/>
              <a:ext cx="135" cy="322"/>
            </a:xfrm>
            <a:custGeom>
              <a:avLst/>
              <a:gdLst>
                <a:gd name="T0" fmla="*/ 1 w 191"/>
                <a:gd name="T1" fmla="*/ 1 h 457"/>
                <a:gd name="T2" fmla="*/ 1 w 191"/>
                <a:gd name="T3" fmla="*/ 1 h 457"/>
                <a:gd name="T4" fmla="*/ 1 w 191"/>
                <a:gd name="T5" fmla="*/ 1 h 457"/>
                <a:gd name="T6" fmla="*/ 1 w 191"/>
                <a:gd name="T7" fmla="*/ 1 h 457"/>
                <a:gd name="T8" fmla="*/ 1 w 191"/>
                <a:gd name="T9" fmla="*/ 0 h 457"/>
                <a:gd name="T10" fmla="*/ 1 w 191"/>
                <a:gd name="T11" fmla="*/ 1 h 457"/>
                <a:gd name="T12" fmla="*/ 1 w 191"/>
                <a:gd name="T13" fmla="*/ 1 h 457"/>
                <a:gd name="T14" fmla="*/ 1 w 191"/>
                <a:gd name="T15" fmla="*/ 1 h 457"/>
                <a:gd name="T16" fmla="*/ 1 w 191"/>
                <a:gd name="T17" fmla="*/ 1 h 457"/>
                <a:gd name="T18" fmla="*/ 1 w 191"/>
                <a:gd name="T19" fmla="*/ 1 h 457"/>
                <a:gd name="T20" fmla="*/ 1 w 191"/>
                <a:gd name="T21" fmla="*/ 1 h 457"/>
                <a:gd name="T22" fmla="*/ 1 w 191"/>
                <a:gd name="T23" fmla="*/ 1 h 457"/>
                <a:gd name="T24" fmla="*/ 0 w 191"/>
                <a:gd name="T25" fmla="*/ 1 h 457"/>
                <a:gd name="T26" fmla="*/ 1 w 191"/>
                <a:gd name="T27" fmla="*/ 1 h 457"/>
                <a:gd name="T28" fmla="*/ 1 w 191"/>
                <a:gd name="T29" fmla="*/ 1 h 457"/>
                <a:gd name="T30" fmla="*/ 1 w 191"/>
                <a:gd name="T31" fmla="*/ 1 h 457"/>
                <a:gd name="T32" fmla="*/ 1 w 191"/>
                <a:gd name="T33" fmla="*/ 1 h 457"/>
                <a:gd name="T34" fmla="*/ 1 w 191"/>
                <a:gd name="T35" fmla="*/ 1 h 457"/>
                <a:gd name="T36" fmla="*/ 1 w 191"/>
                <a:gd name="T37" fmla="*/ 2 h 457"/>
                <a:gd name="T38" fmla="*/ 1 w 191"/>
                <a:gd name="T39" fmla="*/ 2 h 457"/>
                <a:gd name="T40" fmla="*/ 1 w 191"/>
                <a:gd name="T41" fmla="*/ 2 h 457"/>
                <a:gd name="T42" fmla="*/ 1 w 191"/>
                <a:gd name="T43" fmla="*/ 2 h 457"/>
                <a:gd name="T44" fmla="*/ 1 w 191"/>
                <a:gd name="T45" fmla="*/ 2 h 457"/>
                <a:gd name="T46" fmla="*/ 1 w 191"/>
                <a:gd name="T47" fmla="*/ 2 h 457"/>
                <a:gd name="T48" fmla="*/ 1 w 191"/>
                <a:gd name="T49" fmla="*/ 2 h 457"/>
                <a:gd name="T50" fmla="*/ 1 w 191"/>
                <a:gd name="T51" fmla="*/ 2 h 457"/>
                <a:gd name="T52" fmla="*/ 1 w 191"/>
                <a:gd name="T53" fmla="*/ 3 h 457"/>
                <a:gd name="T54" fmla="*/ 1 w 191"/>
                <a:gd name="T55" fmla="*/ 3 h 457"/>
                <a:gd name="T56" fmla="*/ 1 w 191"/>
                <a:gd name="T57" fmla="*/ 3 h 457"/>
                <a:gd name="T58" fmla="*/ 1 w 191"/>
                <a:gd name="T59" fmla="*/ 3 h 457"/>
                <a:gd name="T60" fmla="*/ 1 w 191"/>
                <a:gd name="T61" fmla="*/ 3 h 457"/>
                <a:gd name="T62" fmla="*/ 1 w 191"/>
                <a:gd name="T63" fmla="*/ 3 h 457"/>
                <a:gd name="T64" fmla="*/ 1 w 191"/>
                <a:gd name="T65" fmla="*/ 3 h 457"/>
                <a:gd name="T66" fmla="*/ 1 w 191"/>
                <a:gd name="T67" fmla="*/ 3 h 457"/>
                <a:gd name="T68" fmla="*/ 1 w 191"/>
                <a:gd name="T69" fmla="*/ 2 h 457"/>
                <a:gd name="T70" fmla="*/ 1 w 191"/>
                <a:gd name="T71" fmla="*/ 2 h 457"/>
                <a:gd name="T72" fmla="*/ 1 w 191"/>
                <a:gd name="T73" fmla="*/ 2 h 457"/>
                <a:gd name="T74" fmla="*/ 1 w 191"/>
                <a:gd name="T75" fmla="*/ 1 h 457"/>
                <a:gd name="T76" fmla="*/ 1 w 191"/>
                <a:gd name="T77" fmla="*/ 1 h 457"/>
                <a:gd name="T78" fmla="*/ 1 w 191"/>
                <a:gd name="T79" fmla="*/ 1 h 457"/>
                <a:gd name="T80" fmla="*/ 1 w 191"/>
                <a:gd name="T81" fmla="*/ 1 h 457"/>
                <a:gd name="T82" fmla="*/ 1 w 191"/>
                <a:gd name="T83" fmla="*/ 1 h 457"/>
                <a:gd name="T84" fmla="*/ 1 w 191"/>
                <a:gd name="T85" fmla="*/ 1 h 457"/>
                <a:gd name="T86" fmla="*/ 1 w 191"/>
                <a:gd name="T87" fmla="*/ 1 h 45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91"/>
                <a:gd name="T133" fmla="*/ 0 h 457"/>
                <a:gd name="T134" fmla="*/ 191 w 191"/>
                <a:gd name="T135" fmla="*/ 457 h 457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91" h="457">
                  <a:moveTo>
                    <a:pt x="128" y="110"/>
                  </a:moveTo>
                  <a:lnTo>
                    <a:pt x="105" y="114"/>
                  </a:lnTo>
                  <a:lnTo>
                    <a:pt x="104" y="103"/>
                  </a:lnTo>
                  <a:lnTo>
                    <a:pt x="103" y="92"/>
                  </a:lnTo>
                  <a:lnTo>
                    <a:pt x="114" y="75"/>
                  </a:lnTo>
                  <a:lnTo>
                    <a:pt x="117" y="63"/>
                  </a:lnTo>
                  <a:lnTo>
                    <a:pt x="113" y="44"/>
                  </a:lnTo>
                  <a:lnTo>
                    <a:pt x="108" y="24"/>
                  </a:lnTo>
                  <a:lnTo>
                    <a:pt x="98" y="19"/>
                  </a:lnTo>
                  <a:lnTo>
                    <a:pt x="80" y="0"/>
                  </a:lnTo>
                  <a:lnTo>
                    <a:pt x="78" y="8"/>
                  </a:lnTo>
                  <a:lnTo>
                    <a:pt x="75" y="20"/>
                  </a:lnTo>
                  <a:lnTo>
                    <a:pt x="73" y="27"/>
                  </a:lnTo>
                  <a:lnTo>
                    <a:pt x="76" y="36"/>
                  </a:lnTo>
                  <a:lnTo>
                    <a:pt x="61" y="32"/>
                  </a:lnTo>
                  <a:lnTo>
                    <a:pt x="40" y="54"/>
                  </a:lnTo>
                  <a:lnTo>
                    <a:pt x="39" y="74"/>
                  </a:lnTo>
                  <a:lnTo>
                    <a:pt x="39" y="85"/>
                  </a:lnTo>
                  <a:lnTo>
                    <a:pt x="28" y="115"/>
                  </a:lnTo>
                  <a:lnTo>
                    <a:pt x="15" y="115"/>
                  </a:lnTo>
                  <a:lnTo>
                    <a:pt x="14" y="137"/>
                  </a:lnTo>
                  <a:lnTo>
                    <a:pt x="14" y="163"/>
                  </a:lnTo>
                  <a:lnTo>
                    <a:pt x="7" y="163"/>
                  </a:lnTo>
                  <a:lnTo>
                    <a:pt x="6" y="163"/>
                  </a:lnTo>
                  <a:lnTo>
                    <a:pt x="7" y="179"/>
                  </a:lnTo>
                  <a:lnTo>
                    <a:pt x="0" y="183"/>
                  </a:lnTo>
                  <a:lnTo>
                    <a:pt x="14" y="205"/>
                  </a:lnTo>
                  <a:lnTo>
                    <a:pt x="15" y="207"/>
                  </a:lnTo>
                  <a:lnTo>
                    <a:pt x="20" y="201"/>
                  </a:lnTo>
                  <a:lnTo>
                    <a:pt x="25" y="216"/>
                  </a:lnTo>
                  <a:lnTo>
                    <a:pt x="27" y="217"/>
                  </a:lnTo>
                  <a:lnTo>
                    <a:pt x="36" y="216"/>
                  </a:lnTo>
                  <a:lnTo>
                    <a:pt x="43" y="225"/>
                  </a:lnTo>
                  <a:lnTo>
                    <a:pt x="37" y="229"/>
                  </a:lnTo>
                  <a:lnTo>
                    <a:pt x="43" y="239"/>
                  </a:lnTo>
                  <a:lnTo>
                    <a:pt x="46" y="230"/>
                  </a:lnTo>
                  <a:lnTo>
                    <a:pt x="55" y="249"/>
                  </a:lnTo>
                  <a:lnTo>
                    <a:pt x="62" y="269"/>
                  </a:lnTo>
                  <a:lnTo>
                    <a:pt x="61" y="290"/>
                  </a:lnTo>
                  <a:lnTo>
                    <a:pt x="60" y="311"/>
                  </a:lnTo>
                  <a:lnTo>
                    <a:pt x="69" y="299"/>
                  </a:lnTo>
                  <a:lnTo>
                    <a:pt x="72" y="312"/>
                  </a:lnTo>
                  <a:lnTo>
                    <a:pt x="75" y="315"/>
                  </a:lnTo>
                  <a:lnTo>
                    <a:pt x="80" y="314"/>
                  </a:lnTo>
                  <a:lnTo>
                    <a:pt x="85" y="312"/>
                  </a:lnTo>
                  <a:lnTo>
                    <a:pt x="85" y="315"/>
                  </a:lnTo>
                  <a:lnTo>
                    <a:pt x="100" y="303"/>
                  </a:lnTo>
                  <a:lnTo>
                    <a:pt x="103" y="296"/>
                  </a:lnTo>
                  <a:lnTo>
                    <a:pt x="109" y="300"/>
                  </a:lnTo>
                  <a:lnTo>
                    <a:pt x="115" y="279"/>
                  </a:lnTo>
                  <a:lnTo>
                    <a:pt x="123" y="291"/>
                  </a:lnTo>
                  <a:lnTo>
                    <a:pt x="133" y="300"/>
                  </a:lnTo>
                  <a:lnTo>
                    <a:pt x="143" y="335"/>
                  </a:lnTo>
                  <a:lnTo>
                    <a:pt x="152" y="369"/>
                  </a:lnTo>
                  <a:lnTo>
                    <a:pt x="152" y="363"/>
                  </a:lnTo>
                  <a:lnTo>
                    <a:pt x="159" y="381"/>
                  </a:lnTo>
                  <a:lnTo>
                    <a:pt x="165" y="399"/>
                  </a:lnTo>
                  <a:lnTo>
                    <a:pt x="169" y="417"/>
                  </a:lnTo>
                  <a:lnTo>
                    <a:pt x="169" y="438"/>
                  </a:lnTo>
                  <a:lnTo>
                    <a:pt x="169" y="457"/>
                  </a:lnTo>
                  <a:lnTo>
                    <a:pt x="174" y="452"/>
                  </a:lnTo>
                  <a:lnTo>
                    <a:pt x="181" y="437"/>
                  </a:lnTo>
                  <a:lnTo>
                    <a:pt x="188" y="420"/>
                  </a:lnTo>
                  <a:lnTo>
                    <a:pt x="182" y="396"/>
                  </a:lnTo>
                  <a:lnTo>
                    <a:pt x="176" y="374"/>
                  </a:lnTo>
                  <a:lnTo>
                    <a:pt x="165" y="360"/>
                  </a:lnTo>
                  <a:lnTo>
                    <a:pt x="153" y="344"/>
                  </a:lnTo>
                  <a:lnTo>
                    <a:pt x="153" y="330"/>
                  </a:lnTo>
                  <a:lnTo>
                    <a:pt x="156" y="319"/>
                  </a:lnTo>
                  <a:lnTo>
                    <a:pt x="162" y="305"/>
                  </a:lnTo>
                  <a:lnTo>
                    <a:pt x="156" y="302"/>
                  </a:lnTo>
                  <a:lnTo>
                    <a:pt x="138" y="276"/>
                  </a:lnTo>
                  <a:lnTo>
                    <a:pt x="120" y="248"/>
                  </a:lnTo>
                  <a:lnTo>
                    <a:pt x="126" y="249"/>
                  </a:lnTo>
                  <a:lnTo>
                    <a:pt x="131" y="222"/>
                  </a:lnTo>
                  <a:lnTo>
                    <a:pt x="152" y="217"/>
                  </a:lnTo>
                  <a:lnTo>
                    <a:pt x="161" y="206"/>
                  </a:lnTo>
                  <a:lnTo>
                    <a:pt x="173" y="204"/>
                  </a:lnTo>
                  <a:lnTo>
                    <a:pt x="181" y="191"/>
                  </a:lnTo>
                  <a:lnTo>
                    <a:pt x="191" y="174"/>
                  </a:lnTo>
                  <a:lnTo>
                    <a:pt x="185" y="171"/>
                  </a:lnTo>
                  <a:lnTo>
                    <a:pt x="169" y="175"/>
                  </a:lnTo>
                  <a:lnTo>
                    <a:pt x="159" y="162"/>
                  </a:lnTo>
                  <a:lnTo>
                    <a:pt x="147" y="156"/>
                  </a:lnTo>
                  <a:lnTo>
                    <a:pt x="150" y="137"/>
                  </a:lnTo>
                  <a:lnTo>
                    <a:pt x="135" y="129"/>
                  </a:lnTo>
                  <a:lnTo>
                    <a:pt x="129" y="114"/>
                  </a:lnTo>
                  <a:lnTo>
                    <a:pt x="128" y="11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58" name="Freeform 14"/>
            <p:cNvSpPr>
              <a:spLocks/>
            </p:cNvSpPr>
            <p:nvPr/>
          </p:nvSpPr>
          <p:spPr bwMode="auto">
            <a:xfrm>
              <a:off x="4089" y="1736"/>
              <a:ext cx="135" cy="254"/>
            </a:xfrm>
            <a:custGeom>
              <a:avLst/>
              <a:gdLst>
                <a:gd name="T0" fmla="*/ 1 w 191"/>
                <a:gd name="T1" fmla="*/ 2 h 361"/>
                <a:gd name="T2" fmla="*/ 1 w 191"/>
                <a:gd name="T3" fmla="*/ 1 h 361"/>
                <a:gd name="T4" fmla="*/ 1 w 191"/>
                <a:gd name="T5" fmla="*/ 1 h 361"/>
                <a:gd name="T6" fmla="*/ 1 w 191"/>
                <a:gd name="T7" fmla="*/ 1 h 361"/>
                <a:gd name="T8" fmla="*/ 1 w 191"/>
                <a:gd name="T9" fmla="*/ 1 h 361"/>
                <a:gd name="T10" fmla="*/ 1 w 191"/>
                <a:gd name="T11" fmla="*/ 1 h 361"/>
                <a:gd name="T12" fmla="*/ 1 w 191"/>
                <a:gd name="T13" fmla="*/ 1 h 361"/>
                <a:gd name="T14" fmla="*/ 1 w 191"/>
                <a:gd name="T15" fmla="*/ 1 h 361"/>
                <a:gd name="T16" fmla="*/ 1 w 191"/>
                <a:gd name="T17" fmla="*/ 1 h 361"/>
                <a:gd name="T18" fmla="*/ 1 w 191"/>
                <a:gd name="T19" fmla="*/ 1 h 361"/>
                <a:gd name="T20" fmla="*/ 1 w 191"/>
                <a:gd name="T21" fmla="*/ 1 h 361"/>
                <a:gd name="T22" fmla="*/ 1 w 191"/>
                <a:gd name="T23" fmla="*/ 1 h 361"/>
                <a:gd name="T24" fmla="*/ 1 w 191"/>
                <a:gd name="T25" fmla="*/ 1 h 361"/>
                <a:gd name="T26" fmla="*/ 1 w 191"/>
                <a:gd name="T27" fmla="*/ 1 h 361"/>
                <a:gd name="T28" fmla="*/ 1 w 191"/>
                <a:gd name="T29" fmla="*/ 0 h 361"/>
                <a:gd name="T30" fmla="*/ 1 w 191"/>
                <a:gd name="T31" fmla="*/ 1 h 361"/>
                <a:gd name="T32" fmla="*/ 1 w 191"/>
                <a:gd name="T33" fmla="*/ 1 h 361"/>
                <a:gd name="T34" fmla="*/ 1 w 191"/>
                <a:gd name="T35" fmla="*/ 1 h 361"/>
                <a:gd name="T36" fmla="*/ 1 w 191"/>
                <a:gd name="T37" fmla="*/ 1 h 361"/>
                <a:gd name="T38" fmla="*/ 1 w 191"/>
                <a:gd name="T39" fmla="*/ 1 h 361"/>
                <a:gd name="T40" fmla="*/ 1 w 191"/>
                <a:gd name="T41" fmla="*/ 1 h 361"/>
                <a:gd name="T42" fmla="*/ 1 w 191"/>
                <a:gd name="T43" fmla="*/ 1 h 361"/>
                <a:gd name="T44" fmla="*/ 1 w 191"/>
                <a:gd name="T45" fmla="*/ 2 h 361"/>
                <a:gd name="T46" fmla="*/ 1 w 191"/>
                <a:gd name="T47" fmla="*/ 2 h 361"/>
                <a:gd name="T48" fmla="*/ 1 w 191"/>
                <a:gd name="T49" fmla="*/ 2 h 361"/>
                <a:gd name="T50" fmla="*/ 1 w 191"/>
                <a:gd name="T51" fmla="*/ 2 h 361"/>
                <a:gd name="T52" fmla="*/ 1 w 191"/>
                <a:gd name="T53" fmla="*/ 3 h 361"/>
                <a:gd name="T54" fmla="*/ 1 w 191"/>
                <a:gd name="T55" fmla="*/ 3 h 361"/>
                <a:gd name="T56" fmla="*/ 1 w 191"/>
                <a:gd name="T57" fmla="*/ 3 h 361"/>
                <a:gd name="T58" fmla="*/ 1 w 191"/>
                <a:gd name="T59" fmla="*/ 3 h 361"/>
                <a:gd name="T60" fmla="*/ 1 w 191"/>
                <a:gd name="T61" fmla="*/ 3 h 361"/>
                <a:gd name="T62" fmla="*/ 1 w 191"/>
                <a:gd name="T63" fmla="*/ 2 h 361"/>
                <a:gd name="T64" fmla="*/ 1 w 191"/>
                <a:gd name="T65" fmla="*/ 2 h 36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91"/>
                <a:gd name="T100" fmla="*/ 0 h 361"/>
                <a:gd name="T101" fmla="*/ 191 w 191"/>
                <a:gd name="T102" fmla="*/ 361 h 36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91" h="361">
                  <a:moveTo>
                    <a:pt x="68" y="277"/>
                  </a:moveTo>
                  <a:lnTo>
                    <a:pt x="63" y="258"/>
                  </a:lnTo>
                  <a:lnTo>
                    <a:pt x="68" y="235"/>
                  </a:lnTo>
                  <a:lnTo>
                    <a:pt x="73" y="213"/>
                  </a:lnTo>
                  <a:lnTo>
                    <a:pt x="73" y="194"/>
                  </a:lnTo>
                  <a:lnTo>
                    <a:pt x="74" y="174"/>
                  </a:lnTo>
                  <a:lnTo>
                    <a:pt x="93" y="170"/>
                  </a:lnTo>
                  <a:lnTo>
                    <a:pt x="95" y="188"/>
                  </a:lnTo>
                  <a:lnTo>
                    <a:pt x="111" y="191"/>
                  </a:lnTo>
                  <a:lnTo>
                    <a:pt x="133" y="206"/>
                  </a:lnTo>
                  <a:lnTo>
                    <a:pt x="141" y="216"/>
                  </a:lnTo>
                  <a:lnTo>
                    <a:pt x="133" y="195"/>
                  </a:lnTo>
                  <a:lnTo>
                    <a:pt x="125" y="175"/>
                  </a:lnTo>
                  <a:lnTo>
                    <a:pt x="139" y="150"/>
                  </a:lnTo>
                  <a:lnTo>
                    <a:pt x="162" y="150"/>
                  </a:lnTo>
                  <a:lnTo>
                    <a:pt x="185" y="149"/>
                  </a:lnTo>
                  <a:lnTo>
                    <a:pt x="191" y="135"/>
                  </a:lnTo>
                  <a:lnTo>
                    <a:pt x="186" y="114"/>
                  </a:lnTo>
                  <a:lnTo>
                    <a:pt x="167" y="89"/>
                  </a:lnTo>
                  <a:lnTo>
                    <a:pt x="162" y="69"/>
                  </a:lnTo>
                  <a:lnTo>
                    <a:pt x="135" y="48"/>
                  </a:lnTo>
                  <a:lnTo>
                    <a:pt x="126" y="55"/>
                  </a:lnTo>
                  <a:lnTo>
                    <a:pt x="116" y="60"/>
                  </a:lnTo>
                  <a:lnTo>
                    <a:pt x="102" y="55"/>
                  </a:lnTo>
                  <a:lnTo>
                    <a:pt x="84" y="69"/>
                  </a:lnTo>
                  <a:lnTo>
                    <a:pt x="81" y="44"/>
                  </a:lnTo>
                  <a:lnTo>
                    <a:pt x="80" y="19"/>
                  </a:lnTo>
                  <a:lnTo>
                    <a:pt x="63" y="18"/>
                  </a:lnTo>
                  <a:lnTo>
                    <a:pt x="61" y="3"/>
                  </a:lnTo>
                  <a:lnTo>
                    <a:pt x="53" y="0"/>
                  </a:lnTo>
                  <a:lnTo>
                    <a:pt x="41" y="2"/>
                  </a:lnTo>
                  <a:lnTo>
                    <a:pt x="32" y="13"/>
                  </a:lnTo>
                  <a:lnTo>
                    <a:pt x="11" y="18"/>
                  </a:lnTo>
                  <a:lnTo>
                    <a:pt x="6" y="45"/>
                  </a:lnTo>
                  <a:lnTo>
                    <a:pt x="0" y="44"/>
                  </a:lnTo>
                  <a:lnTo>
                    <a:pt x="18" y="72"/>
                  </a:lnTo>
                  <a:lnTo>
                    <a:pt x="36" y="98"/>
                  </a:lnTo>
                  <a:lnTo>
                    <a:pt x="42" y="101"/>
                  </a:lnTo>
                  <a:lnTo>
                    <a:pt x="36" y="115"/>
                  </a:lnTo>
                  <a:lnTo>
                    <a:pt x="33" y="126"/>
                  </a:lnTo>
                  <a:lnTo>
                    <a:pt x="33" y="140"/>
                  </a:lnTo>
                  <a:lnTo>
                    <a:pt x="45" y="156"/>
                  </a:lnTo>
                  <a:lnTo>
                    <a:pt x="56" y="170"/>
                  </a:lnTo>
                  <a:lnTo>
                    <a:pt x="62" y="192"/>
                  </a:lnTo>
                  <a:lnTo>
                    <a:pt x="68" y="216"/>
                  </a:lnTo>
                  <a:lnTo>
                    <a:pt x="61" y="233"/>
                  </a:lnTo>
                  <a:lnTo>
                    <a:pt x="54" y="248"/>
                  </a:lnTo>
                  <a:lnTo>
                    <a:pt x="53" y="253"/>
                  </a:lnTo>
                  <a:lnTo>
                    <a:pt x="50" y="277"/>
                  </a:lnTo>
                  <a:lnTo>
                    <a:pt x="47" y="301"/>
                  </a:lnTo>
                  <a:lnTo>
                    <a:pt x="50" y="299"/>
                  </a:lnTo>
                  <a:lnTo>
                    <a:pt x="62" y="312"/>
                  </a:lnTo>
                  <a:lnTo>
                    <a:pt x="74" y="325"/>
                  </a:lnTo>
                  <a:lnTo>
                    <a:pt x="79" y="331"/>
                  </a:lnTo>
                  <a:lnTo>
                    <a:pt x="90" y="345"/>
                  </a:lnTo>
                  <a:lnTo>
                    <a:pt x="91" y="342"/>
                  </a:lnTo>
                  <a:lnTo>
                    <a:pt x="108" y="350"/>
                  </a:lnTo>
                  <a:lnTo>
                    <a:pt x="109" y="361"/>
                  </a:lnTo>
                  <a:lnTo>
                    <a:pt x="123" y="361"/>
                  </a:lnTo>
                  <a:lnTo>
                    <a:pt x="133" y="350"/>
                  </a:lnTo>
                  <a:lnTo>
                    <a:pt x="120" y="336"/>
                  </a:lnTo>
                  <a:lnTo>
                    <a:pt x="104" y="332"/>
                  </a:lnTo>
                  <a:lnTo>
                    <a:pt x="92" y="319"/>
                  </a:lnTo>
                  <a:lnTo>
                    <a:pt x="87" y="301"/>
                  </a:lnTo>
                  <a:lnTo>
                    <a:pt x="80" y="278"/>
                  </a:lnTo>
                  <a:lnTo>
                    <a:pt x="68" y="27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59" name="Freeform 15"/>
            <p:cNvSpPr>
              <a:spLocks/>
            </p:cNvSpPr>
            <p:nvPr/>
          </p:nvSpPr>
          <p:spPr bwMode="auto">
            <a:xfrm>
              <a:off x="4152" y="1685"/>
              <a:ext cx="134" cy="255"/>
            </a:xfrm>
            <a:custGeom>
              <a:avLst/>
              <a:gdLst>
                <a:gd name="T0" fmla="*/ 1 w 190"/>
                <a:gd name="T1" fmla="*/ 1 h 361"/>
                <a:gd name="T2" fmla="*/ 1 w 190"/>
                <a:gd name="T3" fmla="*/ 1 h 361"/>
                <a:gd name="T4" fmla="*/ 1 w 190"/>
                <a:gd name="T5" fmla="*/ 1 h 361"/>
                <a:gd name="T6" fmla="*/ 1 w 190"/>
                <a:gd name="T7" fmla="*/ 1 h 361"/>
                <a:gd name="T8" fmla="*/ 1 w 190"/>
                <a:gd name="T9" fmla="*/ 1 h 361"/>
                <a:gd name="T10" fmla="*/ 1 w 190"/>
                <a:gd name="T11" fmla="*/ 1 h 361"/>
                <a:gd name="T12" fmla="*/ 1 w 190"/>
                <a:gd name="T13" fmla="*/ 1 h 361"/>
                <a:gd name="T14" fmla="*/ 1 w 190"/>
                <a:gd name="T15" fmla="*/ 1 h 361"/>
                <a:gd name="T16" fmla="*/ 1 w 190"/>
                <a:gd name="T17" fmla="*/ 1 h 361"/>
                <a:gd name="T18" fmla="*/ 1 w 190"/>
                <a:gd name="T19" fmla="*/ 1 h 361"/>
                <a:gd name="T20" fmla="*/ 1 w 190"/>
                <a:gd name="T21" fmla="*/ 1 h 361"/>
                <a:gd name="T22" fmla="*/ 1 w 190"/>
                <a:gd name="T23" fmla="*/ 1 h 361"/>
                <a:gd name="T24" fmla="*/ 1 w 190"/>
                <a:gd name="T25" fmla="*/ 1 h 361"/>
                <a:gd name="T26" fmla="*/ 1 w 190"/>
                <a:gd name="T27" fmla="*/ 1 h 361"/>
                <a:gd name="T28" fmla="*/ 1 w 190"/>
                <a:gd name="T29" fmla="*/ 1 h 361"/>
                <a:gd name="T30" fmla="*/ 1 w 190"/>
                <a:gd name="T31" fmla="*/ 2 h 361"/>
                <a:gd name="T32" fmla="*/ 1 w 190"/>
                <a:gd name="T33" fmla="*/ 2 h 361"/>
                <a:gd name="T34" fmla="*/ 1 w 190"/>
                <a:gd name="T35" fmla="*/ 2 h 361"/>
                <a:gd name="T36" fmla="*/ 1 w 190"/>
                <a:gd name="T37" fmla="*/ 3 h 361"/>
                <a:gd name="T38" fmla="*/ 1 w 190"/>
                <a:gd name="T39" fmla="*/ 3 h 361"/>
                <a:gd name="T40" fmla="*/ 1 w 190"/>
                <a:gd name="T41" fmla="*/ 3 h 361"/>
                <a:gd name="T42" fmla="*/ 1 w 190"/>
                <a:gd name="T43" fmla="*/ 3 h 361"/>
                <a:gd name="T44" fmla="*/ 1 w 190"/>
                <a:gd name="T45" fmla="*/ 3 h 361"/>
                <a:gd name="T46" fmla="*/ 1 w 190"/>
                <a:gd name="T47" fmla="*/ 3 h 361"/>
                <a:gd name="T48" fmla="*/ 1 w 190"/>
                <a:gd name="T49" fmla="*/ 2 h 361"/>
                <a:gd name="T50" fmla="*/ 1 w 190"/>
                <a:gd name="T51" fmla="*/ 2 h 361"/>
                <a:gd name="T52" fmla="*/ 1 w 190"/>
                <a:gd name="T53" fmla="*/ 2 h 361"/>
                <a:gd name="T54" fmla="*/ 1 w 190"/>
                <a:gd name="T55" fmla="*/ 2 h 361"/>
                <a:gd name="T56" fmla="*/ 1 w 190"/>
                <a:gd name="T57" fmla="*/ 1 h 361"/>
                <a:gd name="T58" fmla="*/ 1 w 190"/>
                <a:gd name="T59" fmla="*/ 1 h 361"/>
                <a:gd name="T60" fmla="*/ 1 w 190"/>
                <a:gd name="T61" fmla="*/ 1 h 361"/>
                <a:gd name="T62" fmla="*/ 1 w 190"/>
                <a:gd name="T63" fmla="*/ 1 h 361"/>
                <a:gd name="T64" fmla="*/ 1 w 190"/>
                <a:gd name="T65" fmla="*/ 1 h 361"/>
                <a:gd name="T66" fmla="*/ 1 w 190"/>
                <a:gd name="T67" fmla="*/ 1 h 36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90"/>
                <a:gd name="T103" fmla="*/ 0 h 361"/>
                <a:gd name="T104" fmla="*/ 190 w 190"/>
                <a:gd name="T105" fmla="*/ 361 h 361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90" h="361">
                  <a:moveTo>
                    <a:pt x="66" y="75"/>
                  </a:moveTo>
                  <a:lnTo>
                    <a:pt x="60" y="68"/>
                  </a:lnTo>
                  <a:lnTo>
                    <a:pt x="48" y="57"/>
                  </a:lnTo>
                  <a:lnTo>
                    <a:pt x="36" y="62"/>
                  </a:lnTo>
                  <a:lnTo>
                    <a:pt x="20" y="48"/>
                  </a:lnTo>
                  <a:lnTo>
                    <a:pt x="16" y="37"/>
                  </a:lnTo>
                  <a:lnTo>
                    <a:pt x="0" y="21"/>
                  </a:lnTo>
                  <a:lnTo>
                    <a:pt x="4" y="15"/>
                  </a:lnTo>
                  <a:lnTo>
                    <a:pt x="16" y="19"/>
                  </a:lnTo>
                  <a:lnTo>
                    <a:pt x="21" y="15"/>
                  </a:lnTo>
                  <a:lnTo>
                    <a:pt x="30" y="15"/>
                  </a:lnTo>
                  <a:lnTo>
                    <a:pt x="36" y="17"/>
                  </a:lnTo>
                  <a:lnTo>
                    <a:pt x="39" y="14"/>
                  </a:lnTo>
                  <a:lnTo>
                    <a:pt x="46" y="14"/>
                  </a:lnTo>
                  <a:lnTo>
                    <a:pt x="60" y="0"/>
                  </a:lnTo>
                  <a:lnTo>
                    <a:pt x="68" y="1"/>
                  </a:lnTo>
                  <a:lnTo>
                    <a:pt x="94" y="9"/>
                  </a:lnTo>
                  <a:lnTo>
                    <a:pt x="98" y="26"/>
                  </a:lnTo>
                  <a:lnTo>
                    <a:pt x="108" y="33"/>
                  </a:lnTo>
                  <a:lnTo>
                    <a:pt x="129" y="42"/>
                  </a:lnTo>
                  <a:lnTo>
                    <a:pt x="117" y="51"/>
                  </a:lnTo>
                  <a:lnTo>
                    <a:pt x="105" y="57"/>
                  </a:lnTo>
                  <a:lnTo>
                    <a:pt x="105" y="60"/>
                  </a:lnTo>
                  <a:lnTo>
                    <a:pt x="97" y="80"/>
                  </a:lnTo>
                  <a:lnTo>
                    <a:pt x="88" y="103"/>
                  </a:lnTo>
                  <a:lnTo>
                    <a:pt x="104" y="125"/>
                  </a:lnTo>
                  <a:lnTo>
                    <a:pt x="110" y="137"/>
                  </a:lnTo>
                  <a:lnTo>
                    <a:pt x="123" y="151"/>
                  </a:lnTo>
                  <a:lnTo>
                    <a:pt x="138" y="164"/>
                  </a:lnTo>
                  <a:lnTo>
                    <a:pt x="156" y="179"/>
                  </a:lnTo>
                  <a:lnTo>
                    <a:pt x="170" y="194"/>
                  </a:lnTo>
                  <a:lnTo>
                    <a:pt x="181" y="229"/>
                  </a:lnTo>
                  <a:lnTo>
                    <a:pt x="190" y="263"/>
                  </a:lnTo>
                  <a:lnTo>
                    <a:pt x="189" y="271"/>
                  </a:lnTo>
                  <a:lnTo>
                    <a:pt x="189" y="279"/>
                  </a:lnTo>
                  <a:lnTo>
                    <a:pt x="186" y="289"/>
                  </a:lnTo>
                  <a:lnTo>
                    <a:pt x="171" y="303"/>
                  </a:lnTo>
                  <a:lnTo>
                    <a:pt x="156" y="317"/>
                  </a:lnTo>
                  <a:lnTo>
                    <a:pt x="140" y="313"/>
                  </a:lnTo>
                  <a:lnTo>
                    <a:pt x="140" y="319"/>
                  </a:lnTo>
                  <a:lnTo>
                    <a:pt x="140" y="326"/>
                  </a:lnTo>
                  <a:lnTo>
                    <a:pt x="136" y="330"/>
                  </a:lnTo>
                  <a:lnTo>
                    <a:pt x="136" y="339"/>
                  </a:lnTo>
                  <a:lnTo>
                    <a:pt x="128" y="339"/>
                  </a:lnTo>
                  <a:lnTo>
                    <a:pt x="111" y="357"/>
                  </a:lnTo>
                  <a:lnTo>
                    <a:pt x="100" y="361"/>
                  </a:lnTo>
                  <a:lnTo>
                    <a:pt x="103" y="331"/>
                  </a:lnTo>
                  <a:lnTo>
                    <a:pt x="88" y="319"/>
                  </a:lnTo>
                  <a:lnTo>
                    <a:pt x="102" y="309"/>
                  </a:lnTo>
                  <a:lnTo>
                    <a:pt x="108" y="307"/>
                  </a:lnTo>
                  <a:lnTo>
                    <a:pt x="123" y="309"/>
                  </a:lnTo>
                  <a:lnTo>
                    <a:pt x="117" y="290"/>
                  </a:lnTo>
                  <a:lnTo>
                    <a:pt x="129" y="284"/>
                  </a:lnTo>
                  <a:lnTo>
                    <a:pt x="148" y="273"/>
                  </a:lnTo>
                  <a:lnTo>
                    <a:pt x="147" y="254"/>
                  </a:lnTo>
                  <a:lnTo>
                    <a:pt x="146" y="235"/>
                  </a:lnTo>
                  <a:lnTo>
                    <a:pt x="145" y="212"/>
                  </a:lnTo>
                  <a:lnTo>
                    <a:pt x="142" y="192"/>
                  </a:lnTo>
                  <a:lnTo>
                    <a:pt x="135" y="183"/>
                  </a:lnTo>
                  <a:lnTo>
                    <a:pt x="136" y="179"/>
                  </a:lnTo>
                  <a:lnTo>
                    <a:pt x="117" y="163"/>
                  </a:lnTo>
                  <a:lnTo>
                    <a:pt x="108" y="149"/>
                  </a:lnTo>
                  <a:lnTo>
                    <a:pt x="93" y="132"/>
                  </a:lnTo>
                  <a:lnTo>
                    <a:pt x="80" y="115"/>
                  </a:lnTo>
                  <a:lnTo>
                    <a:pt x="52" y="95"/>
                  </a:lnTo>
                  <a:lnTo>
                    <a:pt x="56" y="89"/>
                  </a:lnTo>
                  <a:lnTo>
                    <a:pt x="68" y="84"/>
                  </a:lnTo>
                  <a:lnTo>
                    <a:pt x="66" y="75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60" name="Freeform 16"/>
            <p:cNvSpPr>
              <a:spLocks/>
            </p:cNvSpPr>
            <p:nvPr/>
          </p:nvSpPr>
          <p:spPr bwMode="auto">
            <a:xfrm>
              <a:off x="3374" y="1636"/>
              <a:ext cx="12" cy="27"/>
            </a:xfrm>
            <a:custGeom>
              <a:avLst/>
              <a:gdLst>
                <a:gd name="T0" fmla="*/ 2 w 16"/>
                <a:gd name="T1" fmla="*/ 1 h 38"/>
                <a:gd name="T2" fmla="*/ 2 w 16"/>
                <a:gd name="T3" fmla="*/ 1 h 38"/>
                <a:gd name="T4" fmla="*/ 0 w 16"/>
                <a:gd name="T5" fmla="*/ 1 h 38"/>
                <a:gd name="T6" fmla="*/ 0 w 16"/>
                <a:gd name="T7" fmla="*/ 1 h 38"/>
                <a:gd name="T8" fmla="*/ 2 w 16"/>
                <a:gd name="T9" fmla="*/ 0 h 38"/>
                <a:gd name="T10" fmla="*/ 2 w 16"/>
                <a:gd name="T11" fmla="*/ 1 h 38"/>
                <a:gd name="T12" fmla="*/ 2 w 16"/>
                <a:gd name="T13" fmla="*/ 1 h 3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"/>
                <a:gd name="T22" fmla="*/ 0 h 38"/>
                <a:gd name="T23" fmla="*/ 16 w 16"/>
                <a:gd name="T24" fmla="*/ 38 h 3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" h="38">
                  <a:moveTo>
                    <a:pt x="8" y="37"/>
                  </a:moveTo>
                  <a:lnTo>
                    <a:pt x="7" y="38"/>
                  </a:lnTo>
                  <a:lnTo>
                    <a:pt x="0" y="34"/>
                  </a:lnTo>
                  <a:lnTo>
                    <a:pt x="0" y="12"/>
                  </a:lnTo>
                  <a:lnTo>
                    <a:pt x="7" y="0"/>
                  </a:lnTo>
                  <a:lnTo>
                    <a:pt x="16" y="20"/>
                  </a:lnTo>
                  <a:lnTo>
                    <a:pt x="8" y="3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61" name="Freeform 17"/>
            <p:cNvSpPr>
              <a:spLocks/>
            </p:cNvSpPr>
            <p:nvPr/>
          </p:nvSpPr>
          <p:spPr bwMode="auto">
            <a:xfrm>
              <a:off x="3242" y="1398"/>
              <a:ext cx="314" cy="253"/>
            </a:xfrm>
            <a:custGeom>
              <a:avLst/>
              <a:gdLst>
                <a:gd name="T0" fmla="*/ 1 w 446"/>
                <a:gd name="T1" fmla="*/ 1 h 360"/>
                <a:gd name="T2" fmla="*/ 1 w 446"/>
                <a:gd name="T3" fmla="*/ 1 h 360"/>
                <a:gd name="T4" fmla="*/ 1 w 446"/>
                <a:gd name="T5" fmla="*/ 1 h 360"/>
                <a:gd name="T6" fmla="*/ 1 w 446"/>
                <a:gd name="T7" fmla="*/ 1 h 360"/>
                <a:gd name="T8" fmla="*/ 0 w 446"/>
                <a:gd name="T9" fmla="*/ 1 h 360"/>
                <a:gd name="T10" fmla="*/ 1 w 446"/>
                <a:gd name="T11" fmla="*/ 1 h 360"/>
                <a:gd name="T12" fmla="*/ 1 w 446"/>
                <a:gd name="T13" fmla="*/ 1 h 360"/>
                <a:gd name="T14" fmla="*/ 1 w 446"/>
                <a:gd name="T15" fmla="*/ 1 h 360"/>
                <a:gd name="T16" fmla="*/ 1 w 446"/>
                <a:gd name="T17" fmla="*/ 1 h 360"/>
                <a:gd name="T18" fmla="*/ 1 w 446"/>
                <a:gd name="T19" fmla="*/ 1 h 360"/>
                <a:gd name="T20" fmla="*/ 1 w 446"/>
                <a:gd name="T21" fmla="*/ 1 h 360"/>
                <a:gd name="T22" fmla="*/ 1 w 446"/>
                <a:gd name="T23" fmla="*/ 1 h 360"/>
                <a:gd name="T24" fmla="*/ 1 w 446"/>
                <a:gd name="T25" fmla="*/ 1 h 360"/>
                <a:gd name="T26" fmla="*/ 1 w 446"/>
                <a:gd name="T27" fmla="*/ 1 h 360"/>
                <a:gd name="T28" fmla="*/ 2 w 446"/>
                <a:gd name="T29" fmla="*/ 1 h 360"/>
                <a:gd name="T30" fmla="*/ 2 w 446"/>
                <a:gd name="T31" fmla="*/ 1 h 360"/>
                <a:gd name="T32" fmla="*/ 3 w 446"/>
                <a:gd name="T33" fmla="*/ 1 h 360"/>
                <a:gd name="T34" fmla="*/ 3 w 446"/>
                <a:gd name="T35" fmla="*/ 1 h 360"/>
                <a:gd name="T36" fmla="*/ 3 w 446"/>
                <a:gd name="T37" fmla="*/ 1 h 360"/>
                <a:gd name="T38" fmla="*/ 3 w 446"/>
                <a:gd name="T39" fmla="*/ 1 h 360"/>
                <a:gd name="T40" fmla="*/ 3 w 446"/>
                <a:gd name="T41" fmla="*/ 1 h 360"/>
                <a:gd name="T42" fmla="*/ 3 w 446"/>
                <a:gd name="T43" fmla="*/ 1 h 360"/>
                <a:gd name="T44" fmla="*/ 3 w 446"/>
                <a:gd name="T45" fmla="*/ 2 h 360"/>
                <a:gd name="T46" fmla="*/ 3 w 446"/>
                <a:gd name="T47" fmla="*/ 2 h 360"/>
                <a:gd name="T48" fmla="*/ 3 w 446"/>
                <a:gd name="T49" fmla="*/ 2 h 360"/>
                <a:gd name="T50" fmla="*/ 3 w 446"/>
                <a:gd name="T51" fmla="*/ 2 h 360"/>
                <a:gd name="T52" fmla="*/ 3 w 446"/>
                <a:gd name="T53" fmla="*/ 3 h 360"/>
                <a:gd name="T54" fmla="*/ 3 w 446"/>
                <a:gd name="T55" fmla="*/ 3 h 360"/>
                <a:gd name="T56" fmla="*/ 3 w 446"/>
                <a:gd name="T57" fmla="*/ 3 h 360"/>
                <a:gd name="T58" fmla="*/ 2 w 446"/>
                <a:gd name="T59" fmla="*/ 2 h 360"/>
                <a:gd name="T60" fmla="*/ 2 w 446"/>
                <a:gd name="T61" fmla="*/ 2 h 360"/>
                <a:gd name="T62" fmla="*/ 2 w 446"/>
                <a:gd name="T63" fmla="*/ 2 h 360"/>
                <a:gd name="T64" fmla="*/ 1 w 446"/>
                <a:gd name="T65" fmla="*/ 2 h 360"/>
                <a:gd name="T66" fmla="*/ 1 w 446"/>
                <a:gd name="T67" fmla="*/ 2 h 360"/>
                <a:gd name="T68" fmla="*/ 1 w 446"/>
                <a:gd name="T69" fmla="*/ 2 h 360"/>
                <a:gd name="T70" fmla="*/ 1 w 446"/>
                <a:gd name="T71" fmla="*/ 1 h 360"/>
                <a:gd name="T72" fmla="*/ 1 w 446"/>
                <a:gd name="T73" fmla="*/ 2 h 360"/>
                <a:gd name="T74" fmla="*/ 1 w 446"/>
                <a:gd name="T75" fmla="*/ 1 h 360"/>
                <a:gd name="T76" fmla="*/ 1 w 446"/>
                <a:gd name="T77" fmla="*/ 1 h 360"/>
                <a:gd name="T78" fmla="*/ 1 w 446"/>
                <a:gd name="T79" fmla="*/ 1 h 3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446"/>
                <a:gd name="T121" fmla="*/ 0 h 360"/>
                <a:gd name="T122" fmla="*/ 446 w 446"/>
                <a:gd name="T123" fmla="*/ 360 h 36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446" h="360">
                  <a:moveTo>
                    <a:pt x="62" y="163"/>
                  </a:moveTo>
                  <a:lnTo>
                    <a:pt x="50" y="146"/>
                  </a:lnTo>
                  <a:lnTo>
                    <a:pt x="48" y="133"/>
                  </a:lnTo>
                  <a:lnTo>
                    <a:pt x="56" y="110"/>
                  </a:lnTo>
                  <a:lnTo>
                    <a:pt x="55" y="98"/>
                  </a:lnTo>
                  <a:lnTo>
                    <a:pt x="40" y="91"/>
                  </a:lnTo>
                  <a:lnTo>
                    <a:pt x="20" y="62"/>
                  </a:lnTo>
                  <a:lnTo>
                    <a:pt x="7" y="45"/>
                  </a:lnTo>
                  <a:lnTo>
                    <a:pt x="2" y="20"/>
                  </a:lnTo>
                  <a:lnTo>
                    <a:pt x="0" y="7"/>
                  </a:lnTo>
                  <a:lnTo>
                    <a:pt x="8" y="0"/>
                  </a:lnTo>
                  <a:lnTo>
                    <a:pt x="10" y="2"/>
                  </a:lnTo>
                  <a:lnTo>
                    <a:pt x="14" y="6"/>
                  </a:lnTo>
                  <a:lnTo>
                    <a:pt x="39" y="20"/>
                  </a:lnTo>
                  <a:lnTo>
                    <a:pt x="55" y="13"/>
                  </a:lnTo>
                  <a:lnTo>
                    <a:pt x="75" y="1"/>
                  </a:lnTo>
                  <a:lnTo>
                    <a:pt x="81" y="14"/>
                  </a:lnTo>
                  <a:lnTo>
                    <a:pt x="79" y="19"/>
                  </a:lnTo>
                  <a:lnTo>
                    <a:pt x="98" y="31"/>
                  </a:lnTo>
                  <a:lnTo>
                    <a:pt x="110" y="54"/>
                  </a:lnTo>
                  <a:lnTo>
                    <a:pt x="133" y="63"/>
                  </a:lnTo>
                  <a:lnTo>
                    <a:pt x="153" y="69"/>
                  </a:lnTo>
                  <a:lnTo>
                    <a:pt x="172" y="77"/>
                  </a:lnTo>
                  <a:lnTo>
                    <a:pt x="192" y="73"/>
                  </a:lnTo>
                  <a:lnTo>
                    <a:pt x="205" y="71"/>
                  </a:lnTo>
                  <a:lnTo>
                    <a:pt x="210" y="67"/>
                  </a:lnTo>
                  <a:lnTo>
                    <a:pt x="206" y="59"/>
                  </a:lnTo>
                  <a:lnTo>
                    <a:pt x="213" y="59"/>
                  </a:lnTo>
                  <a:lnTo>
                    <a:pt x="228" y="43"/>
                  </a:lnTo>
                  <a:lnTo>
                    <a:pt x="252" y="41"/>
                  </a:lnTo>
                  <a:lnTo>
                    <a:pt x="271" y="38"/>
                  </a:lnTo>
                  <a:lnTo>
                    <a:pt x="304" y="50"/>
                  </a:lnTo>
                  <a:lnTo>
                    <a:pt x="322" y="62"/>
                  </a:lnTo>
                  <a:lnTo>
                    <a:pt x="339" y="73"/>
                  </a:lnTo>
                  <a:lnTo>
                    <a:pt x="358" y="75"/>
                  </a:lnTo>
                  <a:lnTo>
                    <a:pt x="367" y="102"/>
                  </a:lnTo>
                  <a:lnTo>
                    <a:pt x="362" y="129"/>
                  </a:lnTo>
                  <a:lnTo>
                    <a:pt x="361" y="133"/>
                  </a:lnTo>
                  <a:lnTo>
                    <a:pt x="361" y="146"/>
                  </a:lnTo>
                  <a:lnTo>
                    <a:pt x="369" y="152"/>
                  </a:lnTo>
                  <a:lnTo>
                    <a:pt x="367" y="157"/>
                  </a:lnTo>
                  <a:lnTo>
                    <a:pt x="372" y="177"/>
                  </a:lnTo>
                  <a:lnTo>
                    <a:pt x="377" y="199"/>
                  </a:lnTo>
                  <a:lnTo>
                    <a:pt x="396" y="206"/>
                  </a:lnTo>
                  <a:lnTo>
                    <a:pt x="401" y="215"/>
                  </a:lnTo>
                  <a:lnTo>
                    <a:pt x="385" y="243"/>
                  </a:lnTo>
                  <a:lnTo>
                    <a:pt x="401" y="260"/>
                  </a:lnTo>
                  <a:lnTo>
                    <a:pt x="415" y="277"/>
                  </a:lnTo>
                  <a:lnTo>
                    <a:pt x="432" y="284"/>
                  </a:lnTo>
                  <a:lnTo>
                    <a:pt x="439" y="309"/>
                  </a:lnTo>
                  <a:lnTo>
                    <a:pt x="445" y="313"/>
                  </a:lnTo>
                  <a:lnTo>
                    <a:pt x="446" y="324"/>
                  </a:lnTo>
                  <a:lnTo>
                    <a:pt x="427" y="331"/>
                  </a:lnTo>
                  <a:lnTo>
                    <a:pt x="419" y="341"/>
                  </a:lnTo>
                  <a:lnTo>
                    <a:pt x="417" y="360"/>
                  </a:lnTo>
                  <a:lnTo>
                    <a:pt x="395" y="356"/>
                  </a:lnTo>
                  <a:lnTo>
                    <a:pt x="371" y="353"/>
                  </a:lnTo>
                  <a:lnTo>
                    <a:pt x="346" y="349"/>
                  </a:lnTo>
                  <a:lnTo>
                    <a:pt x="324" y="345"/>
                  </a:lnTo>
                  <a:lnTo>
                    <a:pt x="315" y="329"/>
                  </a:lnTo>
                  <a:lnTo>
                    <a:pt x="306" y="311"/>
                  </a:lnTo>
                  <a:lnTo>
                    <a:pt x="289" y="318"/>
                  </a:lnTo>
                  <a:lnTo>
                    <a:pt x="271" y="325"/>
                  </a:lnTo>
                  <a:lnTo>
                    <a:pt x="238" y="318"/>
                  </a:lnTo>
                  <a:lnTo>
                    <a:pt x="219" y="306"/>
                  </a:lnTo>
                  <a:lnTo>
                    <a:pt x="200" y="294"/>
                  </a:lnTo>
                  <a:lnTo>
                    <a:pt x="183" y="278"/>
                  </a:lnTo>
                  <a:lnTo>
                    <a:pt x="172" y="263"/>
                  </a:lnTo>
                  <a:lnTo>
                    <a:pt x="153" y="235"/>
                  </a:lnTo>
                  <a:lnTo>
                    <a:pt x="145" y="236"/>
                  </a:lnTo>
                  <a:lnTo>
                    <a:pt x="135" y="230"/>
                  </a:lnTo>
                  <a:lnTo>
                    <a:pt x="134" y="228"/>
                  </a:lnTo>
                  <a:lnTo>
                    <a:pt x="128" y="240"/>
                  </a:lnTo>
                  <a:lnTo>
                    <a:pt x="126" y="241"/>
                  </a:lnTo>
                  <a:lnTo>
                    <a:pt x="118" y="233"/>
                  </a:lnTo>
                  <a:lnTo>
                    <a:pt x="111" y="216"/>
                  </a:lnTo>
                  <a:lnTo>
                    <a:pt x="104" y="216"/>
                  </a:lnTo>
                  <a:lnTo>
                    <a:pt x="104" y="195"/>
                  </a:lnTo>
                  <a:lnTo>
                    <a:pt x="96" y="185"/>
                  </a:lnTo>
                  <a:lnTo>
                    <a:pt x="79" y="174"/>
                  </a:lnTo>
                  <a:lnTo>
                    <a:pt x="62" y="16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62" name="Freeform 18"/>
            <p:cNvSpPr>
              <a:spLocks/>
            </p:cNvSpPr>
            <p:nvPr/>
          </p:nvSpPr>
          <p:spPr bwMode="auto">
            <a:xfrm>
              <a:off x="3179" y="1440"/>
              <a:ext cx="152" cy="144"/>
            </a:xfrm>
            <a:custGeom>
              <a:avLst/>
              <a:gdLst>
                <a:gd name="T0" fmla="*/ 1 w 216"/>
                <a:gd name="T1" fmla="*/ 1 h 203"/>
                <a:gd name="T2" fmla="*/ 1 w 216"/>
                <a:gd name="T3" fmla="*/ 1 h 203"/>
                <a:gd name="T4" fmla="*/ 1 w 216"/>
                <a:gd name="T5" fmla="*/ 1 h 203"/>
                <a:gd name="T6" fmla="*/ 1 w 216"/>
                <a:gd name="T7" fmla="*/ 1 h 203"/>
                <a:gd name="T8" fmla="*/ 1 w 216"/>
                <a:gd name="T9" fmla="*/ 1 h 203"/>
                <a:gd name="T10" fmla="*/ 1 w 216"/>
                <a:gd name="T11" fmla="*/ 1 h 203"/>
                <a:gd name="T12" fmla="*/ 1 w 216"/>
                <a:gd name="T13" fmla="*/ 1 h 203"/>
                <a:gd name="T14" fmla="*/ 1 w 216"/>
                <a:gd name="T15" fmla="*/ 0 h 203"/>
                <a:gd name="T16" fmla="*/ 1 w 216"/>
                <a:gd name="T17" fmla="*/ 0 h 203"/>
                <a:gd name="T18" fmla="*/ 1 w 216"/>
                <a:gd name="T19" fmla="*/ 1 h 203"/>
                <a:gd name="T20" fmla="*/ 1 w 216"/>
                <a:gd name="T21" fmla="*/ 1 h 203"/>
                <a:gd name="T22" fmla="*/ 1 w 216"/>
                <a:gd name="T23" fmla="*/ 1 h 203"/>
                <a:gd name="T24" fmla="*/ 1 w 216"/>
                <a:gd name="T25" fmla="*/ 1 h 203"/>
                <a:gd name="T26" fmla="*/ 1 w 216"/>
                <a:gd name="T27" fmla="*/ 1 h 203"/>
                <a:gd name="T28" fmla="*/ 0 w 216"/>
                <a:gd name="T29" fmla="*/ 1 h 203"/>
                <a:gd name="T30" fmla="*/ 1 w 216"/>
                <a:gd name="T31" fmla="*/ 1 h 203"/>
                <a:gd name="T32" fmla="*/ 1 w 216"/>
                <a:gd name="T33" fmla="*/ 1 h 203"/>
                <a:gd name="T34" fmla="*/ 1 w 216"/>
                <a:gd name="T35" fmla="*/ 1 h 203"/>
                <a:gd name="T36" fmla="*/ 1 w 216"/>
                <a:gd name="T37" fmla="*/ 1 h 203"/>
                <a:gd name="T38" fmla="*/ 1 w 216"/>
                <a:gd name="T39" fmla="*/ 1 h 203"/>
                <a:gd name="T40" fmla="*/ 1 w 216"/>
                <a:gd name="T41" fmla="*/ 1 h 203"/>
                <a:gd name="T42" fmla="*/ 1 w 216"/>
                <a:gd name="T43" fmla="*/ 1 h 203"/>
                <a:gd name="T44" fmla="*/ 1 w 216"/>
                <a:gd name="T45" fmla="*/ 1 h 203"/>
                <a:gd name="T46" fmla="*/ 1 w 216"/>
                <a:gd name="T47" fmla="*/ 1 h 203"/>
                <a:gd name="T48" fmla="*/ 1 w 216"/>
                <a:gd name="T49" fmla="*/ 1 h 203"/>
                <a:gd name="T50" fmla="*/ 1 w 216"/>
                <a:gd name="T51" fmla="*/ 1 h 203"/>
                <a:gd name="T52" fmla="*/ 1 w 216"/>
                <a:gd name="T53" fmla="*/ 1 h 203"/>
                <a:gd name="T54" fmla="*/ 1 w 216"/>
                <a:gd name="T55" fmla="*/ 1 h 203"/>
                <a:gd name="T56" fmla="*/ 1 w 216"/>
                <a:gd name="T57" fmla="*/ 1 h 203"/>
                <a:gd name="T58" fmla="*/ 1 w 216"/>
                <a:gd name="T59" fmla="*/ 1 h 203"/>
                <a:gd name="T60" fmla="*/ 1 w 216"/>
                <a:gd name="T61" fmla="*/ 1 h 203"/>
                <a:gd name="T62" fmla="*/ 1 w 216"/>
                <a:gd name="T63" fmla="*/ 1 h 203"/>
                <a:gd name="T64" fmla="*/ 1 w 216"/>
                <a:gd name="T65" fmla="*/ 1 h 203"/>
                <a:gd name="T66" fmla="*/ 1 w 216"/>
                <a:gd name="T67" fmla="*/ 1 h 20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03"/>
                <a:gd name="T104" fmla="*/ 216 w 216"/>
                <a:gd name="T105" fmla="*/ 203 h 20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03">
                  <a:moveTo>
                    <a:pt x="140" y="86"/>
                  </a:moveTo>
                  <a:lnTo>
                    <a:pt x="138" y="73"/>
                  </a:lnTo>
                  <a:lnTo>
                    <a:pt x="146" y="50"/>
                  </a:lnTo>
                  <a:lnTo>
                    <a:pt x="145" y="38"/>
                  </a:lnTo>
                  <a:lnTo>
                    <a:pt x="130" y="31"/>
                  </a:lnTo>
                  <a:lnTo>
                    <a:pt x="110" y="2"/>
                  </a:lnTo>
                  <a:lnTo>
                    <a:pt x="98" y="5"/>
                  </a:lnTo>
                  <a:lnTo>
                    <a:pt x="93" y="0"/>
                  </a:lnTo>
                  <a:lnTo>
                    <a:pt x="66" y="0"/>
                  </a:lnTo>
                  <a:lnTo>
                    <a:pt x="61" y="5"/>
                  </a:lnTo>
                  <a:lnTo>
                    <a:pt x="42" y="23"/>
                  </a:lnTo>
                  <a:lnTo>
                    <a:pt x="43" y="47"/>
                  </a:lnTo>
                  <a:lnTo>
                    <a:pt x="43" y="71"/>
                  </a:lnTo>
                  <a:lnTo>
                    <a:pt x="21" y="84"/>
                  </a:lnTo>
                  <a:lnTo>
                    <a:pt x="0" y="97"/>
                  </a:lnTo>
                  <a:lnTo>
                    <a:pt x="14" y="125"/>
                  </a:lnTo>
                  <a:lnTo>
                    <a:pt x="34" y="134"/>
                  </a:lnTo>
                  <a:lnTo>
                    <a:pt x="55" y="144"/>
                  </a:lnTo>
                  <a:lnTo>
                    <a:pt x="75" y="153"/>
                  </a:lnTo>
                  <a:lnTo>
                    <a:pt x="96" y="162"/>
                  </a:lnTo>
                  <a:lnTo>
                    <a:pt x="115" y="181"/>
                  </a:lnTo>
                  <a:lnTo>
                    <a:pt x="136" y="200"/>
                  </a:lnTo>
                  <a:lnTo>
                    <a:pt x="176" y="203"/>
                  </a:lnTo>
                  <a:lnTo>
                    <a:pt x="186" y="182"/>
                  </a:lnTo>
                  <a:lnTo>
                    <a:pt x="202" y="180"/>
                  </a:lnTo>
                  <a:lnTo>
                    <a:pt x="216" y="181"/>
                  </a:lnTo>
                  <a:lnTo>
                    <a:pt x="208" y="173"/>
                  </a:lnTo>
                  <a:lnTo>
                    <a:pt x="201" y="156"/>
                  </a:lnTo>
                  <a:lnTo>
                    <a:pt x="194" y="156"/>
                  </a:lnTo>
                  <a:lnTo>
                    <a:pt x="194" y="135"/>
                  </a:lnTo>
                  <a:lnTo>
                    <a:pt x="186" y="125"/>
                  </a:lnTo>
                  <a:lnTo>
                    <a:pt x="169" y="114"/>
                  </a:lnTo>
                  <a:lnTo>
                    <a:pt x="152" y="103"/>
                  </a:lnTo>
                  <a:lnTo>
                    <a:pt x="140" y="86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63" name="Freeform 19"/>
            <p:cNvSpPr>
              <a:spLocks/>
            </p:cNvSpPr>
            <p:nvPr/>
          </p:nvSpPr>
          <p:spPr bwMode="auto">
            <a:xfrm>
              <a:off x="3303" y="1567"/>
              <a:ext cx="28" cy="25"/>
            </a:xfrm>
            <a:custGeom>
              <a:avLst/>
              <a:gdLst>
                <a:gd name="T0" fmla="*/ 1 w 41"/>
                <a:gd name="T1" fmla="*/ 1 h 36"/>
                <a:gd name="T2" fmla="*/ 1 w 41"/>
                <a:gd name="T3" fmla="*/ 1 h 36"/>
                <a:gd name="T4" fmla="*/ 1 w 41"/>
                <a:gd name="T5" fmla="*/ 1 h 36"/>
                <a:gd name="T6" fmla="*/ 1 w 41"/>
                <a:gd name="T7" fmla="*/ 1 h 36"/>
                <a:gd name="T8" fmla="*/ 1 w 41"/>
                <a:gd name="T9" fmla="*/ 1 h 36"/>
                <a:gd name="T10" fmla="*/ 1 w 41"/>
                <a:gd name="T11" fmla="*/ 1 h 36"/>
                <a:gd name="T12" fmla="*/ 0 w 41"/>
                <a:gd name="T13" fmla="*/ 1 h 36"/>
                <a:gd name="T14" fmla="*/ 1 w 41"/>
                <a:gd name="T15" fmla="*/ 1 h 36"/>
                <a:gd name="T16" fmla="*/ 1 w 41"/>
                <a:gd name="T17" fmla="*/ 0 h 36"/>
                <a:gd name="T18" fmla="*/ 1 w 41"/>
                <a:gd name="T19" fmla="*/ 1 h 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1"/>
                <a:gd name="T31" fmla="*/ 0 h 36"/>
                <a:gd name="T32" fmla="*/ 41 w 41"/>
                <a:gd name="T33" fmla="*/ 36 h 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1" h="36">
                  <a:moveTo>
                    <a:pt x="32" y="11"/>
                  </a:moveTo>
                  <a:lnTo>
                    <a:pt x="26" y="12"/>
                  </a:lnTo>
                  <a:lnTo>
                    <a:pt x="28" y="17"/>
                  </a:lnTo>
                  <a:lnTo>
                    <a:pt x="41" y="36"/>
                  </a:lnTo>
                  <a:lnTo>
                    <a:pt x="23" y="32"/>
                  </a:lnTo>
                  <a:lnTo>
                    <a:pt x="19" y="25"/>
                  </a:lnTo>
                  <a:lnTo>
                    <a:pt x="0" y="23"/>
                  </a:lnTo>
                  <a:lnTo>
                    <a:pt x="10" y="2"/>
                  </a:lnTo>
                  <a:lnTo>
                    <a:pt x="26" y="0"/>
                  </a:lnTo>
                  <a:lnTo>
                    <a:pt x="32" y="1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64" name="Freeform 20"/>
            <p:cNvSpPr>
              <a:spLocks/>
            </p:cNvSpPr>
            <p:nvPr/>
          </p:nvSpPr>
          <p:spPr bwMode="auto">
            <a:xfrm>
              <a:off x="3802" y="1560"/>
              <a:ext cx="126" cy="69"/>
            </a:xfrm>
            <a:custGeom>
              <a:avLst/>
              <a:gdLst>
                <a:gd name="T0" fmla="*/ 1 w 180"/>
                <a:gd name="T1" fmla="*/ 1 h 98"/>
                <a:gd name="T2" fmla="*/ 1 w 180"/>
                <a:gd name="T3" fmla="*/ 1 h 98"/>
                <a:gd name="T4" fmla="*/ 1 w 180"/>
                <a:gd name="T5" fmla="*/ 1 h 98"/>
                <a:gd name="T6" fmla="*/ 1 w 180"/>
                <a:gd name="T7" fmla="*/ 1 h 98"/>
                <a:gd name="T8" fmla="*/ 0 w 180"/>
                <a:gd name="T9" fmla="*/ 1 h 98"/>
                <a:gd name="T10" fmla="*/ 0 w 180"/>
                <a:gd name="T11" fmla="*/ 1 h 98"/>
                <a:gd name="T12" fmla="*/ 1 w 180"/>
                <a:gd name="T13" fmla="*/ 1 h 98"/>
                <a:gd name="T14" fmla="*/ 1 w 180"/>
                <a:gd name="T15" fmla="*/ 1 h 98"/>
                <a:gd name="T16" fmla="*/ 1 w 180"/>
                <a:gd name="T17" fmla="*/ 0 h 98"/>
                <a:gd name="T18" fmla="*/ 1 w 180"/>
                <a:gd name="T19" fmla="*/ 1 h 98"/>
                <a:gd name="T20" fmla="*/ 1 w 180"/>
                <a:gd name="T21" fmla="*/ 1 h 98"/>
                <a:gd name="T22" fmla="*/ 1 w 180"/>
                <a:gd name="T23" fmla="*/ 1 h 98"/>
                <a:gd name="T24" fmla="*/ 1 w 180"/>
                <a:gd name="T25" fmla="*/ 1 h 98"/>
                <a:gd name="T26" fmla="*/ 1 w 180"/>
                <a:gd name="T27" fmla="*/ 1 h 98"/>
                <a:gd name="T28" fmla="*/ 1 w 180"/>
                <a:gd name="T29" fmla="*/ 1 h 98"/>
                <a:gd name="T30" fmla="*/ 1 w 180"/>
                <a:gd name="T31" fmla="*/ 1 h 98"/>
                <a:gd name="T32" fmla="*/ 1 w 180"/>
                <a:gd name="T33" fmla="*/ 1 h 98"/>
                <a:gd name="T34" fmla="*/ 1 w 180"/>
                <a:gd name="T35" fmla="*/ 1 h 98"/>
                <a:gd name="T36" fmla="*/ 1 w 180"/>
                <a:gd name="T37" fmla="*/ 1 h 98"/>
                <a:gd name="T38" fmla="*/ 1 w 180"/>
                <a:gd name="T39" fmla="*/ 1 h 98"/>
                <a:gd name="T40" fmla="*/ 1 w 180"/>
                <a:gd name="T41" fmla="*/ 1 h 98"/>
                <a:gd name="T42" fmla="*/ 1 w 180"/>
                <a:gd name="T43" fmla="*/ 1 h 98"/>
                <a:gd name="T44" fmla="*/ 1 w 180"/>
                <a:gd name="T45" fmla="*/ 1 h 9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80"/>
                <a:gd name="T70" fmla="*/ 0 h 98"/>
                <a:gd name="T71" fmla="*/ 180 w 180"/>
                <a:gd name="T72" fmla="*/ 98 h 9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80" h="98">
                  <a:moveTo>
                    <a:pt x="102" y="78"/>
                  </a:moveTo>
                  <a:lnTo>
                    <a:pt x="74" y="74"/>
                  </a:lnTo>
                  <a:lnTo>
                    <a:pt x="54" y="70"/>
                  </a:lnTo>
                  <a:lnTo>
                    <a:pt x="26" y="55"/>
                  </a:lnTo>
                  <a:lnTo>
                    <a:pt x="0" y="42"/>
                  </a:lnTo>
                  <a:lnTo>
                    <a:pt x="0" y="26"/>
                  </a:lnTo>
                  <a:lnTo>
                    <a:pt x="12" y="6"/>
                  </a:lnTo>
                  <a:lnTo>
                    <a:pt x="13" y="8"/>
                  </a:lnTo>
                  <a:lnTo>
                    <a:pt x="22" y="0"/>
                  </a:lnTo>
                  <a:lnTo>
                    <a:pt x="39" y="11"/>
                  </a:lnTo>
                  <a:lnTo>
                    <a:pt x="67" y="32"/>
                  </a:lnTo>
                  <a:lnTo>
                    <a:pt x="75" y="29"/>
                  </a:lnTo>
                  <a:lnTo>
                    <a:pt x="82" y="37"/>
                  </a:lnTo>
                  <a:lnTo>
                    <a:pt x="103" y="46"/>
                  </a:lnTo>
                  <a:lnTo>
                    <a:pt x="105" y="50"/>
                  </a:lnTo>
                  <a:lnTo>
                    <a:pt x="128" y="59"/>
                  </a:lnTo>
                  <a:lnTo>
                    <a:pt x="146" y="62"/>
                  </a:lnTo>
                  <a:lnTo>
                    <a:pt x="172" y="65"/>
                  </a:lnTo>
                  <a:lnTo>
                    <a:pt x="180" y="98"/>
                  </a:lnTo>
                  <a:lnTo>
                    <a:pt x="156" y="97"/>
                  </a:lnTo>
                  <a:lnTo>
                    <a:pt x="128" y="94"/>
                  </a:lnTo>
                  <a:lnTo>
                    <a:pt x="111" y="90"/>
                  </a:lnTo>
                  <a:lnTo>
                    <a:pt x="102" y="7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65" name="Freeform 21"/>
            <p:cNvSpPr>
              <a:spLocks/>
            </p:cNvSpPr>
            <p:nvPr/>
          </p:nvSpPr>
          <p:spPr bwMode="auto">
            <a:xfrm>
              <a:off x="3512" y="1445"/>
              <a:ext cx="228" cy="232"/>
            </a:xfrm>
            <a:custGeom>
              <a:avLst/>
              <a:gdLst>
                <a:gd name="T0" fmla="*/ 1 w 324"/>
                <a:gd name="T1" fmla="*/ 2 h 329"/>
                <a:gd name="T2" fmla="*/ 1 w 324"/>
                <a:gd name="T3" fmla="*/ 3 h 329"/>
                <a:gd name="T4" fmla="*/ 1 w 324"/>
                <a:gd name="T5" fmla="*/ 3 h 329"/>
                <a:gd name="T6" fmla="*/ 1 w 324"/>
                <a:gd name="T7" fmla="*/ 3 h 329"/>
                <a:gd name="T8" fmla="*/ 2 w 324"/>
                <a:gd name="T9" fmla="*/ 3 h 329"/>
                <a:gd name="T10" fmla="*/ 1 w 324"/>
                <a:gd name="T11" fmla="*/ 2 h 329"/>
                <a:gd name="T12" fmla="*/ 1 w 324"/>
                <a:gd name="T13" fmla="*/ 2 h 329"/>
                <a:gd name="T14" fmla="*/ 1 w 324"/>
                <a:gd name="T15" fmla="*/ 2 h 329"/>
                <a:gd name="T16" fmla="*/ 2 w 324"/>
                <a:gd name="T17" fmla="*/ 1 h 329"/>
                <a:gd name="T18" fmla="*/ 2 w 324"/>
                <a:gd name="T19" fmla="*/ 1 h 329"/>
                <a:gd name="T20" fmla="*/ 2 w 324"/>
                <a:gd name="T21" fmla="*/ 1 h 329"/>
                <a:gd name="T22" fmla="*/ 2 w 324"/>
                <a:gd name="T23" fmla="*/ 1 h 329"/>
                <a:gd name="T24" fmla="*/ 2 w 324"/>
                <a:gd name="T25" fmla="*/ 1 h 329"/>
                <a:gd name="T26" fmla="*/ 2 w 324"/>
                <a:gd name="T27" fmla="*/ 1 h 329"/>
                <a:gd name="T28" fmla="*/ 2 w 324"/>
                <a:gd name="T29" fmla="*/ 1 h 329"/>
                <a:gd name="T30" fmla="*/ 2 w 324"/>
                <a:gd name="T31" fmla="*/ 1 h 329"/>
                <a:gd name="T32" fmla="*/ 2 w 324"/>
                <a:gd name="T33" fmla="*/ 1 h 329"/>
                <a:gd name="T34" fmla="*/ 2 w 324"/>
                <a:gd name="T35" fmla="*/ 1 h 329"/>
                <a:gd name="T36" fmla="*/ 1 w 324"/>
                <a:gd name="T37" fmla="*/ 1 h 329"/>
                <a:gd name="T38" fmla="*/ 1 w 324"/>
                <a:gd name="T39" fmla="*/ 1 h 329"/>
                <a:gd name="T40" fmla="*/ 1 w 324"/>
                <a:gd name="T41" fmla="*/ 1 h 329"/>
                <a:gd name="T42" fmla="*/ 1 w 324"/>
                <a:gd name="T43" fmla="*/ 1 h 329"/>
                <a:gd name="T44" fmla="*/ 1 w 324"/>
                <a:gd name="T45" fmla="*/ 1 h 329"/>
                <a:gd name="T46" fmla="*/ 1 w 324"/>
                <a:gd name="T47" fmla="*/ 1 h 329"/>
                <a:gd name="T48" fmla="*/ 1 w 324"/>
                <a:gd name="T49" fmla="*/ 1 h 329"/>
                <a:gd name="T50" fmla="*/ 1 w 324"/>
                <a:gd name="T51" fmla="*/ 1 h 329"/>
                <a:gd name="T52" fmla="*/ 1 w 324"/>
                <a:gd name="T53" fmla="*/ 1 h 329"/>
                <a:gd name="T54" fmla="*/ 1 w 324"/>
                <a:gd name="T55" fmla="*/ 1 h 329"/>
                <a:gd name="T56" fmla="*/ 1 w 324"/>
                <a:gd name="T57" fmla="*/ 1 h 329"/>
                <a:gd name="T58" fmla="*/ 1 w 324"/>
                <a:gd name="T59" fmla="*/ 1 h 329"/>
                <a:gd name="T60" fmla="*/ 1 w 324"/>
                <a:gd name="T61" fmla="*/ 2 h 329"/>
                <a:gd name="T62" fmla="*/ 1 w 324"/>
                <a:gd name="T63" fmla="*/ 2 h 329"/>
                <a:gd name="T64" fmla="*/ 1 w 324"/>
                <a:gd name="T65" fmla="*/ 2 h 329"/>
                <a:gd name="T66" fmla="*/ 1 w 324"/>
                <a:gd name="T67" fmla="*/ 2 h 329"/>
                <a:gd name="T68" fmla="*/ 1 w 324"/>
                <a:gd name="T69" fmla="*/ 2 h 32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24"/>
                <a:gd name="T106" fmla="*/ 0 h 329"/>
                <a:gd name="T107" fmla="*/ 324 w 324"/>
                <a:gd name="T108" fmla="*/ 329 h 32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24" h="329">
                  <a:moveTo>
                    <a:pt x="133" y="288"/>
                  </a:moveTo>
                  <a:lnTo>
                    <a:pt x="142" y="300"/>
                  </a:lnTo>
                  <a:lnTo>
                    <a:pt x="149" y="303"/>
                  </a:lnTo>
                  <a:lnTo>
                    <a:pt x="161" y="323"/>
                  </a:lnTo>
                  <a:lnTo>
                    <a:pt x="176" y="329"/>
                  </a:lnTo>
                  <a:lnTo>
                    <a:pt x="188" y="324"/>
                  </a:lnTo>
                  <a:lnTo>
                    <a:pt x="187" y="315"/>
                  </a:lnTo>
                  <a:lnTo>
                    <a:pt x="205" y="317"/>
                  </a:lnTo>
                  <a:lnTo>
                    <a:pt x="227" y="313"/>
                  </a:lnTo>
                  <a:lnTo>
                    <a:pt x="234" y="314"/>
                  </a:lnTo>
                  <a:lnTo>
                    <a:pt x="223" y="282"/>
                  </a:lnTo>
                  <a:lnTo>
                    <a:pt x="215" y="281"/>
                  </a:lnTo>
                  <a:lnTo>
                    <a:pt x="210" y="264"/>
                  </a:lnTo>
                  <a:lnTo>
                    <a:pt x="194" y="255"/>
                  </a:lnTo>
                  <a:lnTo>
                    <a:pt x="206" y="225"/>
                  </a:lnTo>
                  <a:lnTo>
                    <a:pt x="215" y="228"/>
                  </a:lnTo>
                  <a:lnTo>
                    <a:pt x="235" y="227"/>
                  </a:lnTo>
                  <a:lnTo>
                    <a:pt x="248" y="206"/>
                  </a:lnTo>
                  <a:lnTo>
                    <a:pt x="263" y="185"/>
                  </a:lnTo>
                  <a:lnTo>
                    <a:pt x="274" y="167"/>
                  </a:lnTo>
                  <a:lnTo>
                    <a:pt x="282" y="150"/>
                  </a:lnTo>
                  <a:lnTo>
                    <a:pt x="277" y="132"/>
                  </a:lnTo>
                  <a:lnTo>
                    <a:pt x="292" y="121"/>
                  </a:lnTo>
                  <a:lnTo>
                    <a:pt x="282" y="114"/>
                  </a:lnTo>
                  <a:lnTo>
                    <a:pt x="274" y="104"/>
                  </a:lnTo>
                  <a:lnTo>
                    <a:pt x="264" y="98"/>
                  </a:lnTo>
                  <a:lnTo>
                    <a:pt x="259" y="85"/>
                  </a:lnTo>
                  <a:lnTo>
                    <a:pt x="259" y="78"/>
                  </a:lnTo>
                  <a:lnTo>
                    <a:pt x="250" y="67"/>
                  </a:lnTo>
                  <a:lnTo>
                    <a:pt x="250" y="59"/>
                  </a:lnTo>
                  <a:lnTo>
                    <a:pt x="280" y="62"/>
                  </a:lnTo>
                  <a:lnTo>
                    <a:pt x="304" y="56"/>
                  </a:lnTo>
                  <a:lnTo>
                    <a:pt x="324" y="38"/>
                  </a:lnTo>
                  <a:lnTo>
                    <a:pt x="295" y="30"/>
                  </a:lnTo>
                  <a:lnTo>
                    <a:pt x="280" y="23"/>
                  </a:lnTo>
                  <a:lnTo>
                    <a:pt x="270" y="7"/>
                  </a:lnTo>
                  <a:lnTo>
                    <a:pt x="246" y="0"/>
                  </a:lnTo>
                  <a:lnTo>
                    <a:pt x="221" y="6"/>
                  </a:lnTo>
                  <a:lnTo>
                    <a:pt x="197" y="11"/>
                  </a:lnTo>
                  <a:lnTo>
                    <a:pt x="186" y="26"/>
                  </a:lnTo>
                  <a:lnTo>
                    <a:pt x="197" y="48"/>
                  </a:lnTo>
                  <a:lnTo>
                    <a:pt x="191" y="66"/>
                  </a:lnTo>
                  <a:lnTo>
                    <a:pt x="187" y="77"/>
                  </a:lnTo>
                  <a:lnTo>
                    <a:pt x="169" y="78"/>
                  </a:lnTo>
                  <a:lnTo>
                    <a:pt x="181" y="92"/>
                  </a:lnTo>
                  <a:lnTo>
                    <a:pt x="164" y="105"/>
                  </a:lnTo>
                  <a:lnTo>
                    <a:pt x="163" y="133"/>
                  </a:lnTo>
                  <a:lnTo>
                    <a:pt x="143" y="132"/>
                  </a:lnTo>
                  <a:lnTo>
                    <a:pt x="137" y="139"/>
                  </a:lnTo>
                  <a:lnTo>
                    <a:pt x="116" y="147"/>
                  </a:lnTo>
                  <a:lnTo>
                    <a:pt x="113" y="167"/>
                  </a:lnTo>
                  <a:lnTo>
                    <a:pt x="114" y="179"/>
                  </a:lnTo>
                  <a:lnTo>
                    <a:pt x="91" y="183"/>
                  </a:lnTo>
                  <a:lnTo>
                    <a:pt x="68" y="188"/>
                  </a:lnTo>
                  <a:lnTo>
                    <a:pt x="36" y="189"/>
                  </a:lnTo>
                  <a:lnTo>
                    <a:pt x="18" y="183"/>
                  </a:lnTo>
                  <a:lnTo>
                    <a:pt x="0" y="177"/>
                  </a:lnTo>
                  <a:lnTo>
                    <a:pt x="16" y="194"/>
                  </a:lnTo>
                  <a:lnTo>
                    <a:pt x="30" y="211"/>
                  </a:lnTo>
                  <a:lnTo>
                    <a:pt x="47" y="218"/>
                  </a:lnTo>
                  <a:lnTo>
                    <a:pt x="54" y="243"/>
                  </a:lnTo>
                  <a:lnTo>
                    <a:pt x="60" y="247"/>
                  </a:lnTo>
                  <a:lnTo>
                    <a:pt x="61" y="258"/>
                  </a:lnTo>
                  <a:lnTo>
                    <a:pt x="42" y="265"/>
                  </a:lnTo>
                  <a:lnTo>
                    <a:pt x="34" y="275"/>
                  </a:lnTo>
                  <a:lnTo>
                    <a:pt x="32" y="294"/>
                  </a:lnTo>
                  <a:lnTo>
                    <a:pt x="53" y="293"/>
                  </a:lnTo>
                  <a:lnTo>
                    <a:pt x="72" y="293"/>
                  </a:lnTo>
                  <a:lnTo>
                    <a:pt x="89" y="291"/>
                  </a:lnTo>
                  <a:lnTo>
                    <a:pt x="110" y="289"/>
                  </a:lnTo>
                  <a:lnTo>
                    <a:pt x="133" y="28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66" name="Freeform 22"/>
            <p:cNvSpPr>
              <a:spLocks/>
            </p:cNvSpPr>
            <p:nvPr/>
          </p:nvSpPr>
          <p:spPr bwMode="auto">
            <a:xfrm>
              <a:off x="2979" y="1539"/>
              <a:ext cx="170" cy="173"/>
            </a:xfrm>
            <a:custGeom>
              <a:avLst/>
              <a:gdLst>
                <a:gd name="T0" fmla="*/ 1 w 242"/>
                <a:gd name="T1" fmla="*/ 1 h 246"/>
                <a:gd name="T2" fmla="*/ 1 w 242"/>
                <a:gd name="T3" fmla="*/ 1 h 246"/>
                <a:gd name="T4" fmla="*/ 1 w 242"/>
                <a:gd name="T5" fmla="*/ 1 h 246"/>
                <a:gd name="T6" fmla="*/ 1 w 242"/>
                <a:gd name="T7" fmla="*/ 1 h 246"/>
                <a:gd name="T8" fmla="*/ 1 w 242"/>
                <a:gd name="T9" fmla="*/ 1 h 246"/>
                <a:gd name="T10" fmla="*/ 1 w 242"/>
                <a:gd name="T11" fmla="*/ 1 h 246"/>
                <a:gd name="T12" fmla="*/ 1 w 242"/>
                <a:gd name="T13" fmla="*/ 1 h 246"/>
                <a:gd name="T14" fmla="*/ 1 w 242"/>
                <a:gd name="T15" fmla="*/ 1 h 246"/>
                <a:gd name="T16" fmla="*/ 1 w 242"/>
                <a:gd name="T17" fmla="*/ 1 h 246"/>
                <a:gd name="T18" fmla="*/ 1 w 242"/>
                <a:gd name="T19" fmla="*/ 1 h 246"/>
                <a:gd name="T20" fmla="*/ 1 w 242"/>
                <a:gd name="T21" fmla="*/ 1 h 246"/>
                <a:gd name="T22" fmla="*/ 2 w 242"/>
                <a:gd name="T23" fmla="*/ 1 h 246"/>
                <a:gd name="T24" fmla="*/ 2 w 242"/>
                <a:gd name="T25" fmla="*/ 1 h 246"/>
                <a:gd name="T26" fmla="*/ 2 w 242"/>
                <a:gd name="T27" fmla="*/ 1 h 246"/>
                <a:gd name="T28" fmla="*/ 2 w 242"/>
                <a:gd name="T29" fmla="*/ 1 h 246"/>
                <a:gd name="T30" fmla="*/ 1 w 242"/>
                <a:gd name="T31" fmla="*/ 1 h 246"/>
                <a:gd name="T32" fmla="*/ 1 w 242"/>
                <a:gd name="T33" fmla="*/ 2 h 246"/>
                <a:gd name="T34" fmla="*/ 1 w 242"/>
                <a:gd name="T35" fmla="*/ 2 h 246"/>
                <a:gd name="T36" fmla="*/ 1 w 242"/>
                <a:gd name="T37" fmla="*/ 2 h 246"/>
                <a:gd name="T38" fmla="*/ 1 w 242"/>
                <a:gd name="T39" fmla="*/ 2 h 246"/>
                <a:gd name="T40" fmla="*/ 1 w 242"/>
                <a:gd name="T41" fmla="*/ 2 h 246"/>
                <a:gd name="T42" fmla="*/ 1 w 242"/>
                <a:gd name="T43" fmla="*/ 2 h 246"/>
                <a:gd name="T44" fmla="*/ 1 w 242"/>
                <a:gd name="T45" fmla="*/ 2 h 246"/>
                <a:gd name="T46" fmla="*/ 1 w 242"/>
                <a:gd name="T47" fmla="*/ 2 h 246"/>
                <a:gd name="T48" fmla="*/ 1 w 242"/>
                <a:gd name="T49" fmla="*/ 2 h 246"/>
                <a:gd name="T50" fmla="*/ 1 w 242"/>
                <a:gd name="T51" fmla="*/ 2 h 246"/>
                <a:gd name="T52" fmla="*/ 1 w 242"/>
                <a:gd name="T53" fmla="*/ 2 h 246"/>
                <a:gd name="T54" fmla="*/ 1 w 242"/>
                <a:gd name="T55" fmla="*/ 2 h 246"/>
                <a:gd name="T56" fmla="*/ 1 w 242"/>
                <a:gd name="T57" fmla="*/ 2 h 246"/>
                <a:gd name="T58" fmla="*/ 1 w 242"/>
                <a:gd name="T59" fmla="*/ 2 h 246"/>
                <a:gd name="T60" fmla="*/ 1 w 242"/>
                <a:gd name="T61" fmla="*/ 2 h 246"/>
                <a:gd name="T62" fmla="*/ 1 w 242"/>
                <a:gd name="T63" fmla="*/ 1 h 246"/>
                <a:gd name="T64" fmla="*/ 1 w 242"/>
                <a:gd name="T65" fmla="*/ 1 h 246"/>
                <a:gd name="T66" fmla="*/ 1 w 242"/>
                <a:gd name="T67" fmla="*/ 1 h 246"/>
                <a:gd name="T68" fmla="*/ 1 w 242"/>
                <a:gd name="T69" fmla="*/ 1 h 246"/>
                <a:gd name="T70" fmla="*/ 1 w 242"/>
                <a:gd name="T71" fmla="*/ 1 h 246"/>
                <a:gd name="T72" fmla="*/ 1 w 242"/>
                <a:gd name="T73" fmla="*/ 1 h 246"/>
                <a:gd name="T74" fmla="*/ 1 w 242"/>
                <a:gd name="T75" fmla="*/ 1 h 246"/>
                <a:gd name="T76" fmla="*/ 1 w 242"/>
                <a:gd name="T77" fmla="*/ 1 h 246"/>
                <a:gd name="T78" fmla="*/ 0 w 242"/>
                <a:gd name="T79" fmla="*/ 1 h 246"/>
                <a:gd name="T80" fmla="*/ 0 w 242"/>
                <a:gd name="T81" fmla="*/ 1 h 246"/>
                <a:gd name="T82" fmla="*/ 1 w 242"/>
                <a:gd name="T83" fmla="*/ 0 h 246"/>
                <a:gd name="T84" fmla="*/ 1 w 242"/>
                <a:gd name="T85" fmla="*/ 1 h 246"/>
                <a:gd name="T86" fmla="*/ 1 w 242"/>
                <a:gd name="T87" fmla="*/ 1 h 246"/>
                <a:gd name="T88" fmla="*/ 1 w 242"/>
                <a:gd name="T89" fmla="*/ 1 h 246"/>
                <a:gd name="T90" fmla="*/ 1 w 242"/>
                <a:gd name="T91" fmla="*/ 1 h 246"/>
                <a:gd name="T92" fmla="*/ 1 w 242"/>
                <a:gd name="T93" fmla="*/ 1 h 246"/>
                <a:gd name="T94" fmla="*/ 1 w 242"/>
                <a:gd name="T95" fmla="*/ 1 h 246"/>
                <a:gd name="T96" fmla="*/ 1 w 242"/>
                <a:gd name="T97" fmla="*/ 1 h 246"/>
                <a:gd name="T98" fmla="*/ 1 w 242"/>
                <a:gd name="T99" fmla="*/ 1 h 246"/>
                <a:gd name="T100" fmla="*/ 1 w 242"/>
                <a:gd name="T101" fmla="*/ 1 h 246"/>
                <a:gd name="T102" fmla="*/ 1 w 242"/>
                <a:gd name="T103" fmla="*/ 1 h 246"/>
                <a:gd name="T104" fmla="*/ 1 w 242"/>
                <a:gd name="T105" fmla="*/ 1 h 246"/>
                <a:gd name="T106" fmla="*/ 1 w 242"/>
                <a:gd name="T107" fmla="*/ 1 h 246"/>
                <a:gd name="T108" fmla="*/ 1 w 242"/>
                <a:gd name="T109" fmla="*/ 1 h 246"/>
                <a:gd name="T110" fmla="*/ 1 w 242"/>
                <a:gd name="T111" fmla="*/ 1 h 246"/>
                <a:gd name="T112" fmla="*/ 1 w 242"/>
                <a:gd name="T113" fmla="*/ 1 h 246"/>
                <a:gd name="T114" fmla="*/ 1 w 242"/>
                <a:gd name="T115" fmla="*/ 1 h 24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42"/>
                <a:gd name="T175" fmla="*/ 0 h 246"/>
                <a:gd name="T176" fmla="*/ 242 w 242"/>
                <a:gd name="T177" fmla="*/ 246 h 24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42" h="246">
                  <a:moveTo>
                    <a:pt x="192" y="91"/>
                  </a:moveTo>
                  <a:lnTo>
                    <a:pt x="178" y="67"/>
                  </a:lnTo>
                  <a:lnTo>
                    <a:pt x="165" y="44"/>
                  </a:lnTo>
                  <a:lnTo>
                    <a:pt x="160" y="47"/>
                  </a:lnTo>
                  <a:lnTo>
                    <a:pt x="170" y="66"/>
                  </a:lnTo>
                  <a:lnTo>
                    <a:pt x="178" y="84"/>
                  </a:lnTo>
                  <a:lnTo>
                    <a:pt x="188" y="102"/>
                  </a:lnTo>
                  <a:lnTo>
                    <a:pt x="197" y="120"/>
                  </a:lnTo>
                  <a:lnTo>
                    <a:pt x="207" y="138"/>
                  </a:lnTo>
                  <a:lnTo>
                    <a:pt x="216" y="156"/>
                  </a:lnTo>
                  <a:lnTo>
                    <a:pt x="230" y="173"/>
                  </a:lnTo>
                  <a:lnTo>
                    <a:pt x="242" y="191"/>
                  </a:lnTo>
                  <a:lnTo>
                    <a:pt x="239" y="192"/>
                  </a:lnTo>
                  <a:lnTo>
                    <a:pt x="240" y="212"/>
                  </a:lnTo>
                  <a:lnTo>
                    <a:pt x="232" y="221"/>
                  </a:lnTo>
                  <a:lnTo>
                    <a:pt x="226" y="218"/>
                  </a:lnTo>
                  <a:lnTo>
                    <a:pt x="221" y="233"/>
                  </a:lnTo>
                  <a:lnTo>
                    <a:pt x="210" y="235"/>
                  </a:lnTo>
                  <a:lnTo>
                    <a:pt x="206" y="246"/>
                  </a:lnTo>
                  <a:lnTo>
                    <a:pt x="179" y="244"/>
                  </a:lnTo>
                  <a:lnTo>
                    <a:pt x="152" y="240"/>
                  </a:lnTo>
                  <a:lnTo>
                    <a:pt x="150" y="234"/>
                  </a:lnTo>
                  <a:lnTo>
                    <a:pt x="148" y="240"/>
                  </a:lnTo>
                  <a:lnTo>
                    <a:pt x="131" y="240"/>
                  </a:lnTo>
                  <a:lnTo>
                    <a:pt x="114" y="240"/>
                  </a:lnTo>
                  <a:lnTo>
                    <a:pt x="98" y="240"/>
                  </a:lnTo>
                  <a:lnTo>
                    <a:pt x="81" y="240"/>
                  </a:lnTo>
                  <a:lnTo>
                    <a:pt x="64" y="240"/>
                  </a:lnTo>
                  <a:lnTo>
                    <a:pt x="47" y="240"/>
                  </a:lnTo>
                  <a:lnTo>
                    <a:pt x="30" y="240"/>
                  </a:lnTo>
                  <a:lnTo>
                    <a:pt x="14" y="240"/>
                  </a:lnTo>
                  <a:lnTo>
                    <a:pt x="12" y="217"/>
                  </a:lnTo>
                  <a:lnTo>
                    <a:pt x="11" y="193"/>
                  </a:lnTo>
                  <a:lnTo>
                    <a:pt x="10" y="170"/>
                  </a:lnTo>
                  <a:lnTo>
                    <a:pt x="9" y="146"/>
                  </a:lnTo>
                  <a:lnTo>
                    <a:pt x="6" y="124"/>
                  </a:lnTo>
                  <a:lnTo>
                    <a:pt x="5" y="101"/>
                  </a:lnTo>
                  <a:lnTo>
                    <a:pt x="4" y="77"/>
                  </a:lnTo>
                  <a:lnTo>
                    <a:pt x="2" y="54"/>
                  </a:lnTo>
                  <a:lnTo>
                    <a:pt x="0" y="35"/>
                  </a:lnTo>
                  <a:lnTo>
                    <a:pt x="0" y="16"/>
                  </a:lnTo>
                  <a:lnTo>
                    <a:pt x="4" y="0"/>
                  </a:lnTo>
                  <a:lnTo>
                    <a:pt x="17" y="1"/>
                  </a:lnTo>
                  <a:lnTo>
                    <a:pt x="50" y="10"/>
                  </a:lnTo>
                  <a:lnTo>
                    <a:pt x="82" y="19"/>
                  </a:lnTo>
                  <a:lnTo>
                    <a:pt x="112" y="10"/>
                  </a:lnTo>
                  <a:lnTo>
                    <a:pt x="125" y="2"/>
                  </a:lnTo>
                  <a:lnTo>
                    <a:pt x="119" y="6"/>
                  </a:lnTo>
                  <a:lnTo>
                    <a:pt x="129" y="2"/>
                  </a:lnTo>
                  <a:lnTo>
                    <a:pt x="148" y="8"/>
                  </a:lnTo>
                  <a:lnTo>
                    <a:pt x="154" y="13"/>
                  </a:lnTo>
                  <a:lnTo>
                    <a:pt x="165" y="14"/>
                  </a:lnTo>
                  <a:lnTo>
                    <a:pt x="194" y="8"/>
                  </a:lnTo>
                  <a:lnTo>
                    <a:pt x="203" y="31"/>
                  </a:lnTo>
                  <a:lnTo>
                    <a:pt x="213" y="54"/>
                  </a:lnTo>
                  <a:lnTo>
                    <a:pt x="208" y="74"/>
                  </a:lnTo>
                  <a:lnTo>
                    <a:pt x="204" y="95"/>
                  </a:lnTo>
                  <a:lnTo>
                    <a:pt x="192" y="9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67" name="Freeform 23"/>
            <p:cNvSpPr>
              <a:spLocks/>
            </p:cNvSpPr>
            <p:nvPr/>
          </p:nvSpPr>
          <p:spPr bwMode="auto">
            <a:xfrm>
              <a:off x="3637" y="1473"/>
              <a:ext cx="422" cy="477"/>
            </a:xfrm>
            <a:custGeom>
              <a:avLst/>
              <a:gdLst>
                <a:gd name="T0" fmla="*/ 1 w 602"/>
                <a:gd name="T1" fmla="*/ 1 h 679"/>
                <a:gd name="T2" fmla="*/ 1 w 602"/>
                <a:gd name="T3" fmla="*/ 1 h 679"/>
                <a:gd name="T4" fmla="*/ 1 w 602"/>
                <a:gd name="T5" fmla="*/ 1 h 679"/>
                <a:gd name="T6" fmla="*/ 1 w 602"/>
                <a:gd name="T7" fmla="*/ 1 h 679"/>
                <a:gd name="T8" fmla="*/ 1 w 602"/>
                <a:gd name="T9" fmla="*/ 1 h 679"/>
                <a:gd name="T10" fmla="*/ 1 w 602"/>
                <a:gd name="T11" fmla="*/ 1 h 679"/>
                <a:gd name="T12" fmla="*/ 1 w 602"/>
                <a:gd name="T13" fmla="*/ 1 h 679"/>
                <a:gd name="T14" fmla="*/ 1 w 602"/>
                <a:gd name="T15" fmla="*/ 2 h 679"/>
                <a:gd name="T16" fmla="*/ 1 w 602"/>
                <a:gd name="T17" fmla="*/ 2 h 679"/>
                <a:gd name="T18" fmla="*/ 1 w 602"/>
                <a:gd name="T19" fmla="*/ 2 h 679"/>
                <a:gd name="T20" fmla="*/ 1 w 602"/>
                <a:gd name="T21" fmla="*/ 2 h 679"/>
                <a:gd name="T22" fmla="*/ 1 w 602"/>
                <a:gd name="T23" fmla="*/ 2 h 679"/>
                <a:gd name="T24" fmla="*/ 1 w 602"/>
                <a:gd name="T25" fmla="*/ 3 h 679"/>
                <a:gd name="T26" fmla="*/ 1 w 602"/>
                <a:gd name="T27" fmla="*/ 2 h 679"/>
                <a:gd name="T28" fmla="*/ 1 w 602"/>
                <a:gd name="T29" fmla="*/ 3 h 679"/>
                <a:gd name="T30" fmla="*/ 1 w 602"/>
                <a:gd name="T31" fmla="*/ 3 h 679"/>
                <a:gd name="T32" fmla="*/ 1 w 602"/>
                <a:gd name="T33" fmla="*/ 3 h 679"/>
                <a:gd name="T34" fmla="*/ 1 w 602"/>
                <a:gd name="T35" fmla="*/ 3 h 679"/>
                <a:gd name="T36" fmla="*/ 1 w 602"/>
                <a:gd name="T37" fmla="*/ 4 h 679"/>
                <a:gd name="T38" fmla="*/ 1 w 602"/>
                <a:gd name="T39" fmla="*/ 4 h 679"/>
                <a:gd name="T40" fmla="*/ 1 w 602"/>
                <a:gd name="T41" fmla="*/ 4 h 679"/>
                <a:gd name="T42" fmla="*/ 2 w 602"/>
                <a:gd name="T43" fmla="*/ 4 h 679"/>
                <a:gd name="T44" fmla="*/ 2 w 602"/>
                <a:gd name="T45" fmla="*/ 4 h 679"/>
                <a:gd name="T46" fmla="*/ 2 w 602"/>
                <a:gd name="T47" fmla="*/ 4 h 679"/>
                <a:gd name="T48" fmla="*/ 2 w 602"/>
                <a:gd name="T49" fmla="*/ 4 h 679"/>
                <a:gd name="T50" fmla="*/ 2 w 602"/>
                <a:gd name="T51" fmla="*/ 4 h 679"/>
                <a:gd name="T52" fmla="*/ 2 w 602"/>
                <a:gd name="T53" fmla="*/ 4 h 679"/>
                <a:gd name="T54" fmla="*/ 3 w 602"/>
                <a:gd name="T55" fmla="*/ 3 h 679"/>
                <a:gd name="T56" fmla="*/ 3 w 602"/>
                <a:gd name="T57" fmla="*/ 3 h 679"/>
                <a:gd name="T58" fmla="*/ 3 w 602"/>
                <a:gd name="T59" fmla="*/ 3 h 679"/>
                <a:gd name="T60" fmla="*/ 3 w 602"/>
                <a:gd name="T61" fmla="*/ 3 h 679"/>
                <a:gd name="T62" fmla="*/ 3 w 602"/>
                <a:gd name="T63" fmla="*/ 2 h 679"/>
                <a:gd name="T64" fmla="*/ 3 w 602"/>
                <a:gd name="T65" fmla="*/ 2 h 679"/>
                <a:gd name="T66" fmla="*/ 3 w 602"/>
                <a:gd name="T67" fmla="*/ 2 h 679"/>
                <a:gd name="T68" fmla="*/ 3 w 602"/>
                <a:gd name="T69" fmla="*/ 2 h 679"/>
                <a:gd name="T70" fmla="*/ 4 w 602"/>
                <a:gd name="T71" fmla="*/ 2 h 679"/>
                <a:gd name="T72" fmla="*/ 4 w 602"/>
                <a:gd name="T73" fmla="*/ 2 h 679"/>
                <a:gd name="T74" fmla="*/ 4 w 602"/>
                <a:gd name="T75" fmla="*/ 2 h 679"/>
                <a:gd name="T76" fmla="*/ 4 w 602"/>
                <a:gd name="T77" fmla="*/ 3 h 679"/>
                <a:gd name="T78" fmla="*/ 4 w 602"/>
                <a:gd name="T79" fmla="*/ 2 h 679"/>
                <a:gd name="T80" fmla="*/ 4 w 602"/>
                <a:gd name="T81" fmla="*/ 2 h 679"/>
                <a:gd name="T82" fmla="*/ 4 w 602"/>
                <a:gd name="T83" fmla="*/ 1 h 679"/>
                <a:gd name="T84" fmla="*/ 4 w 602"/>
                <a:gd name="T85" fmla="*/ 1 h 679"/>
                <a:gd name="T86" fmla="*/ 4 w 602"/>
                <a:gd name="T87" fmla="*/ 1 h 679"/>
                <a:gd name="T88" fmla="*/ 4 w 602"/>
                <a:gd name="T89" fmla="*/ 1 h 679"/>
                <a:gd name="T90" fmla="*/ 4 w 602"/>
                <a:gd name="T91" fmla="*/ 1 h 679"/>
                <a:gd name="T92" fmla="*/ 4 w 602"/>
                <a:gd name="T93" fmla="*/ 1 h 679"/>
                <a:gd name="T94" fmla="*/ 3 w 602"/>
                <a:gd name="T95" fmla="*/ 1 h 679"/>
                <a:gd name="T96" fmla="*/ 3 w 602"/>
                <a:gd name="T97" fmla="*/ 1 h 679"/>
                <a:gd name="T98" fmla="*/ 3 w 602"/>
                <a:gd name="T99" fmla="*/ 1 h 679"/>
                <a:gd name="T100" fmla="*/ 3 w 602"/>
                <a:gd name="T101" fmla="*/ 1 h 679"/>
                <a:gd name="T102" fmla="*/ 2 w 602"/>
                <a:gd name="T103" fmla="*/ 1 h 679"/>
                <a:gd name="T104" fmla="*/ 2 w 602"/>
                <a:gd name="T105" fmla="*/ 1 h 679"/>
                <a:gd name="T106" fmla="*/ 1 w 602"/>
                <a:gd name="T107" fmla="*/ 1 h 679"/>
                <a:gd name="T108" fmla="*/ 1 w 602"/>
                <a:gd name="T109" fmla="*/ 1 h 679"/>
                <a:gd name="T110" fmla="*/ 1 w 602"/>
                <a:gd name="T111" fmla="*/ 1 h 679"/>
                <a:gd name="T112" fmla="*/ 1 w 602"/>
                <a:gd name="T113" fmla="*/ 1 h 679"/>
                <a:gd name="T114" fmla="*/ 1 w 602"/>
                <a:gd name="T115" fmla="*/ 1 h 67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2"/>
                <a:gd name="T175" fmla="*/ 0 h 679"/>
                <a:gd name="T176" fmla="*/ 602 w 602"/>
                <a:gd name="T177" fmla="*/ 679 h 67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2" h="679">
                  <a:moveTo>
                    <a:pt x="148" y="0"/>
                  </a:moveTo>
                  <a:lnTo>
                    <a:pt x="128" y="18"/>
                  </a:lnTo>
                  <a:lnTo>
                    <a:pt x="104" y="24"/>
                  </a:lnTo>
                  <a:lnTo>
                    <a:pt x="74" y="21"/>
                  </a:lnTo>
                  <a:lnTo>
                    <a:pt x="74" y="29"/>
                  </a:lnTo>
                  <a:lnTo>
                    <a:pt x="83" y="40"/>
                  </a:lnTo>
                  <a:lnTo>
                    <a:pt x="83" y="47"/>
                  </a:lnTo>
                  <a:lnTo>
                    <a:pt x="88" y="60"/>
                  </a:lnTo>
                  <a:lnTo>
                    <a:pt x="98" y="66"/>
                  </a:lnTo>
                  <a:lnTo>
                    <a:pt x="106" y="76"/>
                  </a:lnTo>
                  <a:lnTo>
                    <a:pt x="116" y="83"/>
                  </a:lnTo>
                  <a:lnTo>
                    <a:pt x="101" y="94"/>
                  </a:lnTo>
                  <a:lnTo>
                    <a:pt x="106" y="112"/>
                  </a:lnTo>
                  <a:lnTo>
                    <a:pt x="98" y="129"/>
                  </a:lnTo>
                  <a:lnTo>
                    <a:pt x="87" y="147"/>
                  </a:lnTo>
                  <a:lnTo>
                    <a:pt x="72" y="168"/>
                  </a:lnTo>
                  <a:lnTo>
                    <a:pt x="59" y="189"/>
                  </a:lnTo>
                  <a:lnTo>
                    <a:pt x="39" y="190"/>
                  </a:lnTo>
                  <a:lnTo>
                    <a:pt x="30" y="187"/>
                  </a:lnTo>
                  <a:lnTo>
                    <a:pt x="18" y="217"/>
                  </a:lnTo>
                  <a:lnTo>
                    <a:pt x="34" y="226"/>
                  </a:lnTo>
                  <a:lnTo>
                    <a:pt x="39" y="243"/>
                  </a:lnTo>
                  <a:lnTo>
                    <a:pt x="47" y="244"/>
                  </a:lnTo>
                  <a:lnTo>
                    <a:pt x="58" y="276"/>
                  </a:lnTo>
                  <a:lnTo>
                    <a:pt x="51" y="275"/>
                  </a:lnTo>
                  <a:lnTo>
                    <a:pt x="29" y="279"/>
                  </a:lnTo>
                  <a:lnTo>
                    <a:pt x="11" y="277"/>
                  </a:lnTo>
                  <a:lnTo>
                    <a:pt x="12" y="286"/>
                  </a:lnTo>
                  <a:lnTo>
                    <a:pt x="0" y="291"/>
                  </a:lnTo>
                  <a:lnTo>
                    <a:pt x="2" y="292"/>
                  </a:lnTo>
                  <a:lnTo>
                    <a:pt x="10" y="289"/>
                  </a:lnTo>
                  <a:lnTo>
                    <a:pt x="6" y="295"/>
                  </a:lnTo>
                  <a:lnTo>
                    <a:pt x="26" y="315"/>
                  </a:lnTo>
                  <a:lnTo>
                    <a:pt x="51" y="310"/>
                  </a:lnTo>
                  <a:lnTo>
                    <a:pt x="48" y="315"/>
                  </a:lnTo>
                  <a:lnTo>
                    <a:pt x="33" y="325"/>
                  </a:lnTo>
                  <a:lnTo>
                    <a:pt x="22" y="324"/>
                  </a:lnTo>
                  <a:lnTo>
                    <a:pt x="41" y="345"/>
                  </a:lnTo>
                  <a:lnTo>
                    <a:pt x="60" y="365"/>
                  </a:lnTo>
                  <a:lnTo>
                    <a:pt x="90" y="357"/>
                  </a:lnTo>
                  <a:lnTo>
                    <a:pt x="92" y="340"/>
                  </a:lnTo>
                  <a:lnTo>
                    <a:pt x="93" y="329"/>
                  </a:lnTo>
                  <a:lnTo>
                    <a:pt x="105" y="329"/>
                  </a:lnTo>
                  <a:lnTo>
                    <a:pt x="101" y="336"/>
                  </a:lnTo>
                  <a:lnTo>
                    <a:pt x="100" y="341"/>
                  </a:lnTo>
                  <a:lnTo>
                    <a:pt x="112" y="341"/>
                  </a:lnTo>
                  <a:lnTo>
                    <a:pt x="104" y="348"/>
                  </a:lnTo>
                  <a:lnTo>
                    <a:pt x="107" y="360"/>
                  </a:lnTo>
                  <a:lnTo>
                    <a:pt x="108" y="377"/>
                  </a:lnTo>
                  <a:lnTo>
                    <a:pt x="114" y="402"/>
                  </a:lnTo>
                  <a:lnTo>
                    <a:pt x="116" y="409"/>
                  </a:lnTo>
                  <a:lnTo>
                    <a:pt x="118" y="414"/>
                  </a:lnTo>
                  <a:lnTo>
                    <a:pt x="124" y="445"/>
                  </a:lnTo>
                  <a:lnTo>
                    <a:pt x="132" y="469"/>
                  </a:lnTo>
                  <a:lnTo>
                    <a:pt x="141" y="493"/>
                  </a:lnTo>
                  <a:lnTo>
                    <a:pt x="146" y="498"/>
                  </a:lnTo>
                  <a:lnTo>
                    <a:pt x="158" y="527"/>
                  </a:lnTo>
                  <a:lnTo>
                    <a:pt x="170" y="556"/>
                  </a:lnTo>
                  <a:lnTo>
                    <a:pt x="179" y="576"/>
                  </a:lnTo>
                  <a:lnTo>
                    <a:pt x="190" y="597"/>
                  </a:lnTo>
                  <a:lnTo>
                    <a:pt x="200" y="617"/>
                  </a:lnTo>
                  <a:lnTo>
                    <a:pt x="207" y="634"/>
                  </a:lnTo>
                  <a:lnTo>
                    <a:pt x="215" y="653"/>
                  </a:lnTo>
                  <a:lnTo>
                    <a:pt x="225" y="672"/>
                  </a:lnTo>
                  <a:lnTo>
                    <a:pt x="238" y="679"/>
                  </a:lnTo>
                  <a:lnTo>
                    <a:pt x="249" y="666"/>
                  </a:lnTo>
                  <a:lnTo>
                    <a:pt x="262" y="653"/>
                  </a:lnTo>
                  <a:lnTo>
                    <a:pt x="275" y="652"/>
                  </a:lnTo>
                  <a:lnTo>
                    <a:pt x="267" y="642"/>
                  </a:lnTo>
                  <a:lnTo>
                    <a:pt x="279" y="624"/>
                  </a:lnTo>
                  <a:lnTo>
                    <a:pt x="285" y="623"/>
                  </a:lnTo>
                  <a:lnTo>
                    <a:pt x="282" y="605"/>
                  </a:lnTo>
                  <a:lnTo>
                    <a:pt x="281" y="587"/>
                  </a:lnTo>
                  <a:lnTo>
                    <a:pt x="285" y="568"/>
                  </a:lnTo>
                  <a:lnTo>
                    <a:pt x="290" y="547"/>
                  </a:lnTo>
                  <a:lnTo>
                    <a:pt x="285" y="525"/>
                  </a:lnTo>
                  <a:lnTo>
                    <a:pt x="282" y="496"/>
                  </a:lnTo>
                  <a:lnTo>
                    <a:pt x="294" y="489"/>
                  </a:lnTo>
                  <a:lnTo>
                    <a:pt x="297" y="485"/>
                  </a:lnTo>
                  <a:lnTo>
                    <a:pt x="302" y="485"/>
                  </a:lnTo>
                  <a:lnTo>
                    <a:pt x="308" y="475"/>
                  </a:lnTo>
                  <a:lnTo>
                    <a:pt x="324" y="468"/>
                  </a:lnTo>
                  <a:lnTo>
                    <a:pt x="328" y="453"/>
                  </a:lnTo>
                  <a:lnTo>
                    <a:pt x="348" y="431"/>
                  </a:lnTo>
                  <a:lnTo>
                    <a:pt x="370" y="409"/>
                  </a:lnTo>
                  <a:lnTo>
                    <a:pt x="387" y="393"/>
                  </a:lnTo>
                  <a:lnTo>
                    <a:pt x="400" y="384"/>
                  </a:lnTo>
                  <a:lnTo>
                    <a:pt x="412" y="366"/>
                  </a:lnTo>
                  <a:lnTo>
                    <a:pt x="412" y="348"/>
                  </a:lnTo>
                  <a:lnTo>
                    <a:pt x="432" y="334"/>
                  </a:lnTo>
                  <a:lnTo>
                    <a:pt x="438" y="343"/>
                  </a:lnTo>
                  <a:lnTo>
                    <a:pt x="444" y="345"/>
                  </a:lnTo>
                  <a:lnTo>
                    <a:pt x="449" y="343"/>
                  </a:lnTo>
                  <a:lnTo>
                    <a:pt x="455" y="343"/>
                  </a:lnTo>
                  <a:lnTo>
                    <a:pt x="454" y="336"/>
                  </a:lnTo>
                  <a:lnTo>
                    <a:pt x="448" y="317"/>
                  </a:lnTo>
                  <a:lnTo>
                    <a:pt x="442" y="299"/>
                  </a:lnTo>
                  <a:lnTo>
                    <a:pt x="440" y="285"/>
                  </a:lnTo>
                  <a:lnTo>
                    <a:pt x="424" y="270"/>
                  </a:lnTo>
                  <a:lnTo>
                    <a:pt x="429" y="261"/>
                  </a:lnTo>
                  <a:lnTo>
                    <a:pt x="438" y="256"/>
                  </a:lnTo>
                  <a:lnTo>
                    <a:pt x="422" y="240"/>
                  </a:lnTo>
                  <a:lnTo>
                    <a:pt x="422" y="222"/>
                  </a:lnTo>
                  <a:lnTo>
                    <a:pt x="436" y="228"/>
                  </a:lnTo>
                  <a:lnTo>
                    <a:pt x="443" y="235"/>
                  </a:lnTo>
                  <a:lnTo>
                    <a:pt x="448" y="231"/>
                  </a:lnTo>
                  <a:lnTo>
                    <a:pt x="456" y="251"/>
                  </a:lnTo>
                  <a:lnTo>
                    <a:pt x="480" y="253"/>
                  </a:lnTo>
                  <a:lnTo>
                    <a:pt x="503" y="256"/>
                  </a:lnTo>
                  <a:lnTo>
                    <a:pt x="514" y="264"/>
                  </a:lnTo>
                  <a:lnTo>
                    <a:pt x="510" y="275"/>
                  </a:lnTo>
                  <a:lnTo>
                    <a:pt x="495" y="286"/>
                  </a:lnTo>
                  <a:lnTo>
                    <a:pt x="498" y="305"/>
                  </a:lnTo>
                  <a:lnTo>
                    <a:pt x="503" y="310"/>
                  </a:lnTo>
                  <a:lnTo>
                    <a:pt x="513" y="292"/>
                  </a:lnTo>
                  <a:lnTo>
                    <a:pt x="521" y="313"/>
                  </a:lnTo>
                  <a:lnTo>
                    <a:pt x="530" y="335"/>
                  </a:lnTo>
                  <a:lnTo>
                    <a:pt x="531" y="335"/>
                  </a:lnTo>
                  <a:lnTo>
                    <a:pt x="538" y="335"/>
                  </a:lnTo>
                  <a:lnTo>
                    <a:pt x="538" y="309"/>
                  </a:lnTo>
                  <a:lnTo>
                    <a:pt x="539" y="287"/>
                  </a:lnTo>
                  <a:lnTo>
                    <a:pt x="552" y="287"/>
                  </a:lnTo>
                  <a:lnTo>
                    <a:pt x="563" y="257"/>
                  </a:lnTo>
                  <a:lnTo>
                    <a:pt x="563" y="246"/>
                  </a:lnTo>
                  <a:lnTo>
                    <a:pt x="564" y="226"/>
                  </a:lnTo>
                  <a:lnTo>
                    <a:pt x="585" y="204"/>
                  </a:lnTo>
                  <a:lnTo>
                    <a:pt x="600" y="208"/>
                  </a:lnTo>
                  <a:lnTo>
                    <a:pt x="597" y="199"/>
                  </a:lnTo>
                  <a:lnTo>
                    <a:pt x="599" y="192"/>
                  </a:lnTo>
                  <a:lnTo>
                    <a:pt x="602" y="180"/>
                  </a:lnTo>
                  <a:lnTo>
                    <a:pt x="579" y="172"/>
                  </a:lnTo>
                  <a:lnTo>
                    <a:pt x="579" y="162"/>
                  </a:lnTo>
                  <a:lnTo>
                    <a:pt x="570" y="159"/>
                  </a:lnTo>
                  <a:lnTo>
                    <a:pt x="573" y="155"/>
                  </a:lnTo>
                  <a:lnTo>
                    <a:pt x="563" y="153"/>
                  </a:lnTo>
                  <a:lnTo>
                    <a:pt x="551" y="159"/>
                  </a:lnTo>
                  <a:lnTo>
                    <a:pt x="534" y="156"/>
                  </a:lnTo>
                  <a:lnTo>
                    <a:pt x="519" y="171"/>
                  </a:lnTo>
                  <a:lnTo>
                    <a:pt x="503" y="184"/>
                  </a:lnTo>
                  <a:lnTo>
                    <a:pt x="484" y="192"/>
                  </a:lnTo>
                  <a:lnTo>
                    <a:pt x="490" y="199"/>
                  </a:lnTo>
                  <a:lnTo>
                    <a:pt x="497" y="213"/>
                  </a:lnTo>
                  <a:lnTo>
                    <a:pt x="478" y="214"/>
                  </a:lnTo>
                  <a:lnTo>
                    <a:pt x="458" y="215"/>
                  </a:lnTo>
                  <a:lnTo>
                    <a:pt x="431" y="213"/>
                  </a:lnTo>
                  <a:lnTo>
                    <a:pt x="428" y="203"/>
                  </a:lnTo>
                  <a:lnTo>
                    <a:pt x="418" y="183"/>
                  </a:lnTo>
                  <a:lnTo>
                    <a:pt x="408" y="190"/>
                  </a:lnTo>
                  <a:lnTo>
                    <a:pt x="416" y="223"/>
                  </a:lnTo>
                  <a:lnTo>
                    <a:pt x="392" y="222"/>
                  </a:lnTo>
                  <a:lnTo>
                    <a:pt x="364" y="219"/>
                  </a:lnTo>
                  <a:lnTo>
                    <a:pt x="347" y="215"/>
                  </a:lnTo>
                  <a:lnTo>
                    <a:pt x="338" y="203"/>
                  </a:lnTo>
                  <a:lnTo>
                    <a:pt x="310" y="199"/>
                  </a:lnTo>
                  <a:lnTo>
                    <a:pt x="290" y="195"/>
                  </a:lnTo>
                  <a:lnTo>
                    <a:pt x="262" y="180"/>
                  </a:lnTo>
                  <a:lnTo>
                    <a:pt x="236" y="167"/>
                  </a:lnTo>
                  <a:lnTo>
                    <a:pt x="236" y="151"/>
                  </a:lnTo>
                  <a:lnTo>
                    <a:pt x="248" y="131"/>
                  </a:lnTo>
                  <a:lnTo>
                    <a:pt x="226" y="118"/>
                  </a:lnTo>
                  <a:lnTo>
                    <a:pt x="201" y="103"/>
                  </a:lnTo>
                  <a:lnTo>
                    <a:pt x="191" y="100"/>
                  </a:lnTo>
                  <a:lnTo>
                    <a:pt x="182" y="72"/>
                  </a:lnTo>
                  <a:lnTo>
                    <a:pt x="194" y="75"/>
                  </a:lnTo>
                  <a:lnTo>
                    <a:pt x="197" y="65"/>
                  </a:lnTo>
                  <a:lnTo>
                    <a:pt x="184" y="47"/>
                  </a:lnTo>
                  <a:lnTo>
                    <a:pt x="184" y="37"/>
                  </a:lnTo>
                  <a:lnTo>
                    <a:pt x="183" y="35"/>
                  </a:lnTo>
                  <a:lnTo>
                    <a:pt x="182" y="31"/>
                  </a:lnTo>
                  <a:lnTo>
                    <a:pt x="178" y="27"/>
                  </a:lnTo>
                  <a:lnTo>
                    <a:pt x="174" y="21"/>
                  </a:lnTo>
                  <a:lnTo>
                    <a:pt x="173" y="16"/>
                  </a:lnTo>
                  <a:lnTo>
                    <a:pt x="171" y="9"/>
                  </a:lnTo>
                  <a:lnTo>
                    <a:pt x="164" y="6"/>
                  </a:lnTo>
                  <a:lnTo>
                    <a:pt x="154" y="3"/>
                  </a:lnTo>
                  <a:lnTo>
                    <a:pt x="148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68" name="Freeform 24"/>
            <p:cNvSpPr>
              <a:spLocks/>
            </p:cNvSpPr>
            <p:nvPr/>
          </p:nvSpPr>
          <p:spPr bwMode="auto">
            <a:xfrm>
              <a:off x="3116" y="1511"/>
              <a:ext cx="18" cy="66"/>
            </a:xfrm>
            <a:custGeom>
              <a:avLst/>
              <a:gdLst>
                <a:gd name="T0" fmla="*/ 1 w 26"/>
                <a:gd name="T1" fmla="*/ 1 h 94"/>
                <a:gd name="T2" fmla="*/ 1 w 26"/>
                <a:gd name="T3" fmla="*/ 1 h 94"/>
                <a:gd name="T4" fmla="*/ 0 w 26"/>
                <a:gd name="T5" fmla="*/ 1 h 94"/>
                <a:gd name="T6" fmla="*/ 1 w 26"/>
                <a:gd name="T7" fmla="*/ 1 h 94"/>
                <a:gd name="T8" fmla="*/ 1 w 26"/>
                <a:gd name="T9" fmla="*/ 1 h 94"/>
                <a:gd name="T10" fmla="*/ 1 w 26"/>
                <a:gd name="T11" fmla="*/ 0 h 94"/>
                <a:gd name="T12" fmla="*/ 1 w 26"/>
                <a:gd name="T13" fmla="*/ 1 h 94"/>
                <a:gd name="T14" fmla="*/ 1 w 26"/>
                <a:gd name="T15" fmla="*/ 1 h 94"/>
                <a:gd name="T16" fmla="*/ 1 w 26"/>
                <a:gd name="T17" fmla="*/ 1 h 94"/>
                <a:gd name="T18" fmla="*/ 1 w 26"/>
                <a:gd name="T19" fmla="*/ 1 h 94"/>
                <a:gd name="T20" fmla="*/ 1 w 26"/>
                <a:gd name="T21" fmla="*/ 1 h 94"/>
                <a:gd name="T22" fmla="*/ 1 w 26"/>
                <a:gd name="T23" fmla="*/ 1 h 9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6"/>
                <a:gd name="T37" fmla="*/ 0 h 94"/>
                <a:gd name="T38" fmla="*/ 26 w 26"/>
                <a:gd name="T39" fmla="*/ 94 h 9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6" h="94">
                  <a:moveTo>
                    <a:pt x="19" y="94"/>
                  </a:moveTo>
                  <a:lnTo>
                    <a:pt x="9" y="71"/>
                  </a:lnTo>
                  <a:lnTo>
                    <a:pt x="0" y="48"/>
                  </a:lnTo>
                  <a:lnTo>
                    <a:pt x="7" y="27"/>
                  </a:lnTo>
                  <a:lnTo>
                    <a:pt x="14" y="4"/>
                  </a:lnTo>
                  <a:lnTo>
                    <a:pt x="25" y="0"/>
                  </a:lnTo>
                  <a:lnTo>
                    <a:pt x="26" y="14"/>
                  </a:lnTo>
                  <a:lnTo>
                    <a:pt x="25" y="33"/>
                  </a:lnTo>
                  <a:lnTo>
                    <a:pt x="24" y="53"/>
                  </a:lnTo>
                  <a:lnTo>
                    <a:pt x="22" y="72"/>
                  </a:lnTo>
                  <a:lnTo>
                    <a:pt x="20" y="93"/>
                  </a:lnTo>
                  <a:lnTo>
                    <a:pt x="19" y="9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69" name="Freeform 25"/>
            <p:cNvSpPr>
              <a:spLocks/>
            </p:cNvSpPr>
            <p:nvPr/>
          </p:nvSpPr>
          <p:spPr bwMode="auto">
            <a:xfrm>
              <a:off x="3130" y="1509"/>
              <a:ext cx="59" cy="74"/>
            </a:xfrm>
            <a:custGeom>
              <a:avLst/>
              <a:gdLst>
                <a:gd name="T0" fmla="*/ 1 w 84"/>
                <a:gd name="T1" fmla="*/ 1 h 103"/>
                <a:gd name="T2" fmla="*/ 1 w 84"/>
                <a:gd name="T3" fmla="*/ 1 h 103"/>
                <a:gd name="T4" fmla="*/ 1 w 84"/>
                <a:gd name="T5" fmla="*/ 1 h 103"/>
                <a:gd name="T6" fmla="*/ 1 w 84"/>
                <a:gd name="T7" fmla="*/ 1 h 103"/>
                <a:gd name="T8" fmla="*/ 1 w 84"/>
                <a:gd name="T9" fmla="*/ 1 h 103"/>
                <a:gd name="T10" fmla="*/ 0 w 84"/>
                <a:gd name="T11" fmla="*/ 1 h 103"/>
                <a:gd name="T12" fmla="*/ 0 w 84"/>
                <a:gd name="T13" fmla="*/ 1 h 103"/>
                <a:gd name="T14" fmla="*/ 1 w 84"/>
                <a:gd name="T15" fmla="*/ 1 h 103"/>
                <a:gd name="T16" fmla="*/ 1 w 84"/>
                <a:gd name="T17" fmla="*/ 1 h 103"/>
                <a:gd name="T18" fmla="*/ 1 w 84"/>
                <a:gd name="T19" fmla="*/ 1 h 103"/>
                <a:gd name="T20" fmla="*/ 1 w 84"/>
                <a:gd name="T21" fmla="*/ 1 h 103"/>
                <a:gd name="T22" fmla="*/ 1 w 84"/>
                <a:gd name="T23" fmla="*/ 1 h 103"/>
                <a:gd name="T24" fmla="*/ 1 w 84"/>
                <a:gd name="T25" fmla="*/ 1 h 103"/>
                <a:gd name="T26" fmla="*/ 1 w 84"/>
                <a:gd name="T27" fmla="*/ 1 h 103"/>
                <a:gd name="T28" fmla="*/ 1 w 84"/>
                <a:gd name="T29" fmla="*/ 0 h 103"/>
                <a:gd name="T30" fmla="*/ 1 w 84"/>
                <a:gd name="T31" fmla="*/ 1 h 103"/>
                <a:gd name="T32" fmla="*/ 1 w 84"/>
                <a:gd name="T33" fmla="*/ 1 h 10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84"/>
                <a:gd name="T52" fmla="*/ 0 h 103"/>
                <a:gd name="T53" fmla="*/ 84 w 84"/>
                <a:gd name="T54" fmla="*/ 103 h 10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84" h="103">
                  <a:moveTo>
                    <a:pt x="32" y="26"/>
                  </a:moveTo>
                  <a:lnTo>
                    <a:pt x="6" y="16"/>
                  </a:lnTo>
                  <a:lnTo>
                    <a:pt x="5" y="35"/>
                  </a:lnTo>
                  <a:lnTo>
                    <a:pt x="4" y="55"/>
                  </a:lnTo>
                  <a:lnTo>
                    <a:pt x="2" y="74"/>
                  </a:lnTo>
                  <a:lnTo>
                    <a:pt x="0" y="95"/>
                  </a:lnTo>
                  <a:lnTo>
                    <a:pt x="0" y="100"/>
                  </a:lnTo>
                  <a:lnTo>
                    <a:pt x="24" y="103"/>
                  </a:lnTo>
                  <a:lnTo>
                    <a:pt x="37" y="86"/>
                  </a:lnTo>
                  <a:lnTo>
                    <a:pt x="53" y="84"/>
                  </a:lnTo>
                  <a:lnTo>
                    <a:pt x="61" y="71"/>
                  </a:lnTo>
                  <a:lnTo>
                    <a:pt x="38" y="46"/>
                  </a:lnTo>
                  <a:lnTo>
                    <a:pt x="61" y="37"/>
                  </a:lnTo>
                  <a:lnTo>
                    <a:pt x="84" y="28"/>
                  </a:lnTo>
                  <a:lnTo>
                    <a:pt x="70" y="0"/>
                  </a:lnTo>
                  <a:lnTo>
                    <a:pt x="52" y="13"/>
                  </a:lnTo>
                  <a:lnTo>
                    <a:pt x="32" y="26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70" name="Freeform 26"/>
            <p:cNvSpPr>
              <a:spLocks/>
            </p:cNvSpPr>
            <p:nvPr/>
          </p:nvSpPr>
          <p:spPr bwMode="auto">
            <a:xfrm>
              <a:off x="3398" y="1656"/>
              <a:ext cx="116" cy="146"/>
            </a:xfrm>
            <a:custGeom>
              <a:avLst/>
              <a:gdLst>
                <a:gd name="T0" fmla="*/ 1 w 163"/>
                <a:gd name="T1" fmla="*/ 1 h 207"/>
                <a:gd name="T2" fmla="*/ 1 w 163"/>
                <a:gd name="T3" fmla="*/ 1 h 207"/>
                <a:gd name="T4" fmla="*/ 1 w 163"/>
                <a:gd name="T5" fmla="*/ 1 h 207"/>
                <a:gd name="T6" fmla="*/ 1 w 163"/>
                <a:gd name="T7" fmla="*/ 1 h 207"/>
                <a:gd name="T8" fmla="*/ 1 w 163"/>
                <a:gd name="T9" fmla="*/ 1 h 207"/>
                <a:gd name="T10" fmla="*/ 1 w 163"/>
                <a:gd name="T11" fmla="*/ 1 h 207"/>
                <a:gd name="T12" fmla="*/ 1 w 163"/>
                <a:gd name="T13" fmla="*/ 1 h 207"/>
                <a:gd name="T14" fmla="*/ 1 w 163"/>
                <a:gd name="T15" fmla="*/ 0 h 207"/>
                <a:gd name="T16" fmla="*/ 1 w 163"/>
                <a:gd name="T17" fmla="*/ 1 h 207"/>
                <a:gd name="T18" fmla="*/ 1 w 163"/>
                <a:gd name="T19" fmla="*/ 1 h 207"/>
                <a:gd name="T20" fmla="*/ 1 w 163"/>
                <a:gd name="T21" fmla="*/ 1 h 207"/>
                <a:gd name="T22" fmla="*/ 1 w 163"/>
                <a:gd name="T23" fmla="*/ 1 h 207"/>
                <a:gd name="T24" fmla="*/ 1 w 163"/>
                <a:gd name="T25" fmla="*/ 1 h 207"/>
                <a:gd name="T26" fmla="*/ 1 w 163"/>
                <a:gd name="T27" fmla="*/ 1 h 207"/>
                <a:gd name="T28" fmla="*/ 1 w 163"/>
                <a:gd name="T29" fmla="*/ 1 h 207"/>
                <a:gd name="T30" fmla="*/ 1 w 163"/>
                <a:gd name="T31" fmla="*/ 1 h 207"/>
                <a:gd name="T32" fmla="*/ 1 w 163"/>
                <a:gd name="T33" fmla="*/ 1 h 207"/>
                <a:gd name="T34" fmla="*/ 1 w 163"/>
                <a:gd name="T35" fmla="*/ 1 h 207"/>
                <a:gd name="T36" fmla="*/ 0 w 163"/>
                <a:gd name="T37" fmla="*/ 1 h 207"/>
                <a:gd name="T38" fmla="*/ 1 w 163"/>
                <a:gd name="T39" fmla="*/ 1 h 207"/>
                <a:gd name="T40" fmla="*/ 1 w 163"/>
                <a:gd name="T41" fmla="*/ 1 h 207"/>
                <a:gd name="T42" fmla="*/ 1 w 163"/>
                <a:gd name="T43" fmla="*/ 1 h 207"/>
                <a:gd name="T44" fmla="*/ 1 w 163"/>
                <a:gd name="T45" fmla="*/ 1 h 207"/>
                <a:gd name="T46" fmla="*/ 1 w 163"/>
                <a:gd name="T47" fmla="*/ 1 h 207"/>
                <a:gd name="T48" fmla="*/ 1 w 163"/>
                <a:gd name="T49" fmla="*/ 1 h 207"/>
                <a:gd name="T50" fmla="*/ 1 w 163"/>
                <a:gd name="T51" fmla="*/ 1 h 207"/>
                <a:gd name="T52" fmla="*/ 1 w 163"/>
                <a:gd name="T53" fmla="*/ 1 h 207"/>
                <a:gd name="T54" fmla="*/ 1 w 163"/>
                <a:gd name="T55" fmla="*/ 1 h 207"/>
                <a:gd name="T56" fmla="*/ 1 w 163"/>
                <a:gd name="T57" fmla="*/ 1 h 207"/>
                <a:gd name="T58" fmla="*/ 1 w 163"/>
                <a:gd name="T59" fmla="*/ 1 h 207"/>
                <a:gd name="T60" fmla="*/ 1 w 163"/>
                <a:gd name="T61" fmla="*/ 1 h 207"/>
                <a:gd name="T62" fmla="*/ 1 w 163"/>
                <a:gd name="T63" fmla="*/ 1 h 207"/>
                <a:gd name="T64" fmla="*/ 1 w 163"/>
                <a:gd name="T65" fmla="*/ 1 h 20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3"/>
                <a:gd name="T100" fmla="*/ 0 h 207"/>
                <a:gd name="T101" fmla="*/ 163 w 163"/>
                <a:gd name="T102" fmla="*/ 207 h 20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3" h="207">
                  <a:moveTo>
                    <a:pt x="163" y="63"/>
                  </a:moveTo>
                  <a:lnTo>
                    <a:pt x="148" y="49"/>
                  </a:lnTo>
                  <a:lnTo>
                    <a:pt x="131" y="34"/>
                  </a:lnTo>
                  <a:lnTo>
                    <a:pt x="113" y="26"/>
                  </a:lnTo>
                  <a:lnTo>
                    <a:pt x="95" y="19"/>
                  </a:lnTo>
                  <a:lnTo>
                    <a:pt x="84" y="1"/>
                  </a:lnTo>
                  <a:lnTo>
                    <a:pt x="77" y="6"/>
                  </a:lnTo>
                  <a:lnTo>
                    <a:pt x="74" y="0"/>
                  </a:lnTo>
                  <a:lnTo>
                    <a:pt x="78" y="22"/>
                  </a:lnTo>
                  <a:lnTo>
                    <a:pt x="67" y="26"/>
                  </a:lnTo>
                  <a:lnTo>
                    <a:pt x="63" y="56"/>
                  </a:lnTo>
                  <a:lnTo>
                    <a:pt x="74" y="74"/>
                  </a:lnTo>
                  <a:lnTo>
                    <a:pt x="69" y="99"/>
                  </a:lnTo>
                  <a:lnTo>
                    <a:pt x="65" y="123"/>
                  </a:lnTo>
                  <a:lnTo>
                    <a:pt x="49" y="130"/>
                  </a:lnTo>
                  <a:lnTo>
                    <a:pt x="33" y="136"/>
                  </a:lnTo>
                  <a:lnTo>
                    <a:pt x="18" y="142"/>
                  </a:lnTo>
                  <a:lnTo>
                    <a:pt x="2" y="148"/>
                  </a:lnTo>
                  <a:lnTo>
                    <a:pt x="0" y="159"/>
                  </a:lnTo>
                  <a:lnTo>
                    <a:pt x="15" y="183"/>
                  </a:lnTo>
                  <a:lnTo>
                    <a:pt x="30" y="207"/>
                  </a:lnTo>
                  <a:lnTo>
                    <a:pt x="47" y="204"/>
                  </a:lnTo>
                  <a:lnTo>
                    <a:pt x="65" y="199"/>
                  </a:lnTo>
                  <a:lnTo>
                    <a:pt x="77" y="188"/>
                  </a:lnTo>
                  <a:lnTo>
                    <a:pt x="83" y="176"/>
                  </a:lnTo>
                  <a:lnTo>
                    <a:pt x="102" y="170"/>
                  </a:lnTo>
                  <a:lnTo>
                    <a:pt x="111" y="152"/>
                  </a:lnTo>
                  <a:lnTo>
                    <a:pt x="127" y="145"/>
                  </a:lnTo>
                  <a:lnTo>
                    <a:pt x="126" y="117"/>
                  </a:lnTo>
                  <a:lnTo>
                    <a:pt x="133" y="111"/>
                  </a:lnTo>
                  <a:lnTo>
                    <a:pt x="140" y="111"/>
                  </a:lnTo>
                  <a:lnTo>
                    <a:pt x="151" y="87"/>
                  </a:lnTo>
                  <a:lnTo>
                    <a:pt x="163" y="6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71" name="Freeform 27"/>
            <p:cNvSpPr>
              <a:spLocks/>
            </p:cNvSpPr>
            <p:nvPr/>
          </p:nvSpPr>
          <p:spPr bwMode="auto">
            <a:xfrm>
              <a:off x="3450" y="1633"/>
              <a:ext cx="6" cy="9"/>
            </a:xfrm>
            <a:custGeom>
              <a:avLst/>
              <a:gdLst>
                <a:gd name="T0" fmla="*/ 3 w 7"/>
                <a:gd name="T1" fmla="*/ 0 h 12"/>
                <a:gd name="T2" fmla="*/ 0 w 7"/>
                <a:gd name="T3" fmla="*/ 2 h 12"/>
                <a:gd name="T4" fmla="*/ 3 w 7"/>
                <a:gd name="T5" fmla="*/ 2 h 12"/>
                <a:gd name="T6" fmla="*/ 3 w 7"/>
                <a:gd name="T7" fmla="*/ 0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12"/>
                <a:gd name="T14" fmla="*/ 7 w 7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12">
                  <a:moveTo>
                    <a:pt x="7" y="0"/>
                  </a:moveTo>
                  <a:lnTo>
                    <a:pt x="0" y="10"/>
                  </a:lnTo>
                  <a:lnTo>
                    <a:pt x="6" y="12"/>
                  </a:lnTo>
                  <a:lnTo>
                    <a:pt x="7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72" name="Freeform 28"/>
            <p:cNvSpPr>
              <a:spLocks/>
            </p:cNvSpPr>
            <p:nvPr/>
          </p:nvSpPr>
          <p:spPr bwMode="auto">
            <a:xfrm>
              <a:off x="3127" y="1529"/>
              <a:ext cx="325" cy="290"/>
            </a:xfrm>
            <a:custGeom>
              <a:avLst/>
              <a:gdLst>
                <a:gd name="T0" fmla="*/ 1 w 461"/>
                <a:gd name="T1" fmla="*/ 2 h 412"/>
                <a:gd name="T2" fmla="*/ 1 w 461"/>
                <a:gd name="T3" fmla="*/ 1 h 412"/>
                <a:gd name="T4" fmla="*/ 1 w 461"/>
                <a:gd name="T5" fmla="*/ 1 h 412"/>
                <a:gd name="T6" fmla="*/ 1 w 461"/>
                <a:gd name="T7" fmla="*/ 1 h 412"/>
                <a:gd name="T8" fmla="*/ 0 w 461"/>
                <a:gd name="T9" fmla="*/ 1 h 412"/>
                <a:gd name="T10" fmla="*/ 1 w 461"/>
                <a:gd name="T11" fmla="*/ 1 h 412"/>
                <a:gd name="T12" fmla="*/ 1 w 461"/>
                <a:gd name="T13" fmla="*/ 1 h 412"/>
                <a:gd name="T14" fmla="*/ 1 w 461"/>
                <a:gd name="T15" fmla="*/ 1 h 412"/>
                <a:gd name="T16" fmla="*/ 1 w 461"/>
                <a:gd name="T17" fmla="*/ 0 h 412"/>
                <a:gd name="T18" fmla="*/ 1 w 461"/>
                <a:gd name="T19" fmla="*/ 1 h 412"/>
                <a:gd name="T20" fmla="*/ 1 w 461"/>
                <a:gd name="T21" fmla="*/ 1 h 412"/>
                <a:gd name="T22" fmla="*/ 1 w 461"/>
                <a:gd name="T23" fmla="*/ 1 h 412"/>
                <a:gd name="T24" fmla="*/ 2 w 461"/>
                <a:gd name="T25" fmla="*/ 1 h 412"/>
                <a:gd name="T26" fmla="*/ 2 w 461"/>
                <a:gd name="T27" fmla="*/ 1 h 412"/>
                <a:gd name="T28" fmla="*/ 2 w 461"/>
                <a:gd name="T29" fmla="*/ 1 h 412"/>
                <a:gd name="T30" fmla="*/ 3 w 461"/>
                <a:gd name="T31" fmla="*/ 1 h 412"/>
                <a:gd name="T32" fmla="*/ 3 w 461"/>
                <a:gd name="T33" fmla="*/ 1 h 412"/>
                <a:gd name="T34" fmla="*/ 3 w 461"/>
                <a:gd name="T35" fmla="*/ 1 h 412"/>
                <a:gd name="T36" fmla="*/ 3 w 461"/>
                <a:gd name="T37" fmla="*/ 1 h 412"/>
                <a:gd name="T38" fmla="*/ 3 w 461"/>
                <a:gd name="T39" fmla="*/ 1 h 412"/>
                <a:gd name="T40" fmla="*/ 3 w 461"/>
                <a:gd name="T41" fmla="*/ 1 h 412"/>
                <a:gd name="T42" fmla="*/ 3 w 461"/>
                <a:gd name="T43" fmla="*/ 2 h 412"/>
                <a:gd name="T44" fmla="*/ 3 w 461"/>
                <a:gd name="T45" fmla="*/ 2 h 412"/>
                <a:gd name="T46" fmla="*/ 3 w 461"/>
                <a:gd name="T47" fmla="*/ 2 h 412"/>
                <a:gd name="T48" fmla="*/ 3 w 461"/>
                <a:gd name="T49" fmla="*/ 2 h 412"/>
                <a:gd name="T50" fmla="*/ 3 w 461"/>
                <a:gd name="T51" fmla="*/ 3 h 412"/>
                <a:gd name="T52" fmla="*/ 3 w 461"/>
                <a:gd name="T53" fmla="*/ 3 h 412"/>
                <a:gd name="T54" fmla="*/ 2 w 461"/>
                <a:gd name="T55" fmla="*/ 3 h 412"/>
                <a:gd name="T56" fmla="*/ 2 w 461"/>
                <a:gd name="T57" fmla="*/ 3 h 412"/>
                <a:gd name="T58" fmla="*/ 2 w 461"/>
                <a:gd name="T59" fmla="*/ 3 h 412"/>
                <a:gd name="T60" fmla="*/ 2 w 461"/>
                <a:gd name="T61" fmla="*/ 3 h 412"/>
                <a:gd name="T62" fmla="*/ 1 w 461"/>
                <a:gd name="T63" fmla="*/ 3 h 412"/>
                <a:gd name="T64" fmla="*/ 1 w 461"/>
                <a:gd name="T65" fmla="*/ 3 h 412"/>
                <a:gd name="T66" fmla="*/ 1 w 461"/>
                <a:gd name="T67" fmla="*/ 3 h 412"/>
                <a:gd name="T68" fmla="*/ 1 w 461"/>
                <a:gd name="T69" fmla="*/ 2 h 41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61"/>
                <a:gd name="T106" fmla="*/ 0 h 412"/>
                <a:gd name="T107" fmla="*/ 461 w 461"/>
                <a:gd name="T108" fmla="*/ 412 h 41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61" h="412">
                  <a:moveTo>
                    <a:pt x="113" y="282"/>
                  </a:moveTo>
                  <a:lnTo>
                    <a:pt x="105" y="248"/>
                  </a:lnTo>
                  <a:lnTo>
                    <a:pt x="96" y="229"/>
                  </a:lnTo>
                  <a:lnTo>
                    <a:pt x="89" y="210"/>
                  </a:lnTo>
                  <a:lnTo>
                    <a:pt x="75" y="198"/>
                  </a:lnTo>
                  <a:lnTo>
                    <a:pt x="60" y="186"/>
                  </a:lnTo>
                  <a:lnTo>
                    <a:pt x="50" y="160"/>
                  </a:lnTo>
                  <a:lnTo>
                    <a:pt x="28" y="132"/>
                  </a:lnTo>
                  <a:lnTo>
                    <a:pt x="6" y="103"/>
                  </a:lnTo>
                  <a:lnTo>
                    <a:pt x="0" y="100"/>
                  </a:lnTo>
                  <a:lnTo>
                    <a:pt x="4" y="72"/>
                  </a:lnTo>
                  <a:lnTo>
                    <a:pt x="28" y="75"/>
                  </a:lnTo>
                  <a:lnTo>
                    <a:pt x="41" y="58"/>
                  </a:lnTo>
                  <a:lnTo>
                    <a:pt x="57" y="56"/>
                  </a:lnTo>
                  <a:lnTo>
                    <a:pt x="65" y="43"/>
                  </a:lnTo>
                  <a:lnTo>
                    <a:pt x="42" y="18"/>
                  </a:lnTo>
                  <a:lnTo>
                    <a:pt x="65" y="9"/>
                  </a:lnTo>
                  <a:lnTo>
                    <a:pt x="88" y="0"/>
                  </a:lnTo>
                  <a:lnTo>
                    <a:pt x="108" y="9"/>
                  </a:lnTo>
                  <a:lnTo>
                    <a:pt x="129" y="19"/>
                  </a:lnTo>
                  <a:lnTo>
                    <a:pt x="149" y="28"/>
                  </a:lnTo>
                  <a:lnTo>
                    <a:pt x="170" y="37"/>
                  </a:lnTo>
                  <a:lnTo>
                    <a:pt x="189" y="56"/>
                  </a:lnTo>
                  <a:lnTo>
                    <a:pt x="210" y="75"/>
                  </a:lnTo>
                  <a:lnTo>
                    <a:pt x="250" y="78"/>
                  </a:lnTo>
                  <a:lnTo>
                    <a:pt x="269" y="80"/>
                  </a:lnTo>
                  <a:lnTo>
                    <a:pt x="273" y="87"/>
                  </a:lnTo>
                  <a:lnTo>
                    <a:pt x="291" y="91"/>
                  </a:lnTo>
                  <a:lnTo>
                    <a:pt x="303" y="111"/>
                  </a:lnTo>
                  <a:lnTo>
                    <a:pt x="312" y="118"/>
                  </a:lnTo>
                  <a:lnTo>
                    <a:pt x="332" y="138"/>
                  </a:lnTo>
                  <a:lnTo>
                    <a:pt x="333" y="152"/>
                  </a:lnTo>
                  <a:lnTo>
                    <a:pt x="342" y="169"/>
                  </a:lnTo>
                  <a:lnTo>
                    <a:pt x="352" y="186"/>
                  </a:lnTo>
                  <a:lnTo>
                    <a:pt x="359" y="190"/>
                  </a:lnTo>
                  <a:lnTo>
                    <a:pt x="360" y="189"/>
                  </a:lnTo>
                  <a:lnTo>
                    <a:pt x="364" y="190"/>
                  </a:lnTo>
                  <a:lnTo>
                    <a:pt x="365" y="196"/>
                  </a:lnTo>
                  <a:lnTo>
                    <a:pt x="368" y="198"/>
                  </a:lnTo>
                  <a:lnTo>
                    <a:pt x="366" y="202"/>
                  </a:lnTo>
                  <a:lnTo>
                    <a:pt x="374" y="207"/>
                  </a:lnTo>
                  <a:lnTo>
                    <a:pt x="381" y="229"/>
                  </a:lnTo>
                  <a:lnTo>
                    <a:pt x="413" y="235"/>
                  </a:lnTo>
                  <a:lnTo>
                    <a:pt x="447" y="242"/>
                  </a:lnTo>
                  <a:lnTo>
                    <a:pt x="450" y="236"/>
                  </a:lnTo>
                  <a:lnTo>
                    <a:pt x="461" y="254"/>
                  </a:lnTo>
                  <a:lnTo>
                    <a:pt x="456" y="279"/>
                  </a:lnTo>
                  <a:lnTo>
                    <a:pt x="452" y="303"/>
                  </a:lnTo>
                  <a:lnTo>
                    <a:pt x="436" y="310"/>
                  </a:lnTo>
                  <a:lnTo>
                    <a:pt x="420" y="316"/>
                  </a:lnTo>
                  <a:lnTo>
                    <a:pt x="405" y="322"/>
                  </a:lnTo>
                  <a:lnTo>
                    <a:pt x="389" y="328"/>
                  </a:lnTo>
                  <a:lnTo>
                    <a:pt x="372" y="333"/>
                  </a:lnTo>
                  <a:lnTo>
                    <a:pt x="354" y="338"/>
                  </a:lnTo>
                  <a:lnTo>
                    <a:pt x="338" y="342"/>
                  </a:lnTo>
                  <a:lnTo>
                    <a:pt x="321" y="346"/>
                  </a:lnTo>
                  <a:lnTo>
                    <a:pt x="309" y="363"/>
                  </a:lnTo>
                  <a:lnTo>
                    <a:pt x="297" y="380"/>
                  </a:lnTo>
                  <a:lnTo>
                    <a:pt x="285" y="396"/>
                  </a:lnTo>
                  <a:lnTo>
                    <a:pt x="272" y="412"/>
                  </a:lnTo>
                  <a:lnTo>
                    <a:pt x="270" y="386"/>
                  </a:lnTo>
                  <a:lnTo>
                    <a:pt x="250" y="378"/>
                  </a:lnTo>
                  <a:lnTo>
                    <a:pt x="230" y="368"/>
                  </a:lnTo>
                  <a:lnTo>
                    <a:pt x="206" y="366"/>
                  </a:lnTo>
                  <a:lnTo>
                    <a:pt x="202" y="386"/>
                  </a:lnTo>
                  <a:lnTo>
                    <a:pt x="194" y="393"/>
                  </a:lnTo>
                  <a:lnTo>
                    <a:pt x="183" y="375"/>
                  </a:lnTo>
                  <a:lnTo>
                    <a:pt x="172" y="357"/>
                  </a:lnTo>
                  <a:lnTo>
                    <a:pt x="155" y="330"/>
                  </a:lnTo>
                  <a:lnTo>
                    <a:pt x="137" y="302"/>
                  </a:lnTo>
                  <a:lnTo>
                    <a:pt x="113" y="28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73" name="Freeform 29"/>
            <p:cNvSpPr>
              <a:spLocks/>
            </p:cNvSpPr>
            <p:nvPr/>
          </p:nvSpPr>
          <p:spPr bwMode="auto">
            <a:xfrm>
              <a:off x="3384" y="1640"/>
              <a:ext cx="73" cy="59"/>
            </a:xfrm>
            <a:custGeom>
              <a:avLst/>
              <a:gdLst>
                <a:gd name="T0" fmla="*/ 0 w 105"/>
                <a:gd name="T1" fmla="*/ 1 h 84"/>
                <a:gd name="T2" fmla="*/ 1 w 105"/>
                <a:gd name="T3" fmla="*/ 1 h 84"/>
                <a:gd name="T4" fmla="*/ 1 w 105"/>
                <a:gd name="T5" fmla="*/ 1 h 84"/>
                <a:gd name="T6" fmla="*/ 1 w 105"/>
                <a:gd name="T7" fmla="*/ 1 h 84"/>
                <a:gd name="T8" fmla="*/ 1 w 105"/>
                <a:gd name="T9" fmla="*/ 1 h 84"/>
                <a:gd name="T10" fmla="*/ 1 w 105"/>
                <a:gd name="T11" fmla="*/ 1 h 84"/>
                <a:gd name="T12" fmla="*/ 1 w 105"/>
                <a:gd name="T13" fmla="*/ 1 h 84"/>
                <a:gd name="T14" fmla="*/ 1 w 105"/>
                <a:gd name="T15" fmla="*/ 1 h 84"/>
                <a:gd name="T16" fmla="*/ 1 w 105"/>
                <a:gd name="T17" fmla="*/ 1 h 84"/>
                <a:gd name="T18" fmla="*/ 1 w 105"/>
                <a:gd name="T19" fmla="*/ 1 h 84"/>
                <a:gd name="T20" fmla="*/ 1 w 105"/>
                <a:gd name="T21" fmla="*/ 1 h 84"/>
                <a:gd name="T22" fmla="*/ 1 w 105"/>
                <a:gd name="T23" fmla="*/ 1 h 84"/>
                <a:gd name="T24" fmla="*/ 1 w 105"/>
                <a:gd name="T25" fmla="*/ 0 h 84"/>
                <a:gd name="T26" fmla="*/ 1 w 105"/>
                <a:gd name="T27" fmla="*/ 1 h 84"/>
                <a:gd name="T28" fmla="*/ 1 w 105"/>
                <a:gd name="T29" fmla="*/ 1 h 84"/>
                <a:gd name="T30" fmla="*/ 1 w 105"/>
                <a:gd name="T31" fmla="*/ 1 h 84"/>
                <a:gd name="T32" fmla="*/ 1 w 105"/>
                <a:gd name="T33" fmla="*/ 1 h 84"/>
                <a:gd name="T34" fmla="*/ 0 w 105"/>
                <a:gd name="T35" fmla="*/ 1 h 84"/>
                <a:gd name="T36" fmla="*/ 0 w 105"/>
                <a:gd name="T37" fmla="*/ 1 h 8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05"/>
                <a:gd name="T58" fmla="*/ 0 h 84"/>
                <a:gd name="T59" fmla="*/ 105 w 105"/>
                <a:gd name="T60" fmla="*/ 84 h 8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05" h="84">
                  <a:moveTo>
                    <a:pt x="0" y="44"/>
                  </a:moveTo>
                  <a:lnTo>
                    <a:pt x="8" y="49"/>
                  </a:lnTo>
                  <a:lnTo>
                    <a:pt x="15" y="71"/>
                  </a:lnTo>
                  <a:lnTo>
                    <a:pt x="47" y="77"/>
                  </a:lnTo>
                  <a:lnTo>
                    <a:pt x="81" y="84"/>
                  </a:lnTo>
                  <a:lnTo>
                    <a:pt x="84" y="78"/>
                  </a:lnTo>
                  <a:lnTo>
                    <a:pt x="88" y="48"/>
                  </a:lnTo>
                  <a:lnTo>
                    <a:pt x="99" y="44"/>
                  </a:lnTo>
                  <a:lnTo>
                    <a:pt x="95" y="22"/>
                  </a:lnTo>
                  <a:lnTo>
                    <a:pt x="98" y="28"/>
                  </a:lnTo>
                  <a:lnTo>
                    <a:pt x="105" y="23"/>
                  </a:lnTo>
                  <a:lnTo>
                    <a:pt x="100" y="2"/>
                  </a:lnTo>
                  <a:lnTo>
                    <a:pt x="94" y="0"/>
                  </a:lnTo>
                  <a:lnTo>
                    <a:pt x="75" y="22"/>
                  </a:lnTo>
                  <a:lnTo>
                    <a:pt x="54" y="44"/>
                  </a:lnTo>
                  <a:lnTo>
                    <a:pt x="21" y="46"/>
                  </a:lnTo>
                  <a:lnTo>
                    <a:pt x="8" y="43"/>
                  </a:lnTo>
                  <a:lnTo>
                    <a:pt x="0" y="40"/>
                  </a:lnTo>
                  <a:lnTo>
                    <a:pt x="0" y="4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74" name="Freeform 30"/>
            <p:cNvSpPr>
              <a:spLocks/>
            </p:cNvSpPr>
            <p:nvPr/>
          </p:nvSpPr>
          <p:spPr bwMode="auto">
            <a:xfrm>
              <a:off x="3263" y="1760"/>
              <a:ext cx="156" cy="111"/>
            </a:xfrm>
            <a:custGeom>
              <a:avLst/>
              <a:gdLst>
                <a:gd name="T0" fmla="*/ 1 w 223"/>
                <a:gd name="T1" fmla="*/ 1 h 158"/>
                <a:gd name="T2" fmla="*/ 0 w 223"/>
                <a:gd name="T3" fmla="*/ 1 h 158"/>
                <a:gd name="T4" fmla="*/ 0 w 223"/>
                <a:gd name="T5" fmla="*/ 1 h 158"/>
                <a:gd name="T6" fmla="*/ 1 w 223"/>
                <a:gd name="T7" fmla="*/ 1 h 158"/>
                <a:gd name="T8" fmla="*/ 1 w 223"/>
                <a:gd name="T9" fmla="*/ 1 h 158"/>
                <a:gd name="T10" fmla="*/ 1 w 223"/>
                <a:gd name="T11" fmla="*/ 1 h 158"/>
                <a:gd name="T12" fmla="*/ 1 w 223"/>
                <a:gd name="T13" fmla="*/ 1 h 158"/>
                <a:gd name="T14" fmla="*/ 1 w 223"/>
                <a:gd name="T15" fmla="*/ 1 h 158"/>
                <a:gd name="T16" fmla="*/ 1 w 223"/>
                <a:gd name="T17" fmla="*/ 1 h 158"/>
                <a:gd name="T18" fmla="*/ 1 w 223"/>
                <a:gd name="T19" fmla="*/ 1 h 158"/>
                <a:gd name="T20" fmla="*/ 1 w 223"/>
                <a:gd name="T21" fmla="*/ 1 h 158"/>
                <a:gd name="T22" fmla="*/ 1 w 223"/>
                <a:gd name="T23" fmla="*/ 1 h 158"/>
                <a:gd name="T24" fmla="*/ 1 w 223"/>
                <a:gd name="T25" fmla="*/ 1 h 158"/>
                <a:gd name="T26" fmla="*/ 1 w 223"/>
                <a:gd name="T27" fmla="*/ 1 h 158"/>
                <a:gd name="T28" fmla="*/ 1 w 223"/>
                <a:gd name="T29" fmla="*/ 1 h 158"/>
                <a:gd name="T30" fmla="*/ 1 w 223"/>
                <a:gd name="T31" fmla="*/ 1 h 158"/>
                <a:gd name="T32" fmla="*/ 1 w 223"/>
                <a:gd name="T33" fmla="*/ 1 h 158"/>
                <a:gd name="T34" fmla="*/ 1 w 223"/>
                <a:gd name="T35" fmla="*/ 1 h 158"/>
                <a:gd name="T36" fmla="*/ 1 w 223"/>
                <a:gd name="T37" fmla="*/ 0 h 158"/>
                <a:gd name="T38" fmla="*/ 1 w 223"/>
                <a:gd name="T39" fmla="*/ 1 h 158"/>
                <a:gd name="T40" fmla="*/ 1 w 223"/>
                <a:gd name="T41" fmla="*/ 1 h 158"/>
                <a:gd name="T42" fmla="*/ 1 w 223"/>
                <a:gd name="T43" fmla="*/ 1 h 158"/>
                <a:gd name="T44" fmla="*/ 1 w 223"/>
                <a:gd name="T45" fmla="*/ 1 h 158"/>
                <a:gd name="T46" fmla="*/ 1 w 223"/>
                <a:gd name="T47" fmla="*/ 1 h 158"/>
                <a:gd name="T48" fmla="*/ 1 w 223"/>
                <a:gd name="T49" fmla="*/ 1 h 158"/>
                <a:gd name="T50" fmla="*/ 1 w 223"/>
                <a:gd name="T51" fmla="*/ 1 h 158"/>
                <a:gd name="T52" fmla="*/ 1 w 223"/>
                <a:gd name="T53" fmla="*/ 1 h 158"/>
                <a:gd name="T54" fmla="*/ 1 w 223"/>
                <a:gd name="T55" fmla="*/ 1 h 158"/>
                <a:gd name="T56" fmla="*/ 1 w 223"/>
                <a:gd name="T57" fmla="*/ 1 h 158"/>
                <a:gd name="T58" fmla="*/ 1 w 223"/>
                <a:gd name="T59" fmla="*/ 1 h 158"/>
                <a:gd name="T60" fmla="*/ 1 w 223"/>
                <a:gd name="T61" fmla="*/ 1 h 158"/>
                <a:gd name="T62" fmla="*/ 1 w 223"/>
                <a:gd name="T63" fmla="*/ 1 h 15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23"/>
                <a:gd name="T97" fmla="*/ 0 h 158"/>
                <a:gd name="T98" fmla="*/ 223 w 223"/>
                <a:gd name="T99" fmla="*/ 158 h 15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23" h="158">
                  <a:moveTo>
                    <a:pt x="8" y="58"/>
                  </a:moveTo>
                  <a:lnTo>
                    <a:pt x="0" y="65"/>
                  </a:lnTo>
                  <a:lnTo>
                    <a:pt x="0" y="95"/>
                  </a:lnTo>
                  <a:lnTo>
                    <a:pt x="9" y="126"/>
                  </a:lnTo>
                  <a:lnTo>
                    <a:pt x="19" y="158"/>
                  </a:lnTo>
                  <a:lnTo>
                    <a:pt x="46" y="155"/>
                  </a:lnTo>
                  <a:lnTo>
                    <a:pt x="75" y="140"/>
                  </a:lnTo>
                  <a:lnTo>
                    <a:pt x="97" y="131"/>
                  </a:lnTo>
                  <a:lnTo>
                    <a:pt x="120" y="124"/>
                  </a:lnTo>
                  <a:lnTo>
                    <a:pt x="136" y="117"/>
                  </a:lnTo>
                  <a:lnTo>
                    <a:pt x="153" y="110"/>
                  </a:lnTo>
                  <a:lnTo>
                    <a:pt x="170" y="101"/>
                  </a:lnTo>
                  <a:lnTo>
                    <a:pt x="187" y="93"/>
                  </a:lnTo>
                  <a:lnTo>
                    <a:pt x="202" y="86"/>
                  </a:lnTo>
                  <a:lnTo>
                    <a:pt x="204" y="75"/>
                  </a:lnTo>
                  <a:lnTo>
                    <a:pt x="223" y="59"/>
                  </a:lnTo>
                  <a:lnTo>
                    <a:pt x="208" y="35"/>
                  </a:lnTo>
                  <a:lnTo>
                    <a:pt x="193" y="11"/>
                  </a:lnTo>
                  <a:lnTo>
                    <a:pt x="195" y="0"/>
                  </a:lnTo>
                  <a:lnTo>
                    <a:pt x="178" y="5"/>
                  </a:lnTo>
                  <a:lnTo>
                    <a:pt x="160" y="10"/>
                  </a:lnTo>
                  <a:lnTo>
                    <a:pt x="144" y="14"/>
                  </a:lnTo>
                  <a:lnTo>
                    <a:pt x="127" y="18"/>
                  </a:lnTo>
                  <a:lnTo>
                    <a:pt x="115" y="35"/>
                  </a:lnTo>
                  <a:lnTo>
                    <a:pt x="103" y="52"/>
                  </a:lnTo>
                  <a:lnTo>
                    <a:pt x="91" y="68"/>
                  </a:lnTo>
                  <a:lnTo>
                    <a:pt x="78" y="84"/>
                  </a:lnTo>
                  <a:lnTo>
                    <a:pt x="76" y="58"/>
                  </a:lnTo>
                  <a:lnTo>
                    <a:pt x="56" y="50"/>
                  </a:lnTo>
                  <a:lnTo>
                    <a:pt x="36" y="40"/>
                  </a:lnTo>
                  <a:lnTo>
                    <a:pt x="12" y="38"/>
                  </a:lnTo>
                  <a:lnTo>
                    <a:pt x="8" y="5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75" name="Freeform 31"/>
            <p:cNvSpPr>
              <a:spLocks/>
            </p:cNvSpPr>
            <p:nvPr/>
          </p:nvSpPr>
          <p:spPr bwMode="auto">
            <a:xfrm>
              <a:off x="3057" y="2110"/>
              <a:ext cx="29" cy="30"/>
            </a:xfrm>
            <a:custGeom>
              <a:avLst/>
              <a:gdLst>
                <a:gd name="T0" fmla="*/ 1 w 42"/>
                <a:gd name="T1" fmla="*/ 1 h 41"/>
                <a:gd name="T2" fmla="*/ 1 w 42"/>
                <a:gd name="T3" fmla="*/ 1 h 41"/>
                <a:gd name="T4" fmla="*/ 0 w 42"/>
                <a:gd name="T5" fmla="*/ 1 h 41"/>
                <a:gd name="T6" fmla="*/ 1 w 42"/>
                <a:gd name="T7" fmla="*/ 1 h 41"/>
                <a:gd name="T8" fmla="*/ 1 w 42"/>
                <a:gd name="T9" fmla="*/ 1 h 41"/>
                <a:gd name="T10" fmla="*/ 1 w 42"/>
                <a:gd name="T11" fmla="*/ 1 h 41"/>
                <a:gd name="T12" fmla="*/ 1 w 42"/>
                <a:gd name="T13" fmla="*/ 1 h 41"/>
                <a:gd name="T14" fmla="*/ 1 w 42"/>
                <a:gd name="T15" fmla="*/ 1 h 41"/>
                <a:gd name="T16" fmla="*/ 1 w 42"/>
                <a:gd name="T17" fmla="*/ 1 h 41"/>
                <a:gd name="T18" fmla="*/ 1 w 42"/>
                <a:gd name="T19" fmla="*/ 0 h 41"/>
                <a:gd name="T20" fmla="*/ 1 w 42"/>
                <a:gd name="T21" fmla="*/ 1 h 41"/>
                <a:gd name="T22" fmla="*/ 1 w 42"/>
                <a:gd name="T23" fmla="*/ 1 h 4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41"/>
                <a:gd name="T38" fmla="*/ 42 w 42"/>
                <a:gd name="T39" fmla="*/ 41 h 4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41">
                  <a:moveTo>
                    <a:pt x="15" y="9"/>
                  </a:moveTo>
                  <a:lnTo>
                    <a:pt x="6" y="26"/>
                  </a:lnTo>
                  <a:lnTo>
                    <a:pt x="0" y="41"/>
                  </a:lnTo>
                  <a:lnTo>
                    <a:pt x="1" y="41"/>
                  </a:lnTo>
                  <a:lnTo>
                    <a:pt x="2" y="41"/>
                  </a:lnTo>
                  <a:lnTo>
                    <a:pt x="21" y="40"/>
                  </a:lnTo>
                  <a:lnTo>
                    <a:pt x="24" y="32"/>
                  </a:lnTo>
                  <a:lnTo>
                    <a:pt x="36" y="34"/>
                  </a:lnTo>
                  <a:lnTo>
                    <a:pt x="42" y="32"/>
                  </a:lnTo>
                  <a:lnTo>
                    <a:pt x="35" y="0"/>
                  </a:lnTo>
                  <a:lnTo>
                    <a:pt x="21" y="9"/>
                  </a:lnTo>
                  <a:lnTo>
                    <a:pt x="15" y="9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76" name="Freeform 32"/>
            <p:cNvSpPr>
              <a:spLocks/>
            </p:cNvSpPr>
            <p:nvPr/>
          </p:nvSpPr>
          <p:spPr bwMode="auto">
            <a:xfrm>
              <a:off x="3367" y="1635"/>
              <a:ext cx="2" cy="4"/>
            </a:xfrm>
            <a:custGeom>
              <a:avLst/>
              <a:gdLst>
                <a:gd name="T0" fmla="*/ 1 w 3"/>
                <a:gd name="T1" fmla="*/ 0 h 6"/>
                <a:gd name="T2" fmla="*/ 0 w 3"/>
                <a:gd name="T3" fmla="*/ 1 h 6"/>
                <a:gd name="T4" fmla="*/ 1 w 3"/>
                <a:gd name="T5" fmla="*/ 1 h 6"/>
                <a:gd name="T6" fmla="*/ 1 w 3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6"/>
                <a:gd name="T14" fmla="*/ 3 w 3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6">
                  <a:moveTo>
                    <a:pt x="2" y="0"/>
                  </a:moveTo>
                  <a:lnTo>
                    <a:pt x="0" y="6"/>
                  </a:lnTo>
                  <a:lnTo>
                    <a:pt x="3" y="3"/>
                  </a:lnTo>
                  <a:lnTo>
                    <a:pt x="2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77" name="Freeform 33"/>
            <p:cNvSpPr>
              <a:spLocks/>
            </p:cNvSpPr>
            <p:nvPr/>
          </p:nvSpPr>
          <p:spPr bwMode="auto">
            <a:xfrm>
              <a:off x="2819" y="1681"/>
              <a:ext cx="159" cy="278"/>
            </a:xfrm>
            <a:custGeom>
              <a:avLst/>
              <a:gdLst>
                <a:gd name="T0" fmla="*/ 1 w 226"/>
                <a:gd name="T1" fmla="*/ 1 h 396"/>
                <a:gd name="T2" fmla="*/ 1 w 226"/>
                <a:gd name="T3" fmla="*/ 1 h 396"/>
                <a:gd name="T4" fmla="*/ 1 w 226"/>
                <a:gd name="T5" fmla="*/ 1 h 396"/>
                <a:gd name="T6" fmla="*/ 1 w 226"/>
                <a:gd name="T7" fmla="*/ 1 h 396"/>
                <a:gd name="T8" fmla="*/ 1 w 226"/>
                <a:gd name="T9" fmla="*/ 1 h 396"/>
                <a:gd name="T10" fmla="*/ 1 w 226"/>
                <a:gd name="T11" fmla="*/ 1 h 396"/>
                <a:gd name="T12" fmla="*/ 1 w 226"/>
                <a:gd name="T13" fmla="*/ 1 h 396"/>
                <a:gd name="T14" fmla="*/ 1 w 226"/>
                <a:gd name="T15" fmla="*/ 1 h 396"/>
                <a:gd name="T16" fmla="*/ 1 w 226"/>
                <a:gd name="T17" fmla="*/ 0 h 396"/>
                <a:gd name="T18" fmla="*/ 1 w 226"/>
                <a:gd name="T19" fmla="*/ 1 h 396"/>
                <a:gd name="T20" fmla="*/ 1 w 226"/>
                <a:gd name="T21" fmla="*/ 1 h 396"/>
                <a:gd name="T22" fmla="*/ 1 w 226"/>
                <a:gd name="T23" fmla="*/ 1 h 396"/>
                <a:gd name="T24" fmla="*/ 1 w 226"/>
                <a:gd name="T25" fmla="*/ 1 h 396"/>
                <a:gd name="T26" fmla="*/ 1 w 226"/>
                <a:gd name="T27" fmla="*/ 1 h 396"/>
                <a:gd name="T28" fmla="*/ 1 w 226"/>
                <a:gd name="T29" fmla="*/ 1 h 396"/>
                <a:gd name="T30" fmla="*/ 1 w 226"/>
                <a:gd name="T31" fmla="*/ 1 h 396"/>
                <a:gd name="T32" fmla="*/ 1 w 226"/>
                <a:gd name="T33" fmla="*/ 1 h 396"/>
                <a:gd name="T34" fmla="*/ 1 w 226"/>
                <a:gd name="T35" fmla="*/ 1 h 396"/>
                <a:gd name="T36" fmla="*/ 1 w 226"/>
                <a:gd name="T37" fmla="*/ 1 h 396"/>
                <a:gd name="T38" fmla="*/ 1 w 226"/>
                <a:gd name="T39" fmla="*/ 1 h 396"/>
                <a:gd name="T40" fmla="*/ 1 w 226"/>
                <a:gd name="T41" fmla="*/ 1 h 396"/>
                <a:gd name="T42" fmla="*/ 0 w 226"/>
                <a:gd name="T43" fmla="*/ 1 h 396"/>
                <a:gd name="T44" fmla="*/ 1 w 226"/>
                <a:gd name="T45" fmla="*/ 2 h 396"/>
                <a:gd name="T46" fmla="*/ 1 w 226"/>
                <a:gd name="T47" fmla="*/ 2 h 396"/>
                <a:gd name="T48" fmla="*/ 1 w 226"/>
                <a:gd name="T49" fmla="*/ 2 h 396"/>
                <a:gd name="T50" fmla="*/ 1 w 226"/>
                <a:gd name="T51" fmla="*/ 2 h 396"/>
                <a:gd name="T52" fmla="*/ 1 w 226"/>
                <a:gd name="T53" fmla="*/ 2 h 396"/>
                <a:gd name="T54" fmla="*/ 1 w 226"/>
                <a:gd name="T55" fmla="*/ 3 h 396"/>
                <a:gd name="T56" fmla="*/ 1 w 226"/>
                <a:gd name="T57" fmla="*/ 3 h 396"/>
                <a:gd name="T58" fmla="*/ 1 w 226"/>
                <a:gd name="T59" fmla="*/ 3 h 396"/>
                <a:gd name="T60" fmla="*/ 1 w 226"/>
                <a:gd name="T61" fmla="*/ 3 h 396"/>
                <a:gd name="T62" fmla="*/ 1 w 226"/>
                <a:gd name="T63" fmla="*/ 3 h 396"/>
                <a:gd name="T64" fmla="*/ 1 w 226"/>
                <a:gd name="T65" fmla="*/ 3 h 396"/>
                <a:gd name="T66" fmla="*/ 1 w 226"/>
                <a:gd name="T67" fmla="*/ 3 h 396"/>
                <a:gd name="T68" fmla="*/ 1 w 226"/>
                <a:gd name="T69" fmla="*/ 3 h 396"/>
                <a:gd name="T70" fmla="*/ 1 w 226"/>
                <a:gd name="T71" fmla="*/ 3 h 396"/>
                <a:gd name="T72" fmla="*/ 1 w 226"/>
                <a:gd name="T73" fmla="*/ 3 h 396"/>
                <a:gd name="T74" fmla="*/ 1 w 226"/>
                <a:gd name="T75" fmla="*/ 3 h 396"/>
                <a:gd name="T76" fmla="*/ 1 w 226"/>
                <a:gd name="T77" fmla="*/ 3 h 396"/>
                <a:gd name="T78" fmla="*/ 1 w 226"/>
                <a:gd name="T79" fmla="*/ 3 h 396"/>
                <a:gd name="T80" fmla="*/ 1 w 226"/>
                <a:gd name="T81" fmla="*/ 2 h 396"/>
                <a:gd name="T82" fmla="*/ 1 w 226"/>
                <a:gd name="T83" fmla="*/ 2 h 396"/>
                <a:gd name="T84" fmla="*/ 1 w 226"/>
                <a:gd name="T85" fmla="*/ 2 h 396"/>
                <a:gd name="T86" fmla="*/ 1 w 226"/>
                <a:gd name="T87" fmla="*/ 2 h 396"/>
                <a:gd name="T88" fmla="*/ 1 w 226"/>
                <a:gd name="T89" fmla="*/ 2 h 396"/>
                <a:gd name="T90" fmla="*/ 1 w 226"/>
                <a:gd name="T91" fmla="*/ 2 h 396"/>
                <a:gd name="T92" fmla="*/ 1 w 226"/>
                <a:gd name="T93" fmla="*/ 2 h 396"/>
                <a:gd name="T94" fmla="*/ 1 w 226"/>
                <a:gd name="T95" fmla="*/ 2 h 396"/>
                <a:gd name="T96" fmla="*/ 1 w 226"/>
                <a:gd name="T97" fmla="*/ 1 h 396"/>
                <a:gd name="T98" fmla="*/ 1 w 226"/>
                <a:gd name="T99" fmla="*/ 1 h 396"/>
                <a:gd name="T100" fmla="*/ 1 w 226"/>
                <a:gd name="T101" fmla="*/ 1 h 396"/>
                <a:gd name="T102" fmla="*/ 1 w 226"/>
                <a:gd name="T103" fmla="*/ 1 h 396"/>
                <a:gd name="T104" fmla="*/ 1 w 226"/>
                <a:gd name="T105" fmla="*/ 1 h 396"/>
                <a:gd name="T106" fmla="*/ 1 w 226"/>
                <a:gd name="T107" fmla="*/ 1 h 396"/>
                <a:gd name="T108" fmla="*/ 1 w 226"/>
                <a:gd name="T109" fmla="*/ 1 h 396"/>
                <a:gd name="T110" fmla="*/ 1 w 226"/>
                <a:gd name="T111" fmla="*/ 1 h 396"/>
                <a:gd name="T112" fmla="*/ 1 w 226"/>
                <a:gd name="T113" fmla="*/ 1 h 39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26"/>
                <a:gd name="T172" fmla="*/ 0 h 396"/>
                <a:gd name="T173" fmla="*/ 226 w 226"/>
                <a:gd name="T174" fmla="*/ 396 h 39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26" h="396">
                  <a:moveTo>
                    <a:pt x="222" y="99"/>
                  </a:moveTo>
                  <a:lnTo>
                    <a:pt x="201" y="86"/>
                  </a:lnTo>
                  <a:lnTo>
                    <a:pt x="179" y="74"/>
                  </a:lnTo>
                  <a:lnTo>
                    <a:pt x="156" y="62"/>
                  </a:lnTo>
                  <a:lnTo>
                    <a:pt x="135" y="49"/>
                  </a:lnTo>
                  <a:lnTo>
                    <a:pt x="113" y="37"/>
                  </a:lnTo>
                  <a:lnTo>
                    <a:pt x="91" y="25"/>
                  </a:lnTo>
                  <a:lnTo>
                    <a:pt x="69" y="12"/>
                  </a:lnTo>
                  <a:lnTo>
                    <a:pt x="47" y="0"/>
                  </a:lnTo>
                  <a:lnTo>
                    <a:pt x="27" y="12"/>
                  </a:lnTo>
                  <a:lnTo>
                    <a:pt x="29" y="31"/>
                  </a:lnTo>
                  <a:lnTo>
                    <a:pt x="31" y="49"/>
                  </a:lnTo>
                  <a:lnTo>
                    <a:pt x="49" y="78"/>
                  </a:lnTo>
                  <a:lnTo>
                    <a:pt x="45" y="89"/>
                  </a:lnTo>
                  <a:lnTo>
                    <a:pt x="43" y="107"/>
                  </a:lnTo>
                  <a:lnTo>
                    <a:pt x="42" y="126"/>
                  </a:lnTo>
                  <a:lnTo>
                    <a:pt x="41" y="145"/>
                  </a:lnTo>
                  <a:lnTo>
                    <a:pt x="40" y="163"/>
                  </a:lnTo>
                  <a:lnTo>
                    <a:pt x="30" y="179"/>
                  </a:lnTo>
                  <a:lnTo>
                    <a:pt x="21" y="193"/>
                  </a:lnTo>
                  <a:lnTo>
                    <a:pt x="11" y="207"/>
                  </a:lnTo>
                  <a:lnTo>
                    <a:pt x="0" y="223"/>
                  </a:lnTo>
                  <a:lnTo>
                    <a:pt x="1" y="242"/>
                  </a:lnTo>
                  <a:lnTo>
                    <a:pt x="11" y="258"/>
                  </a:lnTo>
                  <a:lnTo>
                    <a:pt x="19" y="258"/>
                  </a:lnTo>
                  <a:lnTo>
                    <a:pt x="30" y="283"/>
                  </a:lnTo>
                  <a:lnTo>
                    <a:pt x="33" y="311"/>
                  </a:lnTo>
                  <a:lnTo>
                    <a:pt x="47" y="336"/>
                  </a:lnTo>
                  <a:lnTo>
                    <a:pt x="22" y="336"/>
                  </a:lnTo>
                  <a:lnTo>
                    <a:pt x="11" y="341"/>
                  </a:lnTo>
                  <a:lnTo>
                    <a:pt x="30" y="365"/>
                  </a:lnTo>
                  <a:lnTo>
                    <a:pt x="43" y="396"/>
                  </a:lnTo>
                  <a:lnTo>
                    <a:pt x="64" y="390"/>
                  </a:lnTo>
                  <a:lnTo>
                    <a:pt x="69" y="392"/>
                  </a:lnTo>
                  <a:lnTo>
                    <a:pt x="81" y="390"/>
                  </a:lnTo>
                  <a:lnTo>
                    <a:pt x="111" y="384"/>
                  </a:lnTo>
                  <a:lnTo>
                    <a:pt x="121" y="372"/>
                  </a:lnTo>
                  <a:lnTo>
                    <a:pt x="118" y="363"/>
                  </a:lnTo>
                  <a:lnTo>
                    <a:pt x="149" y="357"/>
                  </a:lnTo>
                  <a:lnTo>
                    <a:pt x="166" y="337"/>
                  </a:lnTo>
                  <a:lnTo>
                    <a:pt x="183" y="317"/>
                  </a:lnTo>
                  <a:lnTo>
                    <a:pt x="204" y="312"/>
                  </a:lnTo>
                  <a:lnTo>
                    <a:pt x="202" y="299"/>
                  </a:lnTo>
                  <a:lnTo>
                    <a:pt x="198" y="285"/>
                  </a:lnTo>
                  <a:lnTo>
                    <a:pt x="189" y="266"/>
                  </a:lnTo>
                  <a:lnTo>
                    <a:pt x="180" y="265"/>
                  </a:lnTo>
                  <a:lnTo>
                    <a:pt x="189" y="246"/>
                  </a:lnTo>
                  <a:lnTo>
                    <a:pt x="190" y="235"/>
                  </a:lnTo>
                  <a:lnTo>
                    <a:pt x="192" y="229"/>
                  </a:lnTo>
                  <a:lnTo>
                    <a:pt x="194" y="219"/>
                  </a:lnTo>
                  <a:lnTo>
                    <a:pt x="204" y="200"/>
                  </a:lnTo>
                  <a:lnTo>
                    <a:pt x="212" y="194"/>
                  </a:lnTo>
                  <a:lnTo>
                    <a:pt x="226" y="193"/>
                  </a:lnTo>
                  <a:lnTo>
                    <a:pt x="225" y="170"/>
                  </a:lnTo>
                  <a:lnTo>
                    <a:pt x="224" y="146"/>
                  </a:lnTo>
                  <a:lnTo>
                    <a:pt x="224" y="122"/>
                  </a:lnTo>
                  <a:lnTo>
                    <a:pt x="222" y="99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78" name="Freeform 34"/>
            <p:cNvSpPr>
              <a:spLocks/>
            </p:cNvSpPr>
            <p:nvPr/>
          </p:nvSpPr>
          <p:spPr bwMode="auto">
            <a:xfrm>
              <a:off x="3252" y="1872"/>
              <a:ext cx="23" cy="27"/>
            </a:xfrm>
            <a:custGeom>
              <a:avLst/>
              <a:gdLst>
                <a:gd name="T0" fmla="*/ 0 w 31"/>
                <a:gd name="T1" fmla="*/ 1 h 38"/>
                <a:gd name="T2" fmla="*/ 1 w 31"/>
                <a:gd name="T3" fmla="*/ 1 h 38"/>
                <a:gd name="T4" fmla="*/ 1 w 31"/>
                <a:gd name="T5" fmla="*/ 1 h 38"/>
                <a:gd name="T6" fmla="*/ 1 w 31"/>
                <a:gd name="T7" fmla="*/ 0 h 38"/>
                <a:gd name="T8" fmla="*/ 1 w 31"/>
                <a:gd name="T9" fmla="*/ 1 h 38"/>
                <a:gd name="T10" fmla="*/ 0 w 31"/>
                <a:gd name="T11" fmla="*/ 1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1"/>
                <a:gd name="T19" fmla="*/ 0 h 38"/>
                <a:gd name="T20" fmla="*/ 31 w 31"/>
                <a:gd name="T21" fmla="*/ 38 h 3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1" h="38">
                  <a:moveTo>
                    <a:pt x="0" y="38"/>
                  </a:moveTo>
                  <a:lnTo>
                    <a:pt x="25" y="38"/>
                  </a:lnTo>
                  <a:lnTo>
                    <a:pt x="31" y="26"/>
                  </a:lnTo>
                  <a:lnTo>
                    <a:pt x="23" y="0"/>
                  </a:lnTo>
                  <a:lnTo>
                    <a:pt x="16" y="1"/>
                  </a:lnTo>
                  <a:lnTo>
                    <a:pt x="0" y="3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79" name="Freeform 35"/>
            <p:cNvSpPr>
              <a:spLocks/>
            </p:cNvSpPr>
            <p:nvPr/>
          </p:nvSpPr>
          <p:spPr bwMode="auto">
            <a:xfrm>
              <a:off x="3166" y="1778"/>
              <a:ext cx="103" cy="100"/>
            </a:xfrm>
            <a:custGeom>
              <a:avLst/>
              <a:gdLst>
                <a:gd name="T0" fmla="*/ 0 w 145"/>
                <a:gd name="T1" fmla="*/ 1 h 141"/>
                <a:gd name="T2" fmla="*/ 1 w 145"/>
                <a:gd name="T3" fmla="*/ 1 h 141"/>
                <a:gd name="T4" fmla="*/ 1 w 145"/>
                <a:gd name="T5" fmla="*/ 1 h 141"/>
                <a:gd name="T6" fmla="*/ 1 w 145"/>
                <a:gd name="T7" fmla="*/ 1 h 141"/>
                <a:gd name="T8" fmla="*/ 1 w 145"/>
                <a:gd name="T9" fmla="*/ 1 h 141"/>
                <a:gd name="T10" fmla="*/ 1 w 145"/>
                <a:gd name="T11" fmla="*/ 1 h 141"/>
                <a:gd name="T12" fmla="*/ 1 w 145"/>
                <a:gd name="T13" fmla="*/ 0 h 141"/>
                <a:gd name="T14" fmla="*/ 1 w 145"/>
                <a:gd name="T15" fmla="*/ 1 h 141"/>
                <a:gd name="T16" fmla="*/ 1 w 145"/>
                <a:gd name="T17" fmla="*/ 1 h 141"/>
                <a:gd name="T18" fmla="*/ 1 w 145"/>
                <a:gd name="T19" fmla="*/ 1 h 141"/>
                <a:gd name="T20" fmla="*/ 1 w 145"/>
                <a:gd name="T21" fmla="*/ 1 h 141"/>
                <a:gd name="T22" fmla="*/ 1 w 145"/>
                <a:gd name="T23" fmla="*/ 1 h 141"/>
                <a:gd name="T24" fmla="*/ 1 w 145"/>
                <a:gd name="T25" fmla="*/ 1 h 141"/>
                <a:gd name="T26" fmla="*/ 1 w 145"/>
                <a:gd name="T27" fmla="*/ 1 h 141"/>
                <a:gd name="T28" fmla="*/ 1 w 145"/>
                <a:gd name="T29" fmla="*/ 1 h 141"/>
                <a:gd name="T30" fmla="*/ 1 w 145"/>
                <a:gd name="T31" fmla="*/ 1 h 141"/>
                <a:gd name="T32" fmla="*/ 1 w 145"/>
                <a:gd name="T33" fmla="*/ 1 h 141"/>
                <a:gd name="T34" fmla="*/ 1 w 145"/>
                <a:gd name="T35" fmla="*/ 1 h 141"/>
                <a:gd name="T36" fmla="*/ 1 w 145"/>
                <a:gd name="T37" fmla="*/ 1 h 141"/>
                <a:gd name="T38" fmla="*/ 1 w 145"/>
                <a:gd name="T39" fmla="*/ 1 h 141"/>
                <a:gd name="T40" fmla="*/ 1 w 145"/>
                <a:gd name="T41" fmla="*/ 1 h 141"/>
                <a:gd name="T42" fmla="*/ 1 w 145"/>
                <a:gd name="T43" fmla="*/ 1 h 141"/>
                <a:gd name="T44" fmla="*/ 1 w 145"/>
                <a:gd name="T45" fmla="*/ 1 h 141"/>
                <a:gd name="T46" fmla="*/ 1 w 145"/>
                <a:gd name="T47" fmla="*/ 1 h 141"/>
                <a:gd name="T48" fmla="*/ 1 w 145"/>
                <a:gd name="T49" fmla="*/ 1 h 141"/>
                <a:gd name="T50" fmla="*/ 1 w 145"/>
                <a:gd name="T51" fmla="*/ 1 h 141"/>
                <a:gd name="T52" fmla="*/ 1 w 145"/>
                <a:gd name="T53" fmla="*/ 1 h 141"/>
                <a:gd name="T54" fmla="*/ 1 w 145"/>
                <a:gd name="T55" fmla="*/ 1 h 141"/>
                <a:gd name="T56" fmla="*/ 1 w 145"/>
                <a:gd name="T57" fmla="*/ 1 h 141"/>
                <a:gd name="T58" fmla="*/ 1 w 145"/>
                <a:gd name="T59" fmla="*/ 1 h 141"/>
                <a:gd name="T60" fmla="*/ 1 w 145"/>
                <a:gd name="T61" fmla="*/ 1 h 141"/>
                <a:gd name="T62" fmla="*/ 0 w 145"/>
                <a:gd name="T63" fmla="*/ 1 h 1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45"/>
                <a:gd name="T97" fmla="*/ 0 h 141"/>
                <a:gd name="T98" fmla="*/ 145 w 145"/>
                <a:gd name="T99" fmla="*/ 141 h 14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45" h="141">
                  <a:moveTo>
                    <a:pt x="0" y="108"/>
                  </a:moveTo>
                  <a:lnTo>
                    <a:pt x="3" y="90"/>
                  </a:lnTo>
                  <a:lnTo>
                    <a:pt x="6" y="55"/>
                  </a:lnTo>
                  <a:lnTo>
                    <a:pt x="14" y="24"/>
                  </a:lnTo>
                  <a:lnTo>
                    <a:pt x="27" y="13"/>
                  </a:lnTo>
                  <a:lnTo>
                    <a:pt x="42" y="2"/>
                  </a:lnTo>
                  <a:lnTo>
                    <a:pt x="44" y="0"/>
                  </a:lnTo>
                  <a:lnTo>
                    <a:pt x="51" y="18"/>
                  </a:lnTo>
                  <a:lnTo>
                    <a:pt x="59" y="34"/>
                  </a:lnTo>
                  <a:lnTo>
                    <a:pt x="65" y="52"/>
                  </a:lnTo>
                  <a:lnTo>
                    <a:pt x="72" y="70"/>
                  </a:lnTo>
                  <a:lnTo>
                    <a:pt x="73" y="64"/>
                  </a:lnTo>
                  <a:lnTo>
                    <a:pt x="79" y="68"/>
                  </a:lnTo>
                  <a:lnTo>
                    <a:pt x="97" y="81"/>
                  </a:lnTo>
                  <a:lnTo>
                    <a:pt x="121" y="104"/>
                  </a:lnTo>
                  <a:lnTo>
                    <a:pt x="145" y="128"/>
                  </a:lnTo>
                  <a:lnTo>
                    <a:pt x="145" y="133"/>
                  </a:lnTo>
                  <a:lnTo>
                    <a:pt x="144" y="134"/>
                  </a:lnTo>
                  <a:lnTo>
                    <a:pt x="137" y="135"/>
                  </a:lnTo>
                  <a:lnTo>
                    <a:pt x="125" y="141"/>
                  </a:lnTo>
                  <a:lnTo>
                    <a:pt x="123" y="135"/>
                  </a:lnTo>
                  <a:lnTo>
                    <a:pt x="104" y="129"/>
                  </a:lnTo>
                  <a:lnTo>
                    <a:pt x="91" y="114"/>
                  </a:lnTo>
                  <a:lnTo>
                    <a:pt x="84" y="105"/>
                  </a:lnTo>
                  <a:lnTo>
                    <a:pt x="71" y="99"/>
                  </a:lnTo>
                  <a:lnTo>
                    <a:pt x="59" y="96"/>
                  </a:lnTo>
                  <a:lnTo>
                    <a:pt x="45" y="98"/>
                  </a:lnTo>
                  <a:lnTo>
                    <a:pt x="35" y="86"/>
                  </a:lnTo>
                  <a:lnTo>
                    <a:pt x="31" y="106"/>
                  </a:lnTo>
                  <a:lnTo>
                    <a:pt x="21" y="98"/>
                  </a:lnTo>
                  <a:lnTo>
                    <a:pt x="12" y="110"/>
                  </a:lnTo>
                  <a:lnTo>
                    <a:pt x="0" y="10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80" name="Freeform 36"/>
            <p:cNvSpPr>
              <a:spLocks/>
            </p:cNvSpPr>
            <p:nvPr/>
          </p:nvSpPr>
          <p:spPr bwMode="auto">
            <a:xfrm>
              <a:off x="3120" y="1839"/>
              <a:ext cx="229" cy="192"/>
            </a:xfrm>
            <a:custGeom>
              <a:avLst/>
              <a:gdLst>
                <a:gd name="T0" fmla="*/ 1 w 326"/>
                <a:gd name="T1" fmla="*/ 2 h 274"/>
                <a:gd name="T2" fmla="*/ 1 w 326"/>
                <a:gd name="T3" fmla="*/ 2 h 274"/>
                <a:gd name="T4" fmla="*/ 1 w 326"/>
                <a:gd name="T5" fmla="*/ 2 h 274"/>
                <a:gd name="T6" fmla="*/ 1 w 326"/>
                <a:gd name="T7" fmla="*/ 1 h 274"/>
                <a:gd name="T8" fmla="*/ 1 w 326"/>
                <a:gd name="T9" fmla="*/ 1 h 274"/>
                <a:gd name="T10" fmla="*/ 1 w 326"/>
                <a:gd name="T11" fmla="*/ 1 h 274"/>
                <a:gd name="T12" fmla="*/ 1 w 326"/>
                <a:gd name="T13" fmla="*/ 1 h 274"/>
                <a:gd name="T14" fmla="*/ 1 w 326"/>
                <a:gd name="T15" fmla="*/ 1 h 274"/>
                <a:gd name="T16" fmla="*/ 0 w 326"/>
                <a:gd name="T17" fmla="*/ 1 h 274"/>
                <a:gd name="T18" fmla="*/ 1 w 326"/>
                <a:gd name="T19" fmla="*/ 1 h 274"/>
                <a:gd name="T20" fmla="*/ 1 w 326"/>
                <a:gd name="T21" fmla="*/ 1 h 274"/>
                <a:gd name="T22" fmla="*/ 1 w 326"/>
                <a:gd name="T23" fmla="*/ 1 h 274"/>
                <a:gd name="T24" fmla="*/ 1 w 326"/>
                <a:gd name="T25" fmla="*/ 1 h 274"/>
                <a:gd name="T26" fmla="*/ 1 w 326"/>
                <a:gd name="T27" fmla="*/ 1 h 274"/>
                <a:gd name="T28" fmla="*/ 1 w 326"/>
                <a:gd name="T29" fmla="*/ 1 h 274"/>
                <a:gd name="T30" fmla="*/ 1 w 326"/>
                <a:gd name="T31" fmla="*/ 1 h 274"/>
                <a:gd name="T32" fmla="*/ 1 w 326"/>
                <a:gd name="T33" fmla="*/ 1 h 274"/>
                <a:gd name="T34" fmla="*/ 1 w 326"/>
                <a:gd name="T35" fmla="*/ 1 h 274"/>
                <a:gd name="T36" fmla="*/ 1 w 326"/>
                <a:gd name="T37" fmla="*/ 1 h 274"/>
                <a:gd name="T38" fmla="*/ 1 w 326"/>
                <a:gd name="T39" fmla="*/ 0 h 274"/>
                <a:gd name="T40" fmla="*/ 1 w 326"/>
                <a:gd name="T41" fmla="*/ 1 h 274"/>
                <a:gd name="T42" fmla="*/ 1 w 326"/>
                <a:gd name="T43" fmla="*/ 1 h 274"/>
                <a:gd name="T44" fmla="*/ 1 w 326"/>
                <a:gd name="T45" fmla="*/ 1 h 274"/>
                <a:gd name="T46" fmla="*/ 1 w 326"/>
                <a:gd name="T47" fmla="*/ 1 h 274"/>
                <a:gd name="T48" fmla="*/ 1 w 326"/>
                <a:gd name="T49" fmla="*/ 1 h 274"/>
                <a:gd name="T50" fmla="*/ 1 w 326"/>
                <a:gd name="T51" fmla="*/ 1 h 274"/>
                <a:gd name="T52" fmla="*/ 1 w 326"/>
                <a:gd name="T53" fmla="*/ 1 h 274"/>
                <a:gd name="T54" fmla="*/ 1 w 326"/>
                <a:gd name="T55" fmla="*/ 1 h 274"/>
                <a:gd name="T56" fmla="*/ 1 w 326"/>
                <a:gd name="T57" fmla="*/ 1 h 274"/>
                <a:gd name="T58" fmla="*/ 1 w 326"/>
                <a:gd name="T59" fmla="*/ 1 h 274"/>
                <a:gd name="T60" fmla="*/ 1 w 326"/>
                <a:gd name="T61" fmla="*/ 1 h 274"/>
                <a:gd name="T62" fmla="*/ 1 w 326"/>
                <a:gd name="T63" fmla="*/ 1 h 274"/>
                <a:gd name="T64" fmla="*/ 1 w 326"/>
                <a:gd name="T65" fmla="*/ 1 h 274"/>
                <a:gd name="T66" fmla="*/ 2 w 326"/>
                <a:gd name="T67" fmla="*/ 1 h 274"/>
                <a:gd name="T68" fmla="*/ 2 w 326"/>
                <a:gd name="T69" fmla="*/ 1 h 274"/>
                <a:gd name="T70" fmla="*/ 2 w 326"/>
                <a:gd name="T71" fmla="*/ 1 h 274"/>
                <a:gd name="T72" fmla="*/ 2 w 326"/>
                <a:gd name="T73" fmla="*/ 1 h 274"/>
                <a:gd name="T74" fmla="*/ 2 w 326"/>
                <a:gd name="T75" fmla="*/ 1 h 274"/>
                <a:gd name="T76" fmla="*/ 2 w 326"/>
                <a:gd name="T77" fmla="*/ 1 h 274"/>
                <a:gd name="T78" fmla="*/ 2 w 326"/>
                <a:gd name="T79" fmla="*/ 1 h 274"/>
                <a:gd name="T80" fmla="*/ 2 w 326"/>
                <a:gd name="T81" fmla="*/ 1 h 274"/>
                <a:gd name="T82" fmla="*/ 2 w 326"/>
                <a:gd name="T83" fmla="*/ 1 h 274"/>
                <a:gd name="T84" fmla="*/ 2 w 326"/>
                <a:gd name="T85" fmla="*/ 2 h 274"/>
                <a:gd name="T86" fmla="*/ 2 w 326"/>
                <a:gd name="T87" fmla="*/ 2 h 274"/>
                <a:gd name="T88" fmla="*/ 1 w 326"/>
                <a:gd name="T89" fmla="*/ 2 h 274"/>
                <a:gd name="T90" fmla="*/ 1 w 326"/>
                <a:gd name="T91" fmla="*/ 2 h 274"/>
                <a:gd name="T92" fmla="*/ 1 w 326"/>
                <a:gd name="T93" fmla="*/ 2 h 274"/>
                <a:gd name="T94" fmla="*/ 1 w 326"/>
                <a:gd name="T95" fmla="*/ 2 h 274"/>
                <a:gd name="T96" fmla="*/ 1 w 326"/>
                <a:gd name="T97" fmla="*/ 2 h 274"/>
                <a:gd name="T98" fmla="*/ 1 w 326"/>
                <a:gd name="T99" fmla="*/ 2 h 274"/>
                <a:gd name="T100" fmla="*/ 1 w 326"/>
                <a:gd name="T101" fmla="*/ 2 h 27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26"/>
                <a:gd name="T154" fmla="*/ 0 h 274"/>
                <a:gd name="T155" fmla="*/ 326 w 326"/>
                <a:gd name="T156" fmla="*/ 274 h 27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26" h="274">
                  <a:moveTo>
                    <a:pt x="110" y="268"/>
                  </a:moveTo>
                  <a:lnTo>
                    <a:pt x="84" y="248"/>
                  </a:lnTo>
                  <a:lnTo>
                    <a:pt x="64" y="246"/>
                  </a:lnTo>
                  <a:lnTo>
                    <a:pt x="58" y="227"/>
                  </a:lnTo>
                  <a:lnTo>
                    <a:pt x="45" y="220"/>
                  </a:lnTo>
                  <a:lnTo>
                    <a:pt x="37" y="204"/>
                  </a:lnTo>
                  <a:lnTo>
                    <a:pt x="28" y="187"/>
                  </a:lnTo>
                  <a:lnTo>
                    <a:pt x="7" y="168"/>
                  </a:lnTo>
                  <a:lnTo>
                    <a:pt x="0" y="162"/>
                  </a:lnTo>
                  <a:lnTo>
                    <a:pt x="7" y="150"/>
                  </a:lnTo>
                  <a:lnTo>
                    <a:pt x="22" y="146"/>
                  </a:lnTo>
                  <a:lnTo>
                    <a:pt x="26" y="120"/>
                  </a:lnTo>
                  <a:lnTo>
                    <a:pt x="28" y="92"/>
                  </a:lnTo>
                  <a:lnTo>
                    <a:pt x="40" y="90"/>
                  </a:lnTo>
                  <a:lnTo>
                    <a:pt x="45" y="62"/>
                  </a:lnTo>
                  <a:lnTo>
                    <a:pt x="67" y="22"/>
                  </a:lnTo>
                  <a:lnTo>
                    <a:pt x="79" y="24"/>
                  </a:lnTo>
                  <a:lnTo>
                    <a:pt x="88" y="12"/>
                  </a:lnTo>
                  <a:lnTo>
                    <a:pt x="98" y="20"/>
                  </a:lnTo>
                  <a:lnTo>
                    <a:pt x="102" y="0"/>
                  </a:lnTo>
                  <a:lnTo>
                    <a:pt x="112" y="12"/>
                  </a:lnTo>
                  <a:lnTo>
                    <a:pt x="126" y="10"/>
                  </a:lnTo>
                  <a:lnTo>
                    <a:pt x="138" y="13"/>
                  </a:lnTo>
                  <a:lnTo>
                    <a:pt x="151" y="19"/>
                  </a:lnTo>
                  <a:lnTo>
                    <a:pt x="158" y="28"/>
                  </a:lnTo>
                  <a:lnTo>
                    <a:pt x="171" y="43"/>
                  </a:lnTo>
                  <a:lnTo>
                    <a:pt x="190" y="49"/>
                  </a:lnTo>
                  <a:lnTo>
                    <a:pt x="192" y="55"/>
                  </a:lnTo>
                  <a:lnTo>
                    <a:pt x="204" y="49"/>
                  </a:lnTo>
                  <a:lnTo>
                    <a:pt x="188" y="86"/>
                  </a:lnTo>
                  <a:lnTo>
                    <a:pt x="213" y="86"/>
                  </a:lnTo>
                  <a:lnTo>
                    <a:pt x="211" y="101"/>
                  </a:lnTo>
                  <a:lnTo>
                    <a:pt x="225" y="119"/>
                  </a:lnTo>
                  <a:lnTo>
                    <a:pt x="238" y="137"/>
                  </a:lnTo>
                  <a:lnTo>
                    <a:pt x="255" y="143"/>
                  </a:lnTo>
                  <a:lnTo>
                    <a:pt x="272" y="149"/>
                  </a:lnTo>
                  <a:lnTo>
                    <a:pt x="288" y="155"/>
                  </a:lnTo>
                  <a:lnTo>
                    <a:pt x="304" y="162"/>
                  </a:lnTo>
                  <a:lnTo>
                    <a:pt x="326" y="162"/>
                  </a:lnTo>
                  <a:lnTo>
                    <a:pt x="310" y="181"/>
                  </a:lnTo>
                  <a:lnTo>
                    <a:pt x="294" y="200"/>
                  </a:lnTo>
                  <a:lnTo>
                    <a:pt x="278" y="220"/>
                  </a:lnTo>
                  <a:lnTo>
                    <a:pt x="261" y="239"/>
                  </a:lnTo>
                  <a:lnTo>
                    <a:pt x="244" y="240"/>
                  </a:lnTo>
                  <a:lnTo>
                    <a:pt x="226" y="241"/>
                  </a:lnTo>
                  <a:lnTo>
                    <a:pt x="206" y="256"/>
                  </a:lnTo>
                  <a:lnTo>
                    <a:pt x="195" y="262"/>
                  </a:lnTo>
                  <a:lnTo>
                    <a:pt x="174" y="257"/>
                  </a:lnTo>
                  <a:lnTo>
                    <a:pt x="151" y="264"/>
                  </a:lnTo>
                  <a:lnTo>
                    <a:pt x="140" y="274"/>
                  </a:lnTo>
                  <a:lnTo>
                    <a:pt x="110" y="26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81" name="Freeform 37"/>
            <p:cNvSpPr>
              <a:spLocks/>
            </p:cNvSpPr>
            <p:nvPr/>
          </p:nvSpPr>
          <p:spPr bwMode="auto">
            <a:xfrm>
              <a:off x="3242" y="1884"/>
              <a:ext cx="156" cy="236"/>
            </a:xfrm>
            <a:custGeom>
              <a:avLst/>
              <a:gdLst>
                <a:gd name="T0" fmla="*/ 1 w 221"/>
                <a:gd name="T1" fmla="*/ 1 h 337"/>
                <a:gd name="T2" fmla="*/ 1 w 221"/>
                <a:gd name="T3" fmla="*/ 1 h 337"/>
                <a:gd name="T4" fmla="*/ 1 w 221"/>
                <a:gd name="T5" fmla="*/ 1 h 337"/>
                <a:gd name="T6" fmla="*/ 1 w 221"/>
                <a:gd name="T7" fmla="*/ 1 h 337"/>
                <a:gd name="T8" fmla="*/ 1 w 221"/>
                <a:gd name="T9" fmla="*/ 1 h 337"/>
                <a:gd name="T10" fmla="*/ 1 w 221"/>
                <a:gd name="T11" fmla="*/ 1 h 337"/>
                <a:gd name="T12" fmla="*/ 1 w 221"/>
                <a:gd name="T13" fmla="*/ 1 h 337"/>
                <a:gd name="T14" fmla="*/ 1 w 221"/>
                <a:gd name="T15" fmla="*/ 1 h 337"/>
                <a:gd name="T16" fmla="*/ 1 w 221"/>
                <a:gd name="T17" fmla="*/ 2 h 337"/>
                <a:gd name="T18" fmla="*/ 1 w 221"/>
                <a:gd name="T19" fmla="*/ 2 h 337"/>
                <a:gd name="T20" fmla="*/ 1 w 221"/>
                <a:gd name="T21" fmla="*/ 2 h 337"/>
                <a:gd name="T22" fmla="*/ 1 w 221"/>
                <a:gd name="T23" fmla="*/ 2 h 337"/>
                <a:gd name="T24" fmla="*/ 1 w 221"/>
                <a:gd name="T25" fmla="*/ 2 h 337"/>
                <a:gd name="T26" fmla="*/ 1 w 221"/>
                <a:gd name="T27" fmla="*/ 2 h 337"/>
                <a:gd name="T28" fmla="*/ 1 w 221"/>
                <a:gd name="T29" fmla="*/ 2 h 337"/>
                <a:gd name="T30" fmla="*/ 1 w 221"/>
                <a:gd name="T31" fmla="*/ 3 h 337"/>
                <a:gd name="T32" fmla="*/ 1 w 221"/>
                <a:gd name="T33" fmla="*/ 2 h 337"/>
                <a:gd name="T34" fmla="*/ 1 w 221"/>
                <a:gd name="T35" fmla="*/ 2 h 337"/>
                <a:gd name="T36" fmla="*/ 1 w 221"/>
                <a:gd name="T37" fmla="*/ 2 h 337"/>
                <a:gd name="T38" fmla="*/ 1 w 221"/>
                <a:gd name="T39" fmla="*/ 2 h 337"/>
                <a:gd name="T40" fmla="*/ 0 w 221"/>
                <a:gd name="T41" fmla="*/ 1 h 337"/>
                <a:gd name="T42" fmla="*/ 1 w 221"/>
                <a:gd name="T43" fmla="*/ 1 h 337"/>
                <a:gd name="T44" fmla="*/ 1 w 221"/>
                <a:gd name="T45" fmla="*/ 1 h 337"/>
                <a:gd name="T46" fmla="*/ 1 w 221"/>
                <a:gd name="T47" fmla="*/ 1 h 337"/>
                <a:gd name="T48" fmla="*/ 1 w 221"/>
                <a:gd name="T49" fmla="*/ 1 h 337"/>
                <a:gd name="T50" fmla="*/ 1 w 221"/>
                <a:gd name="T51" fmla="*/ 1 h 337"/>
                <a:gd name="T52" fmla="*/ 1 w 221"/>
                <a:gd name="T53" fmla="*/ 1 h 337"/>
                <a:gd name="T54" fmla="*/ 1 w 221"/>
                <a:gd name="T55" fmla="*/ 1 h 337"/>
                <a:gd name="T56" fmla="*/ 1 w 221"/>
                <a:gd name="T57" fmla="*/ 1 h 337"/>
                <a:gd name="T58" fmla="*/ 1 w 221"/>
                <a:gd name="T59" fmla="*/ 1 h 337"/>
                <a:gd name="T60" fmla="*/ 1 w 221"/>
                <a:gd name="T61" fmla="*/ 1 h 337"/>
                <a:gd name="T62" fmla="*/ 1 w 221"/>
                <a:gd name="T63" fmla="*/ 1 h 337"/>
                <a:gd name="T64" fmla="*/ 1 w 221"/>
                <a:gd name="T65" fmla="*/ 1 h 337"/>
                <a:gd name="T66" fmla="*/ 1 w 221"/>
                <a:gd name="T67" fmla="*/ 1 h 337"/>
                <a:gd name="T68" fmla="*/ 1 w 221"/>
                <a:gd name="T69" fmla="*/ 1 h 337"/>
                <a:gd name="T70" fmla="*/ 1 w 221"/>
                <a:gd name="T71" fmla="*/ 1 h 337"/>
                <a:gd name="T72" fmla="*/ 1 w 221"/>
                <a:gd name="T73" fmla="*/ 1 h 337"/>
                <a:gd name="T74" fmla="*/ 1 w 221"/>
                <a:gd name="T75" fmla="*/ 1 h 337"/>
                <a:gd name="T76" fmla="*/ 1 w 221"/>
                <a:gd name="T77" fmla="*/ 1 h 337"/>
                <a:gd name="T78" fmla="*/ 1 w 221"/>
                <a:gd name="T79" fmla="*/ 1 h 337"/>
                <a:gd name="T80" fmla="*/ 1 w 221"/>
                <a:gd name="T81" fmla="*/ 1 h 337"/>
                <a:gd name="T82" fmla="*/ 1 w 221"/>
                <a:gd name="T83" fmla="*/ 1 h 337"/>
                <a:gd name="T84" fmla="*/ 1 w 221"/>
                <a:gd name="T85" fmla="*/ 1 h 337"/>
                <a:gd name="T86" fmla="*/ 1 w 221"/>
                <a:gd name="T87" fmla="*/ 1 h 337"/>
                <a:gd name="T88" fmla="*/ 1 w 221"/>
                <a:gd name="T89" fmla="*/ 1 h 337"/>
                <a:gd name="T90" fmla="*/ 1 w 221"/>
                <a:gd name="T91" fmla="*/ 1 h 337"/>
                <a:gd name="T92" fmla="*/ 1 w 221"/>
                <a:gd name="T93" fmla="*/ 1 h 337"/>
                <a:gd name="T94" fmla="*/ 1 w 221"/>
                <a:gd name="T95" fmla="*/ 0 h 337"/>
                <a:gd name="T96" fmla="*/ 1 w 221"/>
                <a:gd name="T97" fmla="*/ 1 h 337"/>
                <a:gd name="T98" fmla="*/ 1 w 221"/>
                <a:gd name="T99" fmla="*/ 1 h 337"/>
                <a:gd name="T100" fmla="*/ 2 w 221"/>
                <a:gd name="T101" fmla="*/ 1 h 337"/>
                <a:gd name="T102" fmla="*/ 1 w 221"/>
                <a:gd name="T103" fmla="*/ 1 h 33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21"/>
                <a:gd name="T157" fmla="*/ 0 h 337"/>
                <a:gd name="T158" fmla="*/ 221 w 221"/>
                <a:gd name="T159" fmla="*/ 337 h 337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21" h="337">
                  <a:moveTo>
                    <a:pt x="212" y="45"/>
                  </a:moveTo>
                  <a:lnTo>
                    <a:pt x="206" y="73"/>
                  </a:lnTo>
                  <a:lnTo>
                    <a:pt x="192" y="103"/>
                  </a:lnTo>
                  <a:lnTo>
                    <a:pt x="177" y="133"/>
                  </a:lnTo>
                  <a:lnTo>
                    <a:pt x="162" y="163"/>
                  </a:lnTo>
                  <a:lnTo>
                    <a:pt x="147" y="192"/>
                  </a:lnTo>
                  <a:lnTo>
                    <a:pt x="134" y="206"/>
                  </a:lnTo>
                  <a:lnTo>
                    <a:pt x="121" y="219"/>
                  </a:lnTo>
                  <a:lnTo>
                    <a:pt x="108" y="234"/>
                  </a:lnTo>
                  <a:lnTo>
                    <a:pt x="95" y="247"/>
                  </a:lnTo>
                  <a:lnTo>
                    <a:pt x="79" y="261"/>
                  </a:lnTo>
                  <a:lnTo>
                    <a:pt x="65" y="277"/>
                  </a:lnTo>
                  <a:lnTo>
                    <a:pt x="49" y="291"/>
                  </a:lnTo>
                  <a:lnTo>
                    <a:pt x="33" y="307"/>
                  </a:lnTo>
                  <a:lnTo>
                    <a:pt x="23" y="322"/>
                  </a:lnTo>
                  <a:lnTo>
                    <a:pt x="13" y="337"/>
                  </a:lnTo>
                  <a:lnTo>
                    <a:pt x="1" y="318"/>
                  </a:lnTo>
                  <a:lnTo>
                    <a:pt x="1" y="295"/>
                  </a:lnTo>
                  <a:lnTo>
                    <a:pt x="1" y="272"/>
                  </a:lnTo>
                  <a:lnTo>
                    <a:pt x="1" y="249"/>
                  </a:lnTo>
                  <a:lnTo>
                    <a:pt x="0" y="225"/>
                  </a:lnTo>
                  <a:lnTo>
                    <a:pt x="11" y="212"/>
                  </a:lnTo>
                  <a:lnTo>
                    <a:pt x="20" y="198"/>
                  </a:lnTo>
                  <a:lnTo>
                    <a:pt x="31" y="192"/>
                  </a:lnTo>
                  <a:lnTo>
                    <a:pt x="51" y="177"/>
                  </a:lnTo>
                  <a:lnTo>
                    <a:pt x="69" y="176"/>
                  </a:lnTo>
                  <a:lnTo>
                    <a:pt x="86" y="175"/>
                  </a:lnTo>
                  <a:lnTo>
                    <a:pt x="103" y="156"/>
                  </a:lnTo>
                  <a:lnTo>
                    <a:pt x="119" y="136"/>
                  </a:lnTo>
                  <a:lnTo>
                    <a:pt x="135" y="117"/>
                  </a:lnTo>
                  <a:lnTo>
                    <a:pt x="151" y="98"/>
                  </a:lnTo>
                  <a:lnTo>
                    <a:pt x="129" y="98"/>
                  </a:lnTo>
                  <a:lnTo>
                    <a:pt x="113" y="91"/>
                  </a:lnTo>
                  <a:lnTo>
                    <a:pt x="97" y="85"/>
                  </a:lnTo>
                  <a:lnTo>
                    <a:pt x="80" y="79"/>
                  </a:lnTo>
                  <a:lnTo>
                    <a:pt x="63" y="73"/>
                  </a:lnTo>
                  <a:lnTo>
                    <a:pt x="50" y="55"/>
                  </a:lnTo>
                  <a:lnTo>
                    <a:pt x="36" y="37"/>
                  </a:lnTo>
                  <a:lnTo>
                    <a:pt x="38" y="22"/>
                  </a:lnTo>
                  <a:lnTo>
                    <a:pt x="44" y="10"/>
                  </a:lnTo>
                  <a:lnTo>
                    <a:pt x="59" y="24"/>
                  </a:lnTo>
                  <a:lnTo>
                    <a:pt x="72" y="37"/>
                  </a:lnTo>
                  <a:lnTo>
                    <a:pt x="99" y="27"/>
                  </a:lnTo>
                  <a:lnTo>
                    <a:pt x="120" y="30"/>
                  </a:lnTo>
                  <a:lnTo>
                    <a:pt x="140" y="20"/>
                  </a:lnTo>
                  <a:lnTo>
                    <a:pt x="170" y="13"/>
                  </a:lnTo>
                  <a:lnTo>
                    <a:pt x="201" y="6"/>
                  </a:lnTo>
                  <a:lnTo>
                    <a:pt x="212" y="0"/>
                  </a:lnTo>
                  <a:lnTo>
                    <a:pt x="219" y="7"/>
                  </a:lnTo>
                  <a:lnTo>
                    <a:pt x="217" y="37"/>
                  </a:lnTo>
                  <a:lnTo>
                    <a:pt x="221" y="38"/>
                  </a:lnTo>
                  <a:lnTo>
                    <a:pt x="212" y="45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82" name="Freeform 38"/>
            <p:cNvSpPr>
              <a:spLocks/>
            </p:cNvSpPr>
            <p:nvPr/>
          </p:nvSpPr>
          <p:spPr bwMode="auto">
            <a:xfrm>
              <a:off x="2945" y="1688"/>
              <a:ext cx="251" cy="343"/>
            </a:xfrm>
            <a:custGeom>
              <a:avLst/>
              <a:gdLst>
                <a:gd name="T0" fmla="*/ 1 w 357"/>
                <a:gd name="T1" fmla="*/ 1 h 488"/>
                <a:gd name="T2" fmla="*/ 1 w 357"/>
                <a:gd name="T3" fmla="*/ 1 h 488"/>
                <a:gd name="T4" fmla="*/ 1 w 357"/>
                <a:gd name="T5" fmla="*/ 1 h 488"/>
                <a:gd name="T6" fmla="*/ 1 w 357"/>
                <a:gd name="T7" fmla="*/ 1 h 488"/>
                <a:gd name="T8" fmla="*/ 1 w 357"/>
                <a:gd name="T9" fmla="*/ 1 h 488"/>
                <a:gd name="T10" fmla="*/ 1 w 357"/>
                <a:gd name="T11" fmla="*/ 1 h 488"/>
                <a:gd name="T12" fmla="*/ 1 w 357"/>
                <a:gd name="T13" fmla="*/ 1 h 488"/>
                <a:gd name="T14" fmla="*/ 1 w 357"/>
                <a:gd name="T15" fmla="*/ 1 h 488"/>
                <a:gd name="T16" fmla="*/ 2 w 357"/>
                <a:gd name="T17" fmla="*/ 1 h 488"/>
                <a:gd name="T18" fmla="*/ 2 w 357"/>
                <a:gd name="T19" fmla="*/ 1 h 488"/>
                <a:gd name="T20" fmla="*/ 2 w 357"/>
                <a:gd name="T21" fmla="*/ 0 h 488"/>
                <a:gd name="T22" fmla="*/ 2 w 357"/>
                <a:gd name="T23" fmla="*/ 1 h 488"/>
                <a:gd name="T24" fmla="*/ 2 w 357"/>
                <a:gd name="T25" fmla="*/ 1 h 488"/>
                <a:gd name="T26" fmla="*/ 3 w 357"/>
                <a:gd name="T27" fmla="*/ 1 h 488"/>
                <a:gd name="T28" fmla="*/ 2 w 357"/>
                <a:gd name="T29" fmla="*/ 1 h 488"/>
                <a:gd name="T30" fmla="*/ 2 w 357"/>
                <a:gd name="T31" fmla="*/ 1 h 488"/>
                <a:gd name="T32" fmla="*/ 2 w 357"/>
                <a:gd name="T33" fmla="*/ 2 h 488"/>
                <a:gd name="T34" fmla="*/ 2 w 357"/>
                <a:gd name="T35" fmla="*/ 2 h 488"/>
                <a:gd name="T36" fmla="*/ 2 w 357"/>
                <a:gd name="T37" fmla="*/ 3 h 488"/>
                <a:gd name="T38" fmla="*/ 2 w 357"/>
                <a:gd name="T39" fmla="*/ 3 h 488"/>
                <a:gd name="T40" fmla="*/ 2 w 357"/>
                <a:gd name="T41" fmla="*/ 3 h 488"/>
                <a:gd name="T42" fmla="*/ 2 w 357"/>
                <a:gd name="T43" fmla="*/ 3 h 488"/>
                <a:gd name="T44" fmla="*/ 2 w 357"/>
                <a:gd name="T45" fmla="*/ 3 h 488"/>
                <a:gd name="T46" fmla="*/ 2 w 357"/>
                <a:gd name="T47" fmla="*/ 3 h 488"/>
                <a:gd name="T48" fmla="*/ 2 w 357"/>
                <a:gd name="T49" fmla="*/ 4 h 488"/>
                <a:gd name="T50" fmla="*/ 1 w 357"/>
                <a:gd name="T51" fmla="*/ 4 h 488"/>
                <a:gd name="T52" fmla="*/ 1 w 357"/>
                <a:gd name="T53" fmla="*/ 4 h 488"/>
                <a:gd name="T54" fmla="*/ 1 w 357"/>
                <a:gd name="T55" fmla="*/ 4 h 488"/>
                <a:gd name="T56" fmla="*/ 1 w 357"/>
                <a:gd name="T57" fmla="*/ 3 h 488"/>
                <a:gd name="T58" fmla="*/ 1 w 357"/>
                <a:gd name="T59" fmla="*/ 3 h 488"/>
                <a:gd name="T60" fmla="*/ 1 w 357"/>
                <a:gd name="T61" fmla="*/ 3 h 488"/>
                <a:gd name="T62" fmla="*/ 1 w 357"/>
                <a:gd name="T63" fmla="*/ 3 h 488"/>
                <a:gd name="T64" fmla="*/ 1 w 357"/>
                <a:gd name="T65" fmla="*/ 3 h 488"/>
                <a:gd name="T66" fmla="*/ 1 w 357"/>
                <a:gd name="T67" fmla="*/ 3 h 488"/>
                <a:gd name="T68" fmla="*/ 1 w 357"/>
                <a:gd name="T69" fmla="*/ 3 h 488"/>
                <a:gd name="T70" fmla="*/ 1 w 357"/>
                <a:gd name="T71" fmla="*/ 2 h 488"/>
                <a:gd name="T72" fmla="*/ 1 w 357"/>
                <a:gd name="T73" fmla="*/ 2 h 488"/>
                <a:gd name="T74" fmla="*/ 0 w 357"/>
                <a:gd name="T75" fmla="*/ 2 h 488"/>
                <a:gd name="T76" fmla="*/ 1 w 357"/>
                <a:gd name="T77" fmla="*/ 1 h 488"/>
                <a:gd name="T78" fmla="*/ 1 w 357"/>
                <a:gd name="T79" fmla="*/ 1 h 488"/>
                <a:gd name="T80" fmla="*/ 1 w 357"/>
                <a:gd name="T81" fmla="*/ 1 h 488"/>
                <a:gd name="T82" fmla="*/ 1 w 357"/>
                <a:gd name="T83" fmla="*/ 1 h 488"/>
                <a:gd name="T84" fmla="*/ 1 w 357"/>
                <a:gd name="T85" fmla="*/ 1 h 48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57"/>
                <a:gd name="T130" fmla="*/ 0 h 488"/>
                <a:gd name="T131" fmla="*/ 357 w 357"/>
                <a:gd name="T132" fmla="*/ 488 h 48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57" h="488">
                  <a:moveTo>
                    <a:pt x="42" y="90"/>
                  </a:moveTo>
                  <a:lnTo>
                    <a:pt x="42" y="77"/>
                  </a:lnTo>
                  <a:lnTo>
                    <a:pt x="64" y="77"/>
                  </a:lnTo>
                  <a:lnTo>
                    <a:pt x="63" y="53"/>
                  </a:lnTo>
                  <a:lnTo>
                    <a:pt x="62" y="28"/>
                  </a:lnTo>
                  <a:lnTo>
                    <a:pt x="78" y="28"/>
                  </a:lnTo>
                  <a:lnTo>
                    <a:pt x="95" y="28"/>
                  </a:lnTo>
                  <a:lnTo>
                    <a:pt x="112" y="28"/>
                  </a:lnTo>
                  <a:lnTo>
                    <a:pt x="129" y="28"/>
                  </a:lnTo>
                  <a:lnTo>
                    <a:pt x="146" y="28"/>
                  </a:lnTo>
                  <a:lnTo>
                    <a:pt x="162" y="28"/>
                  </a:lnTo>
                  <a:lnTo>
                    <a:pt x="179" y="28"/>
                  </a:lnTo>
                  <a:lnTo>
                    <a:pt x="196" y="28"/>
                  </a:lnTo>
                  <a:lnTo>
                    <a:pt x="198" y="22"/>
                  </a:lnTo>
                  <a:lnTo>
                    <a:pt x="200" y="28"/>
                  </a:lnTo>
                  <a:lnTo>
                    <a:pt x="227" y="32"/>
                  </a:lnTo>
                  <a:lnTo>
                    <a:pt x="254" y="34"/>
                  </a:lnTo>
                  <a:lnTo>
                    <a:pt x="258" y="23"/>
                  </a:lnTo>
                  <a:lnTo>
                    <a:pt x="269" y="21"/>
                  </a:lnTo>
                  <a:lnTo>
                    <a:pt x="274" y="6"/>
                  </a:lnTo>
                  <a:lnTo>
                    <a:pt x="280" y="9"/>
                  </a:lnTo>
                  <a:lnTo>
                    <a:pt x="288" y="0"/>
                  </a:lnTo>
                  <a:lnTo>
                    <a:pt x="303" y="16"/>
                  </a:lnTo>
                  <a:lnTo>
                    <a:pt x="317" y="32"/>
                  </a:lnTo>
                  <a:lnTo>
                    <a:pt x="324" y="50"/>
                  </a:lnTo>
                  <a:lnTo>
                    <a:pt x="329" y="80"/>
                  </a:lnTo>
                  <a:lnTo>
                    <a:pt x="336" y="108"/>
                  </a:lnTo>
                  <a:lnTo>
                    <a:pt x="357" y="130"/>
                  </a:lnTo>
                  <a:lnTo>
                    <a:pt x="342" y="141"/>
                  </a:lnTo>
                  <a:lnTo>
                    <a:pt x="329" y="152"/>
                  </a:lnTo>
                  <a:lnTo>
                    <a:pt x="321" y="183"/>
                  </a:lnTo>
                  <a:lnTo>
                    <a:pt x="318" y="218"/>
                  </a:lnTo>
                  <a:lnTo>
                    <a:pt x="315" y="236"/>
                  </a:lnTo>
                  <a:lnTo>
                    <a:pt x="293" y="276"/>
                  </a:lnTo>
                  <a:lnTo>
                    <a:pt x="288" y="304"/>
                  </a:lnTo>
                  <a:lnTo>
                    <a:pt x="276" y="306"/>
                  </a:lnTo>
                  <a:lnTo>
                    <a:pt x="274" y="334"/>
                  </a:lnTo>
                  <a:lnTo>
                    <a:pt x="270" y="360"/>
                  </a:lnTo>
                  <a:lnTo>
                    <a:pt x="255" y="364"/>
                  </a:lnTo>
                  <a:lnTo>
                    <a:pt x="248" y="376"/>
                  </a:lnTo>
                  <a:lnTo>
                    <a:pt x="255" y="382"/>
                  </a:lnTo>
                  <a:lnTo>
                    <a:pt x="276" y="401"/>
                  </a:lnTo>
                  <a:lnTo>
                    <a:pt x="285" y="418"/>
                  </a:lnTo>
                  <a:lnTo>
                    <a:pt x="293" y="434"/>
                  </a:lnTo>
                  <a:lnTo>
                    <a:pt x="306" y="441"/>
                  </a:lnTo>
                  <a:lnTo>
                    <a:pt x="312" y="460"/>
                  </a:lnTo>
                  <a:lnTo>
                    <a:pt x="296" y="460"/>
                  </a:lnTo>
                  <a:lnTo>
                    <a:pt x="279" y="460"/>
                  </a:lnTo>
                  <a:lnTo>
                    <a:pt x="270" y="470"/>
                  </a:lnTo>
                  <a:lnTo>
                    <a:pt x="260" y="480"/>
                  </a:lnTo>
                  <a:lnTo>
                    <a:pt x="234" y="480"/>
                  </a:lnTo>
                  <a:lnTo>
                    <a:pt x="225" y="485"/>
                  </a:lnTo>
                  <a:lnTo>
                    <a:pt x="220" y="482"/>
                  </a:lnTo>
                  <a:lnTo>
                    <a:pt x="203" y="483"/>
                  </a:lnTo>
                  <a:lnTo>
                    <a:pt x="202" y="488"/>
                  </a:lnTo>
                  <a:lnTo>
                    <a:pt x="186" y="473"/>
                  </a:lnTo>
                  <a:lnTo>
                    <a:pt x="171" y="458"/>
                  </a:lnTo>
                  <a:lnTo>
                    <a:pt x="162" y="464"/>
                  </a:lnTo>
                  <a:lnTo>
                    <a:pt x="149" y="466"/>
                  </a:lnTo>
                  <a:lnTo>
                    <a:pt x="132" y="455"/>
                  </a:lnTo>
                  <a:lnTo>
                    <a:pt x="126" y="449"/>
                  </a:lnTo>
                  <a:lnTo>
                    <a:pt x="123" y="442"/>
                  </a:lnTo>
                  <a:lnTo>
                    <a:pt x="111" y="425"/>
                  </a:lnTo>
                  <a:lnTo>
                    <a:pt x="102" y="412"/>
                  </a:lnTo>
                  <a:lnTo>
                    <a:pt x="82" y="394"/>
                  </a:lnTo>
                  <a:lnTo>
                    <a:pt x="78" y="383"/>
                  </a:lnTo>
                  <a:lnTo>
                    <a:pt x="58" y="369"/>
                  </a:lnTo>
                  <a:lnTo>
                    <a:pt x="54" y="362"/>
                  </a:lnTo>
                  <a:lnTo>
                    <a:pt x="39" y="358"/>
                  </a:lnTo>
                  <a:lnTo>
                    <a:pt x="42" y="334"/>
                  </a:lnTo>
                  <a:lnTo>
                    <a:pt x="33" y="318"/>
                  </a:lnTo>
                  <a:lnTo>
                    <a:pt x="24" y="303"/>
                  </a:lnTo>
                  <a:lnTo>
                    <a:pt x="22" y="290"/>
                  </a:lnTo>
                  <a:lnTo>
                    <a:pt x="18" y="276"/>
                  </a:lnTo>
                  <a:lnTo>
                    <a:pt x="9" y="257"/>
                  </a:lnTo>
                  <a:lnTo>
                    <a:pt x="0" y="256"/>
                  </a:lnTo>
                  <a:lnTo>
                    <a:pt x="9" y="237"/>
                  </a:lnTo>
                  <a:lnTo>
                    <a:pt x="10" y="226"/>
                  </a:lnTo>
                  <a:lnTo>
                    <a:pt x="12" y="220"/>
                  </a:lnTo>
                  <a:lnTo>
                    <a:pt x="14" y="210"/>
                  </a:lnTo>
                  <a:lnTo>
                    <a:pt x="24" y="191"/>
                  </a:lnTo>
                  <a:lnTo>
                    <a:pt x="32" y="185"/>
                  </a:lnTo>
                  <a:lnTo>
                    <a:pt x="46" y="184"/>
                  </a:lnTo>
                  <a:lnTo>
                    <a:pt x="45" y="161"/>
                  </a:lnTo>
                  <a:lnTo>
                    <a:pt x="44" y="137"/>
                  </a:lnTo>
                  <a:lnTo>
                    <a:pt x="44" y="113"/>
                  </a:lnTo>
                  <a:lnTo>
                    <a:pt x="42" y="9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283" name="Freeform 39"/>
            <p:cNvSpPr>
              <a:spLocks/>
            </p:cNvSpPr>
            <p:nvPr/>
          </p:nvSpPr>
          <p:spPr bwMode="auto">
            <a:xfrm>
              <a:off x="3059" y="2132"/>
              <a:ext cx="27" cy="37"/>
            </a:xfrm>
            <a:custGeom>
              <a:avLst/>
              <a:gdLst>
                <a:gd name="T0" fmla="*/ 1 w 40"/>
                <a:gd name="T1" fmla="*/ 1 h 52"/>
                <a:gd name="T2" fmla="*/ 1 w 40"/>
                <a:gd name="T3" fmla="*/ 1 h 52"/>
                <a:gd name="T4" fmla="*/ 1 w 40"/>
                <a:gd name="T5" fmla="*/ 0 h 52"/>
                <a:gd name="T6" fmla="*/ 1 w 40"/>
                <a:gd name="T7" fmla="*/ 1 h 52"/>
                <a:gd name="T8" fmla="*/ 0 w 40"/>
                <a:gd name="T9" fmla="*/ 1 h 52"/>
                <a:gd name="T10" fmla="*/ 0 w 40"/>
                <a:gd name="T11" fmla="*/ 1 h 52"/>
                <a:gd name="T12" fmla="*/ 0 w 40"/>
                <a:gd name="T13" fmla="*/ 1 h 52"/>
                <a:gd name="T14" fmla="*/ 1 w 40"/>
                <a:gd name="T15" fmla="*/ 1 h 52"/>
                <a:gd name="T16" fmla="*/ 1 w 40"/>
                <a:gd name="T17" fmla="*/ 1 h 52"/>
                <a:gd name="T18" fmla="*/ 1 w 40"/>
                <a:gd name="T19" fmla="*/ 1 h 52"/>
                <a:gd name="T20" fmla="*/ 1 w 40"/>
                <a:gd name="T21" fmla="*/ 1 h 52"/>
                <a:gd name="T22" fmla="*/ 1 w 40"/>
                <a:gd name="T23" fmla="*/ 1 h 52"/>
                <a:gd name="T24" fmla="*/ 1 w 40"/>
                <a:gd name="T25" fmla="*/ 1 h 5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0"/>
                <a:gd name="T40" fmla="*/ 0 h 52"/>
                <a:gd name="T41" fmla="*/ 40 w 40"/>
                <a:gd name="T42" fmla="*/ 52 h 5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0" h="52">
                  <a:moveTo>
                    <a:pt x="34" y="14"/>
                  </a:moveTo>
                  <a:lnTo>
                    <a:pt x="34" y="2"/>
                  </a:lnTo>
                  <a:lnTo>
                    <a:pt x="22" y="0"/>
                  </a:lnTo>
                  <a:lnTo>
                    <a:pt x="19" y="8"/>
                  </a:lnTo>
                  <a:lnTo>
                    <a:pt x="0" y="9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5" y="32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27" y="37"/>
                  </a:lnTo>
                  <a:lnTo>
                    <a:pt x="40" y="22"/>
                  </a:lnTo>
                  <a:lnTo>
                    <a:pt x="34" y="1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84" name="Freeform 40"/>
            <p:cNvSpPr>
              <a:spLocks/>
            </p:cNvSpPr>
            <p:nvPr/>
          </p:nvSpPr>
          <p:spPr bwMode="auto">
            <a:xfrm>
              <a:off x="2784" y="2030"/>
              <a:ext cx="115" cy="149"/>
            </a:xfrm>
            <a:custGeom>
              <a:avLst/>
              <a:gdLst>
                <a:gd name="T0" fmla="*/ 1 w 163"/>
                <a:gd name="T1" fmla="*/ 1 h 214"/>
                <a:gd name="T2" fmla="*/ 1 w 163"/>
                <a:gd name="T3" fmla="*/ 1 h 214"/>
                <a:gd name="T4" fmla="*/ 1 w 163"/>
                <a:gd name="T5" fmla="*/ 1 h 214"/>
                <a:gd name="T6" fmla="*/ 1 w 163"/>
                <a:gd name="T7" fmla="*/ 1 h 214"/>
                <a:gd name="T8" fmla="*/ 1 w 163"/>
                <a:gd name="T9" fmla="*/ 1 h 214"/>
                <a:gd name="T10" fmla="*/ 1 w 163"/>
                <a:gd name="T11" fmla="*/ 1 h 214"/>
                <a:gd name="T12" fmla="*/ 1 w 163"/>
                <a:gd name="T13" fmla="*/ 1 h 214"/>
                <a:gd name="T14" fmla="*/ 0 w 163"/>
                <a:gd name="T15" fmla="*/ 1 h 214"/>
                <a:gd name="T16" fmla="*/ 1 w 163"/>
                <a:gd name="T17" fmla="*/ 1 h 214"/>
                <a:gd name="T18" fmla="*/ 1 w 163"/>
                <a:gd name="T19" fmla="*/ 1 h 214"/>
                <a:gd name="T20" fmla="*/ 1 w 163"/>
                <a:gd name="T21" fmla="*/ 1 h 214"/>
                <a:gd name="T22" fmla="*/ 1 w 163"/>
                <a:gd name="T23" fmla="*/ 1 h 214"/>
                <a:gd name="T24" fmla="*/ 1 w 163"/>
                <a:gd name="T25" fmla="*/ 1 h 214"/>
                <a:gd name="T26" fmla="*/ 1 w 163"/>
                <a:gd name="T27" fmla="*/ 1 h 214"/>
                <a:gd name="T28" fmla="*/ 1 w 163"/>
                <a:gd name="T29" fmla="*/ 1 h 214"/>
                <a:gd name="T30" fmla="*/ 1 w 163"/>
                <a:gd name="T31" fmla="*/ 1 h 214"/>
                <a:gd name="T32" fmla="*/ 1 w 163"/>
                <a:gd name="T33" fmla="*/ 1 h 214"/>
                <a:gd name="T34" fmla="*/ 1 w 163"/>
                <a:gd name="T35" fmla="*/ 1 h 214"/>
                <a:gd name="T36" fmla="*/ 1 w 163"/>
                <a:gd name="T37" fmla="*/ 1 h 214"/>
                <a:gd name="T38" fmla="*/ 1 w 163"/>
                <a:gd name="T39" fmla="*/ 1 h 214"/>
                <a:gd name="T40" fmla="*/ 1 w 163"/>
                <a:gd name="T41" fmla="*/ 1 h 214"/>
                <a:gd name="T42" fmla="*/ 1 w 163"/>
                <a:gd name="T43" fmla="*/ 1 h 214"/>
                <a:gd name="T44" fmla="*/ 1 w 163"/>
                <a:gd name="T45" fmla="*/ 1 h 214"/>
                <a:gd name="T46" fmla="*/ 1 w 163"/>
                <a:gd name="T47" fmla="*/ 1 h 214"/>
                <a:gd name="T48" fmla="*/ 1 w 163"/>
                <a:gd name="T49" fmla="*/ 1 h 214"/>
                <a:gd name="T50" fmla="*/ 1 w 163"/>
                <a:gd name="T51" fmla="*/ 1 h 214"/>
                <a:gd name="T52" fmla="*/ 1 w 163"/>
                <a:gd name="T53" fmla="*/ 1 h 214"/>
                <a:gd name="T54" fmla="*/ 1 w 163"/>
                <a:gd name="T55" fmla="*/ 0 h 214"/>
                <a:gd name="T56" fmla="*/ 1 w 163"/>
                <a:gd name="T57" fmla="*/ 1 h 214"/>
                <a:gd name="T58" fmla="*/ 1 w 163"/>
                <a:gd name="T59" fmla="*/ 1 h 214"/>
                <a:gd name="T60" fmla="*/ 1 w 163"/>
                <a:gd name="T61" fmla="*/ 1 h 214"/>
                <a:gd name="T62" fmla="*/ 1 w 163"/>
                <a:gd name="T63" fmla="*/ 1 h 214"/>
                <a:gd name="T64" fmla="*/ 1 w 163"/>
                <a:gd name="T65" fmla="*/ 1 h 214"/>
                <a:gd name="T66" fmla="*/ 1 w 163"/>
                <a:gd name="T67" fmla="*/ 1 h 214"/>
                <a:gd name="T68" fmla="*/ 1 w 163"/>
                <a:gd name="T69" fmla="*/ 1 h 214"/>
                <a:gd name="T70" fmla="*/ 1 w 163"/>
                <a:gd name="T71" fmla="*/ 1 h 214"/>
                <a:gd name="T72" fmla="*/ 1 w 163"/>
                <a:gd name="T73" fmla="*/ 1 h 214"/>
                <a:gd name="T74" fmla="*/ 1 w 163"/>
                <a:gd name="T75" fmla="*/ 1 h 214"/>
                <a:gd name="T76" fmla="*/ 1 w 163"/>
                <a:gd name="T77" fmla="*/ 1 h 214"/>
                <a:gd name="T78" fmla="*/ 1 w 163"/>
                <a:gd name="T79" fmla="*/ 1 h 214"/>
                <a:gd name="T80" fmla="*/ 1 w 163"/>
                <a:gd name="T81" fmla="*/ 1 h 214"/>
                <a:gd name="T82" fmla="*/ 1 w 163"/>
                <a:gd name="T83" fmla="*/ 1 h 214"/>
                <a:gd name="T84" fmla="*/ 1 w 163"/>
                <a:gd name="T85" fmla="*/ 1 h 214"/>
                <a:gd name="T86" fmla="*/ 1 w 163"/>
                <a:gd name="T87" fmla="*/ 1 h 214"/>
                <a:gd name="T88" fmla="*/ 1 w 163"/>
                <a:gd name="T89" fmla="*/ 1 h 214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63"/>
                <a:gd name="T136" fmla="*/ 0 h 214"/>
                <a:gd name="T137" fmla="*/ 163 w 163"/>
                <a:gd name="T138" fmla="*/ 214 h 214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63" h="214">
                  <a:moveTo>
                    <a:pt x="29" y="149"/>
                  </a:moveTo>
                  <a:lnTo>
                    <a:pt x="9" y="151"/>
                  </a:lnTo>
                  <a:lnTo>
                    <a:pt x="9" y="159"/>
                  </a:lnTo>
                  <a:lnTo>
                    <a:pt x="13" y="165"/>
                  </a:lnTo>
                  <a:lnTo>
                    <a:pt x="17" y="175"/>
                  </a:lnTo>
                  <a:lnTo>
                    <a:pt x="12" y="180"/>
                  </a:lnTo>
                  <a:lnTo>
                    <a:pt x="7" y="177"/>
                  </a:lnTo>
                  <a:lnTo>
                    <a:pt x="0" y="187"/>
                  </a:lnTo>
                  <a:lnTo>
                    <a:pt x="19" y="214"/>
                  </a:lnTo>
                  <a:lnTo>
                    <a:pt x="33" y="201"/>
                  </a:lnTo>
                  <a:lnTo>
                    <a:pt x="42" y="204"/>
                  </a:lnTo>
                  <a:lnTo>
                    <a:pt x="53" y="208"/>
                  </a:lnTo>
                  <a:lnTo>
                    <a:pt x="59" y="201"/>
                  </a:lnTo>
                  <a:lnTo>
                    <a:pt x="72" y="199"/>
                  </a:lnTo>
                  <a:lnTo>
                    <a:pt x="74" y="210"/>
                  </a:lnTo>
                  <a:lnTo>
                    <a:pt x="91" y="193"/>
                  </a:lnTo>
                  <a:lnTo>
                    <a:pt x="108" y="178"/>
                  </a:lnTo>
                  <a:lnTo>
                    <a:pt x="110" y="159"/>
                  </a:lnTo>
                  <a:lnTo>
                    <a:pt x="114" y="139"/>
                  </a:lnTo>
                  <a:lnTo>
                    <a:pt x="129" y="119"/>
                  </a:lnTo>
                  <a:lnTo>
                    <a:pt x="144" y="99"/>
                  </a:lnTo>
                  <a:lnTo>
                    <a:pt x="147" y="79"/>
                  </a:lnTo>
                  <a:lnTo>
                    <a:pt x="151" y="61"/>
                  </a:lnTo>
                  <a:lnTo>
                    <a:pt x="153" y="42"/>
                  </a:lnTo>
                  <a:lnTo>
                    <a:pt x="157" y="24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9" y="0"/>
                  </a:lnTo>
                  <a:lnTo>
                    <a:pt x="117" y="7"/>
                  </a:lnTo>
                  <a:lnTo>
                    <a:pt x="110" y="34"/>
                  </a:lnTo>
                  <a:lnTo>
                    <a:pt x="105" y="45"/>
                  </a:lnTo>
                  <a:lnTo>
                    <a:pt x="87" y="40"/>
                  </a:lnTo>
                  <a:lnTo>
                    <a:pt x="68" y="36"/>
                  </a:lnTo>
                  <a:lnTo>
                    <a:pt x="47" y="35"/>
                  </a:lnTo>
                  <a:lnTo>
                    <a:pt x="44" y="59"/>
                  </a:lnTo>
                  <a:lnTo>
                    <a:pt x="68" y="57"/>
                  </a:lnTo>
                  <a:lnTo>
                    <a:pt x="71" y="73"/>
                  </a:lnTo>
                  <a:lnTo>
                    <a:pt x="60" y="88"/>
                  </a:lnTo>
                  <a:lnTo>
                    <a:pt x="73" y="109"/>
                  </a:lnTo>
                  <a:lnTo>
                    <a:pt x="67" y="144"/>
                  </a:lnTo>
                  <a:lnTo>
                    <a:pt x="60" y="150"/>
                  </a:lnTo>
                  <a:lnTo>
                    <a:pt x="56" y="143"/>
                  </a:lnTo>
                  <a:lnTo>
                    <a:pt x="43" y="148"/>
                  </a:lnTo>
                  <a:lnTo>
                    <a:pt x="31" y="135"/>
                  </a:lnTo>
                  <a:lnTo>
                    <a:pt x="29" y="149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85" name="Freeform 41"/>
            <p:cNvSpPr>
              <a:spLocks/>
            </p:cNvSpPr>
            <p:nvPr/>
          </p:nvSpPr>
          <p:spPr bwMode="auto">
            <a:xfrm>
              <a:off x="3134" y="2012"/>
              <a:ext cx="124" cy="161"/>
            </a:xfrm>
            <a:custGeom>
              <a:avLst/>
              <a:gdLst>
                <a:gd name="T0" fmla="*/ 1 w 175"/>
                <a:gd name="T1" fmla="*/ 1 h 230"/>
                <a:gd name="T2" fmla="*/ 1 w 175"/>
                <a:gd name="T3" fmla="*/ 1 h 230"/>
                <a:gd name="T4" fmla="*/ 1 w 175"/>
                <a:gd name="T5" fmla="*/ 1 h 230"/>
                <a:gd name="T6" fmla="*/ 1 w 175"/>
                <a:gd name="T7" fmla="*/ 1 h 230"/>
                <a:gd name="T8" fmla="*/ 1 w 175"/>
                <a:gd name="T9" fmla="*/ 1 h 230"/>
                <a:gd name="T10" fmla="*/ 0 w 175"/>
                <a:gd name="T11" fmla="*/ 1 h 230"/>
                <a:gd name="T12" fmla="*/ 1 w 175"/>
                <a:gd name="T13" fmla="*/ 1 h 230"/>
                <a:gd name="T14" fmla="*/ 1 w 175"/>
                <a:gd name="T15" fmla="*/ 1 h 230"/>
                <a:gd name="T16" fmla="*/ 1 w 175"/>
                <a:gd name="T17" fmla="*/ 1 h 230"/>
                <a:gd name="T18" fmla="*/ 1 w 175"/>
                <a:gd name="T19" fmla="*/ 1 h 230"/>
                <a:gd name="T20" fmla="*/ 1 w 175"/>
                <a:gd name="T21" fmla="*/ 1 h 230"/>
                <a:gd name="T22" fmla="*/ 1 w 175"/>
                <a:gd name="T23" fmla="*/ 0 h 230"/>
                <a:gd name="T24" fmla="*/ 1 w 175"/>
                <a:gd name="T25" fmla="*/ 0 h 230"/>
                <a:gd name="T26" fmla="*/ 1 w 175"/>
                <a:gd name="T27" fmla="*/ 0 h 230"/>
                <a:gd name="T28" fmla="*/ 1 w 175"/>
                <a:gd name="T29" fmla="*/ 1 h 230"/>
                <a:gd name="T30" fmla="*/ 1 w 175"/>
                <a:gd name="T31" fmla="*/ 1 h 230"/>
                <a:gd name="T32" fmla="*/ 1 w 175"/>
                <a:gd name="T33" fmla="*/ 1 h 230"/>
                <a:gd name="T34" fmla="*/ 1 w 175"/>
                <a:gd name="T35" fmla="*/ 1 h 230"/>
                <a:gd name="T36" fmla="*/ 1 w 175"/>
                <a:gd name="T37" fmla="*/ 1 h 230"/>
                <a:gd name="T38" fmla="*/ 1 w 175"/>
                <a:gd name="T39" fmla="*/ 1 h 230"/>
                <a:gd name="T40" fmla="*/ 1 w 175"/>
                <a:gd name="T41" fmla="*/ 1 h 230"/>
                <a:gd name="T42" fmla="*/ 1 w 175"/>
                <a:gd name="T43" fmla="*/ 1 h 230"/>
                <a:gd name="T44" fmla="*/ 1 w 175"/>
                <a:gd name="T45" fmla="*/ 1 h 230"/>
                <a:gd name="T46" fmla="*/ 1 w 175"/>
                <a:gd name="T47" fmla="*/ 1 h 230"/>
                <a:gd name="T48" fmla="*/ 1 w 175"/>
                <a:gd name="T49" fmla="*/ 1 h 230"/>
                <a:gd name="T50" fmla="*/ 1 w 175"/>
                <a:gd name="T51" fmla="*/ 1 h 230"/>
                <a:gd name="T52" fmla="*/ 1 w 175"/>
                <a:gd name="T53" fmla="*/ 1 h 230"/>
                <a:gd name="T54" fmla="*/ 1 w 175"/>
                <a:gd name="T55" fmla="*/ 1 h 230"/>
                <a:gd name="T56" fmla="*/ 1 w 175"/>
                <a:gd name="T57" fmla="*/ 1 h 230"/>
                <a:gd name="T58" fmla="*/ 1 w 175"/>
                <a:gd name="T59" fmla="*/ 1 h 230"/>
                <a:gd name="T60" fmla="*/ 1 w 175"/>
                <a:gd name="T61" fmla="*/ 1 h 230"/>
                <a:gd name="T62" fmla="*/ 1 w 175"/>
                <a:gd name="T63" fmla="*/ 1 h 230"/>
                <a:gd name="T64" fmla="*/ 1 w 175"/>
                <a:gd name="T65" fmla="*/ 1 h 230"/>
                <a:gd name="T66" fmla="*/ 1 w 175"/>
                <a:gd name="T67" fmla="*/ 1 h 230"/>
                <a:gd name="T68" fmla="*/ 1 w 175"/>
                <a:gd name="T69" fmla="*/ 1 h 230"/>
                <a:gd name="T70" fmla="*/ 1 w 175"/>
                <a:gd name="T71" fmla="*/ 1 h 23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75"/>
                <a:gd name="T109" fmla="*/ 0 h 230"/>
                <a:gd name="T110" fmla="*/ 175 w 175"/>
                <a:gd name="T111" fmla="*/ 230 h 23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75" h="230">
                  <a:moveTo>
                    <a:pt x="82" y="188"/>
                  </a:moveTo>
                  <a:lnTo>
                    <a:pt x="61" y="176"/>
                  </a:lnTo>
                  <a:lnTo>
                    <a:pt x="41" y="163"/>
                  </a:lnTo>
                  <a:lnTo>
                    <a:pt x="20" y="151"/>
                  </a:lnTo>
                  <a:lnTo>
                    <a:pt x="1" y="139"/>
                  </a:lnTo>
                  <a:lnTo>
                    <a:pt x="0" y="112"/>
                  </a:lnTo>
                  <a:lnTo>
                    <a:pt x="16" y="86"/>
                  </a:lnTo>
                  <a:lnTo>
                    <a:pt x="24" y="67"/>
                  </a:lnTo>
                  <a:lnTo>
                    <a:pt x="18" y="48"/>
                  </a:lnTo>
                  <a:lnTo>
                    <a:pt x="11" y="29"/>
                  </a:lnTo>
                  <a:lnTo>
                    <a:pt x="2" y="10"/>
                  </a:lnTo>
                  <a:lnTo>
                    <a:pt x="11" y="0"/>
                  </a:lnTo>
                  <a:lnTo>
                    <a:pt x="28" y="0"/>
                  </a:lnTo>
                  <a:lnTo>
                    <a:pt x="44" y="0"/>
                  </a:lnTo>
                  <a:lnTo>
                    <a:pt x="64" y="2"/>
                  </a:lnTo>
                  <a:lnTo>
                    <a:pt x="90" y="22"/>
                  </a:lnTo>
                  <a:lnTo>
                    <a:pt x="120" y="28"/>
                  </a:lnTo>
                  <a:lnTo>
                    <a:pt x="131" y="18"/>
                  </a:lnTo>
                  <a:lnTo>
                    <a:pt x="154" y="11"/>
                  </a:lnTo>
                  <a:lnTo>
                    <a:pt x="175" y="16"/>
                  </a:lnTo>
                  <a:lnTo>
                    <a:pt x="166" y="30"/>
                  </a:lnTo>
                  <a:lnTo>
                    <a:pt x="155" y="43"/>
                  </a:lnTo>
                  <a:lnTo>
                    <a:pt x="156" y="67"/>
                  </a:lnTo>
                  <a:lnTo>
                    <a:pt x="156" y="90"/>
                  </a:lnTo>
                  <a:lnTo>
                    <a:pt x="156" y="113"/>
                  </a:lnTo>
                  <a:lnTo>
                    <a:pt x="156" y="136"/>
                  </a:lnTo>
                  <a:lnTo>
                    <a:pt x="168" y="155"/>
                  </a:lnTo>
                  <a:lnTo>
                    <a:pt x="156" y="162"/>
                  </a:lnTo>
                  <a:lnTo>
                    <a:pt x="146" y="178"/>
                  </a:lnTo>
                  <a:lnTo>
                    <a:pt x="137" y="186"/>
                  </a:lnTo>
                  <a:lnTo>
                    <a:pt x="127" y="208"/>
                  </a:lnTo>
                  <a:lnTo>
                    <a:pt x="118" y="228"/>
                  </a:lnTo>
                  <a:lnTo>
                    <a:pt x="115" y="230"/>
                  </a:lnTo>
                  <a:lnTo>
                    <a:pt x="100" y="214"/>
                  </a:lnTo>
                  <a:lnTo>
                    <a:pt x="83" y="197"/>
                  </a:lnTo>
                  <a:lnTo>
                    <a:pt x="82" y="18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86" name="Freeform 42"/>
            <p:cNvSpPr>
              <a:spLocks/>
            </p:cNvSpPr>
            <p:nvPr/>
          </p:nvSpPr>
          <p:spPr bwMode="auto">
            <a:xfrm>
              <a:off x="2654" y="1853"/>
              <a:ext cx="182" cy="163"/>
            </a:xfrm>
            <a:custGeom>
              <a:avLst/>
              <a:gdLst>
                <a:gd name="T0" fmla="*/ 2 w 259"/>
                <a:gd name="T1" fmla="*/ 1 h 233"/>
                <a:gd name="T2" fmla="*/ 1 w 259"/>
                <a:gd name="T3" fmla="*/ 1 h 233"/>
                <a:gd name="T4" fmla="*/ 1 w 259"/>
                <a:gd name="T5" fmla="*/ 1 h 233"/>
                <a:gd name="T6" fmla="*/ 1 w 259"/>
                <a:gd name="T7" fmla="*/ 2 h 233"/>
                <a:gd name="T8" fmla="*/ 1 w 259"/>
                <a:gd name="T9" fmla="*/ 2 h 233"/>
                <a:gd name="T10" fmla="*/ 1 w 259"/>
                <a:gd name="T11" fmla="*/ 2 h 233"/>
                <a:gd name="T12" fmla="*/ 1 w 259"/>
                <a:gd name="T13" fmla="*/ 2 h 233"/>
                <a:gd name="T14" fmla="*/ 1 w 259"/>
                <a:gd name="T15" fmla="*/ 2 h 233"/>
                <a:gd name="T16" fmla="*/ 1 w 259"/>
                <a:gd name="T17" fmla="*/ 2 h 233"/>
                <a:gd name="T18" fmla="*/ 1 w 259"/>
                <a:gd name="T19" fmla="*/ 2 h 233"/>
                <a:gd name="T20" fmla="*/ 1 w 259"/>
                <a:gd name="T21" fmla="*/ 2 h 233"/>
                <a:gd name="T22" fmla="*/ 1 w 259"/>
                <a:gd name="T23" fmla="*/ 2 h 233"/>
                <a:gd name="T24" fmla="*/ 1 w 259"/>
                <a:gd name="T25" fmla="*/ 2 h 233"/>
                <a:gd name="T26" fmla="*/ 1 w 259"/>
                <a:gd name="T27" fmla="*/ 2 h 233"/>
                <a:gd name="T28" fmla="*/ 1 w 259"/>
                <a:gd name="T29" fmla="*/ 2 h 233"/>
                <a:gd name="T30" fmla="*/ 1 w 259"/>
                <a:gd name="T31" fmla="*/ 2 h 233"/>
                <a:gd name="T32" fmla="*/ 1 w 259"/>
                <a:gd name="T33" fmla="*/ 2 h 233"/>
                <a:gd name="T34" fmla="*/ 1 w 259"/>
                <a:gd name="T35" fmla="*/ 2 h 233"/>
                <a:gd name="T36" fmla="*/ 1 w 259"/>
                <a:gd name="T37" fmla="*/ 2 h 233"/>
                <a:gd name="T38" fmla="*/ 1 w 259"/>
                <a:gd name="T39" fmla="*/ 2 h 233"/>
                <a:gd name="T40" fmla="*/ 1 w 259"/>
                <a:gd name="T41" fmla="*/ 2 h 233"/>
                <a:gd name="T42" fmla="*/ 1 w 259"/>
                <a:gd name="T43" fmla="*/ 2 h 233"/>
                <a:gd name="T44" fmla="*/ 1 w 259"/>
                <a:gd name="T45" fmla="*/ 1 h 233"/>
                <a:gd name="T46" fmla="*/ 1 w 259"/>
                <a:gd name="T47" fmla="*/ 1 h 233"/>
                <a:gd name="T48" fmla="*/ 1 w 259"/>
                <a:gd name="T49" fmla="*/ 1 h 233"/>
                <a:gd name="T50" fmla="*/ 0 w 259"/>
                <a:gd name="T51" fmla="*/ 1 h 233"/>
                <a:gd name="T52" fmla="*/ 1 w 259"/>
                <a:gd name="T53" fmla="*/ 1 h 233"/>
                <a:gd name="T54" fmla="*/ 1 w 259"/>
                <a:gd name="T55" fmla="*/ 1 h 233"/>
                <a:gd name="T56" fmla="*/ 1 w 259"/>
                <a:gd name="T57" fmla="*/ 1 h 233"/>
                <a:gd name="T58" fmla="*/ 1 w 259"/>
                <a:gd name="T59" fmla="*/ 1 h 233"/>
                <a:gd name="T60" fmla="*/ 1 w 259"/>
                <a:gd name="T61" fmla="*/ 1 h 233"/>
                <a:gd name="T62" fmla="*/ 1 w 259"/>
                <a:gd name="T63" fmla="*/ 1 h 233"/>
                <a:gd name="T64" fmla="*/ 1 w 259"/>
                <a:gd name="T65" fmla="*/ 1 h 233"/>
                <a:gd name="T66" fmla="*/ 1 w 259"/>
                <a:gd name="T67" fmla="*/ 1 h 233"/>
                <a:gd name="T68" fmla="*/ 1 w 259"/>
                <a:gd name="T69" fmla="*/ 1 h 233"/>
                <a:gd name="T70" fmla="*/ 1 w 259"/>
                <a:gd name="T71" fmla="*/ 0 h 233"/>
                <a:gd name="T72" fmla="*/ 1 w 259"/>
                <a:gd name="T73" fmla="*/ 1 h 233"/>
                <a:gd name="T74" fmla="*/ 1 w 259"/>
                <a:gd name="T75" fmla="*/ 1 h 233"/>
                <a:gd name="T76" fmla="*/ 1 w 259"/>
                <a:gd name="T77" fmla="*/ 1 h 233"/>
                <a:gd name="T78" fmla="*/ 1 w 259"/>
                <a:gd name="T79" fmla="*/ 1 h 233"/>
                <a:gd name="T80" fmla="*/ 1 w 259"/>
                <a:gd name="T81" fmla="*/ 1 h 233"/>
                <a:gd name="T82" fmla="*/ 2 w 259"/>
                <a:gd name="T83" fmla="*/ 1 h 233"/>
                <a:gd name="T84" fmla="*/ 2 w 259"/>
                <a:gd name="T85" fmla="*/ 1 h 233"/>
                <a:gd name="T86" fmla="*/ 2 w 259"/>
                <a:gd name="T87" fmla="*/ 1 h 233"/>
                <a:gd name="T88" fmla="*/ 3 w 259"/>
                <a:gd name="T89" fmla="*/ 0 h 233"/>
                <a:gd name="T90" fmla="*/ 3 w 259"/>
                <a:gd name="T91" fmla="*/ 1 h 233"/>
                <a:gd name="T92" fmla="*/ 3 w 259"/>
                <a:gd name="T93" fmla="*/ 1 h 233"/>
                <a:gd name="T94" fmla="*/ 3 w 259"/>
                <a:gd name="T95" fmla="*/ 1 h 233"/>
                <a:gd name="T96" fmla="*/ 3 w 259"/>
                <a:gd name="T97" fmla="*/ 1 h 233"/>
                <a:gd name="T98" fmla="*/ 3 w 259"/>
                <a:gd name="T99" fmla="*/ 1 h 233"/>
                <a:gd name="T100" fmla="*/ 2 w 259"/>
                <a:gd name="T101" fmla="*/ 1 h 233"/>
                <a:gd name="T102" fmla="*/ 2 w 259"/>
                <a:gd name="T103" fmla="*/ 1 h 233"/>
                <a:gd name="T104" fmla="*/ 2 w 259"/>
                <a:gd name="T105" fmla="*/ 1 h 233"/>
                <a:gd name="T106" fmla="*/ 2 w 259"/>
                <a:gd name="T107" fmla="*/ 1 h 233"/>
                <a:gd name="T108" fmla="*/ 2 w 259"/>
                <a:gd name="T109" fmla="*/ 1 h 233"/>
                <a:gd name="T110" fmla="*/ 2 w 259"/>
                <a:gd name="T111" fmla="*/ 1 h 233"/>
                <a:gd name="T112" fmla="*/ 2 w 259"/>
                <a:gd name="T113" fmla="*/ 1 h 23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59"/>
                <a:gd name="T172" fmla="*/ 0 h 233"/>
                <a:gd name="T173" fmla="*/ 259 w 259"/>
                <a:gd name="T174" fmla="*/ 233 h 23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59" h="233">
                  <a:moveTo>
                    <a:pt x="172" y="167"/>
                  </a:moveTo>
                  <a:lnTo>
                    <a:pt x="155" y="172"/>
                  </a:lnTo>
                  <a:lnTo>
                    <a:pt x="144" y="186"/>
                  </a:lnTo>
                  <a:lnTo>
                    <a:pt x="134" y="201"/>
                  </a:lnTo>
                  <a:lnTo>
                    <a:pt x="128" y="221"/>
                  </a:lnTo>
                  <a:lnTo>
                    <a:pt x="121" y="221"/>
                  </a:lnTo>
                  <a:lnTo>
                    <a:pt x="121" y="228"/>
                  </a:lnTo>
                  <a:lnTo>
                    <a:pt x="101" y="228"/>
                  </a:lnTo>
                  <a:lnTo>
                    <a:pt x="97" y="226"/>
                  </a:lnTo>
                  <a:lnTo>
                    <a:pt x="94" y="227"/>
                  </a:lnTo>
                  <a:lnTo>
                    <a:pt x="90" y="231"/>
                  </a:lnTo>
                  <a:lnTo>
                    <a:pt x="88" y="222"/>
                  </a:lnTo>
                  <a:lnTo>
                    <a:pt x="88" y="233"/>
                  </a:lnTo>
                  <a:lnTo>
                    <a:pt x="86" y="229"/>
                  </a:lnTo>
                  <a:lnTo>
                    <a:pt x="84" y="231"/>
                  </a:lnTo>
                  <a:lnTo>
                    <a:pt x="77" y="231"/>
                  </a:lnTo>
                  <a:lnTo>
                    <a:pt x="68" y="232"/>
                  </a:lnTo>
                  <a:lnTo>
                    <a:pt x="59" y="208"/>
                  </a:lnTo>
                  <a:lnTo>
                    <a:pt x="60" y="207"/>
                  </a:lnTo>
                  <a:lnTo>
                    <a:pt x="56" y="203"/>
                  </a:lnTo>
                  <a:lnTo>
                    <a:pt x="58" y="202"/>
                  </a:lnTo>
                  <a:lnTo>
                    <a:pt x="53" y="197"/>
                  </a:lnTo>
                  <a:lnTo>
                    <a:pt x="29" y="181"/>
                  </a:lnTo>
                  <a:lnTo>
                    <a:pt x="17" y="181"/>
                  </a:lnTo>
                  <a:lnTo>
                    <a:pt x="22" y="177"/>
                  </a:lnTo>
                  <a:lnTo>
                    <a:pt x="0" y="183"/>
                  </a:lnTo>
                  <a:lnTo>
                    <a:pt x="1" y="149"/>
                  </a:lnTo>
                  <a:lnTo>
                    <a:pt x="4" y="115"/>
                  </a:lnTo>
                  <a:lnTo>
                    <a:pt x="19" y="88"/>
                  </a:lnTo>
                  <a:lnTo>
                    <a:pt x="22" y="65"/>
                  </a:lnTo>
                  <a:lnTo>
                    <a:pt x="18" y="52"/>
                  </a:lnTo>
                  <a:lnTo>
                    <a:pt x="18" y="51"/>
                  </a:lnTo>
                  <a:lnTo>
                    <a:pt x="19" y="41"/>
                  </a:lnTo>
                  <a:lnTo>
                    <a:pt x="26" y="24"/>
                  </a:lnTo>
                  <a:lnTo>
                    <a:pt x="30" y="6"/>
                  </a:lnTo>
                  <a:lnTo>
                    <a:pt x="52" y="0"/>
                  </a:lnTo>
                  <a:lnTo>
                    <a:pt x="73" y="1"/>
                  </a:lnTo>
                  <a:lnTo>
                    <a:pt x="88" y="16"/>
                  </a:lnTo>
                  <a:lnTo>
                    <a:pt x="110" y="10"/>
                  </a:lnTo>
                  <a:lnTo>
                    <a:pt x="126" y="16"/>
                  </a:lnTo>
                  <a:lnTo>
                    <a:pt x="143" y="23"/>
                  </a:lnTo>
                  <a:lnTo>
                    <a:pt x="168" y="11"/>
                  </a:lnTo>
                  <a:lnTo>
                    <a:pt x="190" y="12"/>
                  </a:lnTo>
                  <a:lnTo>
                    <a:pt x="212" y="15"/>
                  </a:lnTo>
                  <a:lnTo>
                    <a:pt x="236" y="0"/>
                  </a:lnTo>
                  <a:lnTo>
                    <a:pt x="246" y="16"/>
                  </a:lnTo>
                  <a:lnTo>
                    <a:pt x="250" y="35"/>
                  </a:lnTo>
                  <a:lnTo>
                    <a:pt x="259" y="43"/>
                  </a:lnTo>
                  <a:lnTo>
                    <a:pt x="254" y="58"/>
                  </a:lnTo>
                  <a:lnTo>
                    <a:pt x="239" y="72"/>
                  </a:lnTo>
                  <a:lnTo>
                    <a:pt x="230" y="89"/>
                  </a:lnTo>
                  <a:lnTo>
                    <a:pt x="223" y="107"/>
                  </a:lnTo>
                  <a:lnTo>
                    <a:pt x="215" y="127"/>
                  </a:lnTo>
                  <a:lnTo>
                    <a:pt x="206" y="139"/>
                  </a:lnTo>
                  <a:lnTo>
                    <a:pt x="198" y="162"/>
                  </a:lnTo>
                  <a:lnTo>
                    <a:pt x="185" y="181"/>
                  </a:lnTo>
                  <a:lnTo>
                    <a:pt x="172" y="16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87" name="Freeform 43"/>
            <p:cNvSpPr>
              <a:spLocks/>
            </p:cNvSpPr>
            <p:nvPr/>
          </p:nvSpPr>
          <p:spPr bwMode="auto">
            <a:xfrm>
              <a:off x="2625" y="1876"/>
              <a:ext cx="43" cy="107"/>
            </a:xfrm>
            <a:custGeom>
              <a:avLst/>
              <a:gdLst>
                <a:gd name="T0" fmla="*/ 1 w 64"/>
                <a:gd name="T1" fmla="*/ 1 h 151"/>
                <a:gd name="T2" fmla="*/ 1 w 64"/>
                <a:gd name="T3" fmla="*/ 1 h 151"/>
                <a:gd name="T4" fmla="*/ 0 w 64"/>
                <a:gd name="T5" fmla="*/ 1 h 151"/>
                <a:gd name="T6" fmla="*/ 1 w 64"/>
                <a:gd name="T7" fmla="*/ 1 h 151"/>
                <a:gd name="T8" fmla="*/ 1 w 64"/>
                <a:gd name="T9" fmla="*/ 1 h 151"/>
                <a:gd name="T10" fmla="*/ 1 w 64"/>
                <a:gd name="T11" fmla="*/ 1 h 151"/>
                <a:gd name="T12" fmla="*/ 1 w 64"/>
                <a:gd name="T13" fmla="*/ 1 h 151"/>
                <a:gd name="T14" fmla="*/ 1 w 64"/>
                <a:gd name="T15" fmla="*/ 1 h 151"/>
                <a:gd name="T16" fmla="*/ 1 w 64"/>
                <a:gd name="T17" fmla="*/ 1 h 151"/>
                <a:gd name="T18" fmla="*/ 1 w 64"/>
                <a:gd name="T19" fmla="*/ 1 h 151"/>
                <a:gd name="T20" fmla="*/ 1 w 64"/>
                <a:gd name="T21" fmla="*/ 1 h 151"/>
                <a:gd name="T22" fmla="*/ 1 w 64"/>
                <a:gd name="T23" fmla="*/ 1 h 151"/>
                <a:gd name="T24" fmla="*/ 1 w 64"/>
                <a:gd name="T25" fmla="*/ 1 h 151"/>
                <a:gd name="T26" fmla="*/ 1 w 64"/>
                <a:gd name="T27" fmla="*/ 1 h 151"/>
                <a:gd name="T28" fmla="*/ 1 w 64"/>
                <a:gd name="T29" fmla="*/ 1 h 151"/>
                <a:gd name="T30" fmla="*/ 1 w 64"/>
                <a:gd name="T31" fmla="*/ 1 h 151"/>
                <a:gd name="T32" fmla="*/ 1 w 64"/>
                <a:gd name="T33" fmla="*/ 0 h 151"/>
                <a:gd name="T34" fmla="*/ 1 w 64"/>
                <a:gd name="T35" fmla="*/ 1 h 151"/>
                <a:gd name="T36" fmla="*/ 1 w 64"/>
                <a:gd name="T37" fmla="*/ 1 h 151"/>
                <a:gd name="T38" fmla="*/ 1 w 64"/>
                <a:gd name="T39" fmla="*/ 1 h 151"/>
                <a:gd name="T40" fmla="*/ 1 w 64"/>
                <a:gd name="T41" fmla="*/ 1 h 151"/>
                <a:gd name="T42" fmla="*/ 1 w 64"/>
                <a:gd name="T43" fmla="*/ 1 h 151"/>
                <a:gd name="T44" fmla="*/ 1 w 64"/>
                <a:gd name="T45" fmla="*/ 1 h 1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4"/>
                <a:gd name="T70" fmla="*/ 0 h 151"/>
                <a:gd name="T71" fmla="*/ 64 w 64"/>
                <a:gd name="T72" fmla="*/ 151 h 15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4" h="151">
                  <a:moveTo>
                    <a:pt x="4" y="32"/>
                  </a:moveTo>
                  <a:lnTo>
                    <a:pt x="2" y="32"/>
                  </a:lnTo>
                  <a:lnTo>
                    <a:pt x="0" y="43"/>
                  </a:lnTo>
                  <a:lnTo>
                    <a:pt x="12" y="58"/>
                  </a:lnTo>
                  <a:lnTo>
                    <a:pt x="14" y="77"/>
                  </a:lnTo>
                  <a:lnTo>
                    <a:pt x="16" y="96"/>
                  </a:lnTo>
                  <a:lnTo>
                    <a:pt x="17" y="114"/>
                  </a:lnTo>
                  <a:lnTo>
                    <a:pt x="17" y="133"/>
                  </a:lnTo>
                  <a:lnTo>
                    <a:pt x="18" y="151"/>
                  </a:lnTo>
                  <a:lnTo>
                    <a:pt x="42" y="148"/>
                  </a:lnTo>
                  <a:lnTo>
                    <a:pt x="43" y="114"/>
                  </a:lnTo>
                  <a:lnTo>
                    <a:pt x="46" y="80"/>
                  </a:lnTo>
                  <a:lnTo>
                    <a:pt x="61" y="53"/>
                  </a:lnTo>
                  <a:lnTo>
                    <a:pt x="64" y="30"/>
                  </a:lnTo>
                  <a:lnTo>
                    <a:pt x="60" y="17"/>
                  </a:lnTo>
                  <a:lnTo>
                    <a:pt x="60" y="16"/>
                  </a:lnTo>
                  <a:lnTo>
                    <a:pt x="41" y="0"/>
                  </a:lnTo>
                  <a:lnTo>
                    <a:pt x="35" y="7"/>
                  </a:lnTo>
                  <a:lnTo>
                    <a:pt x="35" y="11"/>
                  </a:lnTo>
                  <a:lnTo>
                    <a:pt x="35" y="12"/>
                  </a:lnTo>
                  <a:lnTo>
                    <a:pt x="34" y="13"/>
                  </a:lnTo>
                  <a:lnTo>
                    <a:pt x="17" y="24"/>
                  </a:lnTo>
                  <a:lnTo>
                    <a:pt x="4" y="3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88" name="Freeform 44"/>
            <p:cNvSpPr>
              <a:spLocks/>
            </p:cNvSpPr>
            <p:nvPr/>
          </p:nvSpPr>
          <p:spPr bwMode="auto">
            <a:xfrm>
              <a:off x="2526" y="1829"/>
              <a:ext cx="123" cy="97"/>
            </a:xfrm>
            <a:custGeom>
              <a:avLst/>
              <a:gdLst>
                <a:gd name="T0" fmla="*/ 1 w 173"/>
                <a:gd name="T1" fmla="*/ 1 h 139"/>
                <a:gd name="T2" fmla="*/ 1 w 173"/>
                <a:gd name="T3" fmla="*/ 1 h 139"/>
                <a:gd name="T4" fmla="*/ 1 w 173"/>
                <a:gd name="T5" fmla="*/ 1 h 139"/>
                <a:gd name="T6" fmla="*/ 1 w 173"/>
                <a:gd name="T7" fmla="*/ 1 h 139"/>
                <a:gd name="T8" fmla="*/ 1 w 173"/>
                <a:gd name="T9" fmla="*/ 1 h 139"/>
                <a:gd name="T10" fmla="*/ 1 w 173"/>
                <a:gd name="T11" fmla="*/ 1 h 139"/>
                <a:gd name="T12" fmla="*/ 1 w 173"/>
                <a:gd name="T13" fmla="*/ 1 h 139"/>
                <a:gd name="T14" fmla="*/ 1 w 173"/>
                <a:gd name="T15" fmla="*/ 1 h 139"/>
                <a:gd name="T16" fmla="*/ 1 w 173"/>
                <a:gd name="T17" fmla="*/ 1 h 139"/>
                <a:gd name="T18" fmla="*/ 1 w 173"/>
                <a:gd name="T19" fmla="*/ 1 h 139"/>
                <a:gd name="T20" fmla="*/ 1 w 173"/>
                <a:gd name="T21" fmla="*/ 1 h 139"/>
                <a:gd name="T22" fmla="*/ 0 w 173"/>
                <a:gd name="T23" fmla="*/ 1 h 139"/>
                <a:gd name="T24" fmla="*/ 1 w 173"/>
                <a:gd name="T25" fmla="*/ 1 h 139"/>
                <a:gd name="T26" fmla="*/ 1 w 173"/>
                <a:gd name="T27" fmla="*/ 1 h 139"/>
                <a:gd name="T28" fmla="*/ 1 w 173"/>
                <a:gd name="T29" fmla="*/ 1 h 139"/>
                <a:gd name="T30" fmla="*/ 1 w 173"/>
                <a:gd name="T31" fmla="*/ 1 h 139"/>
                <a:gd name="T32" fmla="*/ 1 w 173"/>
                <a:gd name="T33" fmla="*/ 1 h 139"/>
                <a:gd name="T34" fmla="*/ 1 w 173"/>
                <a:gd name="T35" fmla="*/ 1 h 139"/>
                <a:gd name="T36" fmla="*/ 1 w 173"/>
                <a:gd name="T37" fmla="*/ 1 h 139"/>
                <a:gd name="T38" fmla="*/ 1 w 173"/>
                <a:gd name="T39" fmla="*/ 1 h 139"/>
                <a:gd name="T40" fmla="*/ 1 w 173"/>
                <a:gd name="T41" fmla="*/ 1 h 139"/>
                <a:gd name="T42" fmla="*/ 1 w 173"/>
                <a:gd name="T43" fmla="*/ 1 h 139"/>
                <a:gd name="T44" fmla="*/ 1 w 173"/>
                <a:gd name="T45" fmla="*/ 1 h 139"/>
                <a:gd name="T46" fmla="*/ 1 w 173"/>
                <a:gd name="T47" fmla="*/ 0 h 139"/>
                <a:gd name="T48" fmla="*/ 1 w 173"/>
                <a:gd name="T49" fmla="*/ 1 h 139"/>
                <a:gd name="T50" fmla="*/ 1 w 173"/>
                <a:gd name="T51" fmla="*/ 1 h 139"/>
                <a:gd name="T52" fmla="*/ 1 w 173"/>
                <a:gd name="T53" fmla="*/ 1 h 139"/>
                <a:gd name="T54" fmla="*/ 1 w 173"/>
                <a:gd name="T55" fmla="*/ 1 h 139"/>
                <a:gd name="T56" fmla="*/ 1 w 173"/>
                <a:gd name="T57" fmla="*/ 1 h 139"/>
                <a:gd name="T58" fmla="*/ 1 w 173"/>
                <a:gd name="T59" fmla="*/ 1 h 139"/>
                <a:gd name="T60" fmla="*/ 1 w 173"/>
                <a:gd name="T61" fmla="*/ 1 h 139"/>
                <a:gd name="T62" fmla="*/ 1 w 173"/>
                <a:gd name="T63" fmla="*/ 1 h 139"/>
                <a:gd name="T64" fmla="*/ 1 w 173"/>
                <a:gd name="T65" fmla="*/ 1 h 139"/>
                <a:gd name="T66" fmla="*/ 1 w 173"/>
                <a:gd name="T67" fmla="*/ 1 h 139"/>
                <a:gd name="T68" fmla="*/ 1 w 173"/>
                <a:gd name="T69" fmla="*/ 1 h 139"/>
                <a:gd name="T70" fmla="*/ 1 w 173"/>
                <a:gd name="T71" fmla="*/ 1 h 139"/>
                <a:gd name="T72" fmla="*/ 1 w 173"/>
                <a:gd name="T73" fmla="*/ 1 h 13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73"/>
                <a:gd name="T112" fmla="*/ 0 h 139"/>
                <a:gd name="T113" fmla="*/ 173 w 173"/>
                <a:gd name="T114" fmla="*/ 139 h 139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73" h="139">
                  <a:moveTo>
                    <a:pt x="142" y="100"/>
                  </a:moveTo>
                  <a:lnTo>
                    <a:pt x="134" y="100"/>
                  </a:lnTo>
                  <a:lnTo>
                    <a:pt x="116" y="98"/>
                  </a:lnTo>
                  <a:lnTo>
                    <a:pt x="110" y="99"/>
                  </a:lnTo>
                  <a:lnTo>
                    <a:pt x="84" y="100"/>
                  </a:lnTo>
                  <a:lnTo>
                    <a:pt x="59" y="100"/>
                  </a:lnTo>
                  <a:lnTo>
                    <a:pt x="60" y="120"/>
                  </a:lnTo>
                  <a:lnTo>
                    <a:pt x="61" y="139"/>
                  </a:lnTo>
                  <a:lnTo>
                    <a:pt x="42" y="128"/>
                  </a:lnTo>
                  <a:lnTo>
                    <a:pt x="22" y="133"/>
                  </a:lnTo>
                  <a:lnTo>
                    <a:pt x="8" y="120"/>
                  </a:lnTo>
                  <a:lnTo>
                    <a:pt x="0" y="115"/>
                  </a:lnTo>
                  <a:lnTo>
                    <a:pt x="5" y="82"/>
                  </a:lnTo>
                  <a:lnTo>
                    <a:pt x="12" y="76"/>
                  </a:lnTo>
                  <a:lnTo>
                    <a:pt x="24" y="66"/>
                  </a:lnTo>
                  <a:lnTo>
                    <a:pt x="29" y="55"/>
                  </a:lnTo>
                  <a:lnTo>
                    <a:pt x="31" y="42"/>
                  </a:lnTo>
                  <a:lnTo>
                    <a:pt x="46" y="46"/>
                  </a:lnTo>
                  <a:lnTo>
                    <a:pt x="49" y="38"/>
                  </a:lnTo>
                  <a:lnTo>
                    <a:pt x="53" y="36"/>
                  </a:lnTo>
                  <a:lnTo>
                    <a:pt x="61" y="24"/>
                  </a:lnTo>
                  <a:lnTo>
                    <a:pt x="74" y="22"/>
                  </a:lnTo>
                  <a:lnTo>
                    <a:pt x="77" y="13"/>
                  </a:lnTo>
                  <a:lnTo>
                    <a:pt x="104" y="0"/>
                  </a:lnTo>
                  <a:lnTo>
                    <a:pt x="125" y="2"/>
                  </a:lnTo>
                  <a:lnTo>
                    <a:pt x="127" y="24"/>
                  </a:lnTo>
                  <a:lnTo>
                    <a:pt x="145" y="42"/>
                  </a:lnTo>
                  <a:lnTo>
                    <a:pt x="142" y="43"/>
                  </a:lnTo>
                  <a:lnTo>
                    <a:pt x="142" y="50"/>
                  </a:lnTo>
                  <a:lnTo>
                    <a:pt x="155" y="61"/>
                  </a:lnTo>
                  <a:lnTo>
                    <a:pt x="162" y="58"/>
                  </a:lnTo>
                  <a:lnTo>
                    <a:pt x="167" y="67"/>
                  </a:lnTo>
                  <a:lnTo>
                    <a:pt x="173" y="79"/>
                  </a:lnTo>
                  <a:lnTo>
                    <a:pt x="173" y="80"/>
                  </a:lnTo>
                  <a:lnTo>
                    <a:pt x="172" y="81"/>
                  </a:lnTo>
                  <a:lnTo>
                    <a:pt x="155" y="92"/>
                  </a:lnTo>
                  <a:lnTo>
                    <a:pt x="142" y="10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89" name="Freeform 45"/>
            <p:cNvSpPr>
              <a:spLocks/>
            </p:cNvSpPr>
            <p:nvPr/>
          </p:nvSpPr>
          <p:spPr bwMode="auto">
            <a:xfrm>
              <a:off x="2743" y="1862"/>
              <a:ext cx="118" cy="199"/>
            </a:xfrm>
            <a:custGeom>
              <a:avLst/>
              <a:gdLst>
                <a:gd name="T0" fmla="*/ 1 w 169"/>
                <a:gd name="T1" fmla="*/ 1 h 281"/>
                <a:gd name="T2" fmla="*/ 1 w 169"/>
                <a:gd name="T3" fmla="*/ 1 h 281"/>
                <a:gd name="T4" fmla="*/ 1 w 169"/>
                <a:gd name="T5" fmla="*/ 1 h 281"/>
                <a:gd name="T6" fmla="*/ 1 w 169"/>
                <a:gd name="T7" fmla="*/ 1 h 281"/>
                <a:gd name="T8" fmla="*/ 1 w 169"/>
                <a:gd name="T9" fmla="*/ 1 h 281"/>
                <a:gd name="T10" fmla="*/ 1 w 169"/>
                <a:gd name="T11" fmla="*/ 1 h 281"/>
                <a:gd name="T12" fmla="*/ 1 w 169"/>
                <a:gd name="T13" fmla="*/ 1 h 281"/>
                <a:gd name="T14" fmla="*/ 1 w 169"/>
                <a:gd name="T15" fmla="*/ 1 h 281"/>
                <a:gd name="T16" fmla="*/ 1 w 169"/>
                <a:gd name="T17" fmla="*/ 2 h 281"/>
                <a:gd name="T18" fmla="*/ 1 w 169"/>
                <a:gd name="T19" fmla="*/ 2 h 281"/>
                <a:gd name="T20" fmla="*/ 1 w 169"/>
                <a:gd name="T21" fmla="*/ 2 h 281"/>
                <a:gd name="T22" fmla="*/ 1 w 169"/>
                <a:gd name="T23" fmla="*/ 2 h 281"/>
                <a:gd name="T24" fmla="*/ 1 w 169"/>
                <a:gd name="T25" fmla="*/ 2 h 281"/>
                <a:gd name="T26" fmla="*/ 1 w 169"/>
                <a:gd name="T27" fmla="*/ 2 h 281"/>
                <a:gd name="T28" fmla="*/ 1 w 169"/>
                <a:gd name="T29" fmla="*/ 2 h 281"/>
                <a:gd name="T30" fmla="*/ 1 w 169"/>
                <a:gd name="T31" fmla="*/ 2 h 281"/>
                <a:gd name="T32" fmla="*/ 1 w 169"/>
                <a:gd name="T33" fmla="*/ 2 h 281"/>
                <a:gd name="T34" fmla="*/ 1 w 169"/>
                <a:gd name="T35" fmla="*/ 2 h 281"/>
                <a:gd name="T36" fmla="*/ 1 w 169"/>
                <a:gd name="T37" fmla="*/ 2 h 281"/>
                <a:gd name="T38" fmla="*/ 1 w 169"/>
                <a:gd name="T39" fmla="*/ 2 h 281"/>
                <a:gd name="T40" fmla="*/ 1 w 169"/>
                <a:gd name="T41" fmla="*/ 2 h 281"/>
                <a:gd name="T42" fmla="*/ 1 w 169"/>
                <a:gd name="T43" fmla="*/ 2 h 281"/>
                <a:gd name="T44" fmla="*/ 1 w 169"/>
                <a:gd name="T45" fmla="*/ 2 h 281"/>
                <a:gd name="T46" fmla="*/ 1 w 169"/>
                <a:gd name="T47" fmla="*/ 1 h 281"/>
                <a:gd name="T48" fmla="*/ 0 w 169"/>
                <a:gd name="T49" fmla="*/ 1 h 281"/>
                <a:gd name="T50" fmla="*/ 1 w 169"/>
                <a:gd name="T51" fmla="*/ 1 h 281"/>
                <a:gd name="T52" fmla="*/ 1 w 169"/>
                <a:gd name="T53" fmla="*/ 1 h 281"/>
                <a:gd name="T54" fmla="*/ 1 w 169"/>
                <a:gd name="T55" fmla="*/ 1 h 281"/>
                <a:gd name="T56" fmla="*/ 1 w 169"/>
                <a:gd name="T57" fmla="*/ 1 h 281"/>
                <a:gd name="T58" fmla="*/ 1 w 169"/>
                <a:gd name="T59" fmla="*/ 1 h 281"/>
                <a:gd name="T60" fmla="*/ 1 w 169"/>
                <a:gd name="T61" fmla="*/ 1 h 281"/>
                <a:gd name="T62" fmla="*/ 1 w 169"/>
                <a:gd name="T63" fmla="*/ 1 h 281"/>
                <a:gd name="T64" fmla="*/ 1 w 169"/>
                <a:gd name="T65" fmla="*/ 1 h 281"/>
                <a:gd name="T66" fmla="*/ 1 w 169"/>
                <a:gd name="T67" fmla="*/ 1 h 281"/>
                <a:gd name="T68" fmla="*/ 1 w 169"/>
                <a:gd name="T69" fmla="*/ 1 h 281"/>
                <a:gd name="T70" fmla="*/ 1 w 169"/>
                <a:gd name="T71" fmla="*/ 1 h 281"/>
                <a:gd name="T72" fmla="*/ 1 w 169"/>
                <a:gd name="T73" fmla="*/ 1 h 281"/>
                <a:gd name="T74" fmla="*/ 1 w 169"/>
                <a:gd name="T75" fmla="*/ 1 h 281"/>
                <a:gd name="T76" fmla="*/ 1 w 169"/>
                <a:gd name="T77" fmla="*/ 1 h 281"/>
                <a:gd name="T78" fmla="*/ 1 w 169"/>
                <a:gd name="T79" fmla="*/ 1 h 281"/>
                <a:gd name="T80" fmla="*/ 1 w 169"/>
                <a:gd name="T81" fmla="*/ 0 h 281"/>
                <a:gd name="T82" fmla="*/ 1 w 169"/>
                <a:gd name="T83" fmla="*/ 0 h 281"/>
                <a:gd name="T84" fmla="*/ 1 w 169"/>
                <a:gd name="T85" fmla="*/ 1 h 281"/>
                <a:gd name="T86" fmla="*/ 1 w 169"/>
                <a:gd name="T87" fmla="*/ 1 h 281"/>
                <a:gd name="T88" fmla="*/ 1 w 169"/>
                <a:gd name="T89" fmla="*/ 1 h 281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69"/>
                <a:gd name="T136" fmla="*/ 0 h 281"/>
                <a:gd name="T137" fmla="*/ 169 w 169"/>
                <a:gd name="T138" fmla="*/ 281 h 281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69" h="281">
                  <a:moveTo>
                    <a:pt x="156" y="78"/>
                  </a:moveTo>
                  <a:lnTo>
                    <a:pt x="131" y="78"/>
                  </a:lnTo>
                  <a:lnTo>
                    <a:pt x="120" y="83"/>
                  </a:lnTo>
                  <a:lnTo>
                    <a:pt x="139" y="107"/>
                  </a:lnTo>
                  <a:lnTo>
                    <a:pt x="152" y="138"/>
                  </a:lnTo>
                  <a:lnTo>
                    <a:pt x="142" y="158"/>
                  </a:lnTo>
                  <a:lnTo>
                    <a:pt x="131" y="179"/>
                  </a:lnTo>
                  <a:lnTo>
                    <a:pt x="138" y="212"/>
                  </a:lnTo>
                  <a:lnTo>
                    <a:pt x="150" y="230"/>
                  </a:lnTo>
                  <a:lnTo>
                    <a:pt x="162" y="248"/>
                  </a:lnTo>
                  <a:lnTo>
                    <a:pt x="169" y="270"/>
                  </a:lnTo>
                  <a:lnTo>
                    <a:pt x="164" y="281"/>
                  </a:lnTo>
                  <a:lnTo>
                    <a:pt x="146" y="276"/>
                  </a:lnTo>
                  <a:lnTo>
                    <a:pt x="127" y="272"/>
                  </a:lnTo>
                  <a:lnTo>
                    <a:pt x="106" y="271"/>
                  </a:lnTo>
                  <a:lnTo>
                    <a:pt x="84" y="271"/>
                  </a:lnTo>
                  <a:lnTo>
                    <a:pt x="62" y="271"/>
                  </a:lnTo>
                  <a:lnTo>
                    <a:pt x="46" y="269"/>
                  </a:lnTo>
                  <a:lnTo>
                    <a:pt x="29" y="266"/>
                  </a:lnTo>
                  <a:lnTo>
                    <a:pt x="29" y="241"/>
                  </a:lnTo>
                  <a:lnTo>
                    <a:pt x="26" y="229"/>
                  </a:lnTo>
                  <a:lnTo>
                    <a:pt x="25" y="225"/>
                  </a:lnTo>
                  <a:lnTo>
                    <a:pt x="11" y="223"/>
                  </a:lnTo>
                  <a:lnTo>
                    <a:pt x="4" y="209"/>
                  </a:lnTo>
                  <a:lnTo>
                    <a:pt x="0" y="210"/>
                  </a:lnTo>
                  <a:lnTo>
                    <a:pt x="2" y="205"/>
                  </a:lnTo>
                  <a:lnTo>
                    <a:pt x="8" y="185"/>
                  </a:lnTo>
                  <a:lnTo>
                    <a:pt x="18" y="170"/>
                  </a:lnTo>
                  <a:lnTo>
                    <a:pt x="29" y="156"/>
                  </a:lnTo>
                  <a:lnTo>
                    <a:pt x="46" y="151"/>
                  </a:lnTo>
                  <a:lnTo>
                    <a:pt x="59" y="165"/>
                  </a:lnTo>
                  <a:lnTo>
                    <a:pt x="72" y="146"/>
                  </a:lnTo>
                  <a:lnTo>
                    <a:pt x="80" y="123"/>
                  </a:lnTo>
                  <a:lnTo>
                    <a:pt x="89" y="111"/>
                  </a:lnTo>
                  <a:lnTo>
                    <a:pt x="97" y="91"/>
                  </a:lnTo>
                  <a:lnTo>
                    <a:pt x="104" y="73"/>
                  </a:lnTo>
                  <a:lnTo>
                    <a:pt x="113" y="56"/>
                  </a:lnTo>
                  <a:lnTo>
                    <a:pt x="128" y="42"/>
                  </a:lnTo>
                  <a:lnTo>
                    <a:pt x="133" y="27"/>
                  </a:lnTo>
                  <a:lnTo>
                    <a:pt x="124" y="19"/>
                  </a:lnTo>
                  <a:lnTo>
                    <a:pt x="120" y="0"/>
                  </a:lnTo>
                  <a:lnTo>
                    <a:pt x="128" y="0"/>
                  </a:lnTo>
                  <a:lnTo>
                    <a:pt x="139" y="25"/>
                  </a:lnTo>
                  <a:lnTo>
                    <a:pt x="142" y="53"/>
                  </a:lnTo>
                  <a:lnTo>
                    <a:pt x="156" y="7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90" name="Freeform 46"/>
            <p:cNvSpPr>
              <a:spLocks/>
            </p:cNvSpPr>
            <p:nvPr/>
          </p:nvSpPr>
          <p:spPr bwMode="auto">
            <a:xfrm>
              <a:off x="2834" y="1900"/>
              <a:ext cx="200" cy="152"/>
            </a:xfrm>
            <a:custGeom>
              <a:avLst/>
              <a:gdLst>
                <a:gd name="T0" fmla="*/ 1 w 284"/>
                <a:gd name="T1" fmla="*/ 1 h 216"/>
                <a:gd name="T2" fmla="*/ 1 w 284"/>
                <a:gd name="T3" fmla="*/ 1 h 216"/>
                <a:gd name="T4" fmla="*/ 1 w 284"/>
                <a:gd name="T5" fmla="*/ 1 h 216"/>
                <a:gd name="T6" fmla="*/ 1 w 284"/>
                <a:gd name="T7" fmla="*/ 1 h 216"/>
                <a:gd name="T8" fmla="*/ 1 w 284"/>
                <a:gd name="T9" fmla="*/ 1 h 216"/>
                <a:gd name="T10" fmla="*/ 1 w 284"/>
                <a:gd name="T11" fmla="*/ 0 h 216"/>
                <a:gd name="T12" fmla="*/ 1 w 284"/>
                <a:gd name="T13" fmla="*/ 1 h 216"/>
                <a:gd name="T14" fmla="*/ 1 w 284"/>
                <a:gd name="T15" fmla="*/ 1 h 216"/>
                <a:gd name="T16" fmla="*/ 1 w 284"/>
                <a:gd name="T17" fmla="*/ 1 h 216"/>
                <a:gd name="T18" fmla="*/ 1 w 284"/>
                <a:gd name="T19" fmla="*/ 1 h 216"/>
                <a:gd name="T20" fmla="*/ 1 w 284"/>
                <a:gd name="T21" fmla="*/ 1 h 216"/>
                <a:gd name="T22" fmla="*/ 2 w 284"/>
                <a:gd name="T23" fmla="*/ 1 h 216"/>
                <a:gd name="T24" fmla="*/ 2 w 284"/>
                <a:gd name="T25" fmla="*/ 1 h 216"/>
                <a:gd name="T26" fmla="*/ 2 w 284"/>
                <a:gd name="T27" fmla="*/ 1 h 216"/>
                <a:gd name="T28" fmla="*/ 2 w 284"/>
                <a:gd name="T29" fmla="*/ 1 h 216"/>
                <a:gd name="T30" fmla="*/ 2 w 284"/>
                <a:gd name="T31" fmla="*/ 1 h 216"/>
                <a:gd name="T32" fmla="*/ 2 w 284"/>
                <a:gd name="T33" fmla="*/ 1 h 216"/>
                <a:gd name="T34" fmla="*/ 2 w 284"/>
                <a:gd name="T35" fmla="*/ 1 h 216"/>
                <a:gd name="T36" fmla="*/ 2 w 284"/>
                <a:gd name="T37" fmla="*/ 1 h 216"/>
                <a:gd name="T38" fmla="*/ 2 w 284"/>
                <a:gd name="T39" fmla="*/ 1 h 216"/>
                <a:gd name="T40" fmla="*/ 1 w 284"/>
                <a:gd name="T41" fmla="*/ 1 h 216"/>
                <a:gd name="T42" fmla="*/ 1 w 284"/>
                <a:gd name="T43" fmla="*/ 1 h 216"/>
                <a:gd name="T44" fmla="*/ 1 w 284"/>
                <a:gd name="T45" fmla="*/ 1 h 216"/>
                <a:gd name="T46" fmla="*/ 1 w 284"/>
                <a:gd name="T47" fmla="*/ 1 h 216"/>
                <a:gd name="T48" fmla="*/ 1 w 284"/>
                <a:gd name="T49" fmla="*/ 1 h 216"/>
                <a:gd name="T50" fmla="*/ 1 w 284"/>
                <a:gd name="T51" fmla="*/ 1 h 216"/>
                <a:gd name="T52" fmla="*/ 1 w 284"/>
                <a:gd name="T53" fmla="*/ 1 h 216"/>
                <a:gd name="T54" fmla="*/ 1 w 284"/>
                <a:gd name="T55" fmla="*/ 1 h 216"/>
                <a:gd name="T56" fmla="*/ 1 w 284"/>
                <a:gd name="T57" fmla="*/ 1 h 216"/>
                <a:gd name="T58" fmla="*/ 1 w 284"/>
                <a:gd name="T59" fmla="*/ 1 h 216"/>
                <a:gd name="T60" fmla="*/ 1 w 284"/>
                <a:gd name="T61" fmla="*/ 1 h 216"/>
                <a:gd name="T62" fmla="*/ 1 w 284"/>
                <a:gd name="T63" fmla="*/ 1 h 216"/>
                <a:gd name="T64" fmla="*/ 1 w 284"/>
                <a:gd name="T65" fmla="*/ 1 h 216"/>
                <a:gd name="T66" fmla="*/ 1 w 284"/>
                <a:gd name="T67" fmla="*/ 1 h 216"/>
                <a:gd name="T68" fmla="*/ 1 w 284"/>
                <a:gd name="T69" fmla="*/ 1 h 216"/>
                <a:gd name="T70" fmla="*/ 1 w 284"/>
                <a:gd name="T71" fmla="*/ 1 h 216"/>
                <a:gd name="T72" fmla="*/ 1 w 284"/>
                <a:gd name="T73" fmla="*/ 1 h 216"/>
                <a:gd name="T74" fmla="*/ 0 w 284"/>
                <a:gd name="T75" fmla="*/ 1 h 216"/>
                <a:gd name="T76" fmla="*/ 1 w 284"/>
                <a:gd name="T77" fmla="*/ 1 h 216"/>
                <a:gd name="T78" fmla="*/ 1 w 284"/>
                <a:gd name="T79" fmla="*/ 1 h 216"/>
                <a:gd name="T80" fmla="*/ 1 w 284"/>
                <a:gd name="T81" fmla="*/ 1 h 216"/>
                <a:gd name="T82" fmla="*/ 1 w 284"/>
                <a:gd name="T83" fmla="*/ 1 h 216"/>
                <a:gd name="T84" fmla="*/ 1 w 284"/>
                <a:gd name="T85" fmla="*/ 1 h 216"/>
                <a:gd name="T86" fmla="*/ 1 w 284"/>
                <a:gd name="T87" fmla="*/ 1 h 216"/>
                <a:gd name="T88" fmla="*/ 1 w 284"/>
                <a:gd name="T89" fmla="*/ 1 h 2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84"/>
                <a:gd name="T136" fmla="*/ 0 h 216"/>
                <a:gd name="T137" fmla="*/ 284 w 284"/>
                <a:gd name="T138" fmla="*/ 216 h 2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84" h="216">
                  <a:moveTo>
                    <a:pt x="99" y="60"/>
                  </a:moveTo>
                  <a:lnTo>
                    <a:pt x="96" y="51"/>
                  </a:lnTo>
                  <a:lnTo>
                    <a:pt x="127" y="45"/>
                  </a:lnTo>
                  <a:lnTo>
                    <a:pt x="144" y="25"/>
                  </a:lnTo>
                  <a:lnTo>
                    <a:pt x="161" y="5"/>
                  </a:lnTo>
                  <a:lnTo>
                    <a:pt x="182" y="0"/>
                  </a:lnTo>
                  <a:lnTo>
                    <a:pt x="191" y="15"/>
                  </a:lnTo>
                  <a:lnTo>
                    <a:pt x="200" y="31"/>
                  </a:lnTo>
                  <a:lnTo>
                    <a:pt x="197" y="55"/>
                  </a:lnTo>
                  <a:lnTo>
                    <a:pt x="212" y="59"/>
                  </a:lnTo>
                  <a:lnTo>
                    <a:pt x="216" y="66"/>
                  </a:lnTo>
                  <a:lnTo>
                    <a:pt x="236" y="80"/>
                  </a:lnTo>
                  <a:lnTo>
                    <a:pt x="240" y="91"/>
                  </a:lnTo>
                  <a:lnTo>
                    <a:pt x="260" y="109"/>
                  </a:lnTo>
                  <a:lnTo>
                    <a:pt x="269" y="122"/>
                  </a:lnTo>
                  <a:lnTo>
                    <a:pt x="281" y="139"/>
                  </a:lnTo>
                  <a:lnTo>
                    <a:pt x="284" y="146"/>
                  </a:lnTo>
                  <a:lnTo>
                    <a:pt x="272" y="144"/>
                  </a:lnTo>
                  <a:lnTo>
                    <a:pt x="256" y="141"/>
                  </a:lnTo>
                  <a:lnTo>
                    <a:pt x="239" y="140"/>
                  </a:lnTo>
                  <a:lnTo>
                    <a:pt x="230" y="147"/>
                  </a:lnTo>
                  <a:lnTo>
                    <a:pt x="215" y="147"/>
                  </a:lnTo>
                  <a:lnTo>
                    <a:pt x="192" y="155"/>
                  </a:lnTo>
                  <a:lnTo>
                    <a:pt x="182" y="153"/>
                  </a:lnTo>
                  <a:lnTo>
                    <a:pt x="173" y="169"/>
                  </a:lnTo>
                  <a:lnTo>
                    <a:pt x="151" y="163"/>
                  </a:lnTo>
                  <a:lnTo>
                    <a:pt x="131" y="157"/>
                  </a:lnTo>
                  <a:lnTo>
                    <a:pt x="108" y="144"/>
                  </a:lnTo>
                  <a:lnTo>
                    <a:pt x="90" y="165"/>
                  </a:lnTo>
                  <a:lnTo>
                    <a:pt x="91" y="185"/>
                  </a:lnTo>
                  <a:lnTo>
                    <a:pt x="74" y="183"/>
                  </a:lnTo>
                  <a:lnTo>
                    <a:pt x="57" y="182"/>
                  </a:lnTo>
                  <a:lnTo>
                    <a:pt x="45" y="189"/>
                  </a:lnTo>
                  <a:lnTo>
                    <a:pt x="38" y="216"/>
                  </a:lnTo>
                  <a:lnTo>
                    <a:pt x="31" y="194"/>
                  </a:lnTo>
                  <a:lnTo>
                    <a:pt x="19" y="176"/>
                  </a:lnTo>
                  <a:lnTo>
                    <a:pt x="7" y="158"/>
                  </a:lnTo>
                  <a:lnTo>
                    <a:pt x="0" y="125"/>
                  </a:lnTo>
                  <a:lnTo>
                    <a:pt x="11" y="104"/>
                  </a:lnTo>
                  <a:lnTo>
                    <a:pt x="21" y="84"/>
                  </a:lnTo>
                  <a:lnTo>
                    <a:pt x="42" y="78"/>
                  </a:lnTo>
                  <a:lnTo>
                    <a:pt x="47" y="80"/>
                  </a:lnTo>
                  <a:lnTo>
                    <a:pt x="59" y="78"/>
                  </a:lnTo>
                  <a:lnTo>
                    <a:pt x="89" y="72"/>
                  </a:lnTo>
                  <a:lnTo>
                    <a:pt x="99" y="6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91" name="Freeform 47"/>
            <p:cNvSpPr>
              <a:spLocks/>
            </p:cNvSpPr>
            <p:nvPr/>
          </p:nvSpPr>
          <p:spPr bwMode="auto">
            <a:xfrm>
              <a:off x="2355" y="1851"/>
              <a:ext cx="45" cy="13"/>
            </a:xfrm>
            <a:custGeom>
              <a:avLst/>
              <a:gdLst>
                <a:gd name="T0" fmla="*/ 1 w 64"/>
                <a:gd name="T1" fmla="*/ 1 h 18"/>
                <a:gd name="T2" fmla="*/ 0 w 64"/>
                <a:gd name="T3" fmla="*/ 1 h 18"/>
                <a:gd name="T4" fmla="*/ 1 w 64"/>
                <a:gd name="T5" fmla="*/ 1 h 18"/>
                <a:gd name="T6" fmla="*/ 1 w 64"/>
                <a:gd name="T7" fmla="*/ 1 h 18"/>
                <a:gd name="T8" fmla="*/ 1 w 64"/>
                <a:gd name="T9" fmla="*/ 1 h 18"/>
                <a:gd name="T10" fmla="*/ 1 w 64"/>
                <a:gd name="T11" fmla="*/ 1 h 18"/>
                <a:gd name="T12" fmla="*/ 1 w 64"/>
                <a:gd name="T13" fmla="*/ 0 h 18"/>
                <a:gd name="T14" fmla="*/ 1 w 64"/>
                <a:gd name="T15" fmla="*/ 1 h 18"/>
                <a:gd name="T16" fmla="*/ 1 w 64"/>
                <a:gd name="T17" fmla="*/ 1 h 18"/>
                <a:gd name="T18" fmla="*/ 1 w 64"/>
                <a:gd name="T19" fmla="*/ 1 h 18"/>
                <a:gd name="T20" fmla="*/ 1 w 64"/>
                <a:gd name="T21" fmla="*/ 1 h 18"/>
                <a:gd name="T22" fmla="*/ 1 w 64"/>
                <a:gd name="T23" fmla="*/ 1 h 18"/>
                <a:gd name="T24" fmla="*/ 1 w 64"/>
                <a:gd name="T25" fmla="*/ 1 h 1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4"/>
                <a:gd name="T40" fmla="*/ 0 h 18"/>
                <a:gd name="T41" fmla="*/ 64 w 64"/>
                <a:gd name="T42" fmla="*/ 18 h 1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4" h="18">
                  <a:moveTo>
                    <a:pt x="4" y="7"/>
                  </a:moveTo>
                  <a:lnTo>
                    <a:pt x="0" y="18"/>
                  </a:lnTo>
                  <a:lnTo>
                    <a:pt x="17" y="12"/>
                  </a:lnTo>
                  <a:lnTo>
                    <a:pt x="35" y="6"/>
                  </a:lnTo>
                  <a:lnTo>
                    <a:pt x="64" y="12"/>
                  </a:lnTo>
                  <a:lnTo>
                    <a:pt x="58" y="6"/>
                  </a:lnTo>
                  <a:lnTo>
                    <a:pt x="31" y="0"/>
                  </a:lnTo>
                  <a:lnTo>
                    <a:pt x="28" y="5"/>
                  </a:lnTo>
                  <a:lnTo>
                    <a:pt x="5" y="5"/>
                  </a:lnTo>
                  <a:lnTo>
                    <a:pt x="5" y="7"/>
                  </a:lnTo>
                  <a:lnTo>
                    <a:pt x="25" y="7"/>
                  </a:lnTo>
                  <a:lnTo>
                    <a:pt x="13" y="13"/>
                  </a:lnTo>
                  <a:lnTo>
                    <a:pt x="4" y="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92" name="Freeform 48"/>
            <p:cNvSpPr>
              <a:spLocks/>
            </p:cNvSpPr>
            <p:nvPr/>
          </p:nvSpPr>
          <p:spPr bwMode="auto">
            <a:xfrm>
              <a:off x="2562" y="1898"/>
              <a:ext cx="68" cy="111"/>
            </a:xfrm>
            <a:custGeom>
              <a:avLst/>
              <a:gdLst>
                <a:gd name="T0" fmla="*/ 1 w 97"/>
                <a:gd name="T1" fmla="*/ 1 h 157"/>
                <a:gd name="T2" fmla="*/ 1 w 97"/>
                <a:gd name="T3" fmla="*/ 1 h 157"/>
                <a:gd name="T4" fmla="*/ 1 w 97"/>
                <a:gd name="T5" fmla="*/ 1 h 157"/>
                <a:gd name="T6" fmla="*/ 1 w 97"/>
                <a:gd name="T7" fmla="*/ 1 h 157"/>
                <a:gd name="T8" fmla="*/ 1 w 97"/>
                <a:gd name="T9" fmla="*/ 2 h 157"/>
                <a:gd name="T10" fmla="*/ 1 w 97"/>
                <a:gd name="T11" fmla="*/ 1 h 157"/>
                <a:gd name="T12" fmla="*/ 1 w 97"/>
                <a:gd name="T13" fmla="*/ 1 h 157"/>
                <a:gd name="T14" fmla="*/ 1 w 97"/>
                <a:gd name="T15" fmla="*/ 1 h 157"/>
                <a:gd name="T16" fmla="*/ 0 w 97"/>
                <a:gd name="T17" fmla="*/ 1 h 157"/>
                <a:gd name="T18" fmla="*/ 1 w 97"/>
                <a:gd name="T19" fmla="*/ 1 h 157"/>
                <a:gd name="T20" fmla="*/ 1 w 97"/>
                <a:gd name="T21" fmla="*/ 1 h 157"/>
                <a:gd name="T22" fmla="*/ 1 w 97"/>
                <a:gd name="T23" fmla="*/ 1 h 157"/>
                <a:gd name="T24" fmla="*/ 1 w 97"/>
                <a:gd name="T25" fmla="*/ 1 h 157"/>
                <a:gd name="T26" fmla="*/ 1 w 97"/>
                <a:gd name="T27" fmla="*/ 1 h 157"/>
                <a:gd name="T28" fmla="*/ 1 w 97"/>
                <a:gd name="T29" fmla="*/ 1 h 157"/>
                <a:gd name="T30" fmla="*/ 1 w 97"/>
                <a:gd name="T31" fmla="*/ 1 h 157"/>
                <a:gd name="T32" fmla="*/ 1 w 97"/>
                <a:gd name="T33" fmla="*/ 0 h 157"/>
                <a:gd name="T34" fmla="*/ 1 w 97"/>
                <a:gd name="T35" fmla="*/ 1 h 157"/>
                <a:gd name="T36" fmla="*/ 1 w 97"/>
                <a:gd name="T37" fmla="*/ 1 h 157"/>
                <a:gd name="T38" fmla="*/ 1 w 97"/>
                <a:gd name="T39" fmla="*/ 1 h 157"/>
                <a:gd name="T40" fmla="*/ 1 w 97"/>
                <a:gd name="T41" fmla="*/ 1 h 157"/>
                <a:gd name="T42" fmla="*/ 1 w 97"/>
                <a:gd name="T43" fmla="*/ 1 h 157"/>
                <a:gd name="T44" fmla="*/ 1 w 97"/>
                <a:gd name="T45" fmla="*/ 1 h 157"/>
                <a:gd name="T46" fmla="*/ 1 w 97"/>
                <a:gd name="T47" fmla="*/ 1 h 157"/>
                <a:gd name="T48" fmla="*/ 1 w 97"/>
                <a:gd name="T49" fmla="*/ 1 h 157"/>
                <a:gd name="T50" fmla="*/ 1 w 97"/>
                <a:gd name="T51" fmla="*/ 1 h 157"/>
                <a:gd name="T52" fmla="*/ 1 w 97"/>
                <a:gd name="T53" fmla="*/ 1 h 157"/>
                <a:gd name="T54" fmla="*/ 1 w 97"/>
                <a:gd name="T55" fmla="*/ 1 h 15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97"/>
                <a:gd name="T85" fmla="*/ 0 h 157"/>
                <a:gd name="T86" fmla="*/ 97 w 97"/>
                <a:gd name="T87" fmla="*/ 157 h 15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97" h="157">
                  <a:moveTo>
                    <a:pt x="85" y="133"/>
                  </a:moveTo>
                  <a:lnTo>
                    <a:pt x="70" y="139"/>
                  </a:lnTo>
                  <a:lnTo>
                    <a:pt x="54" y="145"/>
                  </a:lnTo>
                  <a:lnTo>
                    <a:pt x="39" y="151"/>
                  </a:lnTo>
                  <a:lnTo>
                    <a:pt x="23" y="157"/>
                  </a:lnTo>
                  <a:lnTo>
                    <a:pt x="3" y="150"/>
                  </a:lnTo>
                  <a:lnTo>
                    <a:pt x="10" y="145"/>
                  </a:lnTo>
                  <a:lnTo>
                    <a:pt x="5" y="126"/>
                  </a:lnTo>
                  <a:lnTo>
                    <a:pt x="0" y="107"/>
                  </a:lnTo>
                  <a:lnTo>
                    <a:pt x="9" y="90"/>
                  </a:lnTo>
                  <a:lnTo>
                    <a:pt x="17" y="72"/>
                  </a:lnTo>
                  <a:lnTo>
                    <a:pt x="12" y="41"/>
                  </a:lnTo>
                  <a:lnTo>
                    <a:pt x="11" y="22"/>
                  </a:lnTo>
                  <a:lnTo>
                    <a:pt x="10" y="2"/>
                  </a:lnTo>
                  <a:lnTo>
                    <a:pt x="35" y="2"/>
                  </a:lnTo>
                  <a:lnTo>
                    <a:pt x="61" y="1"/>
                  </a:lnTo>
                  <a:lnTo>
                    <a:pt x="67" y="0"/>
                  </a:lnTo>
                  <a:lnTo>
                    <a:pt x="71" y="7"/>
                  </a:lnTo>
                  <a:lnTo>
                    <a:pt x="79" y="30"/>
                  </a:lnTo>
                  <a:lnTo>
                    <a:pt x="79" y="41"/>
                  </a:lnTo>
                  <a:lnTo>
                    <a:pt x="81" y="58"/>
                  </a:lnTo>
                  <a:lnTo>
                    <a:pt x="84" y="73"/>
                  </a:lnTo>
                  <a:lnTo>
                    <a:pt x="85" y="94"/>
                  </a:lnTo>
                  <a:lnTo>
                    <a:pt x="85" y="113"/>
                  </a:lnTo>
                  <a:lnTo>
                    <a:pt x="97" y="125"/>
                  </a:lnTo>
                  <a:lnTo>
                    <a:pt x="87" y="133"/>
                  </a:lnTo>
                  <a:lnTo>
                    <a:pt x="78" y="126"/>
                  </a:lnTo>
                  <a:lnTo>
                    <a:pt x="85" y="13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93" name="Freeform 49"/>
            <p:cNvSpPr>
              <a:spLocks/>
            </p:cNvSpPr>
            <p:nvPr/>
          </p:nvSpPr>
          <p:spPr bwMode="auto">
            <a:xfrm>
              <a:off x="2382" y="1871"/>
              <a:ext cx="111" cy="93"/>
            </a:xfrm>
            <a:custGeom>
              <a:avLst/>
              <a:gdLst>
                <a:gd name="T0" fmla="*/ 1 w 159"/>
                <a:gd name="T1" fmla="*/ 1 h 133"/>
                <a:gd name="T2" fmla="*/ 1 w 159"/>
                <a:gd name="T3" fmla="*/ 1 h 133"/>
                <a:gd name="T4" fmla="*/ 1 w 159"/>
                <a:gd name="T5" fmla="*/ 1 h 133"/>
                <a:gd name="T6" fmla="*/ 1 w 159"/>
                <a:gd name="T7" fmla="*/ 1 h 133"/>
                <a:gd name="T8" fmla="*/ 1 w 159"/>
                <a:gd name="T9" fmla="*/ 1 h 133"/>
                <a:gd name="T10" fmla="*/ 1 w 159"/>
                <a:gd name="T11" fmla="*/ 1 h 133"/>
                <a:gd name="T12" fmla="*/ 1 w 159"/>
                <a:gd name="T13" fmla="*/ 1 h 133"/>
                <a:gd name="T14" fmla="*/ 1 w 159"/>
                <a:gd name="T15" fmla="*/ 1 h 133"/>
                <a:gd name="T16" fmla="*/ 1 w 159"/>
                <a:gd name="T17" fmla="*/ 1 h 133"/>
                <a:gd name="T18" fmla="*/ 1 w 159"/>
                <a:gd name="T19" fmla="*/ 1 h 133"/>
                <a:gd name="T20" fmla="*/ 1 w 159"/>
                <a:gd name="T21" fmla="*/ 1 h 133"/>
                <a:gd name="T22" fmla="*/ 1 w 159"/>
                <a:gd name="T23" fmla="*/ 1 h 133"/>
                <a:gd name="T24" fmla="*/ 1 w 159"/>
                <a:gd name="T25" fmla="*/ 1 h 133"/>
                <a:gd name="T26" fmla="*/ 1 w 159"/>
                <a:gd name="T27" fmla="*/ 1 h 133"/>
                <a:gd name="T28" fmla="*/ 1 w 159"/>
                <a:gd name="T29" fmla="*/ 1 h 133"/>
                <a:gd name="T30" fmla="*/ 1 w 159"/>
                <a:gd name="T31" fmla="*/ 1 h 133"/>
                <a:gd name="T32" fmla="*/ 1 w 159"/>
                <a:gd name="T33" fmla="*/ 1 h 133"/>
                <a:gd name="T34" fmla="*/ 1 w 159"/>
                <a:gd name="T35" fmla="*/ 1 h 133"/>
                <a:gd name="T36" fmla="*/ 1 w 159"/>
                <a:gd name="T37" fmla="*/ 1 h 133"/>
                <a:gd name="T38" fmla="*/ 1 w 159"/>
                <a:gd name="T39" fmla="*/ 1 h 133"/>
                <a:gd name="T40" fmla="*/ 1 w 159"/>
                <a:gd name="T41" fmla="*/ 1 h 133"/>
                <a:gd name="T42" fmla="*/ 1 w 159"/>
                <a:gd name="T43" fmla="*/ 1 h 133"/>
                <a:gd name="T44" fmla="*/ 1 w 159"/>
                <a:gd name="T45" fmla="*/ 1 h 133"/>
                <a:gd name="T46" fmla="*/ 1 w 159"/>
                <a:gd name="T47" fmla="*/ 1 h 133"/>
                <a:gd name="T48" fmla="*/ 1 w 159"/>
                <a:gd name="T49" fmla="*/ 1 h 133"/>
                <a:gd name="T50" fmla="*/ 1 w 159"/>
                <a:gd name="T51" fmla="*/ 1 h 133"/>
                <a:gd name="T52" fmla="*/ 1 w 159"/>
                <a:gd name="T53" fmla="*/ 1 h 133"/>
                <a:gd name="T54" fmla="*/ 1 w 159"/>
                <a:gd name="T55" fmla="*/ 1 h 133"/>
                <a:gd name="T56" fmla="*/ 1 w 159"/>
                <a:gd name="T57" fmla="*/ 1 h 133"/>
                <a:gd name="T58" fmla="*/ 1 w 159"/>
                <a:gd name="T59" fmla="*/ 1 h 133"/>
                <a:gd name="T60" fmla="*/ 1 w 159"/>
                <a:gd name="T61" fmla="*/ 1 h 133"/>
                <a:gd name="T62" fmla="*/ 0 w 159"/>
                <a:gd name="T63" fmla="*/ 1 h 133"/>
                <a:gd name="T64" fmla="*/ 1 w 159"/>
                <a:gd name="T65" fmla="*/ 1 h 133"/>
                <a:gd name="T66" fmla="*/ 1 w 159"/>
                <a:gd name="T67" fmla="*/ 1 h 133"/>
                <a:gd name="T68" fmla="*/ 1 w 159"/>
                <a:gd name="T69" fmla="*/ 1 h 133"/>
                <a:gd name="T70" fmla="*/ 1 w 159"/>
                <a:gd name="T71" fmla="*/ 0 h 133"/>
                <a:gd name="T72" fmla="*/ 1 w 159"/>
                <a:gd name="T73" fmla="*/ 1 h 133"/>
                <a:gd name="T74" fmla="*/ 1 w 159"/>
                <a:gd name="T75" fmla="*/ 1 h 133"/>
                <a:gd name="T76" fmla="*/ 1 w 159"/>
                <a:gd name="T77" fmla="*/ 1 h 133"/>
                <a:gd name="T78" fmla="*/ 1 w 159"/>
                <a:gd name="T79" fmla="*/ 1 h 133"/>
                <a:gd name="T80" fmla="*/ 1 w 159"/>
                <a:gd name="T81" fmla="*/ 1 h 133"/>
                <a:gd name="T82" fmla="*/ 1 w 159"/>
                <a:gd name="T83" fmla="*/ 1 h 133"/>
                <a:gd name="T84" fmla="*/ 1 w 159"/>
                <a:gd name="T85" fmla="*/ 1 h 133"/>
                <a:gd name="T86" fmla="*/ 1 w 159"/>
                <a:gd name="T87" fmla="*/ 1 h 133"/>
                <a:gd name="T88" fmla="*/ 1 w 159"/>
                <a:gd name="T89" fmla="*/ 1 h 133"/>
                <a:gd name="T90" fmla="*/ 1 w 159"/>
                <a:gd name="T91" fmla="*/ 1 h 13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59"/>
                <a:gd name="T139" fmla="*/ 0 h 133"/>
                <a:gd name="T140" fmla="*/ 159 w 159"/>
                <a:gd name="T141" fmla="*/ 133 h 13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59" h="133">
                  <a:moveTo>
                    <a:pt x="143" y="31"/>
                  </a:moveTo>
                  <a:lnTo>
                    <a:pt x="141" y="39"/>
                  </a:lnTo>
                  <a:lnTo>
                    <a:pt x="143" y="39"/>
                  </a:lnTo>
                  <a:lnTo>
                    <a:pt x="154" y="62"/>
                  </a:lnTo>
                  <a:lnTo>
                    <a:pt x="153" y="81"/>
                  </a:lnTo>
                  <a:lnTo>
                    <a:pt x="155" y="85"/>
                  </a:lnTo>
                  <a:lnTo>
                    <a:pt x="156" y="90"/>
                  </a:lnTo>
                  <a:lnTo>
                    <a:pt x="159" y="99"/>
                  </a:lnTo>
                  <a:lnTo>
                    <a:pt x="158" y="104"/>
                  </a:lnTo>
                  <a:lnTo>
                    <a:pt x="148" y="106"/>
                  </a:lnTo>
                  <a:lnTo>
                    <a:pt x="152" y="116"/>
                  </a:lnTo>
                  <a:lnTo>
                    <a:pt x="144" y="126"/>
                  </a:lnTo>
                  <a:lnTo>
                    <a:pt x="143" y="126"/>
                  </a:lnTo>
                  <a:lnTo>
                    <a:pt x="137" y="128"/>
                  </a:lnTo>
                  <a:lnTo>
                    <a:pt x="128" y="133"/>
                  </a:lnTo>
                  <a:lnTo>
                    <a:pt x="122" y="128"/>
                  </a:lnTo>
                  <a:lnTo>
                    <a:pt x="116" y="104"/>
                  </a:lnTo>
                  <a:lnTo>
                    <a:pt x="104" y="104"/>
                  </a:lnTo>
                  <a:lnTo>
                    <a:pt x="95" y="105"/>
                  </a:lnTo>
                  <a:lnTo>
                    <a:pt x="98" y="88"/>
                  </a:lnTo>
                  <a:lnTo>
                    <a:pt x="83" y="66"/>
                  </a:lnTo>
                  <a:lnTo>
                    <a:pt x="53" y="73"/>
                  </a:lnTo>
                  <a:lnTo>
                    <a:pt x="38" y="90"/>
                  </a:lnTo>
                  <a:lnTo>
                    <a:pt x="36" y="82"/>
                  </a:lnTo>
                  <a:lnTo>
                    <a:pt x="30" y="75"/>
                  </a:lnTo>
                  <a:lnTo>
                    <a:pt x="27" y="69"/>
                  </a:lnTo>
                  <a:lnTo>
                    <a:pt x="21" y="64"/>
                  </a:lnTo>
                  <a:lnTo>
                    <a:pt x="9" y="50"/>
                  </a:lnTo>
                  <a:lnTo>
                    <a:pt x="10" y="46"/>
                  </a:lnTo>
                  <a:lnTo>
                    <a:pt x="8" y="48"/>
                  </a:lnTo>
                  <a:lnTo>
                    <a:pt x="5" y="40"/>
                  </a:lnTo>
                  <a:lnTo>
                    <a:pt x="0" y="43"/>
                  </a:lnTo>
                  <a:lnTo>
                    <a:pt x="5" y="32"/>
                  </a:lnTo>
                  <a:lnTo>
                    <a:pt x="26" y="25"/>
                  </a:lnTo>
                  <a:lnTo>
                    <a:pt x="27" y="10"/>
                  </a:lnTo>
                  <a:lnTo>
                    <a:pt x="29" y="0"/>
                  </a:lnTo>
                  <a:lnTo>
                    <a:pt x="48" y="3"/>
                  </a:lnTo>
                  <a:lnTo>
                    <a:pt x="80" y="7"/>
                  </a:lnTo>
                  <a:lnTo>
                    <a:pt x="77" y="12"/>
                  </a:lnTo>
                  <a:lnTo>
                    <a:pt x="92" y="13"/>
                  </a:lnTo>
                  <a:lnTo>
                    <a:pt x="98" y="15"/>
                  </a:lnTo>
                  <a:lnTo>
                    <a:pt x="111" y="14"/>
                  </a:lnTo>
                  <a:lnTo>
                    <a:pt x="125" y="8"/>
                  </a:lnTo>
                  <a:lnTo>
                    <a:pt x="129" y="4"/>
                  </a:lnTo>
                  <a:lnTo>
                    <a:pt x="136" y="25"/>
                  </a:lnTo>
                  <a:lnTo>
                    <a:pt x="143" y="3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294" name="Freeform 50"/>
            <p:cNvSpPr>
              <a:spLocks/>
            </p:cNvSpPr>
            <p:nvPr/>
          </p:nvSpPr>
          <p:spPr bwMode="auto">
            <a:xfrm>
              <a:off x="2356" y="1871"/>
              <a:ext cx="45" cy="29"/>
            </a:xfrm>
            <a:custGeom>
              <a:avLst/>
              <a:gdLst>
                <a:gd name="T0" fmla="*/ 1 w 65"/>
                <a:gd name="T1" fmla="*/ 1 h 43"/>
                <a:gd name="T2" fmla="*/ 1 w 65"/>
                <a:gd name="T3" fmla="*/ 1 h 43"/>
                <a:gd name="T4" fmla="*/ 1 w 65"/>
                <a:gd name="T5" fmla="*/ 1 h 43"/>
                <a:gd name="T6" fmla="*/ 1 w 65"/>
                <a:gd name="T7" fmla="*/ 1 h 43"/>
                <a:gd name="T8" fmla="*/ 1 w 65"/>
                <a:gd name="T9" fmla="*/ 1 h 43"/>
                <a:gd name="T10" fmla="*/ 1 w 65"/>
                <a:gd name="T11" fmla="*/ 1 h 43"/>
                <a:gd name="T12" fmla="*/ 1 w 65"/>
                <a:gd name="T13" fmla="*/ 1 h 43"/>
                <a:gd name="T14" fmla="*/ 1 w 65"/>
                <a:gd name="T15" fmla="*/ 0 h 43"/>
                <a:gd name="T16" fmla="*/ 1 w 65"/>
                <a:gd name="T17" fmla="*/ 1 h 43"/>
                <a:gd name="T18" fmla="*/ 1 w 65"/>
                <a:gd name="T19" fmla="*/ 1 h 43"/>
                <a:gd name="T20" fmla="*/ 0 w 65"/>
                <a:gd name="T21" fmla="*/ 1 h 43"/>
                <a:gd name="T22" fmla="*/ 1 w 65"/>
                <a:gd name="T23" fmla="*/ 1 h 43"/>
                <a:gd name="T24" fmla="*/ 1 w 65"/>
                <a:gd name="T25" fmla="*/ 1 h 43"/>
                <a:gd name="T26" fmla="*/ 1 w 65"/>
                <a:gd name="T27" fmla="*/ 1 h 43"/>
                <a:gd name="T28" fmla="*/ 1 w 65"/>
                <a:gd name="T29" fmla="*/ 1 h 43"/>
                <a:gd name="T30" fmla="*/ 1 w 65"/>
                <a:gd name="T31" fmla="*/ 1 h 43"/>
                <a:gd name="T32" fmla="*/ 1 w 65"/>
                <a:gd name="T33" fmla="*/ 1 h 43"/>
                <a:gd name="T34" fmla="*/ 1 w 65"/>
                <a:gd name="T35" fmla="*/ 1 h 43"/>
                <a:gd name="T36" fmla="*/ 1 w 65"/>
                <a:gd name="T37" fmla="*/ 1 h 4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5"/>
                <a:gd name="T58" fmla="*/ 0 h 43"/>
                <a:gd name="T59" fmla="*/ 65 w 65"/>
                <a:gd name="T60" fmla="*/ 43 h 43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5" h="43">
                  <a:moveTo>
                    <a:pt x="33" y="25"/>
                  </a:moveTo>
                  <a:lnTo>
                    <a:pt x="29" y="32"/>
                  </a:lnTo>
                  <a:lnTo>
                    <a:pt x="34" y="38"/>
                  </a:lnTo>
                  <a:lnTo>
                    <a:pt x="36" y="43"/>
                  </a:lnTo>
                  <a:lnTo>
                    <a:pt x="41" y="32"/>
                  </a:lnTo>
                  <a:lnTo>
                    <a:pt x="62" y="25"/>
                  </a:lnTo>
                  <a:lnTo>
                    <a:pt x="63" y="10"/>
                  </a:lnTo>
                  <a:lnTo>
                    <a:pt x="65" y="0"/>
                  </a:lnTo>
                  <a:lnTo>
                    <a:pt x="47" y="1"/>
                  </a:lnTo>
                  <a:lnTo>
                    <a:pt x="29" y="2"/>
                  </a:lnTo>
                  <a:lnTo>
                    <a:pt x="0" y="8"/>
                  </a:lnTo>
                  <a:lnTo>
                    <a:pt x="11" y="9"/>
                  </a:lnTo>
                  <a:lnTo>
                    <a:pt x="8" y="14"/>
                  </a:lnTo>
                  <a:lnTo>
                    <a:pt x="18" y="16"/>
                  </a:lnTo>
                  <a:lnTo>
                    <a:pt x="17" y="19"/>
                  </a:lnTo>
                  <a:lnTo>
                    <a:pt x="33" y="19"/>
                  </a:lnTo>
                  <a:lnTo>
                    <a:pt x="36" y="21"/>
                  </a:lnTo>
                  <a:lnTo>
                    <a:pt x="26" y="24"/>
                  </a:lnTo>
                  <a:lnTo>
                    <a:pt x="33" y="25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295" name="Freeform 51"/>
            <p:cNvSpPr>
              <a:spLocks/>
            </p:cNvSpPr>
            <p:nvPr/>
          </p:nvSpPr>
          <p:spPr bwMode="auto">
            <a:xfrm>
              <a:off x="2481" y="1905"/>
              <a:ext cx="92" cy="111"/>
            </a:xfrm>
            <a:custGeom>
              <a:avLst/>
              <a:gdLst>
                <a:gd name="T0" fmla="*/ 1 w 131"/>
                <a:gd name="T1" fmla="*/ 1 h 157"/>
                <a:gd name="T2" fmla="*/ 1 w 131"/>
                <a:gd name="T3" fmla="*/ 1 h 157"/>
                <a:gd name="T4" fmla="*/ 1 w 131"/>
                <a:gd name="T5" fmla="*/ 1 h 157"/>
                <a:gd name="T6" fmla="*/ 1 w 131"/>
                <a:gd name="T7" fmla="*/ 0 h 157"/>
                <a:gd name="T8" fmla="*/ 1 w 131"/>
                <a:gd name="T9" fmla="*/ 1 h 157"/>
                <a:gd name="T10" fmla="*/ 1 w 131"/>
                <a:gd name="T11" fmla="*/ 1 h 157"/>
                <a:gd name="T12" fmla="*/ 1 w 131"/>
                <a:gd name="T13" fmla="*/ 1 h 157"/>
                <a:gd name="T14" fmla="*/ 1 w 131"/>
                <a:gd name="T15" fmla="*/ 1 h 157"/>
                <a:gd name="T16" fmla="*/ 1 w 131"/>
                <a:gd name="T17" fmla="*/ 1 h 157"/>
                <a:gd name="T18" fmla="*/ 1 w 131"/>
                <a:gd name="T19" fmla="*/ 1 h 157"/>
                <a:gd name="T20" fmla="*/ 1 w 131"/>
                <a:gd name="T21" fmla="*/ 1 h 157"/>
                <a:gd name="T22" fmla="*/ 1 w 131"/>
                <a:gd name="T23" fmla="*/ 1 h 157"/>
                <a:gd name="T24" fmla="*/ 1 w 131"/>
                <a:gd name="T25" fmla="*/ 1 h 157"/>
                <a:gd name="T26" fmla="*/ 1 w 131"/>
                <a:gd name="T27" fmla="*/ 1 h 157"/>
                <a:gd name="T28" fmla="*/ 1 w 131"/>
                <a:gd name="T29" fmla="*/ 1 h 157"/>
                <a:gd name="T30" fmla="*/ 1 w 131"/>
                <a:gd name="T31" fmla="*/ 1 h 157"/>
                <a:gd name="T32" fmla="*/ 0 w 131"/>
                <a:gd name="T33" fmla="*/ 1 h 157"/>
                <a:gd name="T34" fmla="*/ 0 w 131"/>
                <a:gd name="T35" fmla="*/ 1 h 157"/>
                <a:gd name="T36" fmla="*/ 0 w 131"/>
                <a:gd name="T37" fmla="*/ 1 h 157"/>
                <a:gd name="T38" fmla="*/ 1 w 131"/>
                <a:gd name="T39" fmla="*/ 1 h 157"/>
                <a:gd name="T40" fmla="*/ 1 w 131"/>
                <a:gd name="T41" fmla="*/ 1 h 157"/>
                <a:gd name="T42" fmla="*/ 1 w 131"/>
                <a:gd name="T43" fmla="*/ 2 h 157"/>
                <a:gd name="T44" fmla="*/ 1 w 131"/>
                <a:gd name="T45" fmla="*/ 1 h 157"/>
                <a:gd name="T46" fmla="*/ 1 w 131"/>
                <a:gd name="T47" fmla="*/ 1 h 157"/>
                <a:gd name="T48" fmla="*/ 1 w 131"/>
                <a:gd name="T49" fmla="*/ 1 h 157"/>
                <a:gd name="T50" fmla="*/ 1 w 131"/>
                <a:gd name="T51" fmla="*/ 1 h 157"/>
                <a:gd name="T52" fmla="*/ 1 w 131"/>
                <a:gd name="T53" fmla="*/ 1 h 157"/>
                <a:gd name="T54" fmla="*/ 1 w 131"/>
                <a:gd name="T55" fmla="*/ 1 h 157"/>
                <a:gd name="T56" fmla="*/ 1 w 131"/>
                <a:gd name="T57" fmla="*/ 1 h 157"/>
                <a:gd name="T58" fmla="*/ 1 w 131"/>
                <a:gd name="T59" fmla="*/ 1 h 157"/>
                <a:gd name="T60" fmla="*/ 1 w 131"/>
                <a:gd name="T61" fmla="*/ 1 h 157"/>
                <a:gd name="T62" fmla="*/ 1 w 131"/>
                <a:gd name="T63" fmla="*/ 1 h 157"/>
                <a:gd name="T64" fmla="*/ 1 w 131"/>
                <a:gd name="T65" fmla="*/ 1 h 157"/>
                <a:gd name="T66" fmla="*/ 1 w 131"/>
                <a:gd name="T67" fmla="*/ 1 h 157"/>
                <a:gd name="T68" fmla="*/ 1 w 131"/>
                <a:gd name="T69" fmla="*/ 1 h 157"/>
                <a:gd name="T70" fmla="*/ 1 w 131"/>
                <a:gd name="T71" fmla="*/ 1 h 157"/>
                <a:gd name="T72" fmla="*/ 1 w 131"/>
                <a:gd name="T73" fmla="*/ 1 h 157"/>
                <a:gd name="T74" fmla="*/ 1 w 131"/>
                <a:gd name="T75" fmla="*/ 1 h 157"/>
                <a:gd name="T76" fmla="*/ 1 w 131"/>
                <a:gd name="T77" fmla="*/ 1 h 15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31"/>
                <a:gd name="T118" fmla="*/ 0 h 157"/>
                <a:gd name="T119" fmla="*/ 131 w 131"/>
                <a:gd name="T120" fmla="*/ 157 h 157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31" h="157">
                  <a:moveTo>
                    <a:pt x="73" y="11"/>
                  </a:moveTo>
                  <a:lnTo>
                    <a:pt x="65" y="6"/>
                  </a:lnTo>
                  <a:lnTo>
                    <a:pt x="51" y="9"/>
                  </a:lnTo>
                  <a:lnTo>
                    <a:pt x="47" y="0"/>
                  </a:lnTo>
                  <a:lnTo>
                    <a:pt x="40" y="6"/>
                  </a:lnTo>
                  <a:lnTo>
                    <a:pt x="29" y="12"/>
                  </a:lnTo>
                  <a:lnTo>
                    <a:pt x="16" y="8"/>
                  </a:lnTo>
                  <a:lnTo>
                    <a:pt x="11" y="13"/>
                  </a:lnTo>
                  <a:lnTo>
                    <a:pt x="10" y="32"/>
                  </a:lnTo>
                  <a:lnTo>
                    <a:pt x="12" y="36"/>
                  </a:lnTo>
                  <a:lnTo>
                    <a:pt x="13" y="41"/>
                  </a:lnTo>
                  <a:lnTo>
                    <a:pt x="16" y="50"/>
                  </a:lnTo>
                  <a:lnTo>
                    <a:pt x="15" y="55"/>
                  </a:lnTo>
                  <a:lnTo>
                    <a:pt x="5" y="57"/>
                  </a:lnTo>
                  <a:lnTo>
                    <a:pt x="9" y="67"/>
                  </a:lnTo>
                  <a:lnTo>
                    <a:pt x="1" y="77"/>
                  </a:lnTo>
                  <a:lnTo>
                    <a:pt x="0" y="77"/>
                  </a:lnTo>
                  <a:lnTo>
                    <a:pt x="0" y="99"/>
                  </a:lnTo>
                  <a:lnTo>
                    <a:pt x="0" y="104"/>
                  </a:lnTo>
                  <a:lnTo>
                    <a:pt x="15" y="116"/>
                  </a:lnTo>
                  <a:lnTo>
                    <a:pt x="24" y="127"/>
                  </a:lnTo>
                  <a:lnTo>
                    <a:pt x="21" y="157"/>
                  </a:lnTo>
                  <a:lnTo>
                    <a:pt x="48" y="147"/>
                  </a:lnTo>
                  <a:lnTo>
                    <a:pt x="76" y="138"/>
                  </a:lnTo>
                  <a:lnTo>
                    <a:pt x="70" y="137"/>
                  </a:lnTo>
                  <a:lnTo>
                    <a:pt x="97" y="135"/>
                  </a:lnTo>
                  <a:lnTo>
                    <a:pt x="83" y="135"/>
                  </a:lnTo>
                  <a:lnTo>
                    <a:pt x="101" y="134"/>
                  </a:lnTo>
                  <a:lnTo>
                    <a:pt x="114" y="135"/>
                  </a:lnTo>
                  <a:lnTo>
                    <a:pt x="117" y="139"/>
                  </a:lnTo>
                  <a:lnTo>
                    <a:pt x="124" y="134"/>
                  </a:lnTo>
                  <a:lnTo>
                    <a:pt x="119" y="115"/>
                  </a:lnTo>
                  <a:lnTo>
                    <a:pt x="114" y="96"/>
                  </a:lnTo>
                  <a:lnTo>
                    <a:pt x="123" y="79"/>
                  </a:lnTo>
                  <a:lnTo>
                    <a:pt x="131" y="61"/>
                  </a:lnTo>
                  <a:lnTo>
                    <a:pt x="126" y="30"/>
                  </a:lnTo>
                  <a:lnTo>
                    <a:pt x="107" y="19"/>
                  </a:lnTo>
                  <a:lnTo>
                    <a:pt x="87" y="24"/>
                  </a:lnTo>
                  <a:lnTo>
                    <a:pt x="73" y="1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96" name="Freeform 52"/>
            <p:cNvSpPr>
              <a:spLocks/>
            </p:cNvSpPr>
            <p:nvPr/>
          </p:nvSpPr>
          <p:spPr bwMode="auto">
            <a:xfrm>
              <a:off x="2407" y="1917"/>
              <a:ext cx="46" cy="54"/>
            </a:xfrm>
            <a:custGeom>
              <a:avLst/>
              <a:gdLst>
                <a:gd name="T0" fmla="*/ 1 w 66"/>
                <a:gd name="T1" fmla="*/ 1 h 76"/>
                <a:gd name="T2" fmla="*/ 1 w 66"/>
                <a:gd name="T3" fmla="*/ 1 h 76"/>
                <a:gd name="T4" fmla="*/ 1 w 66"/>
                <a:gd name="T5" fmla="*/ 1 h 76"/>
                <a:gd name="T6" fmla="*/ 1 w 66"/>
                <a:gd name="T7" fmla="*/ 1 h 76"/>
                <a:gd name="T8" fmla="*/ 1 w 66"/>
                <a:gd name="T9" fmla="*/ 1 h 76"/>
                <a:gd name="T10" fmla="*/ 1 w 66"/>
                <a:gd name="T11" fmla="*/ 1 h 76"/>
                <a:gd name="T12" fmla="*/ 1 w 66"/>
                <a:gd name="T13" fmla="*/ 1 h 76"/>
                <a:gd name="T14" fmla="*/ 1 w 66"/>
                <a:gd name="T15" fmla="*/ 1 h 76"/>
                <a:gd name="T16" fmla="*/ 1 w 66"/>
                <a:gd name="T17" fmla="*/ 1 h 76"/>
                <a:gd name="T18" fmla="*/ 1 w 66"/>
                <a:gd name="T19" fmla="*/ 1 h 76"/>
                <a:gd name="T20" fmla="*/ 1 w 66"/>
                <a:gd name="T21" fmla="*/ 1 h 76"/>
                <a:gd name="T22" fmla="*/ 0 w 66"/>
                <a:gd name="T23" fmla="*/ 1 h 76"/>
                <a:gd name="T24" fmla="*/ 1 w 66"/>
                <a:gd name="T25" fmla="*/ 1 h 76"/>
                <a:gd name="T26" fmla="*/ 1 w 66"/>
                <a:gd name="T27" fmla="*/ 0 h 76"/>
                <a:gd name="T28" fmla="*/ 1 w 66"/>
                <a:gd name="T29" fmla="*/ 1 h 76"/>
                <a:gd name="T30" fmla="*/ 1 w 66"/>
                <a:gd name="T31" fmla="*/ 1 h 76"/>
                <a:gd name="T32" fmla="*/ 1 w 66"/>
                <a:gd name="T33" fmla="*/ 1 h 7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6"/>
                <a:gd name="T52" fmla="*/ 0 h 76"/>
                <a:gd name="T53" fmla="*/ 66 w 66"/>
                <a:gd name="T54" fmla="*/ 76 h 7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6" h="76">
                  <a:moveTo>
                    <a:pt x="66" y="38"/>
                  </a:moveTo>
                  <a:lnTo>
                    <a:pt x="56" y="52"/>
                  </a:lnTo>
                  <a:lnTo>
                    <a:pt x="45" y="68"/>
                  </a:lnTo>
                  <a:lnTo>
                    <a:pt x="39" y="76"/>
                  </a:lnTo>
                  <a:lnTo>
                    <a:pt x="16" y="64"/>
                  </a:lnTo>
                  <a:lnTo>
                    <a:pt x="20" y="61"/>
                  </a:lnTo>
                  <a:lnTo>
                    <a:pt x="15" y="57"/>
                  </a:lnTo>
                  <a:lnTo>
                    <a:pt x="1" y="40"/>
                  </a:lnTo>
                  <a:lnTo>
                    <a:pt x="8" y="36"/>
                  </a:lnTo>
                  <a:lnTo>
                    <a:pt x="1" y="33"/>
                  </a:lnTo>
                  <a:lnTo>
                    <a:pt x="7" y="28"/>
                  </a:lnTo>
                  <a:lnTo>
                    <a:pt x="0" y="24"/>
                  </a:lnTo>
                  <a:lnTo>
                    <a:pt x="15" y="7"/>
                  </a:lnTo>
                  <a:lnTo>
                    <a:pt x="45" y="0"/>
                  </a:lnTo>
                  <a:lnTo>
                    <a:pt x="60" y="22"/>
                  </a:lnTo>
                  <a:lnTo>
                    <a:pt x="57" y="39"/>
                  </a:lnTo>
                  <a:lnTo>
                    <a:pt x="66" y="3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97" name="Freeform 53"/>
            <p:cNvSpPr>
              <a:spLocks/>
            </p:cNvSpPr>
            <p:nvPr/>
          </p:nvSpPr>
          <p:spPr bwMode="auto">
            <a:xfrm>
              <a:off x="2609" y="1898"/>
              <a:ext cx="28" cy="87"/>
            </a:xfrm>
            <a:custGeom>
              <a:avLst/>
              <a:gdLst>
                <a:gd name="T0" fmla="*/ 1 w 40"/>
                <a:gd name="T1" fmla="*/ 1 h 125"/>
                <a:gd name="T2" fmla="*/ 0 w 40"/>
                <a:gd name="T3" fmla="*/ 0 h 125"/>
                <a:gd name="T4" fmla="*/ 1 w 40"/>
                <a:gd name="T5" fmla="*/ 1 h 125"/>
                <a:gd name="T6" fmla="*/ 1 w 40"/>
                <a:gd name="T7" fmla="*/ 1 h 125"/>
                <a:gd name="T8" fmla="*/ 1 w 40"/>
                <a:gd name="T9" fmla="*/ 1 h 125"/>
                <a:gd name="T10" fmla="*/ 1 w 40"/>
                <a:gd name="T11" fmla="*/ 1 h 125"/>
                <a:gd name="T12" fmla="*/ 1 w 40"/>
                <a:gd name="T13" fmla="*/ 1 h 125"/>
                <a:gd name="T14" fmla="*/ 1 w 40"/>
                <a:gd name="T15" fmla="*/ 1 h 125"/>
                <a:gd name="T16" fmla="*/ 1 w 40"/>
                <a:gd name="T17" fmla="*/ 1 h 125"/>
                <a:gd name="T18" fmla="*/ 1 w 40"/>
                <a:gd name="T19" fmla="*/ 1 h 125"/>
                <a:gd name="T20" fmla="*/ 1 w 40"/>
                <a:gd name="T21" fmla="*/ 1 h 125"/>
                <a:gd name="T22" fmla="*/ 1 w 40"/>
                <a:gd name="T23" fmla="*/ 1 h 125"/>
                <a:gd name="T24" fmla="*/ 1 w 40"/>
                <a:gd name="T25" fmla="*/ 1 h 125"/>
                <a:gd name="T26" fmla="*/ 1 w 40"/>
                <a:gd name="T27" fmla="*/ 1 h 125"/>
                <a:gd name="T28" fmla="*/ 1 w 40"/>
                <a:gd name="T29" fmla="*/ 1 h 125"/>
                <a:gd name="T30" fmla="*/ 1 w 40"/>
                <a:gd name="T31" fmla="*/ 1 h 125"/>
                <a:gd name="T32" fmla="*/ 1 w 40"/>
                <a:gd name="T33" fmla="*/ 1 h 125"/>
                <a:gd name="T34" fmla="*/ 1 w 40"/>
                <a:gd name="T35" fmla="*/ 1 h 125"/>
                <a:gd name="T36" fmla="*/ 1 w 40"/>
                <a:gd name="T37" fmla="*/ 1 h 12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0"/>
                <a:gd name="T58" fmla="*/ 0 h 125"/>
                <a:gd name="T59" fmla="*/ 40 w 40"/>
                <a:gd name="T60" fmla="*/ 125 h 12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0" h="125">
                  <a:moveTo>
                    <a:pt x="18" y="2"/>
                  </a:moveTo>
                  <a:lnTo>
                    <a:pt x="0" y="0"/>
                  </a:lnTo>
                  <a:lnTo>
                    <a:pt x="4" y="7"/>
                  </a:lnTo>
                  <a:lnTo>
                    <a:pt x="12" y="30"/>
                  </a:lnTo>
                  <a:lnTo>
                    <a:pt x="12" y="41"/>
                  </a:lnTo>
                  <a:lnTo>
                    <a:pt x="14" y="58"/>
                  </a:lnTo>
                  <a:lnTo>
                    <a:pt x="17" y="73"/>
                  </a:lnTo>
                  <a:lnTo>
                    <a:pt x="18" y="94"/>
                  </a:lnTo>
                  <a:lnTo>
                    <a:pt x="18" y="113"/>
                  </a:lnTo>
                  <a:lnTo>
                    <a:pt x="30" y="125"/>
                  </a:lnTo>
                  <a:lnTo>
                    <a:pt x="40" y="121"/>
                  </a:lnTo>
                  <a:lnTo>
                    <a:pt x="39" y="103"/>
                  </a:lnTo>
                  <a:lnTo>
                    <a:pt x="39" y="84"/>
                  </a:lnTo>
                  <a:lnTo>
                    <a:pt x="38" y="66"/>
                  </a:lnTo>
                  <a:lnTo>
                    <a:pt x="36" y="47"/>
                  </a:lnTo>
                  <a:lnTo>
                    <a:pt x="34" y="28"/>
                  </a:lnTo>
                  <a:lnTo>
                    <a:pt x="22" y="13"/>
                  </a:lnTo>
                  <a:lnTo>
                    <a:pt x="24" y="2"/>
                  </a:lnTo>
                  <a:lnTo>
                    <a:pt x="18" y="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98" name="Freeform 54"/>
            <p:cNvSpPr>
              <a:spLocks/>
            </p:cNvSpPr>
            <p:nvPr/>
          </p:nvSpPr>
          <p:spPr bwMode="auto">
            <a:xfrm>
              <a:off x="2483" y="1448"/>
              <a:ext cx="309" cy="309"/>
            </a:xfrm>
            <a:custGeom>
              <a:avLst/>
              <a:gdLst>
                <a:gd name="T0" fmla="*/ 0 w 441"/>
                <a:gd name="T1" fmla="*/ 1 h 441"/>
                <a:gd name="T2" fmla="*/ 1 w 441"/>
                <a:gd name="T3" fmla="*/ 2 h 441"/>
                <a:gd name="T4" fmla="*/ 1 w 441"/>
                <a:gd name="T5" fmla="*/ 2 h 441"/>
                <a:gd name="T6" fmla="*/ 1 w 441"/>
                <a:gd name="T7" fmla="*/ 2 h 441"/>
                <a:gd name="T8" fmla="*/ 1 w 441"/>
                <a:gd name="T9" fmla="*/ 2 h 441"/>
                <a:gd name="T10" fmla="*/ 1 w 441"/>
                <a:gd name="T11" fmla="*/ 3 h 441"/>
                <a:gd name="T12" fmla="*/ 1 w 441"/>
                <a:gd name="T13" fmla="*/ 3 h 441"/>
                <a:gd name="T14" fmla="*/ 1 w 441"/>
                <a:gd name="T15" fmla="*/ 3 h 441"/>
                <a:gd name="T16" fmla="*/ 2 w 441"/>
                <a:gd name="T17" fmla="*/ 3 h 441"/>
                <a:gd name="T18" fmla="*/ 2 w 441"/>
                <a:gd name="T19" fmla="*/ 3 h 441"/>
                <a:gd name="T20" fmla="*/ 2 w 441"/>
                <a:gd name="T21" fmla="*/ 3 h 441"/>
                <a:gd name="T22" fmla="*/ 3 w 441"/>
                <a:gd name="T23" fmla="*/ 3 h 441"/>
                <a:gd name="T24" fmla="*/ 3 w 441"/>
                <a:gd name="T25" fmla="*/ 3 h 441"/>
                <a:gd name="T26" fmla="*/ 3 w 441"/>
                <a:gd name="T27" fmla="*/ 2 h 441"/>
                <a:gd name="T28" fmla="*/ 3 w 441"/>
                <a:gd name="T29" fmla="*/ 2 h 441"/>
                <a:gd name="T30" fmla="*/ 3 w 441"/>
                <a:gd name="T31" fmla="*/ 2 h 441"/>
                <a:gd name="T32" fmla="*/ 3 w 441"/>
                <a:gd name="T33" fmla="*/ 1 h 441"/>
                <a:gd name="T34" fmla="*/ 3 w 441"/>
                <a:gd name="T35" fmla="*/ 1 h 441"/>
                <a:gd name="T36" fmla="*/ 3 w 441"/>
                <a:gd name="T37" fmla="*/ 1 h 441"/>
                <a:gd name="T38" fmla="*/ 3 w 441"/>
                <a:gd name="T39" fmla="*/ 1 h 441"/>
                <a:gd name="T40" fmla="*/ 3 w 441"/>
                <a:gd name="T41" fmla="*/ 1 h 441"/>
                <a:gd name="T42" fmla="*/ 3 w 441"/>
                <a:gd name="T43" fmla="*/ 1 h 441"/>
                <a:gd name="T44" fmla="*/ 2 w 441"/>
                <a:gd name="T45" fmla="*/ 0 h 441"/>
                <a:gd name="T46" fmla="*/ 2 w 441"/>
                <a:gd name="T47" fmla="*/ 1 h 441"/>
                <a:gd name="T48" fmla="*/ 2 w 441"/>
                <a:gd name="T49" fmla="*/ 1 h 441"/>
                <a:gd name="T50" fmla="*/ 1 w 441"/>
                <a:gd name="T51" fmla="*/ 1 h 441"/>
                <a:gd name="T52" fmla="*/ 1 w 441"/>
                <a:gd name="T53" fmla="*/ 1 h 441"/>
                <a:gd name="T54" fmla="*/ 1 w 441"/>
                <a:gd name="T55" fmla="*/ 1 h 441"/>
                <a:gd name="T56" fmla="*/ 1 w 441"/>
                <a:gd name="T57" fmla="*/ 1 h 441"/>
                <a:gd name="T58" fmla="*/ 1 w 441"/>
                <a:gd name="T59" fmla="*/ 1 h 441"/>
                <a:gd name="T60" fmla="*/ 1 w 441"/>
                <a:gd name="T61" fmla="*/ 1 h 441"/>
                <a:gd name="T62" fmla="*/ 1 w 441"/>
                <a:gd name="T63" fmla="*/ 1 h 441"/>
                <a:gd name="T64" fmla="*/ 1 w 441"/>
                <a:gd name="T65" fmla="*/ 1 h 441"/>
                <a:gd name="T66" fmla="*/ 1 w 441"/>
                <a:gd name="T67" fmla="*/ 1 h 44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441"/>
                <a:gd name="T103" fmla="*/ 0 h 441"/>
                <a:gd name="T104" fmla="*/ 441 w 441"/>
                <a:gd name="T105" fmla="*/ 441 h 441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441" h="441">
                  <a:moveTo>
                    <a:pt x="5" y="201"/>
                  </a:moveTo>
                  <a:lnTo>
                    <a:pt x="0" y="230"/>
                  </a:lnTo>
                  <a:lnTo>
                    <a:pt x="0" y="239"/>
                  </a:lnTo>
                  <a:lnTo>
                    <a:pt x="21" y="252"/>
                  </a:lnTo>
                  <a:lnTo>
                    <a:pt x="41" y="267"/>
                  </a:lnTo>
                  <a:lnTo>
                    <a:pt x="62" y="281"/>
                  </a:lnTo>
                  <a:lnTo>
                    <a:pt x="82" y="296"/>
                  </a:lnTo>
                  <a:lnTo>
                    <a:pt x="98" y="308"/>
                  </a:lnTo>
                  <a:lnTo>
                    <a:pt x="113" y="320"/>
                  </a:lnTo>
                  <a:lnTo>
                    <a:pt x="129" y="332"/>
                  </a:lnTo>
                  <a:lnTo>
                    <a:pt x="146" y="344"/>
                  </a:lnTo>
                  <a:lnTo>
                    <a:pt x="161" y="356"/>
                  </a:lnTo>
                  <a:lnTo>
                    <a:pt x="177" y="368"/>
                  </a:lnTo>
                  <a:lnTo>
                    <a:pt x="194" y="381"/>
                  </a:lnTo>
                  <a:lnTo>
                    <a:pt x="209" y="393"/>
                  </a:lnTo>
                  <a:lnTo>
                    <a:pt x="209" y="400"/>
                  </a:lnTo>
                  <a:lnTo>
                    <a:pt x="220" y="410"/>
                  </a:lnTo>
                  <a:lnTo>
                    <a:pt x="250" y="422"/>
                  </a:lnTo>
                  <a:lnTo>
                    <a:pt x="251" y="441"/>
                  </a:lnTo>
                  <a:lnTo>
                    <a:pt x="275" y="441"/>
                  </a:lnTo>
                  <a:lnTo>
                    <a:pt x="292" y="437"/>
                  </a:lnTo>
                  <a:lnTo>
                    <a:pt x="310" y="434"/>
                  </a:lnTo>
                  <a:lnTo>
                    <a:pt x="327" y="416"/>
                  </a:lnTo>
                  <a:lnTo>
                    <a:pt x="344" y="399"/>
                  </a:lnTo>
                  <a:lnTo>
                    <a:pt x="369" y="382"/>
                  </a:lnTo>
                  <a:lnTo>
                    <a:pt x="393" y="365"/>
                  </a:lnTo>
                  <a:lnTo>
                    <a:pt x="417" y="348"/>
                  </a:lnTo>
                  <a:lnTo>
                    <a:pt x="441" y="333"/>
                  </a:lnTo>
                  <a:lnTo>
                    <a:pt x="431" y="312"/>
                  </a:lnTo>
                  <a:lnTo>
                    <a:pt x="406" y="309"/>
                  </a:lnTo>
                  <a:lnTo>
                    <a:pt x="398" y="287"/>
                  </a:lnTo>
                  <a:lnTo>
                    <a:pt x="384" y="267"/>
                  </a:lnTo>
                  <a:lnTo>
                    <a:pt x="394" y="258"/>
                  </a:lnTo>
                  <a:lnTo>
                    <a:pt x="393" y="230"/>
                  </a:lnTo>
                  <a:lnTo>
                    <a:pt x="393" y="201"/>
                  </a:lnTo>
                  <a:lnTo>
                    <a:pt x="383" y="172"/>
                  </a:lnTo>
                  <a:lnTo>
                    <a:pt x="384" y="166"/>
                  </a:lnTo>
                  <a:lnTo>
                    <a:pt x="378" y="142"/>
                  </a:lnTo>
                  <a:lnTo>
                    <a:pt x="374" y="119"/>
                  </a:lnTo>
                  <a:lnTo>
                    <a:pt x="357" y="101"/>
                  </a:lnTo>
                  <a:lnTo>
                    <a:pt x="340" y="77"/>
                  </a:lnTo>
                  <a:lnTo>
                    <a:pt x="350" y="59"/>
                  </a:lnTo>
                  <a:lnTo>
                    <a:pt x="358" y="41"/>
                  </a:lnTo>
                  <a:lnTo>
                    <a:pt x="356" y="6"/>
                  </a:lnTo>
                  <a:lnTo>
                    <a:pt x="360" y="0"/>
                  </a:lnTo>
                  <a:lnTo>
                    <a:pt x="329" y="0"/>
                  </a:lnTo>
                  <a:lnTo>
                    <a:pt x="311" y="0"/>
                  </a:lnTo>
                  <a:lnTo>
                    <a:pt x="288" y="4"/>
                  </a:lnTo>
                  <a:lnTo>
                    <a:pt x="266" y="4"/>
                  </a:lnTo>
                  <a:lnTo>
                    <a:pt x="243" y="4"/>
                  </a:lnTo>
                  <a:lnTo>
                    <a:pt x="215" y="12"/>
                  </a:lnTo>
                  <a:lnTo>
                    <a:pt x="189" y="20"/>
                  </a:lnTo>
                  <a:lnTo>
                    <a:pt x="178" y="26"/>
                  </a:lnTo>
                  <a:lnTo>
                    <a:pt x="158" y="35"/>
                  </a:lnTo>
                  <a:lnTo>
                    <a:pt x="138" y="45"/>
                  </a:lnTo>
                  <a:lnTo>
                    <a:pt x="143" y="51"/>
                  </a:lnTo>
                  <a:lnTo>
                    <a:pt x="147" y="69"/>
                  </a:lnTo>
                  <a:lnTo>
                    <a:pt x="149" y="88"/>
                  </a:lnTo>
                  <a:lnTo>
                    <a:pt x="162" y="110"/>
                  </a:lnTo>
                  <a:lnTo>
                    <a:pt x="158" y="117"/>
                  </a:lnTo>
                  <a:lnTo>
                    <a:pt x="135" y="118"/>
                  </a:lnTo>
                  <a:lnTo>
                    <a:pt x="107" y="129"/>
                  </a:lnTo>
                  <a:lnTo>
                    <a:pt x="107" y="143"/>
                  </a:lnTo>
                  <a:lnTo>
                    <a:pt x="93" y="154"/>
                  </a:lnTo>
                  <a:lnTo>
                    <a:pt x="77" y="165"/>
                  </a:lnTo>
                  <a:lnTo>
                    <a:pt x="58" y="173"/>
                  </a:lnTo>
                  <a:lnTo>
                    <a:pt x="40" y="180"/>
                  </a:lnTo>
                  <a:lnTo>
                    <a:pt x="23" y="191"/>
                  </a:lnTo>
                  <a:lnTo>
                    <a:pt x="5" y="20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99" name="Freeform 55"/>
            <p:cNvSpPr>
              <a:spLocks/>
            </p:cNvSpPr>
            <p:nvPr/>
          </p:nvSpPr>
          <p:spPr bwMode="auto">
            <a:xfrm>
              <a:off x="2533" y="1460"/>
              <a:ext cx="2" cy="2"/>
            </a:xfrm>
            <a:custGeom>
              <a:avLst/>
              <a:gdLst>
                <a:gd name="T0" fmla="*/ 0 w 2"/>
                <a:gd name="T1" fmla="*/ 2 h 2"/>
                <a:gd name="T2" fmla="*/ 0 w 2"/>
                <a:gd name="T3" fmla="*/ 0 h 2"/>
                <a:gd name="T4" fmla="*/ 0 w 2"/>
                <a:gd name="T5" fmla="*/ 2 h 2"/>
                <a:gd name="T6" fmla="*/ 0 60000 65536"/>
                <a:gd name="T7" fmla="*/ 0 60000 65536"/>
                <a:gd name="T8" fmla="*/ 0 60000 65536"/>
                <a:gd name="T9" fmla="*/ 0 w 2"/>
                <a:gd name="T10" fmla="*/ 0 h 2"/>
                <a:gd name="T11" fmla="*/ 2 w 2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00" name="Freeform 56"/>
            <p:cNvSpPr>
              <a:spLocks/>
            </p:cNvSpPr>
            <p:nvPr/>
          </p:nvSpPr>
          <p:spPr bwMode="auto">
            <a:xfrm>
              <a:off x="2751" y="1512"/>
              <a:ext cx="239" cy="239"/>
            </a:xfrm>
            <a:custGeom>
              <a:avLst/>
              <a:gdLst>
                <a:gd name="T0" fmla="*/ 2 w 340"/>
                <a:gd name="T1" fmla="*/ 3 h 339"/>
                <a:gd name="T2" fmla="*/ 2 w 340"/>
                <a:gd name="T3" fmla="*/ 2 h 339"/>
                <a:gd name="T4" fmla="*/ 3 w 340"/>
                <a:gd name="T5" fmla="*/ 2 h 339"/>
                <a:gd name="T6" fmla="*/ 3 w 340"/>
                <a:gd name="T7" fmla="*/ 2 h 339"/>
                <a:gd name="T8" fmla="*/ 3 w 340"/>
                <a:gd name="T9" fmla="*/ 2 h 339"/>
                <a:gd name="T10" fmla="*/ 3 w 340"/>
                <a:gd name="T11" fmla="*/ 2 h 339"/>
                <a:gd name="T12" fmla="*/ 3 w 340"/>
                <a:gd name="T13" fmla="*/ 1 h 339"/>
                <a:gd name="T14" fmla="*/ 3 w 340"/>
                <a:gd name="T15" fmla="*/ 1 h 339"/>
                <a:gd name="T16" fmla="*/ 3 w 340"/>
                <a:gd name="T17" fmla="*/ 1 h 339"/>
                <a:gd name="T18" fmla="*/ 3 w 340"/>
                <a:gd name="T19" fmla="*/ 1 h 339"/>
                <a:gd name="T20" fmla="*/ 2 w 340"/>
                <a:gd name="T21" fmla="*/ 1 h 339"/>
                <a:gd name="T22" fmla="*/ 2 w 340"/>
                <a:gd name="T23" fmla="*/ 1 h 339"/>
                <a:gd name="T24" fmla="*/ 2 w 340"/>
                <a:gd name="T25" fmla="*/ 1 h 339"/>
                <a:gd name="T26" fmla="*/ 2 w 340"/>
                <a:gd name="T27" fmla="*/ 1 h 339"/>
                <a:gd name="T28" fmla="*/ 2 w 340"/>
                <a:gd name="T29" fmla="*/ 1 h 339"/>
                <a:gd name="T30" fmla="*/ 2 w 340"/>
                <a:gd name="T31" fmla="*/ 1 h 339"/>
                <a:gd name="T32" fmla="*/ 2 w 340"/>
                <a:gd name="T33" fmla="*/ 1 h 339"/>
                <a:gd name="T34" fmla="*/ 2 w 340"/>
                <a:gd name="T35" fmla="*/ 1 h 339"/>
                <a:gd name="T36" fmla="*/ 2 w 340"/>
                <a:gd name="T37" fmla="*/ 1 h 339"/>
                <a:gd name="T38" fmla="*/ 2 w 340"/>
                <a:gd name="T39" fmla="*/ 1 h 339"/>
                <a:gd name="T40" fmla="*/ 2 w 340"/>
                <a:gd name="T41" fmla="*/ 1 h 339"/>
                <a:gd name="T42" fmla="*/ 1 w 340"/>
                <a:gd name="T43" fmla="*/ 1 h 339"/>
                <a:gd name="T44" fmla="*/ 1 w 340"/>
                <a:gd name="T45" fmla="*/ 1 h 339"/>
                <a:gd name="T46" fmla="*/ 1 w 340"/>
                <a:gd name="T47" fmla="*/ 1 h 339"/>
                <a:gd name="T48" fmla="*/ 1 w 340"/>
                <a:gd name="T49" fmla="*/ 1 h 339"/>
                <a:gd name="T50" fmla="*/ 1 w 340"/>
                <a:gd name="T51" fmla="*/ 1 h 339"/>
                <a:gd name="T52" fmla="*/ 1 w 340"/>
                <a:gd name="T53" fmla="*/ 1 h 339"/>
                <a:gd name="T54" fmla="*/ 1 w 340"/>
                <a:gd name="T55" fmla="*/ 1 h 339"/>
                <a:gd name="T56" fmla="*/ 1 w 340"/>
                <a:gd name="T57" fmla="*/ 1 h 339"/>
                <a:gd name="T58" fmla="*/ 1 w 340"/>
                <a:gd name="T59" fmla="*/ 1 h 339"/>
                <a:gd name="T60" fmla="*/ 1 w 340"/>
                <a:gd name="T61" fmla="*/ 0 h 339"/>
                <a:gd name="T62" fmla="*/ 1 w 340"/>
                <a:gd name="T63" fmla="*/ 1 h 339"/>
                <a:gd name="T64" fmla="*/ 1 w 340"/>
                <a:gd name="T65" fmla="*/ 1 h 339"/>
                <a:gd name="T66" fmla="*/ 1 w 340"/>
                <a:gd name="T67" fmla="*/ 1 h 339"/>
                <a:gd name="T68" fmla="*/ 1 w 340"/>
                <a:gd name="T69" fmla="*/ 1 h 339"/>
                <a:gd name="T70" fmla="*/ 1 w 340"/>
                <a:gd name="T71" fmla="*/ 1 h 339"/>
                <a:gd name="T72" fmla="*/ 0 w 340"/>
                <a:gd name="T73" fmla="*/ 1 h 339"/>
                <a:gd name="T74" fmla="*/ 1 w 340"/>
                <a:gd name="T75" fmla="*/ 1 h 339"/>
                <a:gd name="T76" fmla="*/ 1 w 340"/>
                <a:gd name="T77" fmla="*/ 1 h 339"/>
                <a:gd name="T78" fmla="*/ 1 w 340"/>
                <a:gd name="T79" fmla="*/ 1 h 339"/>
                <a:gd name="T80" fmla="*/ 1 w 340"/>
                <a:gd name="T81" fmla="*/ 1 h 339"/>
                <a:gd name="T82" fmla="*/ 1 w 340"/>
                <a:gd name="T83" fmla="*/ 1 h 339"/>
                <a:gd name="T84" fmla="*/ 1 w 340"/>
                <a:gd name="T85" fmla="*/ 1 h 339"/>
                <a:gd name="T86" fmla="*/ 1 w 340"/>
                <a:gd name="T87" fmla="*/ 1 h 339"/>
                <a:gd name="T88" fmla="*/ 1 w 340"/>
                <a:gd name="T89" fmla="*/ 2 h 339"/>
                <a:gd name="T90" fmla="*/ 1 w 340"/>
                <a:gd name="T91" fmla="*/ 2 h 339"/>
                <a:gd name="T92" fmla="*/ 1 w 340"/>
                <a:gd name="T93" fmla="*/ 2 h 339"/>
                <a:gd name="T94" fmla="*/ 1 w 340"/>
                <a:gd name="T95" fmla="*/ 2 h 339"/>
                <a:gd name="T96" fmla="*/ 1 w 340"/>
                <a:gd name="T97" fmla="*/ 2 h 339"/>
                <a:gd name="T98" fmla="*/ 1 w 340"/>
                <a:gd name="T99" fmla="*/ 2 h 339"/>
                <a:gd name="T100" fmla="*/ 1 w 340"/>
                <a:gd name="T101" fmla="*/ 2 h 339"/>
                <a:gd name="T102" fmla="*/ 1 w 340"/>
                <a:gd name="T103" fmla="*/ 2 h 339"/>
                <a:gd name="T104" fmla="*/ 1 w 340"/>
                <a:gd name="T105" fmla="*/ 2 h 339"/>
                <a:gd name="T106" fmla="*/ 2 w 340"/>
                <a:gd name="T107" fmla="*/ 2 h 339"/>
                <a:gd name="T108" fmla="*/ 2 w 340"/>
                <a:gd name="T109" fmla="*/ 2 h 339"/>
                <a:gd name="T110" fmla="*/ 2 w 340"/>
                <a:gd name="T111" fmla="*/ 2 h 339"/>
                <a:gd name="T112" fmla="*/ 2 w 340"/>
                <a:gd name="T113" fmla="*/ 3 h 33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40"/>
                <a:gd name="T172" fmla="*/ 0 h 339"/>
                <a:gd name="T173" fmla="*/ 340 w 340"/>
                <a:gd name="T174" fmla="*/ 339 h 339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40" h="339">
                  <a:moveTo>
                    <a:pt x="318" y="339"/>
                  </a:moveTo>
                  <a:lnTo>
                    <a:pt x="318" y="326"/>
                  </a:lnTo>
                  <a:lnTo>
                    <a:pt x="340" y="326"/>
                  </a:lnTo>
                  <a:lnTo>
                    <a:pt x="339" y="302"/>
                  </a:lnTo>
                  <a:lnTo>
                    <a:pt x="338" y="277"/>
                  </a:lnTo>
                  <a:lnTo>
                    <a:pt x="336" y="254"/>
                  </a:lnTo>
                  <a:lnTo>
                    <a:pt x="335" y="230"/>
                  </a:lnTo>
                  <a:lnTo>
                    <a:pt x="334" y="207"/>
                  </a:lnTo>
                  <a:lnTo>
                    <a:pt x="333" y="183"/>
                  </a:lnTo>
                  <a:lnTo>
                    <a:pt x="330" y="161"/>
                  </a:lnTo>
                  <a:lnTo>
                    <a:pt x="329" y="138"/>
                  </a:lnTo>
                  <a:lnTo>
                    <a:pt x="328" y="114"/>
                  </a:lnTo>
                  <a:lnTo>
                    <a:pt x="326" y="91"/>
                  </a:lnTo>
                  <a:lnTo>
                    <a:pt x="324" y="72"/>
                  </a:lnTo>
                  <a:lnTo>
                    <a:pt x="324" y="53"/>
                  </a:lnTo>
                  <a:lnTo>
                    <a:pt x="328" y="37"/>
                  </a:lnTo>
                  <a:lnTo>
                    <a:pt x="316" y="29"/>
                  </a:lnTo>
                  <a:lnTo>
                    <a:pt x="284" y="20"/>
                  </a:lnTo>
                  <a:lnTo>
                    <a:pt x="279" y="12"/>
                  </a:lnTo>
                  <a:lnTo>
                    <a:pt x="251" y="6"/>
                  </a:lnTo>
                  <a:lnTo>
                    <a:pt x="236" y="15"/>
                  </a:lnTo>
                  <a:lnTo>
                    <a:pt x="220" y="25"/>
                  </a:lnTo>
                  <a:lnTo>
                    <a:pt x="221" y="59"/>
                  </a:lnTo>
                  <a:lnTo>
                    <a:pt x="201" y="72"/>
                  </a:lnTo>
                  <a:lnTo>
                    <a:pt x="177" y="60"/>
                  </a:lnTo>
                  <a:lnTo>
                    <a:pt x="153" y="48"/>
                  </a:lnTo>
                  <a:lnTo>
                    <a:pt x="127" y="41"/>
                  </a:lnTo>
                  <a:lnTo>
                    <a:pt x="118" y="19"/>
                  </a:lnTo>
                  <a:lnTo>
                    <a:pt x="95" y="13"/>
                  </a:lnTo>
                  <a:lnTo>
                    <a:pt x="72" y="8"/>
                  </a:lnTo>
                  <a:lnTo>
                    <a:pt x="41" y="0"/>
                  </a:lnTo>
                  <a:lnTo>
                    <a:pt x="40" y="20"/>
                  </a:lnTo>
                  <a:lnTo>
                    <a:pt x="27" y="31"/>
                  </a:lnTo>
                  <a:lnTo>
                    <a:pt x="13" y="43"/>
                  </a:lnTo>
                  <a:lnTo>
                    <a:pt x="13" y="63"/>
                  </a:lnTo>
                  <a:lnTo>
                    <a:pt x="1" y="73"/>
                  </a:lnTo>
                  <a:lnTo>
                    <a:pt x="0" y="79"/>
                  </a:lnTo>
                  <a:lnTo>
                    <a:pt x="10" y="108"/>
                  </a:lnTo>
                  <a:lnTo>
                    <a:pt x="10" y="137"/>
                  </a:lnTo>
                  <a:lnTo>
                    <a:pt x="11" y="165"/>
                  </a:lnTo>
                  <a:lnTo>
                    <a:pt x="1" y="174"/>
                  </a:lnTo>
                  <a:lnTo>
                    <a:pt x="15" y="194"/>
                  </a:lnTo>
                  <a:lnTo>
                    <a:pt x="23" y="216"/>
                  </a:lnTo>
                  <a:lnTo>
                    <a:pt x="48" y="219"/>
                  </a:lnTo>
                  <a:lnTo>
                    <a:pt x="58" y="240"/>
                  </a:lnTo>
                  <a:lnTo>
                    <a:pt x="88" y="247"/>
                  </a:lnTo>
                  <a:lnTo>
                    <a:pt x="106" y="261"/>
                  </a:lnTo>
                  <a:lnTo>
                    <a:pt x="121" y="253"/>
                  </a:lnTo>
                  <a:lnTo>
                    <a:pt x="143" y="240"/>
                  </a:lnTo>
                  <a:lnTo>
                    <a:pt x="165" y="252"/>
                  </a:lnTo>
                  <a:lnTo>
                    <a:pt x="187" y="265"/>
                  </a:lnTo>
                  <a:lnTo>
                    <a:pt x="209" y="277"/>
                  </a:lnTo>
                  <a:lnTo>
                    <a:pt x="231" y="289"/>
                  </a:lnTo>
                  <a:lnTo>
                    <a:pt x="252" y="302"/>
                  </a:lnTo>
                  <a:lnTo>
                    <a:pt x="275" y="314"/>
                  </a:lnTo>
                  <a:lnTo>
                    <a:pt x="297" y="326"/>
                  </a:lnTo>
                  <a:lnTo>
                    <a:pt x="318" y="339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01" name="Freeform 57"/>
            <p:cNvSpPr>
              <a:spLocks/>
            </p:cNvSpPr>
            <p:nvPr/>
          </p:nvSpPr>
          <p:spPr bwMode="auto">
            <a:xfrm>
              <a:off x="2424" y="1656"/>
              <a:ext cx="251" cy="258"/>
            </a:xfrm>
            <a:custGeom>
              <a:avLst/>
              <a:gdLst>
                <a:gd name="T0" fmla="*/ 1 w 357"/>
                <a:gd name="T1" fmla="*/ 3 h 368"/>
                <a:gd name="T2" fmla="*/ 1 w 357"/>
                <a:gd name="T3" fmla="*/ 3 h 368"/>
                <a:gd name="T4" fmla="*/ 1 w 357"/>
                <a:gd name="T5" fmla="*/ 3 h 368"/>
                <a:gd name="T6" fmla="*/ 1 w 357"/>
                <a:gd name="T7" fmla="*/ 3 h 368"/>
                <a:gd name="T8" fmla="*/ 1 w 357"/>
                <a:gd name="T9" fmla="*/ 3 h 368"/>
                <a:gd name="T10" fmla="*/ 1 w 357"/>
                <a:gd name="T11" fmla="*/ 2 h 368"/>
                <a:gd name="T12" fmla="*/ 1 w 357"/>
                <a:gd name="T13" fmla="*/ 2 h 368"/>
                <a:gd name="T14" fmla="*/ 1 w 357"/>
                <a:gd name="T15" fmla="*/ 2 h 368"/>
                <a:gd name="T16" fmla="*/ 1 w 357"/>
                <a:gd name="T17" fmla="*/ 2 h 368"/>
                <a:gd name="T18" fmla="*/ 1 w 357"/>
                <a:gd name="T19" fmla="*/ 2 h 368"/>
                <a:gd name="T20" fmla="*/ 2 w 357"/>
                <a:gd name="T21" fmla="*/ 2 h 368"/>
                <a:gd name="T22" fmla="*/ 2 w 357"/>
                <a:gd name="T23" fmla="*/ 2 h 368"/>
                <a:gd name="T24" fmla="*/ 2 w 357"/>
                <a:gd name="T25" fmla="*/ 2 h 368"/>
                <a:gd name="T26" fmla="*/ 3 w 357"/>
                <a:gd name="T27" fmla="*/ 1 h 368"/>
                <a:gd name="T28" fmla="*/ 3 w 357"/>
                <a:gd name="T29" fmla="*/ 1 h 368"/>
                <a:gd name="T30" fmla="*/ 3 w 357"/>
                <a:gd name="T31" fmla="*/ 1 h 368"/>
                <a:gd name="T32" fmla="*/ 3 w 357"/>
                <a:gd name="T33" fmla="*/ 1 h 368"/>
                <a:gd name="T34" fmla="*/ 2 w 357"/>
                <a:gd name="T35" fmla="*/ 1 h 368"/>
                <a:gd name="T36" fmla="*/ 2 w 357"/>
                <a:gd name="T37" fmla="*/ 1 h 368"/>
                <a:gd name="T38" fmla="*/ 2 w 357"/>
                <a:gd name="T39" fmla="*/ 1 h 368"/>
                <a:gd name="T40" fmla="*/ 1 w 357"/>
                <a:gd name="T41" fmla="*/ 1 h 368"/>
                <a:gd name="T42" fmla="*/ 1 w 357"/>
                <a:gd name="T43" fmla="*/ 1 h 368"/>
                <a:gd name="T44" fmla="*/ 1 w 357"/>
                <a:gd name="T45" fmla="*/ 0 h 368"/>
                <a:gd name="T46" fmla="*/ 1 w 357"/>
                <a:gd name="T47" fmla="*/ 1 h 368"/>
                <a:gd name="T48" fmla="*/ 1 w 357"/>
                <a:gd name="T49" fmla="*/ 1 h 368"/>
                <a:gd name="T50" fmla="*/ 1 w 357"/>
                <a:gd name="T51" fmla="*/ 1 h 368"/>
                <a:gd name="T52" fmla="*/ 1 w 357"/>
                <a:gd name="T53" fmla="*/ 1 h 368"/>
                <a:gd name="T54" fmla="*/ 1 w 357"/>
                <a:gd name="T55" fmla="*/ 1 h 368"/>
                <a:gd name="T56" fmla="*/ 1 w 357"/>
                <a:gd name="T57" fmla="*/ 2 h 368"/>
                <a:gd name="T58" fmla="*/ 1 w 357"/>
                <a:gd name="T59" fmla="*/ 2 h 368"/>
                <a:gd name="T60" fmla="*/ 1 w 357"/>
                <a:gd name="T61" fmla="*/ 1 h 368"/>
                <a:gd name="T62" fmla="*/ 1 w 357"/>
                <a:gd name="T63" fmla="*/ 2 h 368"/>
                <a:gd name="T64" fmla="*/ 1 w 357"/>
                <a:gd name="T65" fmla="*/ 2 h 368"/>
                <a:gd name="T66" fmla="*/ 1 w 357"/>
                <a:gd name="T67" fmla="*/ 2 h 368"/>
                <a:gd name="T68" fmla="*/ 1 w 357"/>
                <a:gd name="T69" fmla="*/ 2 h 368"/>
                <a:gd name="T70" fmla="*/ 1 w 357"/>
                <a:gd name="T71" fmla="*/ 2 h 368"/>
                <a:gd name="T72" fmla="*/ 1 w 357"/>
                <a:gd name="T73" fmla="*/ 2 h 368"/>
                <a:gd name="T74" fmla="*/ 1 w 357"/>
                <a:gd name="T75" fmla="*/ 2 h 368"/>
                <a:gd name="T76" fmla="*/ 1 w 357"/>
                <a:gd name="T77" fmla="*/ 3 h 36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57"/>
                <a:gd name="T118" fmla="*/ 0 h 368"/>
                <a:gd name="T119" fmla="*/ 357 w 357"/>
                <a:gd name="T120" fmla="*/ 368 h 368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57" h="368">
                  <a:moveTo>
                    <a:pt x="81" y="337"/>
                  </a:moveTo>
                  <a:lnTo>
                    <a:pt x="79" y="345"/>
                  </a:lnTo>
                  <a:lnTo>
                    <a:pt x="81" y="345"/>
                  </a:lnTo>
                  <a:lnTo>
                    <a:pt x="92" y="368"/>
                  </a:lnTo>
                  <a:lnTo>
                    <a:pt x="97" y="363"/>
                  </a:lnTo>
                  <a:lnTo>
                    <a:pt x="110" y="367"/>
                  </a:lnTo>
                  <a:lnTo>
                    <a:pt x="121" y="361"/>
                  </a:lnTo>
                  <a:lnTo>
                    <a:pt x="128" y="355"/>
                  </a:lnTo>
                  <a:lnTo>
                    <a:pt x="132" y="364"/>
                  </a:lnTo>
                  <a:lnTo>
                    <a:pt x="146" y="361"/>
                  </a:lnTo>
                  <a:lnTo>
                    <a:pt x="151" y="328"/>
                  </a:lnTo>
                  <a:lnTo>
                    <a:pt x="158" y="322"/>
                  </a:lnTo>
                  <a:lnTo>
                    <a:pt x="170" y="312"/>
                  </a:lnTo>
                  <a:lnTo>
                    <a:pt x="175" y="301"/>
                  </a:lnTo>
                  <a:lnTo>
                    <a:pt x="177" y="288"/>
                  </a:lnTo>
                  <a:lnTo>
                    <a:pt x="192" y="292"/>
                  </a:lnTo>
                  <a:lnTo>
                    <a:pt x="195" y="284"/>
                  </a:lnTo>
                  <a:lnTo>
                    <a:pt x="199" y="282"/>
                  </a:lnTo>
                  <a:lnTo>
                    <a:pt x="207" y="270"/>
                  </a:lnTo>
                  <a:lnTo>
                    <a:pt x="220" y="268"/>
                  </a:lnTo>
                  <a:lnTo>
                    <a:pt x="223" y="259"/>
                  </a:lnTo>
                  <a:lnTo>
                    <a:pt x="250" y="246"/>
                  </a:lnTo>
                  <a:lnTo>
                    <a:pt x="271" y="248"/>
                  </a:lnTo>
                  <a:lnTo>
                    <a:pt x="274" y="248"/>
                  </a:lnTo>
                  <a:lnTo>
                    <a:pt x="295" y="241"/>
                  </a:lnTo>
                  <a:lnTo>
                    <a:pt x="319" y="240"/>
                  </a:lnTo>
                  <a:lnTo>
                    <a:pt x="343" y="240"/>
                  </a:lnTo>
                  <a:lnTo>
                    <a:pt x="354" y="217"/>
                  </a:lnTo>
                  <a:lnTo>
                    <a:pt x="355" y="199"/>
                  </a:lnTo>
                  <a:lnTo>
                    <a:pt x="356" y="181"/>
                  </a:lnTo>
                  <a:lnTo>
                    <a:pt x="357" y="163"/>
                  </a:lnTo>
                  <a:lnTo>
                    <a:pt x="357" y="145"/>
                  </a:lnTo>
                  <a:lnTo>
                    <a:pt x="333" y="145"/>
                  </a:lnTo>
                  <a:lnTo>
                    <a:pt x="332" y="126"/>
                  </a:lnTo>
                  <a:lnTo>
                    <a:pt x="302" y="114"/>
                  </a:lnTo>
                  <a:lnTo>
                    <a:pt x="291" y="104"/>
                  </a:lnTo>
                  <a:lnTo>
                    <a:pt x="291" y="97"/>
                  </a:lnTo>
                  <a:lnTo>
                    <a:pt x="276" y="85"/>
                  </a:lnTo>
                  <a:lnTo>
                    <a:pt x="259" y="72"/>
                  </a:lnTo>
                  <a:lnTo>
                    <a:pt x="243" y="60"/>
                  </a:lnTo>
                  <a:lnTo>
                    <a:pt x="228" y="48"/>
                  </a:lnTo>
                  <a:lnTo>
                    <a:pt x="211" y="36"/>
                  </a:lnTo>
                  <a:lnTo>
                    <a:pt x="195" y="24"/>
                  </a:lnTo>
                  <a:lnTo>
                    <a:pt x="180" y="12"/>
                  </a:lnTo>
                  <a:lnTo>
                    <a:pt x="164" y="0"/>
                  </a:lnTo>
                  <a:lnTo>
                    <a:pt x="145" y="0"/>
                  </a:lnTo>
                  <a:lnTo>
                    <a:pt x="126" y="0"/>
                  </a:lnTo>
                  <a:lnTo>
                    <a:pt x="128" y="26"/>
                  </a:lnTo>
                  <a:lnTo>
                    <a:pt x="130" y="52"/>
                  </a:lnTo>
                  <a:lnTo>
                    <a:pt x="133" y="79"/>
                  </a:lnTo>
                  <a:lnTo>
                    <a:pt x="135" y="105"/>
                  </a:lnTo>
                  <a:lnTo>
                    <a:pt x="138" y="132"/>
                  </a:lnTo>
                  <a:lnTo>
                    <a:pt x="140" y="158"/>
                  </a:lnTo>
                  <a:lnTo>
                    <a:pt x="142" y="184"/>
                  </a:lnTo>
                  <a:lnTo>
                    <a:pt x="145" y="211"/>
                  </a:lnTo>
                  <a:lnTo>
                    <a:pt x="151" y="214"/>
                  </a:lnTo>
                  <a:lnTo>
                    <a:pt x="147" y="235"/>
                  </a:lnTo>
                  <a:lnTo>
                    <a:pt x="126" y="235"/>
                  </a:lnTo>
                  <a:lnTo>
                    <a:pt x="105" y="235"/>
                  </a:lnTo>
                  <a:lnTo>
                    <a:pt x="85" y="235"/>
                  </a:lnTo>
                  <a:lnTo>
                    <a:pt x="63" y="235"/>
                  </a:lnTo>
                  <a:lnTo>
                    <a:pt x="61" y="232"/>
                  </a:lnTo>
                  <a:lnTo>
                    <a:pt x="31" y="241"/>
                  </a:lnTo>
                  <a:lnTo>
                    <a:pt x="27" y="242"/>
                  </a:lnTo>
                  <a:lnTo>
                    <a:pt x="14" y="234"/>
                  </a:lnTo>
                  <a:lnTo>
                    <a:pt x="4" y="255"/>
                  </a:lnTo>
                  <a:lnTo>
                    <a:pt x="0" y="254"/>
                  </a:lnTo>
                  <a:lnTo>
                    <a:pt x="6" y="278"/>
                  </a:lnTo>
                  <a:lnTo>
                    <a:pt x="12" y="288"/>
                  </a:lnTo>
                  <a:lnTo>
                    <a:pt x="18" y="313"/>
                  </a:lnTo>
                  <a:lnTo>
                    <a:pt x="15" y="318"/>
                  </a:lnTo>
                  <a:lnTo>
                    <a:pt x="30" y="319"/>
                  </a:lnTo>
                  <a:lnTo>
                    <a:pt x="36" y="321"/>
                  </a:lnTo>
                  <a:lnTo>
                    <a:pt x="49" y="320"/>
                  </a:lnTo>
                  <a:lnTo>
                    <a:pt x="63" y="314"/>
                  </a:lnTo>
                  <a:lnTo>
                    <a:pt x="67" y="310"/>
                  </a:lnTo>
                  <a:lnTo>
                    <a:pt x="74" y="331"/>
                  </a:lnTo>
                  <a:lnTo>
                    <a:pt x="81" y="33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302" name="Freeform 58"/>
            <p:cNvSpPr>
              <a:spLocks/>
            </p:cNvSpPr>
            <p:nvPr/>
          </p:nvSpPr>
          <p:spPr bwMode="auto">
            <a:xfrm>
              <a:off x="2819" y="1464"/>
              <a:ext cx="4" cy="2"/>
            </a:xfrm>
            <a:custGeom>
              <a:avLst/>
              <a:gdLst>
                <a:gd name="T0" fmla="*/ 2 w 5"/>
                <a:gd name="T1" fmla="*/ 1 h 4"/>
                <a:gd name="T2" fmla="*/ 2 w 5"/>
                <a:gd name="T3" fmla="*/ 1 h 4"/>
                <a:gd name="T4" fmla="*/ 0 w 5"/>
                <a:gd name="T5" fmla="*/ 0 h 4"/>
                <a:gd name="T6" fmla="*/ 2 w 5"/>
                <a:gd name="T7" fmla="*/ 1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4"/>
                <a:gd name="T14" fmla="*/ 5 w 5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4">
                  <a:moveTo>
                    <a:pt x="5" y="3"/>
                  </a:moveTo>
                  <a:lnTo>
                    <a:pt x="3" y="4"/>
                  </a:lnTo>
                  <a:lnTo>
                    <a:pt x="0" y="0"/>
                  </a:lnTo>
                  <a:lnTo>
                    <a:pt x="5" y="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03" name="Freeform 59"/>
            <p:cNvSpPr>
              <a:spLocks/>
            </p:cNvSpPr>
            <p:nvPr/>
          </p:nvSpPr>
          <p:spPr bwMode="auto">
            <a:xfrm>
              <a:off x="2353" y="1616"/>
              <a:ext cx="186" cy="220"/>
            </a:xfrm>
            <a:custGeom>
              <a:avLst/>
              <a:gdLst>
                <a:gd name="T0" fmla="*/ 1 w 265"/>
                <a:gd name="T1" fmla="*/ 2 h 312"/>
                <a:gd name="T2" fmla="*/ 1 w 265"/>
                <a:gd name="T3" fmla="*/ 2 h 312"/>
                <a:gd name="T4" fmla="*/ 1 w 265"/>
                <a:gd name="T5" fmla="*/ 2 h 312"/>
                <a:gd name="T6" fmla="*/ 1 w 265"/>
                <a:gd name="T7" fmla="*/ 1 h 312"/>
                <a:gd name="T8" fmla="*/ 1 w 265"/>
                <a:gd name="T9" fmla="*/ 1 h 312"/>
                <a:gd name="T10" fmla="*/ 1 w 265"/>
                <a:gd name="T11" fmla="*/ 1 h 312"/>
                <a:gd name="T12" fmla="*/ 1 w 265"/>
                <a:gd name="T13" fmla="*/ 1 h 312"/>
                <a:gd name="T14" fmla="*/ 0 w 265"/>
                <a:gd name="T15" fmla="*/ 1 h 312"/>
                <a:gd name="T16" fmla="*/ 1 w 265"/>
                <a:gd name="T17" fmla="*/ 1 h 312"/>
                <a:gd name="T18" fmla="*/ 1 w 265"/>
                <a:gd name="T19" fmla="*/ 1 h 312"/>
                <a:gd name="T20" fmla="*/ 1 w 265"/>
                <a:gd name="T21" fmla="*/ 1 h 312"/>
                <a:gd name="T22" fmla="*/ 1 w 265"/>
                <a:gd name="T23" fmla="*/ 1 h 312"/>
                <a:gd name="T24" fmla="*/ 1 w 265"/>
                <a:gd name="T25" fmla="*/ 1 h 312"/>
                <a:gd name="T26" fmla="*/ 1 w 265"/>
                <a:gd name="T27" fmla="*/ 1 h 312"/>
                <a:gd name="T28" fmla="*/ 1 w 265"/>
                <a:gd name="T29" fmla="*/ 1 h 312"/>
                <a:gd name="T30" fmla="*/ 1 w 265"/>
                <a:gd name="T31" fmla="*/ 1 h 312"/>
                <a:gd name="T32" fmla="*/ 1 w 265"/>
                <a:gd name="T33" fmla="*/ 1 h 312"/>
                <a:gd name="T34" fmla="*/ 1 w 265"/>
                <a:gd name="T35" fmla="*/ 1 h 312"/>
                <a:gd name="T36" fmla="*/ 1 w 265"/>
                <a:gd name="T37" fmla="*/ 1 h 312"/>
                <a:gd name="T38" fmla="*/ 1 w 265"/>
                <a:gd name="T39" fmla="*/ 1 h 312"/>
                <a:gd name="T40" fmla="*/ 1 w 265"/>
                <a:gd name="T41" fmla="*/ 1 h 312"/>
                <a:gd name="T42" fmla="*/ 1 w 265"/>
                <a:gd name="T43" fmla="*/ 1 h 312"/>
                <a:gd name="T44" fmla="*/ 1 w 265"/>
                <a:gd name="T45" fmla="*/ 0 h 312"/>
                <a:gd name="T46" fmla="*/ 1 w 265"/>
                <a:gd name="T47" fmla="*/ 1 h 312"/>
                <a:gd name="T48" fmla="*/ 1 w 265"/>
                <a:gd name="T49" fmla="*/ 1 h 312"/>
                <a:gd name="T50" fmla="*/ 2 w 265"/>
                <a:gd name="T51" fmla="*/ 1 h 312"/>
                <a:gd name="T52" fmla="*/ 2 w 265"/>
                <a:gd name="T53" fmla="*/ 1 h 312"/>
                <a:gd name="T54" fmla="*/ 2 w 265"/>
                <a:gd name="T55" fmla="*/ 1 h 312"/>
                <a:gd name="T56" fmla="*/ 1 w 265"/>
                <a:gd name="T57" fmla="*/ 1 h 312"/>
                <a:gd name="T58" fmla="*/ 1 w 265"/>
                <a:gd name="T59" fmla="*/ 1 h 312"/>
                <a:gd name="T60" fmla="*/ 1 w 265"/>
                <a:gd name="T61" fmla="*/ 1 h 312"/>
                <a:gd name="T62" fmla="*/ 2 w 265"/>
                <a:gd name="T63" fmla="*/ 1 h 312"/>
                <a:gd name="T64" fmla="*/ 2 w 265"/>
                <a:gd name="T65" fmla="*/ 1 h 312"/>
                <a:gd name="T66" fmla="*/ 2 w 265"/>
                <a:gd name="T67" fmla="*/ 1 h 312"/>
                <a:gd name="T68" fmla="*/ 2 w 265"/>
                <a:gd name="T69" fmla="*/ 1 h 312"/>
                <a:gd name="T70" fmla="*/ 2 w 265"/>
                <a:gd name="T71" fmla="*/ 2 h 312"/>
                <a:gd name="T72" fmla="*/ 2 w 265"/>
                <a:gd name="T73" fmla="*/ 2 h 312"/>
                <a:gd name="T74" fmla="*/ 2 w 265"/>
                <a:gd name="T75" fmla="*/ 2 h 312"/>
                <a:gd name="T76" fmla="*/ 2 w 265"/>
                <a:gd name="T77" fmla="*/ 2 h 312"/>
                <a:gd name="T78" fmla="*/ 1 w 265"/>
                <a:gd name="T79" fmla="*/ 2 h 312"/>
                <a:gd name="T80" fmla="*/ 1 w 265"/>
                <a:gd name="T81" fmla="*/ 2 h 312"/>
                <a:gd name="T82" fmla="*/ 1 w 265"/>
                <a:gd name="T83" fmla="*/ 2 h 312"/>
                <a:gd name="T84" fmla="*/ 1 w 265"/>
                <a:gd name="T85" fmla="*/ 2 h 312"/>
                <a:gd name="T86" fmla="*/ 1 w 265"/>
                <a:gd name="T87" fmla="*/ 2 h 312"/>
                <a:gd name="T88" fmla="*/ 1 w 265"/>
                <a:gd name="T89" fmla="*/ 2 h 312"/>
                <a:gd name="T90" fmla="*/ 1 w 265"/>
                <a:gd name="T91" fmla="*/ 2 h 312"/>
                <a:gd name="T92" fmla="*/ 1 w 265"/>
                <a:gd name="T93" fmla="*/ 2 h 312"/>
                <a:gd name="T94" fmla="*/ 1 w 265"/>
                <a:gd name="T95" fmla="*/ 2 h 312"/>
                <a:gd name="T96" fmla="*/ 1 w 265"/>
                <a:gd name="T97" fmla="*/ 2 h 312"/>
                <a:gd name="T98" fmla="*/ 1 w 265"/>
                <a:gd name="T99" fmla="*/ 2 h 312"/>
                <a:gd name="T100" fmla="*/ 1 w 265"/>
                <a:gd name="T101" fmla="*/ 2 h 312"/>
                <a:gd name="T102" fmla="*/ 1 w 265"/>
                <a:gd name="T103" fmla="*/ 2 h 312"/>
                <a:gd name="T104" fmla="*/ 1 w 265"/>
                <a:gd name="T105" fmla="*/ 2 h 312"/>
                <a:gd name="T106" fmla="*/ 1 w 265"/>
                <a:gd name="T107" fmla="*/ 2 h 3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65"/>
                <a:gd name="T163" fmla="*/ 0 h 312"/>
                <a:gd name="T164" fmla="*/ 265 w 265"/>
                <a:gd name="T165" fmla="*/ 312 h 31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65" h="312">
                  <a:moveTo>
                    <a:pt x="13" y="269"/>
                  </a:moveTo>
                  <a:lnTo>
                    <a:pt x="8" y="279"/>
                  </a:lnTo>
                  <a:lnTo>
                    <a:pt x="14" y="250"/>
                  </a:lnTo>
                  <a:lnTo>
                    <a:pt x="20" y="220"/>
                  </a:lnTo>
                  <a:lnTo>
                    <a:pt x="14" y="196"/>
                  </a:lnTo>
                  <a:lnTo>
                    <a:pt x="15" y="169"/>
                  </a:lnTo>
                  <a:lnTo>
                    <a:pt x="1" y="155"/>
                  </a:lnTo>
                  <a:lnTo>
                    <a:pt x="0" y="161"/>
                  </a:lnTo>
                  <a:lnTo>
                    <a:pt x="3" y="148"/>
                  </a:lnTo>
                  <a:lnTo>
                    <a:pt x="24" y="148"/>
                  </a:lnTo>
                  <a:lnTo>
                    <a:pt x="45" y="148"/>
                  </a:lnTo>
                  <a:lnTo>
                    <a:pt x="67" y="148"/>
                  </a:lnTo>
                  <a:lnTo>
                    <a:pt x="87" y="148"/>
                  </a:lnTo>
                  <a:lnTo>
                    <a:pt x="89" y="126"/>
                  </a:lnTo>
                  <a:lnTo>
                    <a:pt x="89" y="106"/>
                  </a:lnTo>
                  <a:lnTo>
                    <a:pt x="110" y="95"/>
                  </a:lnTo>
                  <a:lnTo>
                    <a:pt x="110" y="64"/>
                  </a:lnTo>
                  <a:lnTo>
                    <a:pt x="111" y="31"/>
                  </a:lnTo>
                  <a:lnTo>
                    <a:pt x="129" y="31"/>
                  </a:lnTo>
                  <a:lnTo>
                    <a:pt x="147" y="31"/>
                  </a:lnTo>
                  <a:lnTo>
                    <a:pt x="165" y="31"/>
                  </a:lnTo>
                  <a:lnTo>
                    <a:pt x="182" y="31"/>
                  </a:lnTo>
                  <a:lnTo>
                    <a:pt x="183" y="0"/>
                  </a:lnTo>
                  <a:lnTo>
                    <a:pt x="204" y="13"/>
                  </a:lnTo>
                  <a:lnTo>
                    <a:pt x="224" y="28"/>
                  </a:lnTo>
                  <a:lnTo>
                    <a:pt x="245" y="42"/>
                  </a:lnTo>
                  <a:lnTo>
                    <a:pt x="265" y="57"/>
                  </a:lnTo>
                  <a:lnTo>
                    <a:pt x="246" y="57"/>
                  </a:lnTo>
                  <a:lnTo>
                    <a:pt x="227" y="57"/>
                  </a:lnTo>
                  <a:lnTo>
                    <a:pt x="229" y="83"/>
                  </a:lnTo>
                  <a:lnTo>
                    <a:pt x="231" y="109"/>
                  </a:lnTo>
                  <a:lnTo>
                    <a:pt x="234" y="136"/>
                  </a:lnTo>
                  <a:lnTo>
                    <a:pt x="236" y="162"/>
                  </a:lnTo>
                  <a:lnTo>
                    <a:pt x="239" y="189"/>
                  </a:lnTo>
                  <a:lnTo>
                    <a:pt x="241" y="215"/>
                  </a:lnTo>
                  <a:lnTo>
                    <a:pt x="243" y="241"/>
                  </a:lnTo>
                  <a:lnTo>
                    <a:pt x="246" y="268"/>
                  </a:lnTo>
                  <a:lnTo>
                    <a:pt x="252" y="271"/>
                  </a:lnTo>
                  <a:lnTo>
                    <a:pt x="248" y="292"/>
                  </a:lnTo>
                  <a:lnTo>
                    <a:pt x="227" y="292"/>
                  </a:lnTo>
                  <a:lnTo>
                    <a:pt x="206" y="292"/>
                  </a:lnTo>
                  <a:lnTo>
                    <a:pt x="186" y="292"/>
                  </a:lnTo>
                  <a:lnTo>
                    <a:pt x="164" y="292"/>
                  </a:lnTo>
                  <a:lnTo>
                    <a:pt x="162" y="289"/>
                  </a:lnTo>
                  <a:lnTo>
                    <a:pt x="132" y="298"/>
                  </a:lnTo>
                  <a:lnTo>
                    <a:pt x="128" y="299"/>
                  </a:lnTo>
                  <a:lnTo>
                    <a:pt x="115" y="291"/>
                  </a:lnTo>
                  <a:lnTo>
                    <a:pt x="105" y="312"/>
                  </a:lnTo>
                  <a:lnTo>
                    <a:pt x="101" y="311"/>
                  </a:lnTo>
                  <a:lnTo>
                    <a:pt x="85" y="293"/>
                  </a:lnTo>
                  <a:lnTo>
                    <a:pt x="69" y="276"/>
                  </a:lnTo>
                  <a:lnTo>
                    <a:pt x="48" y="264"/>
                  </a:lnTo>
                  <a:lnTo>
                    <a:pt x="31" y="267"/>
                  </a:lnTo>
                  <a:lnTo>
                    <a:pt x="13" y="269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04" name="Freeform 60"/>
            <p:cNvSpPr>
              <a:spLocks/>
            </p:cNvSpPr>
            <p:nvPr/>
          </p:nvSpPr>
          <p:spPr bwMode="auto">
            <a:xfrm>
              <a:off x="2415" y="1466"/>
              <a:ext cx="182" cy="143"/>
            </a:xfrm>
            <a:custGeom>
              <a:avLst/>
              <a:gdLst>
                <a:gd name="T0" fmla="*/ 1 w 258"/>
                <a:gd name="T1" fmla="*/ 1 h 204"/>
                <a:gd name="T2" fmla="*/ 1 w 258"/>
                <a:gd name="T3" fmla="*/ 1 h 204"/>
                <a:gd name="T4" fmla="*/ 1 w 258"/>
                <a:gd name="T5" fmla="*/ 1 h 204"/>
                <a:gd name="T6" fmla="*/ 1 w 258"/>
                <a:gd name="T7" fmla="*/ 1 h 204"/>
                <a:gd name="T8" fmla="*/ 1 w 258"/>
                <a:gd name="T9" fmla="*/ 1 h 204"/>
                <a:gd name="T10" fmla="*/ 1 w 258"/>
                <a:gd name="T11" fmla="*/ 1 h 204"/>
                <a:gd name="T12" fmla="*/ 1 w 258"/>
                <a:gd name="T13" fmla="*/ 1 h 204"/>
                <a:gd name="T14" fmla="*/ 1 w 258"/>
                <a:gd name="T15" fmla="*/ 1 h 204"/>
                <a:gd name="T16" fmla="*/ 1 w 258"/>
                <a:gd name="T17" fmla="*/ 1 h 204"/>
                <a:gd name="T18" fmla="*/ 1 w 258"/>
                <a:gd name="T19" fmla="*/ 1 h 204"/>
                <a:gd name="T20" fmla="*/ 0 w 258"/>
                <a:gd name="T21" fmla="*/ 1 h 204"/>
                <a:gd name="T22" fmla="*/ 1 w 258"/>
                <a:gd name="T23" fmla="*/ 1 h 204"/>
                <a:gd name="T24" fmla="*/ 1 w 258"/>
                <a:gd name="T25" fmla="*/ 1 h 204"/>
                <a:gd name="T26" fmla="*/ 1 w 258"/>
                <a:gd name="T27" fmla="*/ 1 h 204"/>
                <a:gd name="T28" fmla="*/ 1 w 258"/>
                <a:gd name="T29" fmla="*/ 1 h 204"/>
                <a:gd name="T30" fmla="*/ 1 w 258"/>
                <a:gd name="T31" fmla="*/ 1 h 204"/>
                <a:gd name="T32" fmla="*/ 1 w 258"/>
                <a:gd name="T33" fmla="*/ 1 h 204"/>
                <a:gd name="T34" fmla="*/ 1 w 258"/>
                <a:gd name="T35" fmla="*/ 1 h 204"/>
                <a:gd name="T36" fmla="*/ 1 w 258"/>
                <a:gd name="T37" fmla="*/ 1 h 204"/>
                <a:gd name="T38" fmla="*/ 1 w 258"/>
                <a:gd name="T39" fmla="*/ 1 h 204"/>
                <a:gd name="T40" fmla="*/ 1 w 258"/>
                <a:gd name="T41" fmla="*/ 1 h 204"/>
                <a:gd name="T42" fmla="*/ 1 w 258"/>
                <a:gd name="T43" fmla="*/ 1 h 204"/>
                <a:gd name="T44" fmla="*/ 1 w 258"/>
                <a:gd name="T45" fmla="*/ 1 h 204"/>
                <a:gd name="T46" fmla="*/ 2 w 258"/>
                <a:gd name="T47" fmla="*/ 1 h 204"/>
                <a:gd name="T48" fmla="*/ 2 w 258"/>
                <a:gd name="T49" fmla="*/ 1 h 204"/>
                <a:gd name="T50" fmla="*/ 2 w 258"/>
                <a:gd name="T51" fmla="*/ 1 h 204"/>
                <a:gd name="T52" fmla="*/ 2 w 258"/>
                <a:gd name="T53" fmla="*/ 1 h 204"/>
                <a:gd name="T54" fmla="*/ 2 w 258"/>
                <a:gd name="T55" fmla="*/ 1 h 204"/>
                <a:gd name="T56" fmla="*/ 2 w 258"/>
                <a:gd name="T57" fmla="*/ 1 h 204"/>
                <a:gd name="T58" fmla="*/ 2 w 258"/>
                <a:gd name="T59" fmla="*/ 1 h 204"/>
                <a:gd name="T60" fmla="*/ 1 w 258"/>
                <a:gd name="T61" fmla="*/ 1 h 204"/>
                <a:gd name="T62" fmla="*/ 1 w 258"/>
                <a:gd name="T63" fmla="*/ 1 h 204"/>
                <a:gd name="T64" fmla="*/ 1 w 258"/>
                <a:gd name="T65" fmla="*/ 1 h 204"/>
                <a:gd name="T66" fmla="*/ 1 w 258"/>
                <a:gd name="T67" fmla="*/ 0 h 204"/>
                <a:gd name="T68" fmla="*/ 1 w 258"/>
                <a:gd name="T69" fmla="*/ 1 h 204"/>
                <a:gd name="T70" fmla="*/ 1 w 258"/>
                <a:gd name="T71" fmla="*/ 1 h 204"/>
                <a:gd name="T72" fmla="*/ 1 w 258"/>
                <a:gd name="T73" fmla="*/ 1 h 20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58"/>
                <a:gd name="T112" fmla="*/ 0 h 204"/>
                <a:gd name="T113" fmla="*/ 258 w 258"/>
                <a:gd name="T114" fmla="*/ 204 h 204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58" h="204">
                  <a:moveTo>
                    <a:pt x="134" y="50"/>
                  </a:moveTo>
                  <a:lnTo>
                    <a:pt x="114" y="62"/>
                  </a:lnTo>
                  <a:lnTo>
                    <a:pt x="95" y="74"/>
                  </a:lnTo>
                  <a:lnTo>
                    <a:pt x="84" y="93"/>
                  </a:lnTo>
                  <a:lnTo>
                    <a:pt x="75" y="112"/>
                  </a:lnTo>
                  <a:lnTo>
                    <a:pt x="77" y="135"/>
                  </a:lnTo>
                  <a:lnTo>
                    <a:pt x="68" y="152"/>
                  </a:lnTo>
                  <a:lnTo>
                    <a:pt x="57" y="170"/>
                  </a:lnTo>
                  <a:lnTo>
                    <a:pt x="41" y="182"/>
                  </a:lnTo>
                  <a:lnTo>
                    <a:pt x="24" y="193"/>
                  </a:lnTo>
                  <a:lnTo>
                    <a:pt x="0" y="204"/>
                  </a:lnTo>
                  <a:lnTo>
                    <a:pt x="24" y="204"/>
                  </a:lnTo>
                  <a:lnTo>
                    <a:pt x="48" y="204"/>
                  </a:lnTo>
                  <a:lnTo>
                    <a:pt x="72" y="204"/>
                  </a:lnTo>
                  <a:lnTo>
                    <a:pt x="96" y="204"/>
                  </a:lnTo>
                  <a:lnTo>
                    <a:pt x="101" y="175"/>
                  </a:lnTo>
                  <a:lnTo>
                    <a:pt x="119" y="165"/>
                  </a:lnTo>
                  <a:lnTo>
                    <a:pt x="136" y="154"/>
                  </a:lnTo>
                  <a:lnTo>
                    <a:pt x="154" y="147"/>
                  </a:lnTo>
                  <a:lnTo>
                    <a:pt x="173" y="139"/>
                  </a:lnTo>
                  <a:lnTo>
                    <a:pt x="189" y="128"/>
                  </a:lnTo>
                  <a:lnTo>
                    <a:pt x="203" y="117"/>
                  </a:lnTo>
                  <a:lnTo>
                    <a:pt x="203" y="103"/>
                  </a:lnTo>
                  <a:lnTo>
                    <a:pt x="231" y="92"/>
                  </a:lnTo>
                  <a:lnTo>
                    <a:pt x="254" y="91"/>
                  </a:lnTo>
                  <a:lnTo>
                    <a:pt x="258" y="84"/>
                  </a:lnTo>
                  <a:lnTo>
                    <a:pt x="245" y="62"/>
                  </a:lnTo>
                  <a:lnTo>
                    <a:pt x="243" y="43"/>
                  </a:lnTo>
                  <a:lnTo>
                    <a:pt x="239" y="25"/>
                  </a:lnTo>
                  <a:lnTo>
                    <a:pt x="234" y="19"/>
                  </a:lnTo>
                  <a:lnTo>
                    <a:pt x="220" y="15"/>
                  </a:lnTo>
                  <a:lnTo>
                    <a:pt x="214" y="15"/>
                  </a:lnTo>
                  <a:lnTo>
                    <a:pt x="178" y="14"/>
                  </a:lnTo>
                  <a:lnTo>
                    <a:pt x="167" y="0"/>
                  </a:lnTo>
                  <a:lnTo>
                    <a:pt x="155" y="9"/>
                  </a:lnTo>
                  <a:lnTo>
                    <a:pt x="144" y="30"/>
                  </a:lnTo>
                  <a:lnTo>
                    <a:pt x="134" y="5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05" name="Freeform 61"/>
            <p:cNvSpPr>
              <a:spLocks/>
            </p:cNvSpPr>
            <p:nvPr/>
          </p:nvSpPr>
          <p:spPr bwMode="auto">
            <a:xfrm>
              <a:off x="2615" y="1681"/>
              <a:ext cx="239" cy="207"/>
            </a:xfrm>
            <a:custGeom>
              <a:avLst/>
              <a:gdLst>
                <a:gd name="T0" fmla="*/ 1 w 339"/>
                <a:gd name="T1" fmla="*/ 2 h 293"/>
                <a:gd name="T2" fmla="*/ 1 w 339"/>
                <a:gd name="T3" fmla="*/ 2 h 293"/>
                <a:gd name="T4" fmla="*/ 1 w 339"/>
                <a:gd name="T5" fmla="*/ 2 h 293"/>
                <a:gd name="T6" fmla="*/ 1 w 339"/>
                <a:gd name="T7" fmla="*/ 2 h 293"/>
                <a:gd name="T8" fmla="*/ 1 w 339"/>
                <a:gd name="T9" fmla="*/ 2 h 293"/>
                <a:gd name="T10" fmla="*/ 1 w 339"/>
                <a:gd name="T11" fmla="*/ 2 h 293"/>
                <a:gd name="T12" fmla="*/ 0 w 339"/>
                <a:gd name="T13" fmla="*/ 1 h 293"/>
                <a:gd name="T14" fmla="*/ 1 w 339"/>
                <a:gd name="T15" fmla="*/ 1 h 293"/>
                <a:gd name="T16" fmla="*/ 1 w 339"/>
                <a:gd name="T17" fmla="*/ 1 h 293"/>
                <a:gd name="T18" fmla="*/ 1 w 339"/>
                <a:gd name="T19" fmla="*/ 1 h 293"/>
                <a:gd name="T20" fmla="*/ 1 w 339"/>
                <a:gd name="T21" fmla="*/ 1 h 293"/>
                <a:gd name="T22" fmla="*/ 1 w 339"/>
                <a:gd name="T23" fmla="*/ 1 h 293"/>
                <a:gd name="T24" fmla="*/ 1 w 339"/>
                <a:gd name="T25" fmla="*/ 1 h 293"/>
                <a:gd name="T26" fmla="*/ 1 w 339"/>
                <a:gd name="T27" fmla="*/ 1 h 293"/>
                <a:gd name="T28" fmla="*/ 1 w 339"/>
                <a:gd name="T29" fmla="*/ 1 h 293"/>
                <a:gd name="T30" fmla="*/ 1 w 339"/>
                <a:gd name="T31" fmla="*/ 1 h 293"/>
                <a:gd name="T32" fmla="*/ 1 w 339"/>
                <a:gd name="T33" fmla="*/ 1 h 293"/>
                <a:gd name="T34" fmla="*/ 1 w 339"/>
                <a:gd name="T35" fmla="*/ 1 h 293"/>
                <a:gd name="T36" fmla="*/ 1 w 339"/>
                <a:gd name="T37" fmla="*/ 1 h 293"/>
                <a:gd name="T38" fmla="*/ 1 w 339"/>
                <a:gd name="T39" fmla="*/ 1 h 293"/>
                <a:gd name="T40" fmla="*/ 1 w 339"/>
                <a:gd name="T41" fmla="*/ 1 h 293"/>
                <a:gd name="T42" fmla="*/ 1 w 339"/>
                <a:gd name="T43" fmla="*/ 1 h 293"/>
                <a:gd name="T44" fmla="*/ 1 w 339"/>
                <a:gd name="T45" fmla="*/ 1 h 293"/>
                <a:gd name="T46" fmla="*/ 2 w 339"/>
                <a:gd name="T47" fmla="*/ 0 h 293"/>
                <a:gd name="T48" fmla="*/ 2 w 339"/>
                <a:gd name="T49" fmla="*/ 1 h 293"/>
                <a:gd name="T50" fmla="*/ 2 w 339"/>
                <a:gd name="T51" fmla="*/ 1 h 293"/>
                <a:gd name="T52" fmla="*/ 2 w 339"/>
                <a:gd name="T53" fmla="*/ 1 h 293"/>
                <a:gd name="T54" fmla="*/ 2 w 339"/>
                <a:gd name="T55" fmla="*/ 1 h 293"/>
                <a:gd name="T56" fmla="*/ 2 w 339"/>
                <a:gd name="T57" fmla="*/ 1 h 293"/>
                <a:gd name="T58" fmla="*/ 2 w 339"/>
                <a:gd name="T59" fmla="*/ 1 h 293"/>
                <a:gd name="T60" fmla="*/ 3 w 339"/>
                <a:gd name="T61" fmla="*/ 1 h 293"/>
                <a:gd name="T62" fmla="*/ 3 w 339"/>
                <a:gd name="T63" fmla="*/ 1 h 293"/>
                <a:gd name="T64" fmla="*/ 3 w 339"/>
                <a:gd name="T65" fmla="*/ 1 h 293"/>
                <a:gd name="T66" fmla="*/ 3 w 339"/>
                <a:gd name="T67" fmla="*/ 1 h 293"/>
                <a:gd name="T68" fmla="*/ 3 w 339"/>
                <a:gd name="T69" fmla="*/ 1 h 293"/>
                <a:gd name="T70" fmla="*/ 3 w 339"/>
                <a:gd name="T71" fmla="*/ 1 h 293"/>
                <a:gd name="T72" fmla="*/ 2 w 339"/>
                <a:gd name="T73" fmla="*/ 1 h 293"/>
                <a:gd name="T74" fmla="*/ 2 w 339"/>
                <a:gd name="T75" fmla="*/ 1 h 293"/>
                <a:gd name="T76" fmla="*/ 2 w 339"/>
                <a:gd name="T77" fmla="*/ 1 h 293"/>
                <a:gd name="T78" fmla="*/ 2 w 339"/>
                <a:gd name="T79" fmla="*/ 2 h 293"/>
                <a:gd name="T80" fmla="*/ 2 w 339"/>
                <a:gd name="T81" fmla="*/ 2 h 293"/>
                <a:gd name="T82" fmla="*/ 2 w 339"/>
                <a:gd name="T83" fmla="*/ 2 h 293"/>
                <a:gd name="T84" fmla="*/ 2 w 339"/>
                <a:gd name="T85" fmla="*/ 2 h 293"/>
                <a:gd name="T86" fmla="*/ 1 w 339"/>
                <a:gd name="T87" fmla="*/ 2 h 293"/>
                <a:gd name="T88" fmla="*/ 1 w 339"/>
                <a:gd name="T89" fmla="*/ 2 h 293"/>
                <a:gd name="T90" fmla="*/ 1 w 339"/>
                <a:gd name="T91" fmla="*/ 2 h 293"/>
                <a:gd name="T92" fmla="*/ 1 w 339"/>
                <a:gd name="T93" fmla="*/ 2 h 293"/>
                <a:gd name="T94" fmla="*/ 1 w 339"/>
                <a:gd name="T95" fmla="*/ 2 h 293"/>
                <a:gd name="T96" fmla="*/ 1 w 339"/>
                <a:gd name="T97" fmla="*/ 2 h 293"/>
                <a:gd name="T98" fmla="*/ 1 w 339"/>
                <a:gd name="T99" fmla="*/ 2 h 293"/>
                <a:gd name="T100" fmla="*/ 1 w 339"/>
                <a:gd name="T101" fmla="*/ 2 h 293"/>
                <a:gd name="T102" fmla="*/ 1 w 339"/>
                <a:gd name="T103" fmla="*/ 2 h 293"/>
                <a:gd name="T104" fmla="*/ 1 w 339"/>
                <a:gd name="T105" fmla="*/ 2 h 293"/>
                <a:gd name="T106" fmla="*/ 1 w 339"/>
                <a:gd name="T107" fmla="*/ 2 h 293"/>
                <a:gd name="T108" fmla="*/ 1 w 339"/>
                <a:gd name="T109" fmla="*/ 2 h 293"/>
                <a:gd name="T110" fmla="*/ 1 w 339"/>
                <a:gd name="T111" fmla="*/ 2 h 293"/>
                <a:gd name="T112" fmla="*/ 1 w 339"/>
                <a:gd name="T113" fmla="*/ 2 h 293"/>
                <a:gd name="T114" fmla="*/ 1 w 339"/>
                <a:gd name="T115" fmla="*/ 2 h 293"/>
                <a:gd name="T116" fmla="*/ 1 w 339"/>
                <a:gd name="T117" fmla="*/ 2 h 2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39"/>
                <a:gd name="T178" fmla="*/ 0 h 293"/>
                <a:gd name="T179" fmla="*/ 339 w 339"/>
                <a:gd name="T180" fmla="*/ 293 h 29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39" h="293">
                  <a:moveTo>
                    <a:pt x="37" y="267"/>
                  </a:moveTo>
                  <a:lnTo>
                    <a:pt x="30" y="270"/>
                  </a:lnTo>
                  <a:lnTo>
                    <a:pt x="17" y="259"/>
                  </a:lnTo>
                  <a:lnTo>
                    <a:pt x="17" y="252"/>
                  </a:lnTo>
                  <a:lnTo>
                    <a:pt x="20" y="251"/>
                  </a:lnTo>
                  <a:lnTo>
                    <a:pt x="2" y="233"/>
                  </a:lnTo>
                  <a:lnTo>
                    <a:pt x="0" y="211"/>
                  </a:lnTo>
                  <a:lnTo>
                    <a:pt x="3" y="211"/>
                  </a:lnTo>
                  <a:lnTo>
                    <a:pt x="24" y="204"/>
                  </a:lnTo>
                  <a:lnTo>
                    <a:pt x="48" y="203"/>
                  </a:lnTo>
                  <a:lnTo>
                    <a:pt x="72" y="203"/>
                  </a:lnTo>
                  <a:lnTo>
                    <a:pt x="83" y="180"/>
                  </a:lnTo>
                  <a:lnTo>
                    <a:pt x="84" y="162"/>
                  </a:lnTo>
                  <a:lnTo>
                    <a:pt x="85" y="144"/>
                  </a:lnTo>
                  <a:lnTo>
                    <a:pt x="86" y="126"/>
                  </a:lnTo>
                  <a:lnTo>
                    <a:pt x="86" y="108"/>
                  </a:lnTo>
                  <a:lnTo>
                    <a:pt x="103" y="104"/>
                  </a:lnTo>
                  <a:lnTo>
                    <a:pt x="121" y="101"/>
                  </a:lnTo>
                  <a:lnTo>
                    <a:pt x="138" y="83"/>
                  </a:lnTo>
                  <a:lnTo>
                    <a:pt x="155" y="66"/>
                  </a:lnTo>
                  <a:lnTo>
                    <a:pt x="180" y="49"/>
                  </a:lnTo>
                  <a:lnTo>
                    <a:pt x="204" y="32"/>
                  </a:lnTo>
                  <a:lnTo>
                    <a:pt x="228" y="15"/>
                  </a:lnTo>
                  <a:lnTo>
                    <a:pt x="252" y="0"/>
                  </a:lnTo>
                  <a:lnTo>
                    <a:pt x="282" y="7"/>
                  </a:lnTo>
                  <a:lnTo>
                    <a:pt x="300" y="21"/>
                  </a:lnTo>
                  <a:lnTo>
                    <a:pt x="315" y="13"/>
                  </a:lnTo>
                  <a:lnTo>
                    <a:pt x="317" y="12"/>
                  </a:lnTo>
                  <a:lnTo>
                    <a:pt x="319" y="31"/>
                  </a:lnTo>
                  <a:lnTo>
                    <a:pt x="321" y="49"/>
                  </a:lnTo>
                  <a:lnTo>
                    <a:pt x="339" y="78"/>
                  </a:lnTo>
                  <a:lnTo>
                    <a:pt x="335" y="89"/>
                  </a:lnTo>
                  <a:lnTo>
                    <a:pt x="333" y="107"/>
                  </a:lnTo>
                  <a:lnTo>
                    <a:pt x="332" y="126"/>
                  </a:lnTo>
                  <a:lnTo>
                    <a:pt x="331" y="145"/>
                  </a:lnTo>
                  <a:lnTo>
                    <a:pt x="330" y="163"/>
                  </a:lnTo>
                  <a:lnTo>
                    <a:pt x="320" y="179"/>
                  </a:lnTo>
                  <a:lnTo>
                    <a:pt x="311" y="193"/>
                  </a:lnTo>
                  <a:lnTo>
                    <a:pt x="301" y="207"/>
                  </a:lnTo>
                  <a:lnTo>
                    <a:pt x="290" y="223"/>
                  </a:lnTo>
                  <a:lnTo>
                    <a:pt x="291" y="242"/>
                  </a:lnTo>
                  <a:lnTo>
                    <a:pt x="267" y="257"/>
                  </a:lnTo>
                  <a:lnTo>
                    <a:pt x="245" y="254"/>
                  </a:lnTo>
                  <a:lnTo>
                    <a:pt x="223" y="253"/>
                  </a:lnTo>
                  <a:lnTo>
                    <a:pt x="198" y="265"/>
                  </a:lnTo>
                  <a:lnTo>
                    <a:pt x="181" y="258"/>
                  </a:lnTo>
                  <a:lnTo>
                    <a:pt x="165" y="252"/>
                  </a:lnTo>
                  <a:lnTo>
                    <a:pt x="143" y="258"/>
                  </a:lnTo>
                  <a:lnTo>
                    <a:pt x="128" y="243"/>
                  </a:lnTo>
                  <a:lnTo>
                    <a:pt x="107" y="242"/>
                  </a:lnTo>
                  <a:lnTo>
                    <a:pt x="85" y="248"/>
                  </a:lnTo>
                  <a:lnTo>
                    <a:pt x="81" y="266"/>
                  </a:lnTo>
                  <a:lnTo>
                    <a:pt x="74" y="283"/>
                  </a:lnTo>
                  <a:lnTo>
                    <a:pt x="73" y="293"/>
                  </a:lnTo>
                  <a:lnTo>
                    <a:pt x="54" y="277"/>
                  </a:lnTo>
                  <a:lnTo>
                    <a:pt x="48" y="284"/>
                  </a:lnTo>
                  <a:lnTo>
                    <a:pt x="48" y="288"/>
                  </a:lnTo>
                  <a:lnTo>
                    <a:pt x="42" y="276"/>
                  </a:lnTo>
                  <a:lnTo>
                    <a:pt x="37" y="26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06" name="Freeform 62"/>
            <p:cNvSpPr>
              <a:spLocks/>
            </p:cNvSpPr>
            <p:nvPr/>
          </p:nvSpPr>
          <p:spPr bwMode="auto">
            <a:xfrm>
              <a:off x="2345" y="1802"/>
              <a:ext cx="91" cy="74"/>
            </a:xfrm>
            <a:custGeom>
              <a:avLst/>
              <a:gdLst>
                <a:gd name="T0" fmla="*/ 1 w 131"/>
                <a:gd name="T1" fmla="*/ 1 h 107"/>
                <a:gd name="T2" fmla="*/ 1 w 131"/>
                <a:gd name="T3" fmla="*/ 1 h 107"/>
                <a:gd name="T4" fmla="*/ 1 w 131"/>
                <a:gd name="T5" fmla="*/ 1 h 107"/>
                <a:gd name="T6" fmla="*/ 0 w 131"/>
                <a:gd name="T7" fmla="*/ 1 h 107"/>
                <a:gd name="T8" fmla="*/ 1 w 131"/>
                <a:gd name="T9" fmla="*/ 1 h 107"/>
                <a:gd name="T10" fmla="*/ 1 w 131"/>
                <a:gd name="T11" fmla="*/ 1 h 107"/>
                <a:gd name="T12" fmla="*/ 1 w 131"/>
                <a:gd name="T13" fmla="*/ 1 h 107"/>
                <a:gd name="T14" fmla="*/ 1 w 131"/>
                <a:gd name="T15" fmla="*/ 1 h 107"/>
                <a:gd name="T16" fmla="*/ 1 w 131"/>
                <a:gd name="T17" fmla="*/ 1 h 107"/>
                <a:gd name="T18" fmla="*/ 1 w 131"/>
                <a:gd name="T19" fmla="*/ 1 h 107"/>
                <a:gd name="T20" fmla="*/ 1 w 131"/>
                <a:gd name="T21" fmla="*/ 1 h 107"/>
                <a:gd name="T22" fmla="*/ 1 w 131"/>
                <a:gd name="T23" fmla="*/ 1 h 107"/>
                <a:gd name="T24" fmla="*/ 1 w 131"/>
                <a:gd name="T25" fmla="*/ 1 h 107"/>
                <a:gd name="T26" fmla="*/ 1 w 131"/>
                <a:gd name="T27" fmla="*/ 1 h 107"/>
                <a:gd name="T28" fmla="*/ 1 w 131"/>
                <a:gd name="T29" fmla="*/ 1 h 107"/>
                <a:gd name="T30" fmla="*/ 1 w 131"/>
                <a:gd name="T31" fmla="*/ 1 h 107"/>
                <a:gd name="T32" fmla="*/ 1 w 131"/>
                <a:gd name="T33" fmla="*/ 1 h 107"/>
                <a:gd name="T34" fmla="*/ 1 w 131"/>
                <a:gd name="T35" fmla="*/ 1 h 107"/>
                <a:gd name="T36" fmla="*/ 1 w 131"/>
                <a:gd name="T37" fmla="*/ 1 h 107"/>
                <a:gd name="T38" fmla="*/ 1 w 131"/>
                <a:gd name="T39" fmla="*/ 1 h 107"/>
                <a:gd name="T40" fmla="*/ 1 w 131"/>
                <a:gd name="T41" fmla="*/ 1 h 107"/>
                <a:gd name="T42" fmla="*/ 1 w 131"/>
                <a:gd name="T43" fmla="*/ 1 h 107"/>
                <a:gd name="T44" fmla="*/ 1 w 131"/>
                <a:gd name="T45" fmla="*/ 1 h 107"/>
                <a:gd name="T46" fmla="*/ 1 w 131"/>
                <a:gd name="T47" fmla="*/ 1 h 107"/>
                <a:gd name="T48" fmla="*/ 1 w 131"/>
                <a:gd name="T49" fmla="*/ 1 h 107"/>
                <a:gd name="T50" fmla="*/ 1 w 131"/>
                <a:gd name="T51" fmla="*/ 1 h 107"/>
                <a:gd name="T52" fmla="*/ 1 w 131"/>
                <a:gd name="T53" fmla="*/ 1 h 107"/>
                <a:gd name="T54" fmla="*/ 1 w 131"/>
                <a:gd name="T55" fmla="*/ 1 h 107"/>
                <a:gd name="T56" fmla="*/ 1 w 131"/>
                <a:gd name="T57" fmla="*/ 1 h 107"/>
                <a:gd name="T58" fmla="*/ 1 w 131"/>
                <a:gd name="T59" fmla="*/ 1 h 107"/>
                <a:gd name="T60" fmla="*/ 1 w 131"/>
                <a:gd name="T61" fmla="*/ 1 h 107"/>
                <a:gd name="T62" fmla="*/ 1 w 131"/>
                <a:gd name="T63" fmla="*/ 1 h 107"/>
                <a:gd name="T64" fmla="*/ 1 w 131"/>
                <a:gd name="T65" fmla="*/ 0 h 107"/>
                <a:gd name="T66" fmla="*/ 1 w 131"/>
                <a:gd name="T67" fmla="*/ 1 h 107"/>
                <a:gd name="T68" fmla="*/ 1 w 131"/>
                <a:gd name="T69" fmla="*/ 1 h 1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31"/>
                <a:gd name="T106" fmla="*/ 0 h 107"/>
                <a:gd name="T107" fmla="*/ 131 w 131"/>
                <a:gd name="T108" fmla="*/ 107 h 10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31" h="107">
                  <a:moveTo>
                    <a:pt x="25" y="5"/>
                  </a:moveTo>
                  <a:lnTo>
                    <a:pt x="20" y="15"/>
                  </a:lnTo>
                  <a:lnTo>
                    <a:pt x="11" y="31"/>
                  </a:lnTo>
                  <a:lnTo>
                    <a:pt x="0" y="49"/>
                  </a:lnTo>
                  <a:lnTo>
                    <a:pt x="14" y="66"/>
                  </a:lnTo>
                  <a:lnTo>
                    <a:pt x="20" y="61"/>
                  </a:lnTo>
                  <a:lnTo>
                    <a:pt x="15" y="66"/>
                  </a:lnTo>
                  <a:lnTo>
                    <a:pt x="19" y="69"/>
                  </a:lnTo>
                  <a:lnTo>
                    <a:pt x="19" y="76"/>
                  </a:lnTo>
                  <a:lnTo>
                    <a:pt x="42" y="76"/>
                  </a:lnTo>
                  <a:lnTo>
                    <a:pt x="45" y="71"/>
                  </a:lnTo>
                  <a:lnTo>
                    <a:pt x="72" y="77"/>
                  </a:lnTo>
                  <a:lnTo>
                    <a:pt x="78" y="83"/>
                  </a:lnTo>
                  <a:lnTo>
                    <a:pt x="49" y="77"/>
                  </a:lnTo>
                  <a:lnTo>
                    <a:pt x="31" y="83"/>
                  </a:lnTo>
                  <a:lnTo>
                    <a:pt x="14" y="89"/>
                  </a:lnTo>
                  <a:lnTo>
                    <a:pt x="17" y="100"/>
                  </a:lnTo>
                  <a:lnTo>
                    <a:pt x="32" y="97"/>
                  </a:lnTo>
                  <a:lnTo>
                    <a:pt x="41" y="95"/>
                  </a:lnTo>
                  <a:lnTo>
                    <a:pt x="41" y="97"/>
                  </a:lnTo>
                  <a:lnTo>
                    <a:pt x="20" y="100"/>
                  </a:lnTo>
                  <a:lnTo>
                    <a:pt x="15" y="107"/>
                  </a:lnTo>
                  <a:lnTo>
                    <a:pt x="44" y="101"/>
                  </a:lnTo>
                  <a:lnTo>
                    <a:pt x="62" y="100"/>
                  </a:lnTo>
                  <a:lnTo>
                    <a:pt x="80" y="99"/>
                  </a:lnTo>
                  <a:lnTo>
                    <a:pt x="99" y="102"/>
                  </a:lnTo>
                  <a:lnTo>
                    <a:pt x="131" y="106"/>
                  </a:lnTo>
                  <a:lnTo>
                    <a:pt x="125" y="81"/>
                  </a:lnTo>
                  <a:lnTo>
                    <a:pt x="119" y="71"/>
                  </a:lnTo>
                  <a:lnTo>
                    <a:pt x="113" y="47"/>
                  </a:lnTo>
                  <a:lnTo>
                    <a:pt x="97" y="29"/>
                  </a:lnTo>
                  <a:lnTo>
                    <a:pt x="81" y="12"/>
                  </a:lnTo>
                  <a:lnTo>
                    <a:pt x="60" y="0"/>
                  </a:lnTo>
                  <a:lnTo>
                    <a:pt x="43" y="3"/>
                  </a:lnTo>
                  <a:lnTo>
                    <a:pt x="25" y="5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07" name="Freeform 63"/>
            <p:cNvSpPr>
              <a:spLocks/>
            </p:cNvSpPr>
            <p:nvPr/>
          </p:nvSpPr>
          <p:spPr bwMode="auto">
            <a:xfrm>
              <a:off x="2722" y="1442"/>
              <a:ext cx="59" cy="122"/>
            </a:xfrm>
            <a:custGeom>
              <a:avLst/>
              <a:gdLst>
                <a:gd name="T0" fmla="*/ 1 w 84"/>
                <a:gd name="T1" fmla="*/ 1 h 174"/>
                <a:gd name="T2" fmla="*/ 1 w 84"/>
                <a:gd name="T3" fmla="*/ 1 h 174"/>
                <a:gd name="T4" fmla="*/ 1 w 84"/>
                <a:gd name="T5" fmla="*/ 1 h 174"/>
                <a:gd name="T6" fmla="*/ 1 w 84"/>
                <a:gd name="T7" fmla="*/ 1 h 174"/>
                <a:gd name="T8" fmla="*/ 1 w 84"/>
                <a:gd name="T9" fmla="*/ 1 h 174"/>
                <a:gd name="T10" fmla="*/ 0 w 84"/>
                <a:gd name="T11" fmla="*/ 1 h 174"/>
                <a:gd name="T12" fmla="*/ 1 w 84"/>
                <a:gd name="T13" fmla="*/ 1 h 174"/>
                <a:gd name="T14" fmla="*/ 1 w 84"/>
                <a:gd name="T15" fmla="*/ 1 h 174"/>
                <a:gd name="T16" fmla="*/ 1 w 84"/>
                <a:gd name="T17" fmla="*/ 1 h 174"/>
                <a:gd name="T18" fmla="*/ 1 w 84"/>
                <a:gd name="T19" fmla="*/ 1 h 174"/>
                <a:gd name="T20" fmla="*/ 1 w 84"/>
                <a:gd name="T21" fmla="*/ 0 h 174"/>
                <a:gd name="T22" fmla="*/ 1 w 84"/>
                <a:gd name="T23" fmla="*/ 1 h 174"/>
                <a:gd name="T24" fmla="*/ 1 w 84"/>
                <a:gd name="T25" fmla="*/ 1 h 174"/>
                <a:gd name="T26" fmla="*/ 1 w 84"/>
                <a:gd name="T27" fmla="*/ 1 h 174"/>
                <a:gd name="T28" fmla="*/ 1 w 84"/>
                <a:gd name="T29" fmla="*/ 1 h 174"/>
                <a:gd name="T30" fmla="*/ 1 w 84"/>
                <a:gd name="T31" fmla="*/ 1 h 174"/>
                <a:gd name="T32" fmla="*/ 1 w 84"/>
                <a:gd name="T33" fmla="*/ 1 h 174"/>
                <a:gd name="T34" fmla="*/ 1 w 84"/>
                <a:gd name="T35" fmla="*/ 1 h 174"/>
                <a:gd name="T36" fmla="*/ 1 w 84"/>
                <a:gd name="T37" fmla="*/ 1 h 174"/>
                <a:gd name="T38" fmla="*/ 1 w 84"/>
                <a:gd name="T39" fmla="*/ 1 h 174"/>
                <a:gd name="T40" fmla="*/ 1 w 84"/>
                <a:gd name="T41" fmla="*/ 1 h 174"/>
                <a:gd name="T42" fmla="*/ 1 w 84"/>
                <a:gd name="T43" fmla="*/ 1 h 174"/>
                <a:gd name="T44" fmla="*/ 1 w 84"/>
                <a:gd name="T45" fmla="*/ 1 h 174"/>
                <a:gd name="T46" fmla="*/ 1 w 84"/>
                <a:gd name="T47" fmla="*/ 1 h 17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84"/>
                <a:gd name="T73" fmla="*/ 0 h 174"/>
                <a:gd name="T74" fmla="*/ 84 w 84"/>
                <a:gd name="T75" fmla="*/ 174 h 17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84" h="174">
                  <a:moveTo>
                    <a:pt x="56" y="164"/>
                  </a:moveTo>
                  <a:lnTo>
                    <a:pt x="44" y="174"/>
                  </a:lnTo>
                  <a:lnTo>
                    <a:pt x="38" y="150"/>
                  </a:lnTo>
                  <a:lnTo>
                    <a:pt x="34" y="127"/>
                  </a:lnTo>
                  <a:lnTo>
                    <a:pt x="17" y="109"/>
                  </a:lnTo>
                  <a:lnTo>
                    <a:pt x="0" y="85"/>
                  </a:lnTo>
                  <a:lnTo>
                    <a:pt x="10" y="67"/>
                  </a:lnTo>
                  <a:lnTo>
                    <a:pt x="18" y="49"/>
                  </a:lnTo>
                  <a:lnTo>
                    <a:pt x="16" y="14"/>
                  </a:lnTo>
                  <a:lnTo>
                    <a:pt x="20" y="8"/>
                  </a:lnTo>
                  <a:lnTo>
                    <a:pt x="44" y="0"/>
                  </a:lnTo>
                  <a:lnTo>
                    <a:pt x="53" y="5"/>
                  </a:lnTo>
                  <a:lnTo>
                    <a:pt x="58" y="13"/>
                  </a:lnTo>
                  <a:lnTo>
                    <a:pt x="71" y="6"/>
                  </a:lnTo>
                  <a:lnTo>
                    <a:pt x="60" y="31"/>
                  </a:lnTo>
                  <a:lnTo>
                    <a:pt x="73" y="49"/>
                  </a:lnTo>
                  <a:lnTo>
                    <a:pt x="62" y="65"/>
                  </a:lnTo>
                  <a:lnTo>
                    <a:pt x="52" y="79"/>
                  </a:lnTo>
                  <a:lnTo>
                    <a:pt x="71" y="91"/>
                  </a:lnTo>
                  <a:lnTo>
                    <a:pt x="84" y="101"/>
                  </a:lnTo>
                  <a:lnTo>
                    <a:pt x="83" y="121"/>
                  </a:lnTo>
                  <a:lnTo>
                    <a:pt x="70" y="132"/>
                  </a:lnTo>
                  <a:lnTo>
                    <a:pt x="56" y="144"/>
                  </a:lnTo>
                  <a:lnTo>
                    <a:pt x="56" y="16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08" name="Freeform 64"/>
            <p:cNvSpPr>
              <a:spLocks/>
            </p:cNvSpPr>
            <p:nvPr/>
          </p:nvSpPr>
          <p:spPr bwMode="auto">
            <a:xfrm>
              <a:off x="2435" y="1944"/>
              <a:ext cx="63" cy="72"/>
            </a:xfrm>
            <a:custGeom>
              <a:avLst/>
              <a:gdLst>
                <a:gd name="T0" fmla="*/ 1 w 90"/>
                <a:gd name="T1" fmla="*/ 1 h 102"/>
                <a:gd name="T2" fmla="*/ 1 w 90"/>
                <a:gd name="T3" fmla="*/ 1 h 102"/>
                <a:gd name="T4" fmla="*/ 1 w 90"/>
                <a:gd name="T5" fmla="*/ 1 h 102"/>
                <a:gd name="T6" fmla="*/ 1 w 90"/>
                <a:gd name="T7" fmla="*/ 1 h 102"/>
                <a:gd name="T8" fmla="*/ 0 w 90"/>
                <a:gd name="T9" fmla="*/ 1 h 102"/>
                <a:gd name="T10" fmla="*/ 1 w 90"/>
                <a:gd name="T11" fmla="*/ 1 h 102"/>
                <a:gd name="T12" fmla="*/ 1 w 90"/>
                <a:gd name="T13" fmla="*/ 1 h 102"/>
                <a:gd name="T14" fmla="*/ 1 w 90"/>
                <a:gd name="T15" fmla="*/ 0 h 102"/>
                <a:gd name="T16" fmla="*/ 1 w 90"/>
                <a:gd name="T17" fmla="*/ 0 h 102"/>
                <a:gd name="T18" fmla="*/ 1 w 90"/>
                <a:gd name="T19" fmla="*/ 1 h 102"/>
                <a:gd name="T20" fmla="*/ 1 w 90"/>
                <a:gd name="T21" fmla="*/ 1 h 102"/>
                <a:gd name="T22" fmla="*/ 1 w 90"/>
                <a:gd name="T23" fmla="*/ 1 h 102"/>
                <a:gd name="T24" fmla="*/ 1 w 90"/>
                <a:gd name="T25" fmla="*/ 1 h 102"/>
                <a:gd name="T26" fmla="*/ 1 w 90"/>
                <a:gd name="T27" fmla="*/ 1 h 102"/>
                <a:gd name="T28" fmla="*/ 1 w 90"/>
                <a:gd name="T29" fmla="*/ 1 h 102"/>
                <a:gd name="T30" fmla="*/ 1 w 90"/>
                <a:gd name="T31" fmla="*/ 1 h 102"/>
                <a:gd name="T32" fmla="*/ 1 w 90"/>
                <a:gd name="T33" fmla="*/ 1 h 102"/>
                <a:gd name="T34" fmla="*/ 1 w 90"/>
                <a:gd name="T35" fmla="*/ 1 h 10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90"/>
                <a:gd name="T55" fmla="*/ 0 h 102"/>
                <a:gd name="T56" fmla="*/ 90 w 90"/>
                <a:gd name="T57" fmla="*/ 102 h 10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90" h="102">
                  <a:moveTo>
                    <a:pt x="87" y="102"/>
                  </a:moveTo>
                  <a:lnTo>
                    <a:pt x="64" y="88"/>
                  </a:lnTo>
                  <a:lnTo>
                    <a:pt x="41" y="74"/>
                  </a:lnTo>
                  <a:lnTo>
                    <a:pt x="21" y="56"/>
                  </a:lnTo>
                  <a:lnTo>
                    <a:pt x="0" y="38"/>
                  </a:lnTo>
                  <a:lnTo>
                    <a:pt x="6" y="30"/>
                  </a:lnTo>
                  <a:lnTo>
                    <a:pt x="17" y="14"/>
                  </a:lnTo>
                  <a:lnTo>
                    <a:pt x="27" y="0"/>
                  </a:lnTo>
                  <a:lnTo>
                    <a:pt x="39" y="0"/>
                  </a:lnTo>
                  <a:lnTo>
                    <a:pt x="45" y="24"/>
                  </a:lnTo>
                  <a:lnTo>
                    <a:pt x="51" y="29"/>
                  </a:lnTo>
                  <a:lnTo>
                    <a:pt x="60" y="24"/>
                  </a:lnTo>
                  <a:lnTo>
                    <a:pt x="66" y="22"/>
                  </a:lnTo>
                  <a:lnTo>
                    <a:pt x="66" y="44"/>
                  </a:lnTo>
                  <a:lnTo>
                    <a:pt x="66" y="49"/>
                  </a:lnTo>
                  <a:lnTo>
                    <a:pt x="81" y="61"/>
                  </a:lnTo>
                  <a:lnTo>
                    <a:pt x="90" y="72"/>
                  </a:lnTo>
                  <a:lnTo>
                    <a:pt x="87" y="10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09" name="Freeform 65"/>
            <p:cNvSpPr>
              <a:spLocks/>
            </p:cNvSpPr>
            <p:nvPr/>
          </p:nvSpPr>
          <p:spPr bwMode="auto">
            <a:xfrm>
              <a:off x="1499" y="1924"/>
              <a:ext cx="49" cy="43"/>
            </a:xfrm>
            <a:custGeom>
              <a:avLst/>
              <a:gdLst>
                <a:gd name="T0" fmla="*/ 0 w 69"/>
                <a:gd name="T1" fmla="*/ 1 h 59"/>
                <a:gd name="T2" fmla="*/ 1 w 69"/>
                <a:gd name="T3" fmla="*/ 1 h 59"/>
                <a:gd name="T4" fmla="*/ 1 w 69"/>
                <a:gd name="T5" fmla="*/ 1 h 59"/>
                <a:gd name="T6" fmla="*/ 1 w 69"/>
                <a:gd name="T7" fmla="*/ 0 h 59"/>
                <a:gd name="T8" fmla="*/ 1 w 69"/>
                <a:gd name="T9" fmla="*/ 1 h 59"/>
                <a:gd name="T10" fmla="*/ 1 w 69"/>
                <a:gd name="T11" fmla="*/ 1 h 59"/>
                <a:gd name="T12" fmla="*/ 1 w 69"/>
                <a:gd name="T13" fmla="*/ 1 h 59"/>
                <a:gd name="T14" fmla="*/ 1 w 69"/>
                <a:gd name="T15" fmla="*/ 1 h 59"/>
                <a:gd name="T16" fmla="*/ 1 w 69"/>
                <a:gd name="T17" fmla="*/ 1 h 59"/>
                <a:gd name="T18" fmla="*/ 1 w 69"/>
                <a:gd name="T19" fmla="*/ 1 h 59"/>
                <a:gd name="T20" fmla="*/ 1 w 69"/>
                <a:gd name="T21" fmla="*/ 1 h 59"/>
                <a:gd name="T22" fmla="*/ 1 w 69"/>
                <a:gd name="T23" fmla="*/ 1 h 59"/>
                <a:gd name="T24" fmla="*/ 1 w 69"/>
                <a:gd name="T25" fmla="*/ 1 h 59"/>
                <a:gd name="T26" fmla="*/ 1 w 69"/>
                <a:gd name="T27" fmla="*/ 1 h 59"/>
                <a:gd name="T28" fmla="*/ 1 w 69"/>
                <a:gd name="T29" fmla="*/ 1 h 59"/>
                <a:gd name="T30" fmla="*/ 1 w 69"/>
                <a:gd name="T31" fmla="*/ 1 h 59"/>
                <a:gd name="T32" fmla="*/ 1 w 69"/>
                <a:gd name="T33" fmla="*/ 1 h 59"/>
                <a:gd name="T34" fmla="*/ 0 w 69"/>
                <a:gd name="T35" fmla="*/ 1 h 5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9"/>
                <a:gd name="T55" fmla="*/ 0 h 59"/>
                <a:gd name="T56" fmla="*/ 69 w 69"/>
                <a:gd name="T57" fmla="*/ 59 h 5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9" h="59">
                  <a:moveTo>
                    <a:pt x="0" y="39"/>
                  </a:moveTo>
                  <a:lnTo>
                    <a:pt x="1" y="20"/>
                  </a:lnTo>
                  <a:lnTo>
                    <a:pt x="1" y="3"/>
                  </a:lnTo>
                  <a:lnTo>
                    <a:pt x="9" y="0"/>
                  </a:lnTo>
                  <a:lnTo>
                    <a:pt x="15" y="11"/>
                  </a:lnTo>
                  <a:lnTo>
                    <a:pt x="25" y="15"/>
                  </a:lnTo>
                  <a:lnTo>
                    <a:pt x="31" y="20"/>
                  </a:lnTo>
                  <a:lnTo>
                    <a:pt x="62" y="10"/>
                  </a:lnTo>
                  <a:lnTo>
                    <a:pt x="66" y="12"/>
                  </a:lnTo>
                  <a:lnTo>
                    <a:pt x="69" y="20"/>
                  </a:lnTo>
                  <a:lnTo>
                    <a:pt x="54" y="34"/>
                  </a:lnTo>
                  <a:lnTo>
                    <a:pt x="63" y="52"/>
                  </a:lnTo>
                  <a:lnTo>
                    <a:pt x="43" y="59"/>
                  </a:lnTo>
                  <a:lnTo>
                    <a:pt x="40" y="44"/>
                  </a:lnTo>
                  <a:lnTo>
                    <a:pt x="37" y="48"/>
                  </a:lnTo>
                  <a:lnTo>
                    <a:pt x="26" y="39"/>
                  </a:lnTo>
                  <a:lnTo>
                    <a:pt x="6" y="32"/>
                  </a:lnTo>
                  <a:lnTo>
                    <a:pt x="0" y="39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310" name="Freeform 66"/>
            <p:cNvSpPr>
              <a:spLocks/>
            </p:cNvSpPr>
            <p:nvPr/>
          </p:nvSpPr>
          <p:spPr bwMode="auto">
            <a:xfrm>
              <a:off x="1549" y="1926"/>
              <a:ext cx="35" cy="39"/>
            </a:xfrm>
            <a:custGeom>
              <a:avLst/>
              <a:gdLst>
                <a:gd name="T0" fmla="*/ 1 w 52"/>
                <a:gd name="T1" fmla="*/ 1 h 55"/>
                <a:gd name="T2" fmla="*/ 1 w 52"/>
                <a:gd name="T3" fmla="*/ 1 h 55"/>
                <a:gd name="T4" fmla="*/ 1 w 52"/>
                <a:gd name="T5" fmla="*/ 1 h 55"/>
                <a:gd name="T6" fmla="*/ 1 w 52"/>
                <a:gd name="T7" fmla="*/ 1 h 55"/>
                <a:gd name="T8" fmla="*/ 1 w 52"/>
                <a:gd name="T9" fmla="*/ 1 h 55"/>
                <a:gd name="T10" fmla="*/ 1 w 52"/>
                <a:gd name="T11" fmla="*/ 1 h 55"/>
                <a:gd name="T12" fmla="*/ 1 w 52"/>
                <a:gd name="T13" fmla="*/ 1 h 55"/>
                <a:gd name="T14" fmla="*/ 0 w 52"/>
                <a:gd name="T15" fmla="*/ 0 h 55"/>
                <a:gd name="T16" fmla="*/ 1 w 52"/>
                <a:gd name="T17" fmla="*/ 1 h 55"/>
                <a:gd name="T18" fmla="*/ 1 w 52"/>
                <a:gd name="T19" fmla="*/ 1 h 55"/>
                <a:gd name="T20" fmla="*/ 1 w 52"/>
                <a:gd name="T21" fmla="*/ 1 h 55"/>
                <a:gd name="T22" fmla="*/ 1 w 52"/>
                <a:gd name="T23" fmla="*/ 1 h 55"/>
                <a:gd name="T24" fmla="*/ 1 w 52"/>
                <a:gd name="T25" fmla="*/ 1 h 55"/>
                <a:gd name="T26" fmla="*/ 1 w 52"/>
                <a:gd name="T27" fmla="*/ 1 h 55"/>
                <a:gd name="T28" fmla="*/ 1 w 52"/>
                <a:gd name="T29" fmla="*/ 1 h 55"/>
                <a:gd name="T30" fmla="*/ 1 w 52"/>
                <a:gd name="T31" fmla="*/ 1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2"/>
                <a:gd name="T49" fmla="*/ 0 h 55"/>
                <a:gd name="T50" fmla="*/ 52 w 52"/>
                <a:gd name="T51" fmla="*/ 55 h 5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2" h="55">
                  <a:moveTo>
                    <a:pt x="30" y="30"/>
                  </a:moveTo>
                  <a:lnTo>
                    <a:pt x="39" y="31"/>
                  </a:lnTo>
                  <a:lnTo>
                    <a:pt x="35" y="26"/>
                  </a:lnTo>
                  <a:lnTo>
                    <a:pt x="29" y="25"/>
                  </a:lnTo>
                  <a:lnTo>
                    <a:pt x="23" y="18"/>
                  </a:lnTo>
                  <a:lnTo>
                    <a:pt x="8" y="12"/>
                  </a:lnTo>
                  <a:lnTo>
                    <a:pt x="2" y="6"/>
                  </a:lnTo>
                  <a:lnTo>
                    <a:pt x="0" y="0"/>
                  </a:lnTo>
                  <a:lnTo>
                    <a:pt x="22" y="1"/>
                  </a:lnTo>
                  <a:lnTo>
                    <a:pt x="36" y="11"/>
                  </a:lnTo>
                  <a:lnTo>
                    <a:pt x="51" y="20"/>
                  </a:lnTo>
                  <a:lnTo>
                    <a:pt x="52" y="39"/>
                  </a:lnTo>
                  <a:lnTo>
                    <a:pt x="44" y="45"/>
                  </a:lnTo>
                  <a:lnTo>
                    <a:pt x="39" y="55"/>
                  </a:lnTo>
                  <a:lnTo>
                    <a:pt x="33" y="48"/>
                  </a:lnTo>
                  <a:lnTo>
                    <a:pt x="30" y="3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311" name="Freeform 67"/>
            <p:cNvSpPr>
              <a:spLocks/>
            </p:cNvSpPr>
            <p:nvPr/>
          </p:nvSpPr>
          <p:spPr bwMode="auto">
            <a:xfrm>
              <a:off x="1932" y="1992"/>
              <a:ext cx="46" cy="62"/>
            </a:xfrm>
            <a:custGeom>
              <a:avLst/>
              <a:gdLst>
                <a:gd name="T0" fmla="*/ 1 w 65"/>
                <a:gd name="T1" fmla="*/ 1 h 88"/>
                <a:gd name="T2" fmla="*/ 1 w 65"/>
                <a:gd name="T3" fmla="*/ 1 h 88"/>
                <a:gd name="T4" fmla="*/ 1 w 65"/>
                <a:gd name="T5" fmla="*/ 0 h 88"/>
                <a:gd name="T6" fmla="*/ 1 w 65"/>
                <a:gd name="T7" fmla="*/ 1 h 88"/>
                <a:gd name="T8" fmla="*/ 1 w 65"/>
                <a:gd name="T9" fmla="*/ 1 h 88"/>
                <a:gd name="T10" fmla="*/ 1 w 65"/>
                <a:gd name="T11" fmla="*/ 1 h 88"/>
                <a:gd name="T12" fmla="*/ 0 w 65"/>
                <a:gd name="T13" fmla="*/ 1 h 88"/>
                <a:gd name="T14" fmla="*/ 1 w 65"/>
                <a:gd name="T15" fmla="*/ 1 h 88"/>
                <a:gd name="T16" fmla="*/ 1 w 65"/>
                <a:gd name="T17" fmla="*/ 1 h 88"/>
                <a:gd name="T18" fmla="*/ 1 w 65"/>
                <a:gd name="T19" fmla="*/ 1 h 88"/>
                <a:gd name="T20" fmla="*/ 1 w 65"/>
                <a:gd name="T21" fmla="*/ 1 h 88"/>
                <a:gd name="T22" fmla="*/ 1 w 65"/>
                <a:gd name="T23" fmla="*/ 1 h 88"/>
                <a:gd name="T24" fmla="*/ 1 w 65"/>
                <a:gd name="T25" fmla="*/ 1 h 88"/>
                <a:gd name="T26" fmla="*/ 1 w 65"/>
                <a:gd name="T27" fmla="*/ 1 h 8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5"/>
                <a:gd name="T43" fmla="*/ 0 h 88"/>
                <a:gd name="T44" fmla="*/ 65 w 65"/>
                <a:gd name="T45" fmla="*/ 88 h 8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5" h="88">
                  <a:moveTo>
                    <a:pt x="51" y="23"/>
                  </a:moveTo>
                  <a:lnTo>
                    <a:pt x="30" y="5"/>
                  </a:lnTo>
                  <a:lnTo>
                    <a:pt x="15" y="0"/>
                  </a:lnTo>
                  <a:lnTo>
                    <a:pt x="11" y="9"/>
                  </a:lnTo>
                  <a:lnTo>
                    <a:pt x="4" y="30"/>
                  </a:lnTo>
                  <a:lnTo>
                    <a:pt x="12" y="60"/>
                  </a:lnTo>
                  <a:lnTo>
                    <a:pt x="0" y="84"/>
                  </a:lnTo>
                  <a:lnTo>
                    <a:pt x="15" y="87"/>
                  </a:lnTo>
                  <a:lnTo>
                    <a:pt x="36" y="88"/>
                  </a:lnTo>
                  <a:lnTo>
                    <a:pt x="51" y="65"/>
                  </a:lnTo>
                  <a:lnTo>
                    <a:pt x="65" y="42"/>
                  </a:lnTo>
                  <a:lnTo>
                    <a:pt x="59" y="28"/>
                  </a:lnTo>
                  <a:lnTo>
                    <a:pt x="59" y="33"/>
                  </a:lnTo>
                  <a:lnTo>
                    <a:pt x="51" y="2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12" name="Freeform 68"/>
            <p:cNvSpPr>
              <a:spLocks/>
            </p:cNvSpPr>
            <p:nvPr/>
          </p:nvSpPr>
          <p:spPr bwMode="auto">
            <a:xfrm>
              <a:off x="1558" y="1876"/>
              <a:ext cx="184" cy="289"/>
            </a:xfrm>
            <a:custGeom>
              <a:avLst/>
              <a:gdLst>
                <a:gd name="T0" fmla="*/ 1 w 263"/>
                <a:gd name="T1" fmla="*/ 1 h 410"/>
                <a:gd name="T2" fmla="*/ 1 w 263"/>
                <a:gd name="T3" fmla="*/ 1 h 410"/>
                <a:gd name="T4" fmla="*/ 1 w 263"/>
                <a:gd name="T5" fmla="*/ 1 h 410"/>
                <a:gd name="T6" fmla="*/ 1 w 263"/>
                <a:gd name="T7" fmla="*/ 1 h 410"/>
                <a:gd name="T8" fmla="*/ 1 w 263"/>
                <a:gd name="T9" fmla="*/ 1 h 410"/>
                <a:gd name="T10" fmla="*/ 1 w 263"/>
                <a:gd name="T11" fmla="*/ 1 h 410"/>
                <a:gd name="T12" fmla="*/ 1 w 263"/>
                <a:gd name="T13" fmla="*/ 1 h 410"/>
                <a:gd name="T14" fmla="*/ 1 w 263"/>
                <a:gd name="T15" fmla="*/ 1 h 410"/>
                <a:gd name="T16" fmla="*/ 1 w 263"/>
                <a:gd name="T17" fmla="*/ 1 h 410"/>
                <a:gd name="T18" fmla="*/ 1 w 263"/>
                <a:gd name="T19" fmla="*/ 2 h 410"/>
                <a:gd name="T20" fmla="*/ 1 w 263"/>
                <a:gd name="T21" fmla="*/ 2 h 410"/>
                <a:gd name="T22" fmla="*/ 1 w 263"/>
                <a:gd name="T23" fmla="*/ 2 h 410"/>
                <a:gd name="T24" fmla="*/ 1 w 263"/>
                <a:gd name="T25" fmla="*/ 2 h 410"/>
                <a:gd name="T26" fmla="*/ 1 w 263"/>
                <a:gd name="T27" fmla="*/ 2 h 410"/>
                <a:gd name="T28" fmla="*/ 1 w 263"/>
                <a:gd name="T29" fmla="*/ 2 h 410"/>
                <a:gd name="T30" fmla="*/ 1 w 263"/>
                <a:gd name="T31" fmla="*/ 3 h 410"/>
                <a:gd name="T32" fmla="*/ 1 w 263"/>
                <a:gd name="T33" fmla="*/ 3 h 410"/>
                <a:gd name="T34" fmla="*/ 1 w 263"/>
                <a:gd name="T35" fmla="*/ 3 h 410"/>
                <a:gd name="T36" fmla="*/ 1 w 263"/>
                <a:gd name="T37" fmla="*/ 3 h 410"/>
                <a:gd name="T38" fmla="*/ 1 w 263"/>
                <a:gd name="T39" fmla="*/ 3 h 410"/>
                <a:gd name="T40" fmla="*/ 1 w 263"/>
                <a:gd name="T41" fmla="*/ 2 h 410"/>
                <a:gd name="T42" fmla="*/ 1 w 263"/>
                <a:gd name="T43" fmla="*/ 2 h 410"/>
                <a:gd name="T44" fmla="*/ 1 w 263"/>
                <a:gd name="T45" fmla="*/ 2 h 410"/>
                <a:gd name="T46" fmla="*/ 1 w 263"/>
                <a:gd name="T47" fmla="*/ 2 h 410"/>
                <a:gd name="T48" fmla="*/ 1 w 263"/>
                <a:gd name="T49" fmla="*/ 2 h 410"/>
                <a:gd name="T50" fmla="*/ 1 w 263"/>
                <a:gd name="T51" fmla="*/ 2 h 410"/>
                <a:gd name="T52" fmla="*/ 1 w 263"/>
                <a:gd name="T53" fmla="*/ 2 h 410"/>
                <a:gd name="T54" fmla="*/ 1 w 263"/>
                <a:gd name="T55" fmla="*/ 1 h 410"/>
                <a:gd name="T56" fmla="*/ 1 w 263"/>
                <a:gd name="T57" fmla="*/ 1 h 410"/>
                <a:gd name="T58" fmla="*/ 1 w 263"/>
                <a:gd name="T59" fmla="*/ 1 h 410"/>
                <a:gd name="T60" fmla="*/ 1 w 263"/>
                <a:gd name="T61" fmla="*/ 1 h 410"/>
                <a:gd name="T62" fmla="*/ 1 w 263"/>
                <a:gd name="T63" fmla="*/ 1 h 410"/>
                <a:gd name="T64" fmla="*/ 1 w 263"/>
                <a:gd name="T65" fmla="*/ 1 h 410"/>
                <a:gd name="T66" fmla="*/ 1 w 263"/>
                <a:gd name="T67" fmla="*/ 1 h 410"/>
                <a:gd name="T68" fmla="*/ 1 w 263"/>
                <a:gd name="T69" fmla="*/ 1 h 410"/>
                <a:gd name="T70" fmla="*/ 1 w 263"/>
                <a:gd name="T71" fmla="*/ 1 h 410"/>
                <a:gd name="T72" fmla="*/ 1 w 263"/>
                <a:gd name="T73" fmla="*/ 1 h 410"/>
                <a:gd name="T74" fmla="*/ 1 w 263"/>
                <a:gd name="T75" fmla="*/ 1 h 41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63"/>
                <a:gd name="T115" fmla="*/ 0 h 410"/>
                <a:gd name="T116" fmla="*/ 263 w 263"/>
                <a:gd name="T117" fmla="*/ 410 h 41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63" h="410">
                  <a:moveTo>
                    <a:pt x="111" y="28"/>
                  </a:moveTo>
                  <a:lnTo>
                    <a:pt x="104" y="38"/>
                  </a:lnTo>
                  <a:lnTo>
                    <a:pt x="106" y="34"/>
                  </a:lnTo>
                  <a:lnTo>
                    <a:pt x="94" y="34"/>
                  </a:lnTo>
                  <a:lnTo>
                    <a:pt x="78" y="54"/>
                  </a:lnTo>
                  <a:lnTo>
                    <a:pt x="75" y="72"/>
                  </a:lnTo>
                  <a:lnTo>
                    <a:pt x="51" y="96"/>
                  </a:lnTo>
                  <a:lnTo>
                    <a:pt x="48" y="109"/>
                  </a:lnTo>
                  <a:lnTo>
                    <a:pt x="44" y="97"/>
                  </a:lnTo>
                  <a:lnTo>
                    <a:pt x="39" y="91"/>
                  </a:lnTo>
                  <a:lnTo>
                    <a:pt x="40" y="110"/>
                  </a:lnTo>
                  <a:lnTo>
                    <a:pt x="32" y="116"/>
                  </a:lnTo>
                  <a:lnTo>
                    <a:pt x="27" y="126"/>
                  </a:lnTo>
                  <a:lnTo>
                    <a:pt x="33" y="137"/>
                  </a:lnTo>
                  <a:lnTo>
                    <a:pt x="38" y="160"/>
                  </a:lnTo>
                  <a:lnTo>
                    <a:pt x="33" y="170"/>
                  </a:lnTo>
                  <a:lnTo>
                    <a:pt x="34" y="188"/>
                  </a:lnTo>
                  <a:lnTo>
                    <a:pt x="36" y="208"/>
                  </a:lnTo>
                  <a:lnTo>
                    <a:pt x="39" y="210"/>
                  </a:lnTo>
                  <a:lnTo>
                    <a:pt x="24" y="238"/>
                  </a:lnTo>
                  <a:lnTo>
                    <a:pt x="11" y="244"/>
                  </a:lnTo>
                  <a:lnTo>
                    <a:pt x="6" y="258"/>
                  </a:lnTo>
                  <a:lnTo>
                    <a:pt x="0" y="262"/>
                  </a:lnTo>
                  <a:lnTo>
                    <a:pt x="2" y="270"/>
                  </a:lnTo>
                  <a:lnTo>
                    <a:pt x="20" y="283"/>
                  </a:lnTo>
                  <a:lnTo>
                    <a:pt x="33" y="296"/>
                  </a:lnTo>
                  <a:lnTo>
                    <a:pt x="54" y="296"/>
                  </a:lnTo>
                  <a:lnTo>
                    <a:pt x="78" y="308"/>
                  </a:lnTo>
                  <a:lnTo>
                    <a:pt x="80" y="307"/>
                  </a:lnTo>
                  <a:lnTo>
                    <a:pt x="93" y="319"/>
                  </a:lnTo>
                  <a:lnTo>
                    <a:pt x="105" y="331"/>
                  </a:lnTo>
                  <a:lnTo>
                    <a:pt x="122" y="350"/>
                  </a:lnTo>
                  <a:lnTo>
                    <a:pt x="126" y="362"/>
                  </a:lnTo>
                  <a:lnTo>
                    <a:pt x="153" y="362"/>
                  </a:lnTo>
                  <a:lnTo>
                    <a:pt x="170" y="364"/>
                  </a:lnTo>
                  <a:lnTo>
                    <a:pt x="192" y="371"/>
                  </a:lnTo>
                  <a:lnTo>
                    <a:pt x="184" y="401"/>
                  </a:lnTo>
                  <a:lnTo>
                    <a:pt x="197" y="410"/>
                  </a:lnTo>
                  <a:lnTo>
                    <a:pt x="202" y="376"/>
                  </a:lnTo>
                  <a:lnTo>
                    <a:pt x="208" y="341"/>
                  </a:lnTo>
                  <a:lnTo>
                    <a:pt x="198" y="316"/>
                  </a:lnTo>
                  <a:lnTo>
                    <a:pt x="194" y="292"/>
                  </a:lnTo>
                  <a:lnTo>
                    <a:pt x="209" y="290"/>
                  </a:lnTo>
                  <a:lnTo>
                    <a:pt x="213" y="284"/>
                  </a:lnTo>
                  <a:lnTo>
                    <a:pt x="201" y="280"/>
                  </a:lnTo>
                  <a:lnTo>
                    <a:pt x="198" y="263"/>
                  </a:lnTo>
                  <a:lnTo>
                    <a:pt x="218" y="263"/>
                  </a:lnTo>
                  <a:lnTo>
                    <a:pt x="236" y="263"/>
                  </a:lnTo>
                  <a:lnTo>
                    <a:pt x="233" y="259"/>
                  </a:lnTo>
                  <a:lnTo>
                    <a:pt x="239" y="262"/>
                  </a:lnTo>
                  <a:lnTo>
                    <a:pt x="251" y="253"/>
                  </a:lnTo>
                  <a:lnTo>
                    <a:pt x="260" y="274"/>
                  </a:lnTo>
                  <a:lnTo>
                    <a:pt x="263" y="276"/>
                  </a:lnTo>
                  <a:lnTo>
                    <a:pt x="258" y="256"/>
                  </a:lnTo>
                  <a:lnTo>
                    <a:pt x="246" y="236"/>
                  </a:lnTo>
                  <a:lnTo>
                    <a:pt x="254" y="224"/>
                  </a:lnTo>
                  <a:lnTo>
                    <a:pt x="243" y="194"/>
                  </a:lnTo>
                  <a:lnTo>
                    <a:pt x="249" y="173"/>
                  </a:lnTo>
                  <a:lnTo>
                    <a:pt x="254" y="152"/>
                  </a:lnTo>
                  <a:lnTo>
                    <a:pt x="234" y="154"/>
                  </a:lnTo>
                  <a:lnTo>
                    <a:pt x="215" y="155"/>
                  </a:lnTo>
                  <a:lnTo>
                    <a:pt x="196" y="133"/>
                  </a:lnTo>
                  <a:lnTo>
                    <a:pt x="179" y="132"/>
                  </a:lnTo>
                  <a:lnTo>
                    <a:pt x="162" y="131"/>
                  </a:lnTo>
                  <a:lnTo>
                    <a:pt x="147" y="122"/>
                  </a:lnTo>
                  <a:lnTo>
                    <a:pt x="147" y="107"/>
                  </a:lnTo>
                  <a:lnTo>
                    <a:pt x="136" y="79"/>
                  </a:lnTo>
                  <a:lnTo>
                    <a:pt x="128" y="78"/>
                  </a:lnTo>
                  <a:lnTo>
                    <a:pt x="136" y="58"/>
                  </a:lnTo>
                  <a:lnTo>
                    <a:pt x="149" y="37"/>
                  </a:lnTo>
                  <a:lnTo>
                    <a:pt x="161" y="17"/>
                  </a:lnTo>
                  <a:lnTo>
                    <a:pt x="176" y="12"/>
                  </a:lnTo>
                  <a:lnTo>
                    <a:pt x="178" y="0"/>
                  </a:lnTo>
                  <a:lnTo>
                    <a:pt x="165" y="1"/>
                  </a:lnTo>
                  <a:lnTo>
                    <a:pt x="144" y="13"/>
                  </a:lnTo>
                  <a:lnTo>
                    <a:pt x="124" y="26"/>
                  </a:lnTo>
                  <a:lnTo>
                    <a:pt x="111" y="2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13" name="Freeform 69"/>
            <p:cNvSpPr>
              <a:spLocks/>
            </p:cNvSpPr>
            <p:nvPr/>
          </p:nvSpPr>
          <p:spPr bwMode="auto">
            <a:xfrm>
              <a:off x="1829" y="1943"/>
              <a:ext cx="75" cy="125"/>
            </a:xfrm>
            <a:custGeom>
              <a:avLst/>
              <a:gdLst>
                <a:gd name="T0" fmla="*/ 1 w 106"/>
                <a:gd name="T1" fmla="*/ 1 h 177"/>
                <a:gd name="T2" fmla="*/ 1 w 106"/>
                <a:gd name="T3" fmla="*/ 1 h 177"/>
                <a:gd name="T4" fmla="*/ 1 w 106"/>
                <a:gd name="T5" fmla="*/ 1 h 177"/>
                <a:gd name="T6" fmla="*/ 1 w 106"/>
                <a:gd name="T7" fmla="*/ 1 h 177"/>
                <a:gd name="T8" fmla="*/ 1 w 106"/>
                <a:gd name="T9" fmla="*/ 1 h 177"/>
                <a:gd name="T10" fmla="*/ 1 w 106"/>
                <a:gd name="T11" fmla="*/ 1 h 177"/>
                <a:gd name="T12" fmla="*/ 1 w 106"/>
                <a:gd name="T13" fmla="*/ 1 h 177"/>
                <a:gd name="T14" fmla="*/ 1 w 106"/>
                <a:gd name="T15" fmla="*/ 1 h 177"/>
                <a:gd name="T16" fmla="*/ 1 w 106"/>
                <a:gd name="T17" fmla="*/ 1 h 177"/>
                <a:gd name="T18" fmla="*/ 1 w 106"/>
                <a:gd name="T19" fmla="*/ 1 h 177"/>
                <a:gd name="T20" fmla="*/ 1 w 106"/>
                <a:gd name="T21" fmla="*/ 1 h 177"/>
                <a:gd name="T22" fmla="*/ 1 w 106"/>
                <a:gd name="T23" fmla="*/ 1 h 177"/>
                <a:gd name="T24" fmla="*/ 1 w 106"/>
                <a:gd name="T25" fmla="*/ 0 h 177"/>
                <a:gd name="T26" fmla="*/ 1 w 106"/>
                <a:gd name="T27" fmla="*/ 1 h 177"/>
                <a:gd name="T28" fmla="*/ 1 w 106"/>
                <a:gd name="T29" fmla="*/ 1 h 177"/>
                <a:gd name="T30" fmla="*/ 1 w 106"/>
                <a:gd name="T31" fmla="*/ 1 h 177"/>
                <a:gd name="T32" fmla="*/ 1 w 106"/>
                <a:gd name="T33" fmla="*/ 1 h 177"/>
                <a:gd name="T34" fmla="*/ 0 w 106"/>
                <a:gd name="T35" fmla="*/ 1 h 177"/>
                <a:gd name="T36" fmla="*/ 1 w 106"/>
                <a:gd name="T37" fmla="*/ 1 h 177"/>
                <a:gd name="T38" fmla="*/ 1 w 106"/>
                <a:gd name="T39" fmla="*/ 1 h 177"/>
                <a:gd name="T40" fmla="*/ 1 w 106"/>
                <a:gd name="T41" fmla="*/ 1 h 177"/>
                <a:gd name="T42" fmla="*/ 1 w 106"/>
                <a:gd name="T43" fmla="*/ 1 h 177"/>
                <a:gd name="T44" fmla="*/ 1 w 106"/>
                <a:gd name="T45" fmla="*/ 1 h 177"/>
                <a:gd name="T46" fmla="*/ 1 w 106"/>
                <a:gd name="T47" fmla="*/ 1 h 177"/>
                <a:gd name="T48" fmla="*/ 1 w 106"/>
                <a:gd name="T49" fmla="*/ 1 h 177"/>
                <a:gd name="T50" fmla="*/ 1 w 106"/>
                <a:gd name="T51" fmla="*/ 1 h 177"/>
                <a:gd name="T52" fmla="*/ 1 w 106"/>
                <a:gd name="T53" fmla="*/ 1 h 177"/>
                <a:gd name="T54" fmla="*/ 1 w 106"/>
                <a:gd name="T55" fmla="*/ 1 h 177"/>
                <a:gd name="T56" fmla="*/ 1 w 106"/>
                <a:gd name="T57" fmla="*/ 1 h 177"/>
                <a:gd name="T58" fmla="*/ 1 w 106"/>
                <a:gd name="T59" fmla="*/ 1 h 177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06"/>
                <a:gd name="T91" fmla="*/ 0 h 177"/>
                <a:gd name="T92" fmla="*/ 106 w 106"/>
                <a:gd name="T93" fmla="*/ 177 h 177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06" h="177">
                  <a:moveTo>
                    <a:pt x="84" y="128"/>
                  </a:moveTo>
                  <a:lnTo>
                    <a:pt x="73" y="114"/>
                  </a:lnTo>
                  <a:lnTo>
                    <a:pt x="75" y="92"/>
                  </a:lnTo>
                  <a:lnTo>
                    <a:pt x="85" y="87"/>
                  </a:lnTo>
                  <a:lnTo>
                    <a:pt x="90" y="75"/>
                  </a:lnTo>
                  <a:lnTo>
                    <a:pt x="89" y="55"/>
                  </a:lnTo>
                  <a:lnTo>
                    <a:pt x="65" y="41"/>
                  </a:lnTo>
                  <a:lnTo>
                    <a:pt x="60" y="50"/>
                  </a:lnTo>
                  <a:lnTo>
                    <a:pt x="62" y="25"/>
                  </a:lnTo>
                  <a:lnTo>
                    <a:pt x="49" y="14"/>
                  </a:lnTo>
                  <a:lnTo>
                    <a:pt x="37" y="3"/>
                  </a:lnTo>
                  <a:lnTo>
                    <a:pt x="42" y="7"/>
                  </a:lnTo>
                  <a:lnTo>
                    <a:pt x="32" y="0"/>
                  </a:lnTo>
                  <a:lnTo>
                    <a:pt x="36" y="5"/>
                  </a:lnTo>
                  <a:lnTo>
                    <a:pt x="15" y="24"/>
                  </a:lnTo>
                  <a:lnTo>
                    <a:pt x="24" y="35"/>
                  </a:lnTo>
                  <a:lnTo>
                    <a:pt x="8" y="44"/>
                  </a:lnTo>
                  <a:lnTo>
                    <a:pt x="0" y="62"/>
                  </a:lnTo>
                  <a:lnTo>
                    <a:pt x="13" y="81"/>
                  </a:lnTo>
                  <a:lnTo>
                    <a:pt x="25" y="81"/>
                  </a:lnTo>
                  <a:lnTo>
                    <a:pt x="27" y="95"/>
                  </a:lnTo>
                  <a:lnTo>
                    <a:pt x="36" y="108"/>
                  </a:lnTo>
                  <a:lnTo>
                    <a:pt x="31" y="131"/>
                  </a:lnTo>
                  <a:lnTo>
                    <a:pt x="33" y="159"/>
                  </a:lnTo>
                  <a:lnTo>
                    <a:pt x="48" y="177"/>
                  </a:lnTo>
                  <a:lnTo>
                    <a:pt x="61" y="177"/>
                  </a:lnTo>
                  <a:lnTo>
                    <a:pt x="83" y="167"/>
                  </a:lnTo>
                  <a:lnTo>
                    <a:pt x="106" y="163"/>
                  </a:lnTo>
                  <a:lnTo>
                    <a:pt x="95" y="145"/>
                  </a:lnTo>
                  <a:lnTo>
                    <a:pt x="84" y="12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14" name="Freeform 70"/>
            <p:cNvSpPr>
              <a:spLocks/>
            </p:cNvSpPr>
            <p:nvPr/>
          </p:nvSpPr>
          <p:spPr bwMode="auto">
            <a:xfrm>
              <a:off x="1881" y="1989"/>
              <a:ext cx="59" cy="70"/>
            </a:xfrm>
            <a:custGeom>
              <a:avLst/>
              <a:gdLst>
                <a:gd name="T0" fmla="*/ 1 w 85"/>
                <a:gd name="T1" fmla="*/ 1 h 100"/>
                <a:gd name="T2" fmla="*/ 0 w 85"/>
                <a:gd name="T3" fmla="*/ 1 h 100"/>
                <a:gd name="T4" fmla="*/ 1 w 85"/>
                <a:gd name="T5" fmla="*/ 1 h 100"/>
                <a:gd name="T6" fmla="*/ 1 w 85"/>
                <a:gd name="T7" fmla="*/ 1 h 100"/>
                <a:gd name="T8" fmla="*/ 1 w 85"/>
                <a:gd name="T9" fmla="*/ 1 h 100"/>
                <a:gd name="T10" fmla="*/ 1 w 85"/>
                <a:gd name="T11" fmla="*/ 0 h 100"/>
                <a:gd name="T12" fmla="*/ 1 w 85"/>
                <a:gd name="T13" fmla="*/ 1 h 100"/>
                <a:gd name="T14" fmla="*/ 1 w 85"/>
                <a:gd name="T15" fmla="*/ 1 h 100"/>
                <a:gd name="T16" fmla="*/ 1 w 85"/>
                <a:gd name="T17" fmla="*/ 0 h 100"/>
                <a:gd name="T18" fmla="*/ 1 w 85"/>
                <a:gd name="T19" fmla="*/ 1 h 100"/>
                <a:gd name="T20" fmla="*/ 1 w 85"/>
                <a:gd name="T21" fmla="*/ 1 h 100"/>
                <a:gd name="T22" fmla="*/ 1 w 85"/>
                <a:gd name="T23" fmla="*/ 1 h 100"/>
                <a:gd name="T24" fmla="*/ 1 w 85"/>
                <a:gd name="T25" fmla="*/ 1 h 100"/>
                <a:gd name="T26" fmla="*/ 1 w 85"/>
                <a:gd name="T27" fmla="*/ 1 h 100"/>
                <a:gd name="T28" fmla="*/ 1 w 85"/>
                <a:gd name="T29" fmla="*/ 1 h 100"/>
                <a:gd name="T30" fmla="*/ 1 w 85"/>
                <a:gd name="T31" fmla="*/ 1 h 100"/>
                <a:gd name="T32" fmla="*/ 1 w 85"/>
                <a:gd name="T33" fmla="*/ 1 h 100"/>
                <a:gd name="T34" fmla="*/ 1 w 85"/>
                <a:gd name="T35" fmla="*/ 1 h 100"/>
                <a:gd name="T36" fmla="*/ 1 w 85"/>
                <a:gd name="T37" fmla="*/ 1 h 100"/>
                <a:gd name="T38" fmla="*/ 1 w 85"/>
                <a:gd name="T39" fmla="*/ 1 h 10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5"/>
                <a:gd name="T61" fmla="*/ 0 h 100"/>
                <a:gd name="T62" fmla="*/ 85 w 85"/>
                <a:gd name="T63" fmla="*/ 100 h 10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5" h="100">
                  <a:moveTo>
                    <a:pt x="11" y="63"/>
                  </a:moveTo>
                  <a:lnTo>
                    <a:pt x="0" y="49"/>
                  </a:lnTo>
                  <a:lnTo>
                    <a:pt x="2" y="27"/>
                  </a:lnTo>
                  <a:lnTo>
                    <a:pt x="12" y="22"/>
                  </a:lnTo>
                  <a:lnTo>
                    <a:pt x="17" y="10"/>
                  </a:lnTo>
                  <a:lnTo>
                    <a:pt x="21" y="0"/>
                  </a:lnTo>
                  <a:lnTo>
                    <a:pt x="46" y="2"/>
                  </a:lnTo>
                  <a:lnTo>
                    <a:pt x="66" y="1"/>
                  </a:lnTo>
                  <a:lnTo>
                    <a:pt x="65" y="0"/>
                  </a:lnTo>
                  <a:lnTo>
                    <a:pt x="85" y="1"/>
                  </a:lnTo>
                  <a:lnTo>
                    <a:pt x="84" y="13"/>
                  </a:lnTo>
                  <a:lnTo>
                    <a:pt x="77" y="34"/>
                  </a:lnTo>
                  <a:lnTo>
                    <a:pt x="85" y="64"/>
                  </a:lnTo>
                  <a:lnTo>
                    <a:pt x="73" y="88"/>
                  </a:lnTo>
                  <a:lnTo>
                    <a:pt x="60" y="84"/>
                  </a:lnTo>
                  <a:lnTo>
                    <a:pt x="41" y="87"/>
                  </a:lnTo>
                  <a:lnTo>
                    <a:pt x="42" y="100"/>
                  </a:lnTo>
                  <a:lnTo>
                    <a:pt x="33" y="98"/>
                  </a:lnTo>
                  <a:lnTo>
                    <a:pt x="22" y="80"/>
                  </a:lnTo>
                  <a:lnTo>
                    <a:pt x="11" y="6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15" name="Freeform 71"/>
            <p:cNvSpPr>
              <a:spLocks/>
            </p:cNvSpPr>
            <p:nvPr/>
          </p:nvSpPr>
          <p:spPr bwMode="auto">
            <a:xfrm>
              <a:off x="1825" y="1905"/>
              <a:ext cx="14" cy="11"/>
            </a:xfrm>
            <a:custGeom>
              <a:avLst/>
              <a:gdLst>
                <a:gd name="T0" fmla="*/ 1 w 19"/>
                <a:gd name="T1" fmla="*/ 0 h 16"/>
                <a:gd name="T2" fmla="*/ 1 w 19"/>
                <a:gd name="T3" fmla="*/ 0 h 16"/>
                <a:gd name="T4" fmla="*/ 1 w 19"/>
                <a:gd name="T5" fmla="*/ 1 h 16"/>
                <a:gd name="T6" fmla="*/ 0 w 19"/>
                <a:gd name="T7" fmla="*/ 1 h 16"/>
                <a:gd name="T8" fmla="*/ 1 w 19"/>
                <a:gd name="T9" fmla="*/ 1 h 16"/>
                <a:gd name="T10" fmla="*/ 1 w 19"/>
                <a:gd name="T11" fmla="*/ 0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16"/>
                <a:gd name="T20" fmla="*/ 19 w 19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16">
                  <a:moveTo>
                    <a:pt x="5" y="0"/>
                  </a:moveTo>
                  <a:lnTo>
                    <a:pt x="19" y="0"/>
                  </a:lnTo>
                  <a:lnTo>
                    <a:pt x="13" y="16"/>
                  </a:lnTo>
                  <a:lnTo>
                    <a:pt x="0" y="14"/>
                  </a:lnTo>
                  <a:lnTo>
                    <a:pt x="8" y="4"/>
                  </a:lnTo>
                  <a:lnTo>
                    <a:pt x="5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16" name="Freeform 72"/>
            <p:cNvSpPr>
              <a:spLocks/>
            </p:cNvSpPr>
            <p:nvPr/>
          </p:nvSpPr>
          <p:spPr bwMode="auto">
            <a:xfrm>
              <a:off x="1646" y="1879"/>
              <a:ext cx="208" cy="199"/>
            </a:xfrm>
            <a:custGeom>
              <a:avLst/>
              <a:gdLst>
                <a:gd name="T0" fmla="*/ 2 w 295"/>
                <a:gd name="T1" fmla="*/ 1 h 283"/>
                <a:gd name="T2" fmla="*/ 1 w 295"/>
                <a:gd name="T3" fmla="*/ 1 h 283"/>
                <a:gd name="T4" fmla="*/ 1 w 295"/>
                <a:gd name="T5" fmla="*/ 1 h 283"/>
                <a:gd name="T6" fmla="*/ 1 w 295"/>
                <a:gd name="T7" fmla="*/ 1 h 283"/>
                <a:gd name="T8" fmla="*/ 1 w 295"/>
                <a:gd name="T9" fmla="*/ 1 h 283"/>
                <a:gd name="T10" fmla="*/ 1 w 295"/>
                <a:gd name="T11" fmla="*/ 1 h 283"/>
                <a:gd name="T12" fmla="*/ 1 w 295"/>
                <a:gd name="T13" fmla="*/ 1 h 283"/>
                <a:gd name="T14" fmla="*/ 1 w 295"/>
                <a:gd name="T15" fmla="*/ 1 h 283"/>
                <a:gd name="T16" fmla="*/ 1 w 295"/>
                <a:gd name="T17" fmla="*/ 1 h 283"/>
                <a:gd name="T18" fmla="*/ 1 w 295"/>
                <a:gd name="T19" fmla="*/ 1 h 283"/>
                <a:gd name="T20" fmla="*/ 1 w 295"/>
                <a:gd name="T21" fmla="*/ 1 h 283"/>
                <a:gd name="T22" fmla="*/ 1 w 295"/>
                <a:gd name="T23" fmla="*/ 1 h 283"/>
                <a:gd name="T24" fmla="*/ 1 w 295"/>
                <a:gd name="T25" fmla="*/ 1 h 283"/>
                <a:gd name="T26" fmla="*/ 1 w 295"/>
                <a:gd name="T27" fmla="*/ 1 h 283"/>
                <a:gd name="T28" fmla="*/ 1 w 295"/>
                <a:gd name="T29" fmla="*/ 1 h 283"/>
                <a:gd name="T30" fmla="*/ 0 w 295"/>
                <a:gd name="T31" fmla="*/ 1 h 283"/>
                <a:gd name="T32" fmla="*/ 1 w 295"/>
                <a:gd name="T33" fmla="*/ 1 h 283"/>
                <a:gd name="T34" fmla="*/ 1 w 295"/>
                <a:gd name="T35" fmla="*/ 1 h 283"/>
                <a:gd name="T36" fmla="*/ 1 w 295"/>
                <a:gd name="T37" fmla="*/ 1 h 283"/>
                <a:gd name="T38" fmla="*/ 1 w 295"/>
                <a:gd name="T39" fmla="*/ 1 h 283"/>
                <a:gd name="T40" fmla="*/ 1 w 295"/>
                <a:gd name="T41" fmla="*/ 1 h 283"/>
                <a:gd name="T42" fmla="*/ 1 w 295"/>
                <a:gd name="T43" fmla="*/ 1 h 283"/>
                <a:gd name="T44" fmla="*/ 1 w 295"/>
                <a:gd name="T45" fmla="*/ 2 h 283"/>
                <a:gd name="T46" fmla="*/ 1 w 295"/>
                <a:gd name="T47" fmla="*/ 2 h 283"/>
                <a:gd name="T48" fmla="*/ 1 w 295"/>
                <a:gd name="T49" fmla="*/ 2 h 283"/>
                <a:gd name="T50" fmla="*/ 1 w 295"/>
                <a:gd name="T51" fmla="*/ 2 h 283"/>
                <a:gd name="T52" fmla="*/ 1 w 295"/>
                <a:gd name="T53" fmla="*/ 2 h 283"/>
                <a:gd name="T54" fmla="*/ 1 w 295"/>
                <a:gd name="T55" fmla="*/ 1 h 283"/>
                <a:gd name="T56" fmla="*/ 1 w 295"/>
                <a:gd name="T57" fmla="*/ 1 h 283"/>
                <a:gd name="T58" fmla="*/ 2 w 295"/>
                <a:gd name="T59" fmla="*/ 1 h 283"/>
                <a:gd name="T60" fmla="*/ 2 w 295"/>
                <a:gd name="T61" fmla="*/ 1 h 283"/>
                <a:gd name="T62" fmla="*/ 2 w 295"/>
                <a:gd name="T63" fmla="*/ 1 h 283"/>
                <a:gd name="T64" fmla="*/ 2 w 295"/>
                <a:gd name="T65" fmla="*/ 1 h 283"/>
                <a:gd name="T66" fmla="*/ 2 w 295"/>
                <a:gd name="T67" fmla="*/ 1 h 283"/>
                <a:gd name="T68" fmla="*/ 2 w 295"/>
                <a:gd name="T69" fmla="*/ 1 h 283"/>
                <a:gd name="T70" fmla="*/ 2 w 295"/>
                <a:gd name="T71" fmla="*/ 1 h 283"/>
                <a:gd name="T72" fmla="*/ 2 w 295"/>
                <a:gd name="T73" fmla="*/ 1 h 283"/>
                <a:gd name="T74" fmla="*/ 2 w 295"/>
                <a:gd name="T75" fmla="*/ 1 h 283"/>
                <a:gd name="T76" fmla="*/ 2 w 295"/>
                <a:gd name="T77" fmla="*/ 1 h 28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95"/>
                <a:gd name="T118" fmla="*/ 0 h 283"/>
                <a:gd name="T119" fmla="*/ 295 w 295"/>
                <a:gd name="T120" fmla="*/ 283 h 28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95" h="283">
                  <a:moveTo>
                    <a:pt x="244" y="61"/>
                  </a:moveTo>
                  <a:lnTo>
                    <a:pt x="243" y="57"/>
                  </a:lnTo>
                  <a:lnTo>
                    <a:pt x="238" y="52"/>
                  </a:lnTo>
                  <a:lnTo>
                    <a:pt x="230" y="52"/>
                  </a:lnTo>
                  <a:lnTo>
                    <a:pt x="234" y="51"/>
                  </a:lnTo>
                  <a:lnTo>
                    <a:pt x="228" y="45"/>
                  </a:lnTo>
                  <a:lnTo>
                    <a:pt x="250" y="38"/>
                  </a:lnTo>
                  <a:lnTo>
                    <a:pt x="226" y="38"/>
                  </a:lnTo>
                  <a:lnTo>
                    <a:pt x="202" y="38"/>
                  </a:lnTo>
                  <a:lnTo>
                    <a:pt x="211" y="42"/>
                  </a:lnTo>
                  <a:lnTo>
                    <a:pt x="189" y="51"/>
                  </a:lnTo>
                  <a:lnTo>
                    <a:pt x="159" y="42"/>
                  </a:lnTo>
                  <a:lnTo>
                    <a:pt x="139" y="42"/>
                  </a:lnTo>
                  <a:lnTo>
                    <a:pt x="118" y="42"/>
                  </a:lnTo>
                  <a:lnTo>
                    <a:pt x="111" y="26"/>
                  </a:lnTo>
                  <a:lnTo>
                    <a:pt x="87" y="16"/>
                  </a:lnTo>
                  <a:lnTo>
                    <a:pt x="78" y="0"/>
                  </a:lnTo>
                  <a:lnTo>
                    <a:pt x="72" y="10"/>
                  </a:lnTo>
                  <a:lnTo>
                    <a:pt x="82" y="16"/>
                  </a:lnTo>
                  <a:lnTo>
                    <a:pt x="76" y="16"/>
                  </a:lnTo>
                  <a:lnTo>
                    <a:pt x="48" y="28"/>
                  </a:lnTo>
                  <a:lnTo>
                    <a:pt x="44" y="34"/>
                  </a:lnTo>
                  <a:lnTo>
                    <a:pt x="50" y="66"/>
                  </a:lnTo>
                  <a:lnTo>
                    <a:pt x="40" y="78"/>
                  </a:lnTo>
                  <a:lnTo>
                    <a:pt x="28" y="61"/>
                  </a:lnTo>
                  <a:lnTo>
                    <a:pt x="39" y="39"/>
                  </a:lnTo>
                  <a:lnTo>
                    <a:pt x="33" y="19"/>
                  </a:lnTo>
                  <a:lnTo>
                    <a:pt x="48" y="8"/>
                  </a:lnTo>
                  <a:lnTo>
                    <a:pt x="33" y="13"/>
                  </a:lnTo>
                  <a:lnTo>
                    <a:pt x="21" y="33"/>
                  </a:lnTo>
                  <a:lnTo>
                    <a:pt x="8" y="54"/>
                  </a:lnTo>
                  <a:lnTo>
                    <a:pt x="0" y="74"/>
                  </a:lnTo>
                  <a:lnTo>
                    <a:pt x="8" y="75"/>
                  </a:lnTo>
                  <a:lnTo>
                    <a:pt x="19" y="103"/>
                  </a:lnTo>
                  <a:lnTo>
                    <a:pt x="19" y="118"/>
                  </a:lnTo>
                  <a:lnTo>
                    <a:pt x="34" y="127"/>
                  </a:lnTo>
                  <a:lnTo>
                    <a:pt x="51" y="128"/>
                  </a:lnTo>
                  <a:lnTo>
                    <a:pt x="68" y="129"/>
                  </a:lnTo>
                  <a:lnTo>
                    <a:pt x="87" y="151"/>
                  </a:lnTo>
                  <a:lnTo>
                    <a:pt x="106" y="150"/>
                  </a:lnTo>
                  <a:lnTo>
                    <a:pt x="126" y="148"/>
                  </a:lnTo>
                  <a:lnTo>
                    <a:pt x="121" y="169"/>
                  </a:lnTo>
                  <a:lnTo>
                    <a:pt x="115" y="190"/>
                  </a:lnTo>
                  <a:lnTo>
                    <a:pt x="126" y="220"/>
                  </a:lnTo>
                  <a:lnTo>
                    <a:pt x="118" y="232"/>
                  </a:lnTo>
                  <a:lnTo>
                    <a:pt x="130" y="252"/>
                  </a:lnTo>
                  <a:lnTo>
                    <a:pt x="135" y="272"/>
                  </a:lnTo>
                  <a:lnTo>
                    <a:pt x="153" y="283"/>
                  </a:lnTo>
                  <a:lnTo>
                    <a:pt x="165" y="282"/>
                  </a:lnTo>
                  <a:lnTo>
                    <a:pt x="168" y="283"/>
                  </a:lnTo>
                  <a:lnTo>
                    <a:pt x="190" y="266"/>
                  </a:lnTo>
                  <a:lnTo>
                    <a:pt x="210" y="249"/>
                  </a:lnTo>
                  <a:lnTo>
                    <a:pt x="213" y="242"/>
                  </a:lnTo>
                  <a:lnTo>
                    <a:pt x="199" y="237"/>
                  </a:lnTo>
                  <a:lnTo>
                    <a:pt x="193" y="210"/>
                  </a:lnTo>
                  <a:lnTo>
                    <a:pt x="186" y="196"/>
                  </a:lnTo>
                  <a:lnTo>
                    <a:pt x="207" y="204"/>
                  </a:lnTo>
                  <a:lnTo>
                    <a:pt x="228" y="211"/>
                  </a:lnTo>
                  <a:lnTo>
                    <a:pt x="231" y="202"/>
                  </a:lnTo>
                  <a:lnTo>
                    <a:pt x="249" y="194"/>
                  </a:lnTo>
                  <a:lnTo>
                    <a:pt x="267" y="187"/>
                  </a:lnTo>
                  <a:lnTo>
                    <a:pt x="273" y="174"/>
                  </a:lnTo>
                  <a:lnTo>
                    <a:pt x="272" y="172"/>
                  </a:lnTo>
                  <a:lnTo>
                    <a:pt x="259" y="153"/>
                  </a:lnTo>
                  <a:lnTo>
                    <a:pt x="267" y="135"/>
                  </a:lnTo>
                  <a:lnTo>
                    <a:pt x="283" y="126"/>
                  </a:lnTo>
                  <a:lnTo>
                    <a:pt x="274" y="115"/>
                  </a:lnTo>
                  <a:lnTo>
                    <a:pt x="295" y="96"/>
                  </a:lnTo>
                  <a:lnTo>
                    <a:pt x="291" y="91"/>
                  </a:lnTo>
                  <a:lnTo>
                    <a:pt x="270" y="90"/>
                  </a:lnTo>
                  <a:lnTo>
                    <a:pt x="255" y="90"/>
                  </a:lnTo>
                  <a:lnTo>
                    <a:pt x="260" y="88"/>
                  </a:lnTo>
                  <a:lnTo>
                    <a:pt x="268" y="76"/>
                  </a:lnTo>
                  <a:lnTo>
                    <a:pt x="273" y="72"/>
                  </a:lnTo>
                  <a:lnTo>
                    <a:pt x="260" y="60"/>
                  </a:lnTo>
                  <a:lnTo>
                    <a:pt x="252" y="61"/>
                  </a:lnTo>
                  <a:lnTo>
                    <a:pt x="243" y="56"/>
                  </a:lnTo>
                  <a:lnTo>
                    <a:pt x="244" y="6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17" name="Freeform 73"/>
            <p:cNvSpPr>
              <a:spLocks/>
            </p:cNvSpPr>
            <p:nvPr/>
          </p:nvSpPr>
          <p:spPr bwMode="auto">
            <a:xfrm>
              <a:off x="1788" y="1899"/>
              <a:ext cx="7" cy="1"/>
            </a:xfrm>
            <a:custGeom>
              <a:avLst/>
              <a:gdLst>
                <a:gd name="T0" fmla="*/ 1 w 11"/>
                <a:gd name="T1" fmla="*/ 0 h 3"/>
                <a:gd name="T2" fmla="*/ 0 w 11"/>
                <a:gd name="T3" fmla="*/ 0 h 3"/>
                <a:gd name="T4" fmla="*/ 1 w 11"/>
                <a:gd name="T5" fmla="*/ 0 h 3"/>
                <a:gd name="T6" fmla="*/ 0 60000 65536"/>
                <a:gd name="T7" fmla="*/ 0 60000 65536"/>
                <a:gd name="T8" fmla="*/ 0 60000 65536"/>
                <a:gd name="T9" fmla="*/ 0 w 11"/>
                <a:gd name="T10" fmla="*/ 0 h 3"/>
                <a:gd name="T11" fmla="*/ 11 w 11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1" h="3">
                  <a:moveTo>
                    <a:pt x="11" y="3"/>
                  </a:moveTo>
                  <a:lnTo>
                    <a:pt x="0" y="0"/>
                  </a:lnTo>
                  <a:lnTo>
                    <a:pt x="11" y="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18" name="Freeform 74"/>
            <p:cNvSpPr>
              <a:spLocks/>
            </p:cNvSpPr>
            <p:nvPr/>
          </p:nvSpPr>
          <p:spPr bwMode="auto">
            <a:xfrm>
              <a:off x="1493" y="1688"/>
              <a:ext cx="158" cy="56"/>
            </a:xfrm>
            <a:custGeom>
              <a:avLst/>
              <a:gdLst>
                <a:gd name="T0" fmla="*/ 1 w 225"/>
                <a:gd name="T1" fmla="*/ 1 h 81"/>
                <a:gd name="T2" fmla="*/ 1 w 225"/>
                <a:gd name="T3" fmla="*/ 1 h 81"/>
                <a:gd name="T4" fmla="*/ 1 w 225"/>
                <a:gd name="T5" fmla="*/ 1 h 81"/>
                <a:gd name="T6" fmla="*/ 1 w 225"/>
                <a:gd name="T7" fmla="*/ 1 h 81"/>
                <a:gd name="T8" fmla="*/ 1 w 225"/>
                <a:gd name="T9" fmla="*/ 1 h 81"/>
                <a:gd name="T10" fmla="*/ 1 w 225"/>
                <a:gd name="T11" fmla="*/ 1 h 81"/>
                <a:gd name="T12" fmla="*/ 1 w 225"/>
                <a:gd name="T13" fmla="*/ 0 h 81"/>
                <a:gd name="T14" fmla="*/ 1 w 225"/>
                <a:gd name="T15" fmla="*/ 1 h 81"/>
                <a:gd name="T16" fmla="*/ 1 w 225"/>
                <a:gd name="T17" fmla="*/ 1 h 81"/>
                <a:gd name="T18" fmla="*/ 1 w 225"/>
                <a:gd name="T19" fmla="*/ 1 h 81"/>
                <a:gd name="T20" fmla="*/ 0 w 225"/>
                <a:gd name="T21" fmla="*/ 1 h 81"/>
                <a:gd name="T22" fmla="*/ 1 w 225"/>
                <a:gd name="T23" fmla="*/ 1 h 81"/>
                <a:gd name="T24" fmla="*/ 1 w 225"/>
                <a:gd name="T25" fmla="*/ 1 h 81"/>
                <a:gd name="T26" fmla="*/ 1 w 225"/>
                <a:gd name="T27" fmla="*/ 1 h 81"/>
                <a:gd name="T28" fmla="*/ 1 w 225"/>
                <a:gd name="T29" fmla="*/ 1 h 81"/>
                <a:gd name="T30" fmla="*/ 1 w 225"/>
                <a:gd name="T31" fmla="*/ 1 h 81"/>
                <a:gd name="T32" fmla="*/ 1 w 225"/>
                <a:gd name="T33" fmla="*/ 1 h 81"/>
                <a:gd name="T34" fmla="*/ 1 w 225"/>
                <a:gd name="T35" fmla="*/ 1 h 81"/>
                <a:gd name="T36" fmla="*/ 1 w 225"/>
                <a:gd name="T37" fmla="*/ 1 h 81"/>
                <a:gd name="T38" fmla="*/ 1 w 225"/>
                <a:gd name="T39" fmla="*/ 1 h 81"/>
                <a:gd name="T40" fmla="*/ 1 w 225"/>
                <a:gd name="T41" fmla="*/ 1 h 81"/>
                <a:gd name="T42" fmla="*/ 1 w 225"/>
                <a:gd name="T43" fmla="*/ 1 h 81"/>
                <a:gd name="T44" fmla="*/ 1 w 225"/>
                <a:gd name="T45" fmla="*/ 1 h 81"/>
                <a:gd name="T46" fmla="*/ 1 w 225"/>
                <a:gd name="T47" fmla="*/ 1 h 81"/>
                <a:gd name="T48" fmla="*/ 1 w 225"/>
                <a:gd name="T49" fmla="*/ 1 h 81"/>
                <a:gd name="T50" fmla="*/ 1 w 225"/>
                <a:gd name="T51" fmla="*/ 1 h 81"/>
                <a:gd name="T52" fmla="*/ 1 w 225"/>
                <a:gd name="T53" fmla="*/ 1 h 81"/>
                <a:gd name="T54" fmla="*/ 1 w 225"/>
                <a:gd name="T55" fmla="*/ 1 h 81"/>
                <a:gd name="T56" fmla="*/ 1 w 225"/>
                <a:gd name="T57" fmla="*/ 1 h 81"/>
                <a:gd name="T58" fmla="*/ 1 w 225"/>
                <a:gd name="T59" fmla="*/ 1 h 81"/>
                <a:gd name="T60" fmla="*/ 1 w 225"/>
                <a:gd name="T61" fmla="*/ 1 h 81"/>
                <a:gd name="T62" fmla="*/ 1 w 225"/>
                <a:gd name="T63" fmla="*/ 1 h 81"/>
                <a:gd name="T64" fmla="*/ 1 w 225"/>
                <a:gd name="T65" fmla="*/ 1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25"/>
                <a:gd name="T100" fmla="*/ 0 h 81"/>
                <a:gd name="T101" fmla="*/ 225 w 225"/>
                <a:gd name="T102" fmla="*/ 81 h 8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25" h="81">
                  <a:moveTo>
                    <a:pt x="157" y="33"/>
                  </a:moveTo>
                  <a:lnTo>
                    <a:pt x="159" y="35"/>
                  </a:lnTo>
                  <a:lnTo>
                    <a:pt x="136" y="24"/>
                  </a:lnTo>
                  <a:lnTo>
                    <a:pt x="114" y="13"/>
                  </a:lnTo>
                  <a:lnTo>
                    <a:pt x="97" y="5"/>
                  </a:lnTo>
                  <a:lnTo>
                    <a:pt x="82" y="1"/>
                  </a:lnTo>
                  <a:lnTo>
                    <a:pt x="73" y="0"/>
                  </a:lnTo>
                  <a:lnTo>
                    <a:pt x="48" y="5"/>
                  </a:lnTo>
                  <a:lnTo>
                    <a:pt x="22" y="11"/>
                  </a:lnTo>
                  <a:lnTo>
                    <a:pt x="11" y="27"/>
                  </a:lnTo>
                  <a:lnTo>
                    <a:pt x="0" y="34"/>
                  </a:lnTo>
                  <a:lnTo>
                    <a:pt x="7" y="31"/>
                  </a:lnTo>
                  <a:lnTo>
                    <a:pt x="25" y="23"/>
                  </a:lnTo>
                  <a:lnTo>
                    <a:pt x="42" y="16"/>
                  </a:lnTo>
                  <a:lnTo>
                    <a:pt x="71" y="15"/>
                  </a:lnTo>
                  <a:lnTo>
                    <a:pt x="60" y="18"/>
                  </a:lnTo>
                  <a:lnTo>
                    <a:pt x="79" y="24"/>
                  </a:lnTo>
                  <a:lnTo>
                    <a:pt x="91" y="28"/>
                  </a:lnTo>
                  <a:lnTo>
                    <a:pt x="97" y="31"/>
                  </a:lnTo>
                  <a:lnTo>
                    <a:pt x="127" y="39"/>
                  </a:lnTo>
                  <a:lnTo>
                    <a:pt x="133" y="53"/>
                  </a:lnTo>
                  <a:lnTo>
                    <a:pt x="160" y="65"/>
                  </a:lnTo>
                  <a:lnTo>
                    <a:pt x="147" y="81"/>
                  </a:lnTo>
                  <a:lnTo>
                    <a:pt x="168" y="81"/>
                  </a:lnTo>
                  <a:lnTo>
                    <a:pt x="190" y="79"/>
                  </a:lnTo>
                  <a:lnTo>
                    <a:pt x="207" y="77"/>
                  </a:lnTo>
                  <a:lnTo>
                    <a:pt x="225" y="75"/>
                  </a:lnTo>
                  <a:lnTo>
                    <a:pt x="209" y="66"/>
                  </a:lnTo>
                  <a:lnTo>
                    <a:pt x="192" y="58"/>
                  </a:lnTo>
                  <a:lnTo>
                    <a:pt x="192" y="51"/>
                  </a:lnTo>
                  <a:lnTo>
                    <a:pt x="177" y="45"/>
                  </a:lnTo>
                  <a:lnTo>
                    <a:pt x="161" y="39"/>
                  </a:lnTo>
                  <a:lnTo>
                    <a:pt x="157" y="3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19" name="Freeform 75"/>
            <p:cNvSpPr>
              <a:spLocks/>
            </p:cNvSpPr>
            <p:nvPr/>
          </p:nvSpPr>
          <p:spPr bwMode="auto">
            <a:xfrm>
              <a:off x="1518" y="1709"/>
              <a:ext cx="9" cy="7"/>
            </a:xfrm>
            <a:custGeom>
              <a:avLst/>
              <a:gdLst>
                <a:gd name="T0" fmla="*/ 0 w 12"/>
                <a:gd name="T1" fmla="*/ 1 h 11"/>
                <a:gd name="T2" fmla="*/ 2 w 12"/>
                <a:gd name="T3" fmla="*/ 1 h 11"/>
                <a:gd name="T4" fmla="*/ 2 w 12"/>
                <a:gd name="T5" fmla="*/ 0 h 11"/>
                <a:gd name="T6" fmla="*/ 0 w 12"/>
                <a:gd name="T7" fmla="*/ 1 h 1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2"/>
                <a:gd name="T13" fmla="*/ 0 h 11"/>
                <a:gd name="T14" fmla="*/ 12 w 12"/>
                <a:gd name="T15" fmla="*/ 11 h 1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2" h="11">
                  <a:moveTo>
                    <a:pt x="0" y="11"/>
                  </a:moveTo>
                  <a:lnTo>
                    <a:pt x="12" y="10"/>
                  </a:lnTo>
                  <a:lnTo>
                    <a:pt x="4" y="0"/>
                  </a:lnTo>
                  <a:lnTo>
                    <a:pt x="0" y="1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20" name="Freeform 76"/>
            <p:cNvSpPr>
              <a:spLocks/>
            </p:cNvSpPr>
            <p:nvPr/>
          </p:nvSpPr>
          <p:spPr bwMode="auto">
            <a:xfrm>
              <a:off x="1538" y="1753"/>
              <a:ext cx="6" cy="3"/>
            </a:xfrm>
            <a:custGeom>
              <a:avLst/>
              <a:gdLst>
                <a:gd name="T0" fmla="*/ 3 w 7"/>
                <a:gd name="T1" fmla="*/ 1 h 3"/>
                <a:gd name="T2" fmla="*/ 3 w 7"/>
                <a:gd name="T3" fmla="*/ 1 h 3"/>
                <a:gd name="T4" fmla="*/ 3 w 7"/>
                <a:gd name="T5" fmla="*/ 1 h 3"/>
                <a:gd name="T6" fmla="*/ 3 w 7"/>
                <a:gd name="T7" fmla="*/ 1 h 3"/>
                <a:gd name="T8" fmla="*/ 3 w 7"/>
                <a:gd name="T9" fmla="*/ 0 h 3"/>
                <a:gd name="T10" fmla="*/ 3 w 7"/>
                <a:gd name="T11" fmla="*/ 1 h 3"/>
                <a:gd name="T12" fmla="*/ 2 w 7"/>
                <a:gd name="T13" fmla="*/ 1 h 3"/>
                <a:gd name="T14" fmla="*/ 2 w 7"/>
                <a:gd name="T15" fmla="*/ 2 h 3"/>
                <a:gd name="T16" fmla="*/ 1 w 7"/>
                <a:gd name="T17" fmla="*/ 2 h 3"/>
                <a:gd name="T18" fmla="*/ 1 w 7"/>
                <a:gd name="T19" fmla="*/ 1 h 3"/>
                <a:gd name="T20" fmla="*/ 1 w 7"/>
                <a:gd name="T21" fmla="*/ 0 h 3"/>
                <a:gd name="T22" fmla="*/ 0 w 7"/>
                <a:gd name="T23" fmla="*/ 0 h 3"/>
                <a:gd name="T24" fmla="*/ 0 w 7"/>
                <a:gd name="T25" fmla="*/ 1 h 3"/>
                <a:gd name="T26" fmla="*/ 0 w 7"/>
                <a:gd name="T27" fmla="*/ 2 h 3"/>
                <a:gd name="T28" fmla="*/ 0 w 7"/>
                <a:gd name="T29" fmla="*/ 3 h 3"/>
                <a:gd name="T30" fmla="*/ 1 w 7"/>
                <a:gd name="T31" fmla="*/ 3 h 3"/>
                <a:gd name="T32" fmla="*/ 1 w 7"/>
                <a:gd name="T33" fmla="*/ 2 h 3"/>
                <a:gd name="T34" fmla="*/ 2 w 7"/>
                <a:gd name="T35" fmla="*/ 2 h 3"/>
                <a:gd name="T36" fmla="*/ 2 w 7"/>
                <a:gd name="T37" fmla="*/ 3 h 3"/>
                <a:gd name="T38" fmla="*/ 3 w 7"/>
                <a:gd name="T39" fmla="*/ 3 h 3"/>
                <a:gd name="T40" fmla="*/ 3 w 7"/>
                <a:gd name="T41" fmla="*/ 2 h 3"/>
                <a:gd name="T42" fmla="*/ 3 w 7"/>
                <a:gd name="T43" fmla="*/ 2 h 3"/>
                <a:gd name="T44" fmla="*/ 3 w 7"/>
                <a:gd name="T45" fmla="*/ 2 h 3"/>
                <a:gd name="T46" fmla="*/ 3 w 7"/>
                <a:gd name="T47" fmla="*/ 2 h 3"/>
                <a:gd name="T48" fmla="*/ 3 w 7"/>
                <a:gd name="T49" fmla="*/ 1 h 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"/>
                <a:gd name="T76" fmla="*/ 0 h 3"/>
                <a:gd name="T77" fmla="*/ 7 w 7"/>
                <a:gd name="T78" fmla="*/ 3 h 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" h="3">
                  <a:moveTo>
                    <a:pt x="7" y="1"/>
                  </a:moveTo>
                  <a:lnTo>
                    <a:pt x="6" y="1"/>
                  </a:lnTo>
                  <a:lnTo>
                    <a:pt x="5" y="1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5" y="2"/>
                  </a:lnTo>
                  <a:lnTo>
                    <a:pt x="6" y="2"/>
                  </a:lnTo>
                  <a:lnTo>
                    <a:pt x="7" y="2"/>
                  </a:lnTo>
                  <a:lnTo>
                    <a:pt x="7" y="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21" name="Freeform 77"/>
            <p:cNvSpPr>
              <a:spLocks/>
            </p:cNvSpPr>
            <p:nvPr/>
          </p:nvSpPr>
          <p:spPr bwMode="auto">
            <a:xfrm>
              <a:off x="1562" y="1747"/>
              <a:ext cx="3" cy="1"/>
            </a:xfrm>
            <a:custGeom>
              <a:avLst/>
              <a:gdLst>
                <a:gd name="T0" fmla="*/ 3 w 3"/>
                <a:gd name="T1" fmla="*/ 0 h 3"/>
                <a:gd name="T2" fmla="*/ 3 w 3"/>
                <a:gd name="T3" fmla="*/ 0 h 3"/>
                <a:gd name="T4" fmla="*/ 2 w 3"/>
                <a:gd name="T5" fmla="*/ 0 h 3"/>
                <a:gd name="T6" fmla="*/ 2 w 3"/>
                <a:gd name="T7" fmla="*/ 0 h 3"/>
                <a:gd name="T8" fmla="*/ 1 w 3"/>
                <a:gd name="T9" fmla="*/ 0 h 3"/>
                <a:gd name="T10" fmla="*/ 1 w 3"/>
                <a:gd name="T11" fmla="*/ 0 h 3"/>
                <a:gd name="T12" fmla="*/ 0 w 3"/>
                <a:gd name="T13" fmla="*/ 0 h 3"/>
                <a:gd name="T14" fmla="*/ 1 w 3"/>
                <a:gd name="T15" fmla="*/ 0 h 3"/>
                <a:gd name="T16" fmla="*/ 1 w 3"/>
                <a:gd name="T17" fmla="*/ 0 h 3"/>
                <a:gd name="T18" fmla="*/ 2 w 3"/>
                <a:gd name="T19" fmla="*/ 0 h 3"/>
                <a:gd name="T20" fmla="*/ 3 w 3"/>
                <a:gd name="T21" fmla="*/ 0 h 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"/>
                <a:gd name="T34" fmla="*/ 0 h 3"/>
                <a:gd name="T35" fmla="*/ 3 w 3"/>
                <a:gd name="T36" fmla="*/ 3 h 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" h="3">
                  <a:moveTo>
                    <a:pt x="3" y="1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1"/>
                  </a:lnTo>
                  <a:lnTo>
                    <a:pt x="2" y="1"/>
                  </a:lnTo>
                  <a:lnTo>
                    <a:pt x="3" y="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22" name="Freeform 78"/>
            <p:cNvSpPr>
              <a:spLocks/>
            </p:cNvSpPr>
            <p:nvPr/>
          </p:nvSpPr>
          <p:spPr bwMode="auto">
            <a:xfrm>
              <a:off x="1559" y="1747"/>
              <a:ext cx="3" cy="1"/>
            </a:xfrm>
            <a:custGeom>
              <a:avLst/>
              <a:gdLst>
                <a:gd name="T0" fmla="*/ 3 w 3"/>
                <a:gd name="T1" fmla="*/ 0 h 3"/>
                <a:gd name="T2" fmla="*/ 2 w 3"/>
                <a:gd name="T3" fmla="*/ 0 h 3"/>
                <a:gd name="T4" fmla="*/ 2 w 3"/>
                <a:gd name="T5" fmla="*/ 0 h 3"/>
                <a:gd name="T6" fmla="*/ 1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1 w 3"/>
                <a:gd name="T13" fmla="*/ 0 h 3"/>
                <a:gd name="T14" fmla="*/ 2 w 3"/>
                <a:gd name="T15" fmla="*/ 0 h 3"/>
                <a:gd name="T16" fmla="*/ 3 w 3"/>
                <a:gd name="T17" fmla="*/ 0 h 3"/>
                <a:gd name="T18" fmla="*/ 3 w 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3"/>
                <a:gd name="T32" fmla="*/ 3 w 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3">
                  <a:moveTo>
                    <a:pt x="3" y="0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23" name="Freeform 79"/>
            <p:cNvSpPr>
              <a:spLocks/>
            </p:cNvSpPr>
            <p:nvPr/>
          </p:nvSpPr>
          <p:spPr bwMode="auto">
            <a:xfrm>
              <a:off x="1791" y="1770"/>
              <a:ext cx="2" cy="1"/>
            </a:xfrm>
            <a:custGeom>
              <a:avLst/>
              <a:gdLst>
                <a:gd name="T0" fmla="*/ 2 w 2"/>
                <a:gd name="T1" fmla="*/ 1 h 2"/>
                <a:gd name="T2" fmla="*/ 2 w 2"/>
                <a:gd name="T3" fmla="*/ 0 h 2"/>
                <a:gd name="T4" fmla="*/ 1 w 2"/>
                <a:gd name="T5" fmla="*/ 0 h 2"/>
                <a:gd name="T6" fmla="*/ 1 w 2"/>
                <a:gd name="T7" fmla="*/ 1 h 2"/>
                <a:gd name="T8" fmla="*/ 0 w 2"/>
                <a:gd name="T9" fmla="*/ 1 h 2"/>
                <a:gd name="T10" fmla="*/ 0 w 2"/>
                <a:gd name="T11" fmla="*/ 1 h 2"/>
                <a:gd name="T12" fmla="*/ 1 w 2"/>
                <a:gd name="T13" fmla="*/ 1 h 2"/>
                <a:gd name="T14" fmla="*/ 1 w 2"/>
                <a:gd name="T15" fmla="*/ 1 h 2"/>
                <a:gd name="T16" fmla="*/ 2 w 2"/>
                <a:gd name="T17" fmla="*/ 1 h 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"/>
                <a:gd name="T28" fmla="*/ 0 h 2"/>
                <a:gd name="T29" fmla="*/ 2 w 2"/>
                <a:gd name="T30" fmla="*/ 2 h 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" h="2">
                  <a:moveTo>
                    <a:pt x="2" y="1"/>
                  </a:moveTo>
                  <a:lnTo>
                    <a:pt x="2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2" y="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24" name="Freeform 80"/>
            <p:cNvSpPr>
              <a:spLocks/>
            </p:cNvSpPr>
            <p:nvPr/>
          </p:nvSpPr>
          <p:spPr bwMode="auto">
            <a:xfrm>
              <a:off x="1797" y="1764"/>
              <a:ext cx="1" cy="1"/>
            </a:xfrm>
            <a:custGeom>
              <a:avLst/>
              <a:gdLst>
                <a:gd name="T0" fmla="*/ 1 w 2"/>
                <a:gd name="T1" fmla="*/ 1 h 2"/>
                <a:gd name="T2" fmla="*/ 1 w 2"/>
                <a:gd name="T3" fmla="*/ 0 h 2"/>
                <a:gd name="T4" fmla="*/ 1 w 2"/>
                <a:gd name="T5" fmla="*/ 0 h 2"/>
                <a:gd name="T6" fmla="*/ 0 w 2"/>
                <a:gd name="T7" fmla="*/ 0 h 2"/>
                <a:gd name="T8" fmla="*/ 0 w 2"/>
                <a:gd name="T9" fmla="*/ 1 h 2"/>
                <a:gd name="T10" fmla="*/ 1 w 2"/>
                <a:gd name="T11" fmla="*/ 1 h 2"/>
                <a:gd name="T12" fmla="*/ 1 w 2"/>
                <a:gd name="T13" fmla="*/ 1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2"/>
                <a:gd name="T23" fmla="*/ 2 w 2"/>
                <a:gd name="T24" fmla="*/ 2 h 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2">
                  <a:moveTo>
                    <a:pt x="2" y="2"/>
                  </a:move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1" y="2"/>
                  </a:lnTo>
                  <a:lnTo>
                    <a:pt x="2" y="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25" name="Freeform 81"/>
            <p:cNvSpPr>
              <a:spLocks/>
            </p:cNvSpPr>
            <p:nvPr/>
          </p:nvSpPr>
          <p:spPr bwMode="auto">
            <a:xfrm>
              <a:off x="1795" y="1768"/>
              <a:ext cx="2" cy="2"/>
            </a:xfrm>
            <a:custGeom>
              <a:avLst/>
              <a:gdLst>
                <a:gd name="T0" fmla="*/ 2 w 2"/>
                <a:gd name="T1" fmla="*/ 0 h 3"/>
                <a:gd name="T2" fmla="*/ 1 w 2"/>
                <a:gd name="T3" fmla="*/ 1 h 3"/>
                <a:gd name="T4" fmla="*/ 0 w 2"/>
                <a:gd name="T5" fmla="*/ 1 h 3"/>
                <a:gd name="T6" fmla="*/ 0 w 2"/>
                <a:gd name="T7" fmla="*/ 1 h 3"/>
                <a:gd name="T8" fmla="*/ 0 w 2"/>
                <a:gd name="T9" fmla="*/ 1 h 3"/>
                <a:gd name="T10" fmla="*/ 0 w 2"/>
                <a:gd name="T11" fmla="*/ 0 h 3"/>
                <a:gd name="T12" fmla="*/ 1 w 2"/>
                <a:gd name="T13" fmla="*/ 0 h 3"/>
                <a:gd name="T14" fmla="*/ 2 w 2"/>
                <a:gd name="T15" fmla="*/ 0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"/>
                <a:gd name="T25" fmla="*/ 0 h 3"/>
                <a:gd name="T26" fmla="*/ 2 w 2"/>
                <a:gd name="T27" fmla="*/ 3 h 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" h="3">
                  <a:moveTo>
                    <a:pt x="2" y="0"/>
                  </a:moveTo>
                  <a:lnTo>
                    <a:pt x="1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  <a:lnTo>
                    <a:pt x="1" y="0"/>
                  </a:lnTo>
                  <a:lnTo>
                    <a:pt x="2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26" name="Rectangle 82"/>
            <p:cNvSpPr>
              <a:spLocks noChangeArrowheads="1"/>
            </p:cNvSpPr>
            <p:nvPr/>
          </p:nvSpPr>
          <p:spPr bwMode="auto">
            <a:xfrm>
              <a:off x="1790" y="1770"/>
              <a:ext cx="0" cy="0"/>
            </a:xfrm>
            <a:prstGeom prst="rect">
              <a:avLst/>
            </a:pr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miter lim="800000"/>
              <a:headEnd/>
              <a:tailEnd/>
            </a:ln>
          </p:spPr>
          <p:txBody>
            <a:bodyPr lIns="91430" tIns="45716" rIns="91430" bIns="45716"/>
            <a:lstStyle/>
            <a:p>
              <a:pPr defTabSz="912813" eaLnBrk="0" hangingPunct="0"/>
              <a:endParaRPr lang="en-US" sz="1400">
                <a:latin typeface="Calibri" pitchFamily="34" charset="0"/>
              </a:endParaRPr>
            </a:p>
          </p:txBody>
        </p:sp>
        <p:sp>
          <p:nvSpPr>
            <p:cNvPr id="10327" name="Rectangle 83"/>
            <p:cNvSpPr>
              <a:spLocks noChangeArrowheads="1"/>
            </p:cNvSpPr>
            <p:nvPr/>
          </p:nvSpPr>
          <p:spPr bwMode="auto">
            <a:xfrm>
              <a:off x="1793" y="1771"/>
              <a:ext cx="0" cy="1"/>
            </a:xfrm>
            <a:prstGeom prst="rect">
              <a:avLst/>
            </a:pr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miter lim="800000"/>
              <a:headEnd/>
              <a:tailEnd/>
            </a:ln>
          </p:spPr>
          <p:txBody>
            <a:bodyPr lIns="91430" tIns="45716" rIns="91430" bIns="45716"/>
            <a:lstStyle/>
            <a:p>
              <a:pPr defTabSz="912813" eaLnBrk="0" hangingPunct="0"/>
              <a:endParaRPr lang="en-US" sz="1400">
                <a:latin typeface="Calibri" pitchFamily="34" charset="0"/>
              </a:endParaRPr>
            </a:p>
          </p:txBody>
        </p:sp>
        <p:sp>
          <p:nvSpPr>
            <p:cNvPr id="10328" name="Freeform 84"/>
            <p:cNvSpPr>
              <a:spLocks/>
            </p:cNvSpPr>
            <p:nvPr/>
          </p:nvSpPr>
          <p:spPr bwMode="auto">
            <a:xfrm>
              <a:off x="1793" y="1772"/>
              <a:ext cx="1" cy="2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0 h 2"/>
                <a:gd name="T4" fmla="*/ 1 w 1"/>
                <a:gd name="T5" fmla="*/ 0 h 2"/>
                <a:gd name="T6" fmla="*/ 0 60000 65536"/>
                <a:gd name="T7" fmla="*/ 0 60000 65536"/>
                <a:gd name="T8" fmla="*/ 0 60000 65536"/>
                <a:gd name="T9" fmla="*/ 0 w 1"/>
                <a:gd name="T10" fmla="*/ 0 h 2"/>
                <a:gd name="T11" fmla="*/ 1 w 1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2">
                  <a:moveTo>
                    <a:pt x="1" y="0"/>
                  </a:move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29" name="Freeform 85"/>
            <p:cNvSpPr>
              <a:spLocks/>
            </p:cNvSpPr>
            <p:nvPr/>
          </p:nvSpPr>
          <p:spPr bwMode="auto">
            <a:xfrm>
              <a:off x="1682" y="1744"/>
              <a:ext cx="54" cy="41"/>
            </a:xfrm>
            <a:custGeom>
              <a:avLst/>
              <a:gdLst>
                <a:gd name="T0" fmla="*/ 1 w 78"/>
                <a:gd name="T1" fmla="*/ 1 h 56"/>
                <a:gd name="T2" fmla="*/ 1 w 78"/>
                <a:gd name="T3" fmla="*/ 1 h 56"/>
                <a:gd name="T4" fmla="*/ 0 w 78"/>
                <a:gd name="T5" fmla="*/ 1 h 56"/>
                <a:gd name="T6" fmla="*/ 1 w 78"/>
                <a:gd name="T7" fmla="*/ 1 h 56"/>
                <a:gd name="T8" fmla="*/ 1 w 78"/>
                <a:gd name="T9" fmla="*/ 1 h 56"/>
                <a:gd name="T10" fmla="*/ 1 w 78"/>
                <a:gd name="T11" fmla="*/ 1 h 56"/>
                <a:gd name="T12" fmla="*/ 1 w 78"/>
                <a:gd name="T13" fmla="*/ 1 h 56"/>
                <a:gd name="T14" fmla="*/ 1 w 78"/>
                <a:gd name="T15" fmla="*/ 1 h 56"/>
                <a:gd name="T16" fmla="*/ 1 w 78"/>
                <a:gd name="T17" fmla="*/ 1 h 56"/>
                <a:gd name="T18" fmla="*/ 1 w 78"/>
                <a:gd name="T19" fmla="*/ 1 h 56"/>
                <a:gd name="T20" fmla="*/ 1 w 78"/>
                <a:gd name="T21" fmla="*/ 1 h 56"/>
                <a:gd name="T22" fmla="*/ 1 w 78"/>
                <a:gd name="T23" fmla="*/ 1 h 56"/>
                <a:gd name="T24" fmla="*/ 1 w 78"/>
                <a:gd name="T25" fmla="*/ 1 h 56"/>
                <a:gd name="T26" fmla="*/ 1 w 78"/>
                <a:gd name="T27" fmla="*/ 0 h 56"/>
                <a:gd name="T28" fmla="*/ 1 w 78"/>
                <a:gd name="T29" fmla="*/ 1 h 5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78"/>
                <a:gd name="T46" fmla="*/ 0 h 56"/>
                <a:gd name="T47" fmla="*/ 78 w 78"/>
                <a:gd name="T48" fmla="*/ 56 h 5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78" h="56">
                  <a:moveTo>
                    <a:pt x="7" y="5"/>
                  </a:moveTo>
                  <a:lnTo>
                    <a:pt x="3" y="21"/>
                  </a:lnTo>
                  <a:lnTo>
                    <a:pt x="0" y="31"/>
                  </a:lnTo>
                  <a:lnTo>
                    <a:pt x="2" y="45"/>
                  </a:lnTo>
                  <a:lnTo>
                    <a:pt x="8" y="56"/>
                  </a:lnTo>
                  <a:lnTo>
                    <a:pt x="18" y="43"/>
                  </a:lnTo>
                  <a:lnTo>
                    <a:pt x="29" y="37"/>
                  </a:lnTo>
                  <a:lnTo>
                    <a:pt x="39" y="38"/>
                  </a:lnTo>
                  <a:lnTo>
                    <a:pt x="67" y="39"/>
                  </a:lnTo>
                  <a:lnTo>
                    <a:pt x="78" y="30"/>
                  </a:lnTo>
                  <a:lnTo>
                    <a:pt x="53" y="19"/>
                  </a:lnTo>
                  <a:lnTo>
                    <a:pt x="57" y="14"/>
                  </a:lnTo>
                  <a:lnTo>
                    <a:pt x="47" y="8"/>
                  </a:lnTo>
                  <a:lnTo>
                    <a:pt x="17" y="0"/>
                  </a:lnTo>
                  <a:lnTo>
                    <a:pt x="7" y="5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30" name="Freeform 86"/>
            <p:cNvSpPr>
              <a:spLocks/>
            </p:cNvSpPr>
            <p:nvPr/>
          </p:nvSpPr>
          <p:spPr bwMode="auto">
            <a:xfrm>
              <a:off x="1642" y="1746"/>
              <a:ext cx="45" cy="31"/>
            </a:xfrm>
            <a:custGeom>
              <a:avLst/>
              <a:gdLst>
                <a:gd name="T0" fmla="*/ 1 w 62"/>
                <a:gd name="T1" fmla="*/ 1 h 44"/>
                <a:gd name="T2" fmla="*/ 1 w 62"/>
                <a:gd name="T3" fmla="*/ 1 h 44"/>
                <a:gd name="T4" fmla="*/ 1 w 62"/>
                <a:gd name="T5" fmla="*/ 1 h 44"/>
                <a:gd name="T6" fmla="*/ 1 w 62"/>
                <a:gd name="T7" fmla="*/ 1 h 44"/>
                <a:gd name="T8" fmla="*/ 1 w 62"/>
                <a:gd name="T9" fmla="*/ 1 h 44"/>
                <a:gd name="T10" fmla="*/ 1 w 62"/>
                <a:gd name="T11" fmla="*/ 1 h 44"/>
                <a:gd name="T12" fmla="*/ 0 w 62"/>
                <a:gd name="T13" fmla="*/ 1 h 44"/>
                <a:gd name="T14" fmla="*/ 1 w 62"/>
                <a:gd name="T15" fmla="*/ 1 h 44"/>
                <a:gd name="T16" fmla="*/ 1 w 62"/>
                <a:gd name="T17" fmla="*/ 1 h 44"/>
                <a:gd name="T18" fmla="*/ 1 w 62"/>
                <a:gd name="T19" fmla="*/ 1 h 44"/>
                <a:gd name="T20" fmla="*/ 1 w 62"/>
                <a:gd name="T21" fmla="*/ 1 h 44"/>
                <a:gd name="T22" fmla="*/ 1 w 62"/>
                <a:gd name="T23" fmla="*/ 1 h 44"/>
                <a:gd name="T24" fmla="*/ 1 w 62"/>
                <a:gd name="T25" fmla="*/ 0 h 44"/>
                <a:gd name="T26" fmla="*/ 1 w 62"/>
                <a:gd name="T27" fmla="*/ 1 h 44"/>
                <a:gd name="T28" fmla="*/ 1 w 62"/>
                <a:gd name="T29" fmla="*/ 1 h 4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62"/>
                <a:gd name="T46" fmla="*/ 0 h 44"/>
                <a:gd name="T47" fmla="*/ 62 w 62"/>
                <a:gd name="T48" fmla="*/ 44 h 4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62" h="44">
                  <a:moveTo>
                    <a:pt x="62" y="4"/>
                  </a:moveTo>
                  <a:lnTo>
                    <a:pt x="58" y="20"/>
                  </a:lnTo>
                  <a:lnTo>
                    <a:pt x="55" y="30"/>
                  </a:lnTo>
                  <a:lnTo>
                    <a:pt x="57" y="44"/>
                  </a:lnTo>
                  <a:lnTo>
                    <a:pt x="34" y="43"/>
                  </a:lnTo>
                  <a:lnTo>
                    <a:pt x="13" y="42"/>
                  </a:lnTo>
                  <a:lnTo>
                    <a:pt x="0" y="35"/>
                  </a:lnTo>
                  <a:lnTo>
                    <a:pt x="10" y="30"/>
                  </a:lnTo>
                  <a:lnTo>
                    <a:pt x="28" y="31"/>
                  </a:lnTo>
                  <a:lnTo>
                    <a:pt x="45" y="32"/>
                  </a:lnTo>
                  <a:lnTo>
                    <a:pt x="38" y="13"/>
                  </a:lnTo>
                  <a:lnTo>
                    <a:pt x="30" y="5"/>
                  </a:lnTo>
                  <a:lnTo>
                    <a:pt x="27" y="0"/>
                  </a:lnTo>
                  <a:lnTo>
                    <a:pt x="49" y="2"/>
                  </a:lnTo>
                  <a:lnTo>
                    <a:pt x="62" y="4"/>
                  </a:lnTo>
                  <a:close/>
                </a:path>
              </a:pathLst>
            </a:custGeom>
            <a:gradFill rotWithShape="1">
              <a:gsLst>
                <a:gs pos="0">
                  <a:schemeClr val="hlink"/>
                </a:gs>
                <a:gs pos="100000">
                  <a:srgbClr val="004747"/>
                </a:gs>
              </a:gsLst>
              <a:lin ang="5400000" scaled="1"/>
            </a:gradFill>
            <a:ln w="6350" cap="rnd">
              <a:solidFill>
                <a:srgbClr val="CCCCCC"/>
              </a:solidFill>
              <a:round/>
              <a:headEnd/>
              <a:tailEnd/>
            </a:ln>
          </p:spPr>
          <p:txBody>
            <a:bodyPr lIns="91430" tIns="45716" rIns="91430" bIns="45716"/>
            <a:lstStyle/>
            <a:p>
              <a:endParaRPr lang="en-US"/>
            </a:p>
          </p:txBody>
        </p:sp>
        <p:sp>
          <p:nvSpPr>
            <p:cNvPr id="10331" name="Freeform 87"/>
            <p:cNvSpPr>
              <a:spLocks/>
            </p:cNvSpPr>
            <p:nvPr/>
          </p:nvSpPr>
          <p:spPr bwMode="auto">
            <a:xfrm>
              <a:off x="1682" y="1711"/>
              <a:ext cx="2" cy="1"/>
            </a:xfrm>
            <a:custGeom>
              <a:avLst/>
              <a:gdLst>
                <a:gd name="T0" fmla="*/ 0 w 5"/>
                <a:gd name="T1" fmla="*/ 1 h 2"/>
                <a:gd name="T2" fmla="*/ 0 w 5"/>
                <a:gd name="T3" fmla="*/ 1 h 2"/>
                <a:gd name="T4" fmla="*/ 0 w 5"/>
                <a:gd name="T5" fmla="*/ 0 h 2"/>
                <a:gd name="T6" fmla="*/ 0 w 5"/>
                <a:gd name="T7" fmla="*/ 1 h 2"/>
                <a:gd name="T8" fmla="*/ 0 w 5"/>
                <a:gd name="T9" fmla="*/ 1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3" y="2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5" y="1"/>
                  </a:lnTo>
                  <a:lnTo>
                    <a:pt x="3" y="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32" name="Freeform 88"/>
            <p:cNvSpPr>
              <a:spLocks/>
            </p:cNvSpPr>
            <p:nvPr/>
          </p:nvSpPr>
          <p:spPr bwMode="auto">
            <a:xfrm>
              <a:off x="1689" y="1711"/>
              <a:ext cx="2" cy="1"/>
            </a:xfrm>
            <a:custGeom>
              <a:avLst/>
              <a:gdLst>
                <a:gd name="T0" fmla="*/ 1 w 3"/>
                <a:gd name="T1" fmla="*/ 1 h 1"/>
                <a:gd name="T2" fmla="*/ 1 w 3"/>
                <a:gd name="T3" fmla="*/ 0 h 1"/>
                <a:gd name="T4" fmla="*/ 0 w 3"/>
                <a:gd name="T5" fmla="*/ 0 h 1"/>
                <a:gd name="T6" fmla="*/ 1 w 3"/>
                <a:gd name="T7" fmla="*/ 1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1"/>
                <a:gd name="T14" fmla="*/ 3 w 3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1">
                  <a:moveTo>
                    <a:pt x="3" y="1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33" name="Freeform 89"/>
            <p:cNvSpPr>
              <a:spLocks/>
            </p:cNvSpPr>
            <p:nvPr/>
          </p:nvSpPr>
          <p:spPr bwMode="auto">
            <a:xfrm>
              <a:off x="1457" y="1899"/>
              <a:ext cx="49" cy="52"/>
            </a:xfrm>
            <a:custGeom>
              <a:avLst/>
              <a:gdLst>
                <a:gd name="T0" fmla="*/ 1 w 71"/>
                <a:gd name="T1" fmla="*/ 1 h 76"/>
                <a:gd name="T2" fmla="*/ 0 w 71"/>
                <a:gd name="T3" fmla="*/ 1 h 76"/>
                <a:gd name="T4" fmla="*/ 1 w 71"/>
                <a:gd name="T5" fmla="*/ 1 h 76"/>
                <a:gd name="T6" fmla="*/ 1 w 71"/>
                <a:gd name="T7" fmla="*/ 1 h 76"/>
                <a:gd name="T8" fmla="*/ 1 w 71"/>
                <a:gd name="T9" fmla="*/ 0 h 76"/>
                <a:gd name="T10" fmla="*/ 1 w 71"/>
                <a:gd name="T11" fmla="*/ 1 h 76"/>
                <a:gd name="T12" fmla="*/ 1 w 71"/>
                <a:gd name="T13" fmla="*/ 1 h 76"/>
                <a:gd name="T14" fmla="*/ 1 w 71"/>
                <a:gd name="T15" fmla="*/ 1 h 76"/>
                <a:gd name="T16" fmla="*/ 1 w 71"/>
                <a:gd name="T17" fmla="*/ 1 h 76"/>
                <a:gd name="T18" fmla="*/ 1 w 71"/>
                <a:gd name="T19" fmla="*/ 1 h 76"/>
                <a:gd name="T20" fmla="*/ 1 w 71"/>
                <a:gd name="T21" fmla="*/ 1 h 76"/>
                <a:gd name="T22" fmla="*/ 1 w 71"/>
                <a:gd name="T23" fmla="*/ 1 h 76"/>
                <a:gd name="T24" fmla="*/ 1 w 71"/>
                <a:gd name="T25" fmla="*/ 1 h 76"/>
                <a:gd name="T26" fmla="*/ 1 w 71"/>
                <a:gd name="T27" fmla="*/ 1 h 76"/>
                <a:gd name="T28" fmla="*/ 1 w 71"/>
                <a:gd name="T29" fmla="*/ 1 h 76"/>
                <a:gd name="T30" fmla="*/ 1 w 71"/>
                <a:gd name="T31" fmla="*/ 1 h 76"/>
                <a:gd name="T32" fmla="*/ 1 w 71"/>
                <a:gd name="T33" fmla="*/ 1 h 76"/>
                <a:gd name="T34" fmla="*/ 1 w 71"/>
                <a:gd name="T35" fmla="*/ 1 h 76"/>
                <a:gd name="T36" fmla="*/ 1 w 71"/>
                <a:gd name="T37" fmla="*/ 1 h 76"/>
                <a:gd name="T38" fmla="*/ 1 w 71"/>
                <a:gd name="T39" fmla="*/ 1 h 7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71"/>
                <a:gd name="T61" fmla="*/ 0 h 76"/>
                <a:gd name="T62" fmla="*/ 71 w 71"/>
                <a:gd name="T63" fmla="*/ 76 h 7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71" h="76">
                  <a:moveTo>
                    <a:pt x="15" y="37"/>
                  </a:moveTo>
                  <a:lnTo>
                    <a:pt x="0" y="18"/>
                  </a:lnTo>
                  <a:lnTo>
                    <a:pt x="3" y="7"/>
                  </a:lnTo>
                  <a:lnTo>
                    <a:pt x="3" y="4"/>
                  </a:lnTo>
                  <a:lnTo>
                    <a:pt x="5" y="0"/>
                  </a:lnTo>
                  <a:lnTo>
                    <a:pt x="36" y="6"/>
                  </a:lnTo>
                  <a:lnTo>
                    <a:pt x="50" y="4"/>
                  </a:lnTo>
                  <a:lnTo>
                    <a:pt x="60" y="21"/>
                  </a:lnTo>
                  <a:lnTo>
                    <a:pt x="71" y="37"/>
                  </a:lnTo>
                  <a:lnTo>
                    <a:pt x="63" y="40"/>
                  </a:lnTo>
                  <a:lnTo>
                    <a:pt x="63" y="57"/>
                  </a:lnTo>
                  <a:lnTo>
                    <a:pt x="62" y="76"/>
                  </a:lnTo>
                  <a:lnTo>
                    <a:pt x="51" y="59"/>
                  </a:lnTo>
                  <a:lnTo>
                    <a:pt x="51" y="66"/>
                  </a:lnTo>
                  <a:lnTo>
                    <a:pt x="46" y="58"/>
                  </a:lnTo>
                  <a:lnTo>
                    <a:pt x="41" y="45"/>
                  </a:lnTo>
                  <a:lnTo>
                    <a:pt x="26" y="33"/>
                  </a:lnTo>
                  <a:lnTo>
                    <a:pt x="14" y="21"/>
                  </a:lnTo>
                  <a:lnTo>
                    <a:pt x="18" y="34"/>
                  </a:lnTo>
                  <a:lnTo>
                    <a:pt x="15" y="3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334" name="Freeform 90"/>
            <p:cNvSpPr>
              <a:spLocks/>
            </p:cNvSpPr>
            <p:nvPr/>
          </p:nvSpPr>
          <p:spPr bwMode="auto">
            <a:xfrm>
              <a:off x="1701" y="1871"/>
              <a:ext cx="3" cy="4"/>
            </a:xfrm>
            <a:custGeom>
              <a:avLst/>
              <a:gdLst>
                <a:gd name="T0" fmla="*/ 2 w 4"/>
                <a:gd name="T1" fmla="*/ 0 h 5"/>
                <a:gd name="T2" fmla="*/ 0 w 4"/>
                <a:gd name="T3" fmla="*/ 1 h 5"/>
                <a:gd name="T4" fmla="*/ 2 w 4"/>
                <a:gd name="T5" fmla="*/ 2 h 5"/>
                <a:gd name="T6" fmla="*/ 2 w 4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5"/>
                <a:gd name="T14" fmla="*/ 4 w 4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5">
                  <a:moveTo>
                    <a:pt x="2" y="0"/>
                  </a:moveTo>
                  <a:lnTo>
                    <a:pt x="0" y="1"/>
                  </a:lnTo>
                  <a:lnTo>
                    <a:pt x="4" y="5"/>
                  </a:lnTo>
                  <a:lnTo>
                    <a:pt x="2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35" name="Freeform 91"/>
            <p:cNvSpPr>
              <a:spLocks/>
            </p:cNvSpPr>
            <p:nvPr/>
          </p:nvSpPr>
          <p:spPr bwMode="auto">
            <a:xfrm>
              <a:off x="1396" y="1840"/>
              <a:ext cx="34" cy="22"/>
            </a:xfrm>
            <a:custGeom>
              <a:avLst/>
              <a:gdLst>
                <a:gd name="T0" fmla="*/ 1 w 48"/>
                <a:gd name="T1" fmla="*/ 1 h 33"/>
                <a:gd name="T2" fmla="*/ 1 w 48"/>
                <a:gd name="T3" fmla="*/ 1 h 33"/>
                <a:gd name="T4" fmla="*/ 1 w 48"/>
                <a:gd name="T5" fmla="*/ 1 h 33"/>
                <a:gd name="T6" fmla="*/ 1 w 48"/>
                <a:gd name="T7" fmla="*/ 1 h 33"/>
                <a:gd name="T8" fmla="*/ 0 w 48"/>
                <a:gd name="T9" fmla="*/ 1 h 33"/>
                <a:gd name="T10" fmla="*/ 1 w 48"/>
                <a:gd name="T11" fmla="*/ 0 h 33"/>
                <a:gd name="T12" fmla="*/ 1 w 48"/>
                <a:gd name="T13" fmla="*/ 1 h 33"/>
                <a:gd name="T14" fmla="*/ 1 w 48"/>
                <a:gd name="T15" fmla="*/ 1 h 33"/>
                <a:gd name="T16" fmla="*/ 1 w 48"/>
                <a:gd name="T17" fmla="*/ 1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8"/>
                <a:gd name="T28" fmla="*/ 0 h 33"/>
                <a:gd name="T29" fmla="*/ 48 w 48"/>
                <a:gd name="T30" fmla="*/ 33 h 3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8" h="33">
                  <a:moveTo>
                    <a:pt x="48" y="25"/>
                  </a:moveTo>
                  <a:lnTo>
                    <a:pt x="43" y="33"/>
                  </a:lnTo>
                  <a:lnTo>
                    <a:pt x="31" y="30"/>
                  </a:lnTo>
                  <a:lnTo>
                    <a:pt x="16" y="24"/>
                  </a:lnTo>
                  <a:lnTo>
                    <a:pt x="0" y="18"/>
                  </a:lnTo>
                  <a:lnTo>
                    <a:pt x="17" y="0"/>
                  </a:lnTo>
                  <a:lnTo>
                    <a:pt x="31" y="11"/>
                  </a:lnTo>
                  <a:lnTo>
                    <a:pt x="48" y="15"/>
                  </a:lnTo>
                  <a:lnTo>
                    <a:pt x="48" y="25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36" name="Freeform 92"/>
            <p:cNvSpPr>
              <a:spLocks/>
            </p:cNvSpPr>
            <p:nvPr/>
          </p:nvSpPr>
          <p:spPr bwMode="auto">
            <a:xfrm>
              <a:off x="1407" y="1815"/>
              <a:ext cx="97" cy="50"/>
            </a:xfrm>
            <a:custGeom>
              <a:avLst/>
              <a:gdLst>
                <a:gd name="T0" fmla="*/ 1 w 137"/>
                <a:gd name="T1" fmla="*/ 1 h 72"/>
                <a:gd name="T2" fmla="*/ 1 w 137"/>
                <a:gd name="T3" fmla="*/ 1 h 72"/>
                <a:gd name="T4" fmla="*/ 1 w 137"/>
                <a:gd name="T5" fmla="*/ 1 h 72"/>
                <a:gd name="T6" fmla="*/ 1 w 137"/>
                <a:gd name="T7" fmla="*/ 1 h 72"/>
                <a:gd name="T8" fmla="*/ 1 w 137"/>
                <a:gd name="T9" fmla="*/ 1 h 72"/>
                <a:gd name="T10" fmla="*/ 1 w 137"/>
                <a:gd name="T11" fmla="*/ 1 h 72"/>
                <a:gd name="T12" fmla="*/ 1 w 137"/>
                <a:gd name="T13" fmla="*/ 1 h 72"/>
                <a:gd name="T14" fmla="*/ 1 w 137"/>
                <a:gd name="T15" fmla="*/ 1 h 72"/>
                <a:gd name="T16" fmla="*/ 1 w 137"/>
                <a:gd name="T17" fmla="*/ 1 h 72"/>
                <a:gd name="T18" fmla="*/ 0 w 137"/>
                <a:gd name="T19" fmla="*/ 1 h 72"/>
                <a:gd name="T20" fmla="*/ 1 w 137"/>
                <a:gd name="T21" fmla="*/ 1 h 72"/>
                <a:gd name="T22" fmla="*/ 1 w 137"/>
                <a:gd name="T23" fmla="*/ 1 h 72"/>
                <a:gd name="T24" fmla="*/ 1 w 137"/>
                <a:gd name="T25" fmla="*/ 1 h 72"/>
                <a:gd name="T26" fmla="*/ 1 w 137"/>
                <a:gd name="T27" fmla="*/ 1 h 72"/>
                <a:gd name="T28" fmla="*/ 1 w 137"/>
                <a:gd name="T29" fmla="*/ 0 h 72"/>
                <a:gd name="T30" fmla="*/ 1 w 137"/>
                <a:gd name="T31" fmla="*/ 1 h 72"/>
                <a:gd name="T32" fmla="*/ 1 w 137"/>
                <a:gd name="T33" fmla="*/ 1 h 72"/>
                <a:gd name="T34" fmla="*/ 1 w 137"/>
                <a:gd name="T35" fmla="*/ 1 h 72"/>
                <a:gd name="T36" fmla="*/ 1 w 137"/>
                <a:gd name="T37" fmla="*/ 1 h 72"/>
                <a:gd name="T38" fmla="*/ 1 w 137"/>
                <a:gd name="T39" fmla="*/ 1 h 72"/>
                <a:gd name="T40" fmla="*/ 1 w 137"/>
                <a:gd name="T41" fmla="*/ 1 h 72"/>
                <a:gd name="T42" fmla="*/ 1 w 137"/>
                <a:gd name="T43" fmla="*/ 1 h 72"/>
                <a:gd name="T44" fmla="*/ 1 w 137"/>
                <a:gd name="T45" fmla="*/ 1 h 72"/>
                <a:gd name="T46" fmla="*/ 1 w 137"/>
                <a:gd name="T47" fmla="*/ 1 h 72"/>
                <a:gd name="T48" fmla="*/ 1 w 137"/>
                <a:gd name="T49" fmla="*/ 1 h 7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37"/>
                <a:gd name="T76" fmla="*/ 0 h 72"/>
                <a:gd name="T77" fmla="*/ 137 w 137"/>
                <a:gd name="T78" fmla="*/ 72 h 7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37" h="72">
                  <a:moveTo>
                    <a:pt x="74" y="49"/>
                  </a:moveTo>
                  <a:lnTo>
                    <a:pt x="66" y="53"/>
                  </a:lnTo>
                  <a:lnTo>
                    <a:pt x="55" y="58"/>
                  </a:lnTo>
                  <a:lnTo>
                    <a:pt x="48" y="72"/>
                  </a:lnTo>
                  <a:lnTo>
                    <a:pt x="42" y="72"/>
                  </a:lnTo>
                  <a:lnTo>
                    <a:pt x="40" y="64"/>
                  </a:lnTo>
                  <a:lnTo>
                    <a:pt x="31" y="61"/>
                  </a:lnTo>
                  <a:lnTo>
                    <a:pt x="31" y="51"/>
                  </a:lnTo>
                  <a:lnTo>
                    <a:pt x="14" y="47"/>
                  </a:lnTo>
                  <a:lnTo>
                    <a:pt x="0" y="36"/>
                  </a:lnTo>
                  <a:lnTo>
                    <a:pt x="13" y="17"/>
                  </a:lnTo>
                  <a:lnTo>
                    <a:pt x="29" y="5"/>
                  </a:lnTo>
                  <a:lnTo>
                    <a:pt x="31" y="5"/>
                  </a:lnTo>
                  <a:lnTo>
                    <a:pt x="53" y="3"/>
                  </a:lnTo>
                  <a:lnTo>
                    <a:pt x="73" y="0"/>
                  </a:lnTo>
                  <a:lnTo>
                    <a:pt x="91" y="1"/>
                  </a:lnTo>
                  <a:lnTo>
                    <a:pt x="108" y="1"/>
                  </a:lnTo>
                  <a:lnTo>
                    <a:pt x="122" y="11"/>
                  </a:lnTo>
                  <a:lnTo>
                    <a:pt x="119" y="10"/>
                  </a:lnTo>
                  <a:lnTo>
                    <a:pt x="121" y="15"/>
                  </a:lnTo>
                  <a:lnTo>
                    <a:pt x="128" y="15"/>
                  </a:lnTo>
                  <a:lnTo>
                    <a:pt x="137" y="23"/>
                  </a:lnTo>
                  <a:lnTo>
                    <a:pt x="119" y="25"/>
                  </a:lnTo>
                  <a:lnTo>
                    <a:pt x="101" y="29"/>
                  </a:lnTo>
                  <a:lnTo>
                    <a:pt x="74" y="49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37" name="Freeform 93"/>
            <p:cNvSpPr>
              <a:spLocks/>
            </p:cNvSpPr>
            <p:nvPr/>
          </p:nvSpPr>
          <p:spPr bwMode="auto">
            <a:xfrm>
              <a:off x="1431" y="1830"/>
              <a:ext cx="73" cy="72"/>
            </a:xfrm>
            <a:custGeom>
              <a:avLst/>
              <a:gdLst>
                <a:gd name="T0" fmla="*/ 1 w 103"/>
                <a:gd name="T1" fmla="*/ 1 h 103"/>
                <a:gd name="T2" fmla="*/ 1 w 103"/>
                <a:gd name="T3" fmla="*/ 1 h 103"/>
                <a:gd name="T4" fmla="*/ 1 w 103"/>
                <a:gd name="T5" fmla="*/ 1 h 103"/>
                <a:gd name="T6" fmla="*/ 1 w 103"/>
                <a:gd name="T7" fmla="*/ 1 h 103"/>
                <a:gd name="T8" fmla="*/ 1 w 103"/>
                <a:gd name="T9" fmla="*/ 1 h 103"/>
                <a:gd name="T10" fmla="*/ 0 w 103"/>
                <a:gd name="T11" fmla="*/ 1 h 103"/>
                <a:gd name="T12" fmla="*/ 1 w 103"/>
                <a:gd name="T13" fmla="*/ 1 h 103"/>
                <a:gd name="T14" fmla="*/ 1 w 103"/>
                <a:gd name="T15" fmla="*/ 1 h 103"/>
                <a:gd name="T16" fmla="*/ 1 w 103"/>
                <a:gd name="T17" fmla="*/ 1 h 103"/>
                <a:gd name="T18" fmla="*/ 1 w 103"/>
                <a:gd name="T19" fmla="*/ 1 h 103"/>
                <a:gd name="T20" fmla="*/ 1 w 103"/>
                <a:gd name="T21" fmla="*/ 1 h 103"/>
                <a:gd name="T22" fmla="*/ 1 w 103"/>
                <a:gd name="T23" fmla="*/ 1 h 103"/>
                <a:gd name="T24" fmla="*/ 1 w 103"/>
                <a:gd name="T25" fmla="*/ 1 h 103"/>
                <a:gd name="T26" fmla="*/ 1 w 103"/>
                <a:gd name="T27" fmla="*/ 1 h 103"/>
                <a:gd name="T28" fmla="*/ 1 w 103"/>
                <a:gd name="T29" fmla="*/ 1 h 103"/>
                <a:gd name="T30" fmla="*/ 1 w 103"/>
                <a:gd name="T31" fmla="*/ 1 h 103"/>
                <a:gd name="T32" fmla="*/ 1 w 103"/>
                <a:gd name="T33" fmla="*/ 1 h 103"/>
                <a:gd name="T34" fmla="*/ 1 w 103"/>
                <a:gd name="T35" fmla="*/ 0 h 103"/>
                <a:gd name="T36" fmla="*/ 1 w 103"/>
                <a:gd name="T37" fmla="*/ 1 h 103"/>
                <a:gd name="T38" fmla="*/ 1 w 103"/>
                <a:gd name="T39" fmla="*/ 1 h 103"/>
                <a:gd name="T40" fmla="*/ 1 w 103"/>
                <a:gd name="T41" fmla="*/ 1 h 10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03"/>
                <a:gd name="T64" fmla="*/ 0 h 103"/>
                <a:gd name="T65" fmla="*/ 103 w 103"/>
                <a:gd name="T66" fmla="*/ 103 h 10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03" h="103">
                  <a:moveTo>
                    <a:pt x="40" y="26"/>
                  </a:moveTo>
                  <a:lnTo>
                    <a:pt x="32" y="30"/>
                  </a:lnTo>
                  <a:lnTo>
                    <a:pt x="21" y="35"/>
                  </a:lnTo>
                  <a:lnTo>
                    <a:pt x="14" y="49"/>
                  </a:lnTo>
                  <a:lnTo>
                    <a:pt x="8" y="49"/>
                  </a:lnTo>
                  <a:lnTo>
                    <a:pt x="0" y="52"/>
                  </a:lnTo>
                  <a:lnTo>
                    <a:pt x="20" y="74"/>
                  </a:lnTo>
                  <a:lnTo>
                    <a:pt x="39" y="97"/>
                  </a:lnTo>
                  <a:lnTo>
                    <a:pt x="70" y="103"/>
                  </a:lnTo>
                  <a:lnTo>
                    <a:pt x="84" y="101"/>
                  </a:lnTo>
                  <a:lnTo>
                    <a:pt x="84" y="85"/>
                  </a:lnTo>
                  <a:lnTo>
                    <a:pt x="85" y="72"/>
                  </a:lnTo>
                  <a:lnTo>
                    <a:pt x="88" y="58"/>
                  </a:lnTo>
                  <a:lnTo>
                    <a:pt x="90" y="62"/>
                  </a:lnTo>
                  <a:lnTo>
                    <a:pt x="93" y="43"/>
                  </a:lnTo>
                  <a:lnTo>
                    <a:pt x="97" y="23"/>
                  </a:lnTo>
                  <a:lnTo>
                    <a:pt x="97" y="5"/>
                  </a:lnTo>
                  <a:lnTo>
                    <a:pt x="103" y="0"/>
                  </a:lnTo>
                  <a:lnTo>
                    <a:pt x="85" y="2"/>
                  </a:lnTo>
                  <a:lnTo>
                    <a:pt x="67" y="6"/>
                  </a:lnTo>
                  <a:lnTo>
                    <a:pt x="40" y="26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38" name="Freeform 94"/>
            <p:cNvSpPr>
              <a:spLocks/>
            </p:cNvSpPr>
            <p:nvPr/>
          </p:nvSpPr>
          <p:spPr bwMode="auto">
            <a:xfrm>
              <a:off x="1413" y="1770"/>
              <a:ext cx="21" cy="45"/>
            </a:xfrm>
            <a:custGeom>
              <a:avLst/>
              <a:gdLst>
                <a:gd name="T0" fmla="*/ 1 w 30"/>
                <a:gd name="T1" fmla="*/ 1 h 63"/>
                <a:gd name="T2" fmla="*/ 1 w 30"/>
                <a:gd name="T3" fmla="*/ 1 h 63"/>
                <a:gd name="T4" fmla="*/ 0 w 30"/>
                <a:gd name="T5" fmla="*/ 1 h 63"/>
                <a:gd name="T6" fmla="*/ 1 w 30"/>
                <a:gd name="T7" fmla="*/ 1 h 63"/>
                <a:gd name="T8" fmla="*/ 1 w 30"/>
                <a:gd name="T9" fmla="*/ 1 h 63"/>
                <a:gd name="T10" fmla="*/ 1 w 30"/>
                <a:gd name="T11" fmla="*/ 0 h 63"/>
                <a:gd name="T12" fmla="*/ 1 w 30"/>
                <a:gd name="T13" fmla="*/ 1 h 63"/>
                <a:gd name="T14" fmla="*/ 1 w 30"/>
                <a:gd name="T15" fmla="*/ 1 h 63"/>
                <a:gd name="T16" fmla="*/ 1 w 30"/>
                <a:gd name="T17" fmla="*/ 1 h 6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"/>
                <a:gd name="T28" fmla="*/ 0 h 63"/>
                <a:gd name="T29" fmla="*/ 30 w 30"/>
                <a:gd name="T30" fmla="*/ 63 h 6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" h="63">
                  <a:moveTo>
                    <a:pt x="18" y="51"/>
                  </a:moveTo>
                  <a:lnTo>
                    <a:pt x="7" y="63"/>
                  </a:lnTo>
                  <a:lnTo>
                    <a:pt x="0" y="63"/>
                  </a:lnTo>
                  <a:lnTo>
                    <a:pt x="4" y="39"/>
                  </a:lnTo>
                  <a:lnTo>
                    <a:pt x="9" y="15"/>
                  </a:lnTo>
                  <a:lnTo>
                    <a:pt x="28" y="0"/>
                  </a:lnTo>
                  <a:lnTo>
                    <a:pt x="30" y="3"/>
                  </a:lnTo>
                  <a:lnTo>
                    <a:pt x="24" y="27"/>
                  </a:lnTo>
                  <a:lnTo>
                    <a:pt x="18" y="5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39" name="Freeform 95"/>
            <p:cNvSpPr>
              <a:spLocks/>
            </p:cNvSpPr>
            <p:nvPr/>
          </p:nvSpPr>
          <p:spPr bwMode="auto">
            <a:xfrm>
              <a:off x="1364" y="1781"/>
              <a:ext cx="64" cy="72"/>
            </a:xfrm>
            <a:custGeom>
              <a:avLst/>
              <a:gdLst>
                <a:gd name="T0" fmla="*/ 1 w 91"/>
                <a:gd name="T1" fmla="*/ 1 h 102"/>
                <a:gd name="T2" fmla="*/ 0 w 91"/>
                <a:gd name="T3" fmla="*/ 1 h 102"/>
                <a:gd name="T4" fmla="*/ 1 w 91"/>
                <a:gd name="T5" fmla="*/ 1 h 102"/>
                <a:gd name="T6" fmla="*/ 1 w 91"/>
                <a:gd name="T7" fmla="*/ 1 h 102"/>
                <a:gd name="T8" fmla="*/ 1 w 91"/>
                <a:gd name="T9" fmla="*/ 1 h 102"/>
                <a:gd name="T10" fmla="*/ 1 w 91"/>
                <a:gd name="T11" fmla="*/ 1 h 102"/>
                <a:gd name="T12" fmla="*/ 1 w 91"/>
                <a:gd name="T13" fmla="*/ 1 h 102"/>
                <a:gd name="T14" fmla="*/ 1 w 91"/>
                <a:gd name="T15" fmla="*/ 0 h 102"/>
                <a:gd name="T16" fmla="*/ 1 w 91"/>
                <a:gd name="T17" fmla="*/ 0 h 102"/>
                <a:gd name="T18" fmla="*/ 1 w 91"/>
                <a:gd name="T19" fmla="*/ 0 h 102"/>
                <a:gd name="T20" fmla="*/ 1 w 91"/>
                <a:gd name="T21" fmla="*/ 1 h 102"/>
                <a:gd name="T22" fmla="*/ 1 w 91"/>
                <a:gd name="T23" fmla="*/ 1 h 102"/>
                <a:gd name="T24" fmla="*/ 1 w 91"/>
                <a:gd name="T25" fmla="*/ 1 h 102"/>
                <a:gd name="T26" fmla="*/ 1 w 91"/>
                <a:gd name="T27" fmla="*/ 1 h 102"/>
                <a:gd name="T28" fmla="*/ 1 w 91"/>
                <a:gd name="T29" fmla="*/ 1 h 102"/>
                <a:gd name="T30" fmla="*/ 1 w 91"/>
                <a:gd name="T31" fmla="*/ 1 h 102"/>
                <a:gd name="T32" fmla="*/ 1 w 91"/>
                <a:gd name="T33" fmla="*/ 1 h 102"/>
                <a:gd name="T34" fmla="*/ 1 w 91"/>
                <a:gd name="T35" fmla="*/ 1 h 102"/>
                <a:gd name="T36" fmla="*/ 1 w 91"/>
                <a:gd name="T37" fmla="*/ 1 h 102"/>
                <a:gd name="T38" fmla="*/ 1 w 91"/>
                <a:gd name="T39" fmla="*/ 1 h 10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91"/>
                <a:gd name="T61" fmla="*/ 0 h 102"/>
                <a:gd name="T62" fmla="*/ 91 w 91"/>
                <a:gd name="T63" fmla="*/ 102 h 102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91" h="102">
                  <a:moveTo>
                    <a:pt x="8" y="90"/>
                  </a:moveTo>
                  <a:lnTo>
                    <a:pt x="0" y="82"/>
                  </a:lnTo>
                  <a:lnTo>
                    <a:pt x="2" y="64"/>
                  </a:lnTo>
                  <a:lnTo>
                    <a:pt x="15" y="45"/>
                  </a:lnTo>
                  <a:lnTo>
                    <a:pt x="44" y="40"/>
                  </a:lnTo>
                  <a:lnTo>
                    <a:pt x="28" y="17"/>
                  </a:lnTo>
                  <a:lnTo>
                    <a:pt x="36" y="15"/>
                  </a:lnTo>
                  <a:lnTo>
                    <a:pt x="37" y="0"/>
                  </a:lnTo>
                  <a:lnTo>
                    <a:pt x="57" y="0"/>
                  </a:lnTo>
                  <a:lnTo>
                    <a:pt x="78" y="0"/>
                  </a:lnTo>
                  <a:lnTo>
                    <a:pt x="73" y="24"/>
                  </a:lnTo>
                  <a:lnTo>
                    <a:pt x="69" y="48"/>
                  </a:lnTo>
                  <a:lnTo>
                    <a:pt x="76" y="48"/>
                  </a:lnTo>
                  <a:lnTo>
                    <a:pt x="84" y="49"/>
                  </a:lnTo>
                  <a:lnTo>
                    <a:pt x="91" y="53"/>
                  </a:lnTo>
                  <a:lnTo>
                    <a:pt x="75" y="65"/>
                  </a:lnTo>
                  <a:lnTo>
                    <a:pt x="62" y="84"/>
                  </a:lnTo>
                  <a:lnTo>
                    <a:pt x="45" y="102"/>
                  </a:lnTo>
                  <a:lnTo>
                    <a:pt x="27" y="96"/>
                  </a:lnTo>
                  <a:lnTo>
                    <a:pt x="8" y="9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40" name="Freeform 96"/>
            <p:cNvSpPr>
              <a:spLocks/>
            </p:cNvSpPr>
            <p:nvPr/>
          </p:nvSpPr>
          <p:spPr bwMode="auto">
            <a:xfrm>
              <a:off x="1583" y="1770"/>
              <a:ext cx="32" cy="11"/>
            </a:xfrm>
            <a:custGeom>
              <a:avLst/>
              <a:gdLst>
                <a:gd name="T0" fmla="*/ 1 w 47"/>
                <a:gd name="T1" fmla="*/ 0 h 16"/>
                <a:gd name="T2" fmla="*/ 0 w 47"/>
                <a:gd name="T3" fmla="*/ 1 h 16"/>
                <a:gd name="T4" fmla="*/ 1 w 47"/>
                <a:gd name="T5" fmla="*/ 1 h 16"/>
                <a:gd name="T6" fmla="*/ 1 w 47"/>
                <a:gd name="T7" fmla="*/ 1 h 16"/>
                <a:gd name="T8" fmla="*/ 1 w 47"/>
                <a:gd name="T9" fmla="*/ 0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7"/>
                <a:gd name="T16" fmla="*/ 0 h 16"/>
                <a:gd name="T17" fmla="*/ 47 w 47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7" h="16">
                  <a:moveTo>
                    <a:pt x="18" y="0"/>
                  </a:moveTo>
                  <a:lnTo>
                    <a:pt x="0" y="6"/>
                  </a:lnTo>
                  <a:lnTo>
                    <a:pt x="26" y="16"/>
                  </a:lnTo>
                  <a:lnTo>
                    <a:pt x="47" y="13"/>
                  </a:lnTo>
                  <a:lnTo>
                    <a:pt x="18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41" name="Freeform 97"/>
            <p:cNvSpPr>
              <a:spLocks/>
            </p:cNvSpPr>
            <p:nvPr/>
          </p:nvSpPr>
          <p:spPr bwMode="auto">
            <a:xfrm>
              <a:off x="1753" y="1768"/>
              <a:ext cx="24" cy="10"/>
            </a:xfrm>
            <a:custGeom>
              <a:avLst/>
              <a:gdLst>
                <a:gd name="T0" fmla="*/ 1 w 33"/>
                <a:gd name="T1" fmla="*/ 1 h 14"/>
                <a:gd name="T2" fmla="*/ 1 w 33"/>
                <a:gd name="T3" fmla="*/ 1 h 14"/>
                <a:gd name="T4" fmla="*/ 1 w 33"/>
                <a:gd name="T5" fmla="*/ 1 h 14"/>
                <a:gd name="T6" fmla="*/ 0 w 33"/>
                <a:gd name="T7" fmla="*/ 1 h 14"/>
                <a:gd name="T8" fmla="*/ 1 w 33"/>
                <a:gd name="T9" fmla="*/ 0 h 14"/>
                <a:gd name="T10" fmla="*/ 1 w 33"/>
                <a:gd name="T11" fmla="*/ 1 h 1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3"/>
                <a:gd name="T19" fmla="*/ 0 h 14"/>
                <a:gd name="T20" fmla="*/ 33 w 33"/>
                <a:gd name="T21" fmla="*/ 14 h 1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3" h="14">
                  <a:moveTo>
                    <a:pt x="33" y="8"/>
                  </a:moveTo>
                  <a:lnTo>
                    <a:pt x="31" y="9"/>
                  </a:lnTo>
                  <a:lnTo>
                    <a:pt x="8" y="14"/>
                  </a:lnTo>
                  <a:lnTo>
                    <a:pt x="0" y="11"/>
                  </a:lnTo>
                  <a:lnTo>
                    <a:pt x="2" y="0"/>
                  </a:lnTo>
                  <a:lnTo>
                    <a:pt x="33" y="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42" name="Freeform 98"/>
            <p:cNvSpPr>
              <a:spLocks/>
            </p:cNvSpPr>
            <p:nvPr/>
          </p:nvSpPr>
          <p:spPr bwMode="auto">
            <a:xfrm>
              <a:off x="1787" y="1781"/>
              <a:ext cx="6" cy="1"/>
            </a:xfrm>
            <a:custGeom>
              <a:avLst/>
              <a:gdLst>
                <a:gd name="T0" fmla="*/ 3 w 7"/>
                <a:gd name="T1" fmla="*/ 0 h 3"/>
                <a:gd name="T2" fmla="*/ 2 w 7"/>
                <a:gd name="T3" fmla="*/ 0 h 3"/>
                <a:gd name="T4" fmla="*/ 0 w 7"/>
                <a:gd name="T5" fmla="*/ 0 h 3"/>
                <a:gd name="T6" fmla="*/ 3 w 7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3"/>
                <a:gd name="T14" fmla="*/ 7 w 7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3">
                  <a:moveTo>
                    <a:pt x="7" y="2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7" y="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43" name="Freeform 99"/>
            <p:cNvSpPr>
              <a:spLocks/>
            </p:cNvSpPr>
            <p:nvPr/>
          </p:nvSpPr>
          <p:spPr bwMode="auto">
            <a:xfrm>
              <a:off x="1056" y="1522"/>
              <a:ext cx="406" cy="315"/>
            </a:xfrm>
            <a:custGeom>
              <a:avLst/>
              <a:gdLst>
                <a:gd name="T0" fmla="*/ 1 w 580"/>
                <a:gd name="T1" fmla="*/ 2 h 449"/>
                <a:gd name="T2" fmla="*/ 1 w 580"/>
                <a:gd name="T3" fmla="*/ 1 h 449"/>
                <a:gd name="T4" fmla="*/ 1 w 580"/>
                <a:gd name="T5" fmla="*/ 1 h 449"/>
                <a:gd name="T6" fmla="*/ 1 w 580"/>
                <a:gd name="T7" fmla="*/ 1 h 449"/>
                <a:gd name="T8" fmla="*/ 1 w 580"/>
                <a:gd name="T9" fmla="*/ 1 h 449"/>
                <a:gd name="T10" fmla="*/ 1 w 580"/>
                <a:gd name="T11" fmla="*/ 0 h 449"/>
                <a:gd name="T12" fmla="*/ 1 w 580"/>
                <a:gd name="T13" fmla="*/ 1 h 449"/>
                <a:gd name="T14" fmla="*/ 2 w 580"/>
                <a:gd name="T15" fmla="*/ 1 h 449"/>
                <a:gd name="T16" fmla="*/ 2 w 580"/>
                <a:gd name="T17" fmla="*/ 1 h 449"/>
                <a:gd name="T18" fmla="*/ 3 w 580"/>
                <a:gd name="T19" fmla="*/ 1 h 449"/>
                <a:gd name="T20" fmla="*/ 3 w 580"/>
                <a:gd name="T21" fmla="*/ 1 h 449"/>
                <a:gd name="T22" fmla="*/ 4 w 580"/>
                <a:gd name="T23" fmla="*/ 1 h 449"/>
                <a:gd name="T24" fmla="*/ 4 w 580"/>
                <a:gd name="T25" fmla="*/ 2 h 449"/>
                <a:gd name="T26" fmla="*/ 4 w 580"/>
                <a:gd name="T27" fmla="*/ 3 h 449"/>
                <a:gd name="T28" fmla="*/ 4 w 580"/>
                <a:gd name="T29" fmla="*/ 4 h 449"/>
                <a:gd name="T30" fmla="*/ 4 w 580"/>
                <a:gd name="T31" fmla="*/ 4 h 449"/>
                <a:gd name="T32" fmla="*/ 4 w 580"/>
                <a:gd name="T33" fmla="*/ 4 h 449"/>
                <a:gd name="T34" fmla="*/ 5 w 580"/>
                <a:gd name="T35" fmla="*/ 3 h 449"/>
                <a:gd name="T36" fmla="*/ 6 w 580"/>
                <a:gd name="T37" fmla="*/ 3 h 449"/>
                <a:gd name="T38" fmla="*/ 6 w 580"/>
                <a:gd name="T39" fmla="*/ 3 h 449"/>
                <a:gd name="T40" fmla="*/ 6 w 580"/>
                <a:gd name="T41" fmla="*/ 3 h 449"/>
                <a:gd name="T42" fmla="*/ 6 w 580"/>
                <a:gd name="T43" fmla="*/ 4 h 449"/>
                <a:gd name="T44" fmla="*/ 5 w 580"/>
                <a:gd name="T45" fmla="*/ 4 h 449"/>
                <a:gd name="T46" fmla="*/ 4 w 580"/>
                <a:gd name="T47" fmla="*/ 4 h 449"/>
                <a:gd name="T48" fmla="*/ 4 w 580"/>
                <a:gd name="T49" fmla="*/ 4 h 449"/>
                <a:gd name="T50" fmla="*/ 4 w 580"/>
                <a:gd name="T51" fmla="*/ 4 h 449"/>
                <a:gd name="T52" fmla="*/ 4 w 580"/>
                <a:gd name="T53" fmla="*/ 4 h 449"/>
                <a:gd name="T54" fmla="*/ 4 w 580"/>
                <a:gd name="T55" fmla="*/ 4 h 449"/>
                <a:gd name="T56" fmla="*/ 3 w 580"/>
                <a:gd name="T57" fmla="*/ 4 h 449"/>
                <a:gd name="T58" fmla="*/ 2 w 580"/>
                <a:gd name="T59" fmla="*/ 4 h 449"/>
                <a:gd name="T60" fmla="*/ 2 w 580"/>
                <a:gd name="T61" fmla="*/ 3 h 449"/>
                <a:gd name="T62" fmla="*/ 2 w 580"/>
                <a:gd name="T63" fmla="*/ 3 h 449"/>
                <a:gd name="T64" fmla="*/ 2 w 580"/>
                <a:gd name="T65" fmla="*/ 3 h 449"/>
                <a:gd name="T66" fmla="*/ 1 w 580"/>
                <a:gd name="T67" fmla="*/ 2 h 449"/>
                <a:gd name="T68" fmla="*/ 1 w 580"/>
                <a:gd name="T69" fmla="*/ 2 h 449"/>
                <a:gd name="T70" fmla="*/ 1 w 580"/>
                <a:gd name="T71" fmla="*/ 2 h 449"/>
                <a:gd name="T72" fmla="*/ 1 w 580"/>
                <a:gd name="T73" fmla="*/ 1 h 449"/>
                <a:gd name="T74" fmla="*/ 1 w 580"/>
                <a:gd name="T75" fmla="*/ 1 h 449"/>
                <a:gd name="T76" fmla="*/ 1 w 580"/>
                <a:gd name="T77" fmla="*/ 1 h 449"/>
                <a:gd name="T78" fmla="*/ 1 w 580"/>
                <a:gd name="T79" fmla="*/ 1 h 449"/>
                <a:gd name="T80" fmla="*/ 1 w 580"/>
                <a:gd name="T81" fmla="*/ 1 h 449"/>
                <a:gd name="T82" fmla="*/ 1 w 580"/>
                <a:gd name="T83" fmla="*/ 2 h 449"/>
                <a:gd name="T84" fmla="*/ 1 w 580"/>
                <a:gd name="T85" fmla="*/ 2 h 44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80"/>
                <a:gd name="T130" fmla="*/ 0 h 449"/>
                <a:gd name="T131" fmla="*/ 580 w 580"/>
                <a:gd name="T132" fmla="*/ 449 h 44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80" h="449">
                  <a:moveTo>
                    <a:pt x="101" y="233"/>
                  </a:moveTo>
                  <a:lnTo>
                    <a:pt x="85" y="240"/>
                  </a:lnTo>
                  <a:lnTo>
                    <a:pt x="73" y="216"/>
                  </a:lnTo>
                  <a:lnTo>
                    <a:pt x="53" y="194"/>
                  </a:lnTo>
                  <a:lnTo>
                    <a:pt x="55" y="175"/>
                  </a:lnTo>
                  <a:lnTo>
                    <a:pt x="48" y="156"/>
                  </a:lnTo>
                  <a:lnTo>
                    <a:pt x="41" y="143"/>
                  </a:lnTo>
                  <a:lnTo>
                    <a:pt x="29" y="143"/>
                  </a:lnTo>
                  <a:lnTo>
                    <a:pt x="18" y="131"/>
                  </a:lnTo>
                  <a:lnTo>
                    <a:pt x="9" y="119"/>
                  </a:lnTo>
                  <a:lnTo>
                    <a:pt x="25" y="122"/>
                  </a:lnTo>
                  <a:lnTo>
                    <a:pt x="29" y="97"/>
                  </a:lnTo>
                  <a:lnTo>
                    <a:pt x="18" y="80"/>
                  </a:lnTo>
                  <a:lnTo>
                    <a:pt x="6" y="64"/>
                  </a:lnTo>
                  <a:lnTo>
                    <a:pt x="4" y="34"/>
                  </a:lnTo>
                  <a:lnTo>
                    <a:pt x="0" y="2"/>
                  </a:lnTo>
                  <a:lnTo>
                    <a:pt x="25" y="1"/>
                  </a:lnTo>
                  <a:lnTo>
                    <a:pt x="51" y="0"/>
                  </a:lnTo>
                  <a:lnTo>
                    <a:pt x="67" y="8"/>
                  </a:lnTo>
                  <a:lnTo>
                    <a:pt x="84" y="16"/>
                  </a:lnTo>
                  <a:lnTo>
                    <a:pt x="100" y="24"/>
                  </a:lnTo>
                  <a:lnTo>
                    <a:pt x="117" y="32"/>
                  </a:lnTo>
                  <a:lnTo>
                    <a:pt x="147" y="32"/>
                  </a:lnTo>
                  <a:lnTo>
                    <a:pt x="177" y="32"/>
                  </a:lnTo>
                  <a:lnTo>
                    <a:pt x="180" y="22"/>
                  </a:lnTo>
                  <a:lnTo>
                    <a:pt x="215" y="22"/>
                  </a:lnTo>
                  <a:lnTo>
                    <a:pt x="233" y="46"/>
                  </a:lnTo>
                  <a:lnTo>
                    <a:pt x="240" y="70"/>
                  </a:lnTo>
                  <a:lnTo>
                    <a:pt x="253" y="80"/>
                  </a:lnTo>
                  <a:lnTo>
                    <a:pt x="265" y="91"/>
                  </a:lnTo>
                  <a:lnTo>
                    <a:pt x="281" y="72"/>
                  </a:lnTo>
                  <a:lnTo>
                    <a:pt x="310" y="74"/>
                  </a:lnTo>
                  <a:lnTo>
                    <a:pt x="319" y="97"/>
                  </a:lnTo>
                  <a:lnTo>
                    <a:pt x="329" y="120"/>
                  </a:lnTo>
                  <a:lnTo>
                    <a:pt x="336" y="149"/>
                  </a:lnTo>
                  <a:lnTo>
                    <a:pt x="351" y="161"/>
                  </a:lnTo>
                  <a:lnTo>
                    <a:pt x="376" y="166"/>
                  </a:lnTo>
                  <a:lnTo>
                    <a:pt x="363" y="199"/>
                  </a:lnTo>
                  <a:lnTo>
                    <a:pt x="351" y="232"/>
                  </a:lnTo>
                  <a:lnTo>
                    <a:pt x="347" y="265"/>
                  </a:lnTo>
                  <a:lnTo>
                    <a:pt x="354" y="288"/>
                  </a:lnTo>
                  <a:lnTo>
                    <a:pt x="362" y="312"/>
                  </a:lnTo>
                  <a:lnTo>
                    <a:pt x="369" y="328"/>
                  </a:lnTo>
                  <a:lnTo>
                    <a:pt x="375" y="343"/>
                  </a:lnTo>
                  <a:lnTo>
                    <a:pt x="377" y="344"/>
                  </a:lnTo>
                  <a:lnTo>
                    <a:pt x="400" y="356"/>
                  </a:lnTo>
                  <a:lnTo>
                    <a:pt x="419" y="354"/>
                  </a:lnTo>
                  <a:lnTo>
                    <a:pt x="443" y="349"/>
                  </a:lnTo>
                  <a:lnTo>
                    <a:pt x="458" y="349"/>
                  </a:lnTo>
                  <a:lnTo>
                    <a:pt x="467" y="352"/>
                  </a:lnTo>
                  <a:lnTo>
                    <a:pt x="474" y="346"/>
                  </a:lnTo>
                  <a:lnTo>
                    <a:pt x="472" y="341"/>
                  </a:lnTo>
                  <a:lnTo>
                    <a:pt x="489" y="323"/>
                  </a:lnTo>
                  <a:lnTo>
                    <a:pt x="500" y="293"/>
                  </a:lnTo>
                  <a:lnTo>
                    <a:pt x="522" y="281"/>
                  </a:lnTo>
                  <a:lnTo>
                    <a:pt x="543" y="278"/>
                  </a:lnTo>
                  <a:lnTo>
                    <a:pt x="564" y="276"/>
                  </a:lnTo>
                  <a:lnTo>
                    <a:pt x="569" y="276"/>
                  </a:lnTo>
                  <a:lnTo>
                    <a:pt x="578" y="281"/>
                  </a:lnTo>
                  <a:lnTo>
                    <a:pt x="580" y="286"/>
                  </a:lnTo>
                  <a:lnTo>
                    <a:pt x="560" y="316"/>
                  </a:lnTo>
                  <a:lnTo>
                    <a:pt x="556" y="325"/>
                  </a:lnTo>
                  <a:lnTo>
                    <a:pt x="556" y="328"/>
                  </a:lnTo>
                  <a:lnTo>
                    <a:pt x="556" y="330"/>
                  </a:lnTo>
                  <a:lnTo>
                    <a:pt x="545" y="354"/>
                  </a:lnTo>
                  <a:lnTo>
                    <a:pt x="542" y="346"/>
                  </a:lnTo>
                  <a:lnTo>
                    <a:pt x="537" y="352"/>
                  </a:lnTo>
                  <a:lnTo>
                    <a:pt x="518" y="367"/>
                  </a:lnTo>
                  <a:lnTo>
                    <a:pt x="497" y="367"/>
                  </a:lnTo>
                  <a:lnTo>
                    <a:pt x="477" y="367"/>
                  </a:lnTo>
                  <a:lnTo>
                    <a:pt x="476" y="382"/>
                  </a:lnTo>
                  <a:lnTo>
                    <a:pt x="468" y="384"/>
                  </a:lnTo>
                  <a:lnTo>
                    <a:pt x="484" y="407"/>
                  </a:lnTo>
                  <a:lnTo>
                    <a:pt x="455" y="412"/>
                  </a:lnTo>
                  <a:lnTo>
                    <a:pt x="442" y="431"/>
                  </a:lnTo>
                  <a:lnTo>
                    <a:pt x="440" y="449"/>
                  </a:lnTo>
                  <a:lnTo>
                    <a:pt x="419" y="427"/>
                  </a:lnTo>
                  <a:lnTo>
                    <a:pt x="398" y="406"/>
                  </a:lnTo>
                  <a:lnTo>
                    <a:pt x="407" y="413"/>
                  </a:lnTo>
                  <a:lnTo>
                    <a:pt x="394" y="406"/>
                  </a:lnTo>
                  <a:lnTo>
                    <a:pt x="384" y="407"/>
                  </a:lnTo>
                  <a:lnTo>
                    <a:pt x="388" y="408"/>
                  </a:lnTo>
                  <a:lnTo>
                    <a:pt x="368" y="414"/>
                  </a:lnTo>
                  <a:lnTo>
                    <a:pt x="346" y="420"/>
                  </a:lnTo>
                  <a:lnTo>
                    <a:pt x="322" y="409"/>
                  </a:lnTo>
                  <a:lnTo>
                    <a:pt x="298" y="397"/>
                  </a:lnTo>
                  <a:lnTo>
                    <a:pt x="274" y="386"/>
                  </a:lnTo>
                  <a:lnTo>
                    <a:pt x="250" y="374"/>
                  </a:lnTo>
                  <a:lnTo>
                    <a:pt x="235" y="365"/>
                  </a:lnTo>
                  <a:lnTo>
                    <a:pt x="220" y="358"/>
                  </a:lnTo>
                  <a:lnTo>
                    <a:pt x="204" y="349"/>
                  </a:lnTo>
                  <a:lnTo>
                    <a:pt x="190" y="334"/>
                  </a:lnTo>
                  <a:lnTo>
                    <a:pt x="174" y="319"/>
                  </a:lnTo>
                  <a:lnTo>
                    <a:pt x="172" y="301"/>
                  </a:lnTo>
                  <a:lnTo>
                    <a:pt x="179" y="298"/>
                  </a:lnTo>
                  <a:lnTo>
                    <a:pt x="177" y="292"/>
                  </a:lnTo>
                  <a:lnTo>
                    <a:pt x="183" y="276"/>
                  </a:lnTo>
                  <a:lnTo>
                    <a:pt x="174" y="257"/>
                  </a:lnTo>
                  <a:lnTo>
                    <a:pt x="167" y="238"/>
                  </a:lnTo>
                  <a:lnTo>
                    <a:pt x="155" y="220"/>
                  </a:lnTo>
                  <a:lnTo>
                    <a:pt x="142" y="203"/>
                  </a:lnTo>
                  <a:lnTo>
                    <a:pt x="148" y="205"/>
                  </a:lnTo>
                  <a:lnTo>
                    <a:pt x="138" y="192"/>
                  </a:lnTo>
                  <a:lnTo>
                    <a:pt x="135" y="188"/>
                  </a:lnTo>
                  <a:lnTo>
                    <a:pt x="137" y="187"/>
                  </a:lnTo>
                  <a:lnTo>
                    <a:pt x="120" y="178"/>
                  </a:lnTo>
                  <a:lnTo>
                    <a:pt x="124" y="172"/>
                  </a:lnTo>
                  <a:lnTo>
                    <a:pt x="115" y="172"/>
                  </a:lnTo>
                  <a:lnTo>
                    <a:pt x="123" y="157"/>
                  </a:lnTo>
                  <a:lnTo>
                    <a:pt x="114" y="148"/>
                  </a:lnTo>
                  <a:lnTo>
                    <a:pt x="100" y="124"/>
                  </a:lnTo>
                  <a:lnTo>
                    <a:pt x="100" y="118"/>
                  </a:lnTo>
                  <a:lnTo>
                    <a:pt x="87" y="107"/>
                  </a:lnTo>
                  <a:lnTo>
                    <a:pt x="78" y="85"/>
                  </a:lnTo>
                  <a:lnTo>
                    <a:pt x="70" y="64"/>
                  </a:lnTo>
                  <a:lnTo>
                    <a:pt x="70" y="35"/>
                  </a:lnTo>
                  <a:lnTo>
                    <a:pt x="57" y="28"/>
                  </a:lnTo>
                  <a:lnTo>
                    <a:pt x="40" y="18"/>
                  </a:lnTo>
                  <a:lnTo>
                    <a:pt x="37" y="44"/>
                  </a:lnTo>
                  <a:lnTo>
                    <a:pt x="35" y="71"/>
                  </a:lnTo>
                  <a:lnTo>
                    <a:pt x="46" y="91"/>
                  </a:lnTo>
                  <a:lnTo>
                    <a:pt x="57" y="112"/>
                  </a:lnTo>
                  <a:lnTo>
                    <a:pt x="63" y="130"/>
                  </a:lnTo>
                  <a:lnTo>
                    <a:pt x="69" y="148"/>
                  </a:lnTo>
                  <a:lnTo>
                    <a:pt x="71" y="144"/>
                  </a:lnTo>
                  <a:lnTo>
                    <a:pt x="75" y="174"/>
                  </a:lnTo>
                  <a:lnTo>
                    <a:pt x="79" y="203"/>
                  </a:lnTo>
                  <a:lnTo>
                    <a:pt x="87" y="208"/>
                  </a:lnTo>
                  <a:lnTo>
                    <a:pt x="97" y="221"/>
                  </a:lnTo>
                  <a:lnTo>
                    <a:pt x="101" y="23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44" name="Freeform 100"/>
            <p:cNvSpPr>
              <a:spLocks/>
            </p:cNvSpPr>
            <p:nvPr/>
          </p:nvSpPr>
          <p:spPr bwMode="auto">
            <a:xfrm>
              <a:off x="1611" y="1622"/>
              <a:ext cx="11" cy="17"/>
            </a:xfrm>
            <a:custGeom>
              <a:avLst/>
              <a:gdLst>
                <a:gd name="T0" fmla="*/ 1 w 16"/>
                <a:gd name="T1" fmla="*/ 1 h 24"/>
                <a:gd name="T2" fmla="*/ 1 w 16"/>
                <a:gd name="T3" fmla="*/ 1 h 24"/>
                <a:gd name="T4" fmla="*/ 0 w 16"/>
                <a:gd name="T5" fmla="*/ 0 h 24"/>
                <a:gd name="T6" fmla="*/ 1 w 16"/>
                <a:gd name="T7" fmla="*/ 1 h 24"/>
                <a:gd name="T8" fmla="*/ 1 w 16"/>
                <a:gd name="T9" fmla="*/ 1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24"/>
                <a:gd name="T17" fmla="*/ 16 w 16"/>
                <a:gd name="T18" fmla="*/ 24 h 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24">
                  <a:moveTo>
                    <a:pt x="7" y="24"/>
                  </a:moveTo>
                  <a:lnTo>
                    <a:pt x="11" y="13"/>
                  </a:lnTo>
                  <a:lnTo>
                    <a:pt x="0" y="0"/>
                  </a:lnTo>
                  <a:lnTo>
                    <a:pt x="16" y="15"/>
                  </a:lnTo>
                  <a:lnTo>
                    <a:pt x="7" y="2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45" name="Freeform 101"/>
            <p:cNvSpPr>
              <a:spLocks/>
            </p:cNvSpPr>
            <p:nvPr/>
          </p:nvSpPr>
          <p:spPr bwMode="auto">
            <a:xfrm>
              <a:off x="1660" y="1719"/>
              <a:ext cx="10" cy="7"/>
            </a:xfrm>
            <a:custGeom>
              <a:avLst/>
              <a:gdLst>
                <a:gd name="T0" fmla="*/ 1 w 14"/>
                <a:gd name="T1" fmla="*/ 0 h 9"/>
                <a:gd name="T2" fmla="*/ 1 w 14"/>
                <a:gd name="T3" fmla="*/ 2 h 9"/>
                <a:gd name="T4" fmla="*/ 0 w 14"/>
                <a:gd name="T5" fmla="*/ 2 h 9"/>
                <a:gd name="T6" fmla="*/ 1 w 14"/>
                <a:gd name="T7" fmla="*/ 0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"/>
                <a:gd name="T13" fmla="*/ 0 h 9"/>
                <a:gd name="T14" fmla="*/ 14 w 14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" h="9">
                  <a:moveTo>
                    <a:pt x="14" y="0"/>
                  </a:moveTo>
                  <a:lnTo>
                    <a:pt x="13" y="3"/>
                  </a:lnTo>
                  <a:lnTo>
                    <a:pt x="0" y="9"/>
                  </a:lnTo>
                  <a:lnTo>
                    <a:pt x="14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46" name="Freeform 102"/>
            <p:cNvSpPr>
              <a:spLocks/>
            </p:cNvSpPr>
            <p:nvPr/>
          </p:nvSpPr>
          <p:spPr bwMode="auto">
            <a:xfrm>
              <a:off x="1655" y="1696"/>
              <a:ext cx="5" cy="6"/>
            </a:xfrm>
            <a:custGeom>
              <a:avLst/>
              <a:gdLst>
                <a:gd name="T0" fmla="*/ 1 w 7"/>
                <a:gd name="T1" fmla="*/ 1 h 9"/>
                <a:gd name="T2" fmla="*/ 1 w 7"/>
                <a:gd name="T3" fmla="*/ 0 h 9"/>
                <a:gd name="T4" fmla="*/ 0 w 7"/>
                <a:gd name="T5" fmla="*/ 1 h 9"/>
                <a:gd name="T6" fmla="*/ 1 w 7"/>
                <a:gd name="T7" fmla="*/ 1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9"/>
                <a:gd name="T14" fmla="*/ 7 w 7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9">
                  <a:moveTo>
                    <a:pt x="7" y="3"/>
                  </a:moveTo>
                  <a:lnTo>
                    <a:pt x="3" y="0"/>
                  </a:lnTo>
                  <a:lnTo>
                    <a:pt x="0" y="9"/>
                  </a:lnTo>
                  <a:lnTo>
                    <a:pt x="7" y="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47" name="Freeform 103"/>
            <p:cNvSpPr>
              <a:spLocks/>
            </p:cNvSpPr>
            <p:nvPr/>
          </p:nvSpPr>
          <p:spPr bwMode="auto">
            <a:xfrm>
              <a:off x="2789" y="2388"/>
              <a:ext cx="207" cy="207"/>
            </a:xfrm>
            <a:custGeom>
              <a:avLst/>
              <a:gdLst>
                <a:gd name="T0" fmla="*/ 1 w 293"/>
                <a:gd name="T1" fmla="*/ 1 h 295"/>
                <a:gd name="T2" fmla="*/ 1 w 293"/>
                <a:gd name="T3" fmla="*/ 1 h 295"/>
                <a:gd name="T4" fmla="*/ 1 w 293"/>
                <a:gd name="T5" fmla="*/ 1 h 295"/>
                <a:gd name="T6" fmla="*/ 1 w 293"/>
                <a:gd name="T7" fmla="*/ 1 h 295"/>
                <a:gd name="T8" fmla="*/ 1 w 293"/>
                <a:gd name="T9" fmla="*/ 1 h 295"/>
                <a:gd name="T10" fmla="*/ 1 w 293"/>
                <a:gd name="T11" fmla="*/ 1 h 295"/>
                <a:gd name="T12" fmla="*/ 1 w 293"/>
                <a:gd name="T13" fmla="*/ 1 h 295"/>
                <a:gd name="T14" fmla="*/ 1 w 293"/>
                <a:gd name="T15" fmla="*/ 1 h 295"/>
                <a:gd name="T16" fmla="*/ 2 w 293"/>
                <a:gd name="T17" fmla="*/ 1 h 295"/>
                <a:gd name="T18" fmla="*/ 2 w 293"/>
                <a:gd name="T19" fmla="*/ 1 h 295"/>
                <a:gd name="T20" fmla="*/ 2 w 293"/>
                <a:gd name="T21" fmla="*/ 1 h 295"/>
                <a:gd name="T22" fmla="*/ 2 w 293"/>
                <a:gd name="T23" fmla="*/ 1 h 295"/>
                <a:gd name="T24" fmla="*/ 2 w 293"/>
                <a:gd name="T25" fmla="*/ 1 h 295"/>
                <a:gd name="T26" fmla="*/ 2 w 293"/>
                <a:gd name="T27" fmla="*/ 1 h 295"/>
                <a:gd name="T28" fmla="*/ 2 w 293"/>
                <a:gd name="T29" fmla="*/ 1 h 295"/>
                <a:gd name="T30" fmla="*/ 2 w 293"/>
                <a:gd name="T31" fmla="*/ 1 h 295"/>
                <a:gd name="T32" fmla="*/ 1 w 293"/>
                <a:gd name="T33" fmla="*/ 1 h 295"/>
                <a:gd name="T34" fmla="*/ 1 w 293"/>
                <a:gd name="T35" fmla="*/ 1 h 295"/>
                <a:gd name="T36" fmla="*/ 1 w 293"/>
                <a:gd name="T37" fmla="*/ 1 h 295"/>
                <a:gd name="T38" fmla="*/ 1 w 293"/>
                <a:gd name="T39" fmla="*/ 1 h 295"/>
                <a:gd name="T40" fmla="*/ 1 w 293"/>
                <a:gd name="T41" fmla="*/ 1 h 295"/>
                <a:gd name="T42" fmla="*/ 1 w 293"/>
                <a:gd name="T43" fmla="*/ 1 h 295"/>
                <a:gd name="T44" fmla="*/ 1 w 293"/>
                <a:gd name="T45" fmla="*/ 1 h 295"/>
                <a:gd name="T46" fmla="*/ 1 w 293"/>
                <a:gd name="T47" fmla="*/ 1 h 295"/>
                <a:gd name="T48" fmla="*/ 1 w 293"/>
                <a:gd name="T49" fmla="*/ 0 h 295"/>
                <a:gd name="T50" fmla="*/ 1 w 293"/>
                <a:gd name="T51" fmla="*/ 1 h 295"/>
                <a:gd name="T52" fmla="*/ 0 w 293"/>
                <a:gd name="T53" fmla="*/ 1 h 295"/>
                <a:gd name="T54" fmla="*/ 1 w 293"/>
                <a:gd name="T55" fmla="*/ 1 h 295"/>
                <a:gd name="T56" fmla="*/ 1 w 293"/>
                <a:gd name="T57" fmla="*/ 1 h 295"/>
                <a:gd name="T58" fmla="*/ 1 w 293"/>
                <a:gd name="T59" fmla="*/ 1 h 295"/>
                <a:gd name="T60" fmla="*/ 1 w 293"/>
                <a:gd name="T61" fmla="*/ 1 h 295"/>
                <a:gd name="T62" fmla="*/ 1 w 293"/>
                <a:gd name="T63" fmla="*/ 1 h 295"/>
                <a:gd name="T64" fmla="*/ 1 w 293"/>
                <a:gd name="T65" fmla="*/ 1 h 295"/>
                <a:gd name="T66" fmla="*/ 1 w 293"/>
                <a:gd name="T67" fmla="*/ 1 h 295"/>
                <a:gd name="T68" fmla="*/ 1 w 293"/>
                <a:gd name="T69" fmla="*/ 1 h 295"/>
                <a:gd name="T70" fmla="*/ 1 w 293"/>
                <a:gd name="T71" fmla="*/ 1 h 295"/>
                <a:gd name="T72" fmla="*/ 1 w 293"/>
                <a:gd name="T73" fmla="*/ 2 h 295"/>
                <a:gd name="T74" fmla="*/ 1 w 293"/>
                <a:gd name="T75" fmla="*/ 2 h 295"/>
                <a:gd name="T76" fmla="*/ 1 w 293"/>
                <a:gd name="T77" fmla="*/ 2 h 295"/>
                <a:gd name="T78" fmla="*/ 1 w 293"/>
                <a:gd name="T79" fmla="*/ 2 h 295"/>
                <a:gd name="T80" fmla="*/ 1 w 293"/>
                <a:gd name="T81" fmla="*/ 2 h 295"/>
                <a:gd name="T82" fmla="*/ 1 w 293"/>
                <a:gd name="T83" fmla="*/ 2 h 295"/>
                <a:gd name="T84" fmla="*/ 1 w 293"/>
                <a:gd name="T85" fmla="*/ 2 h 295"/>
                <a:gd name="T86" fmla="*/ 1 w 293"/>
                <a:gd name="T87" fmla="*/ 2 h 295"/>
                <a:gd name="T88" fmla="*/ 1 w 293"/>
                <a:gd name="T89" fmla="*/ 2 h 295"/>
                <a:gd name="T90" fmla="*/ 1 w 293"/>
                <a:gd name="T91" fmla="*/ 1 h 295"/>
                <a:gd name="T92" fmla="*/ 1 w 293"/>
                <a:gd name="T93" fmla="*/ 1 h 29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93"/>
                <a:gd name="T142" fmla="*/ 0 h 295"/>
                <a:gd name="T143" fmla="*/ 293 w 293"/>
                <a:gd name="T144" fmla="*/ 295 h 295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93" h="295">
                  <a:moveTo>
                    <a:pt x="174" y="193"/>
                  </a:moveTo>
                  <a:lnTo>
                    <a:pt x="176" y="160"/>
                  </a:lnTo>
                  <a:lnTo>
                    <a:pt x="177" y="125"/>
                  </a:lnTo>
                  <a:lnTo>
                    <a:pt x="198" y="125"/>
                  </a:lnTo>
                  <a:lnTo>
                    <a:pt x="198" y="102"/>
                  </a:lnTo>
                  <a:lnTo>
                    <a:pt x="200" y="79"/>
                  </a:lnTo>
                  <a:lnTo>
                    <a:pt x="200" y="57"/>
                  </a:lnTo>
                  <a:lnTo>
                    <a:pt x="201" y="34"/>
                  </a:lnTo>
                  <a:lnTo>
                    <a:pt x="226" y="30"/>
                  </a:lnTo>
                  <a:lnTo>
                    <a:pt x="251" y="28"/>
                  </a:lnTo>
                  <a:lnTo>
                    <a:pt x="260" y="36"/>
                  </a:lnTo>
                  <a:lnTo>
                    <a:pt x="276" y="27"/>
                  </a:lnTo>
                  <a:lnTo>
                    <a:pt x="293" y="21"/>
                  </a:lnTo>
                  <a:lnTo>
                    <a:pt x="269" y="13"/>
                  </a:lnTo>
                  <a:lnTo>
                    <a:pt x="255" y="17"/>
                  </a:lnTo>
                  <a:lnTo>
                    <a:pt x="222" y="21"/>
                  </a:lnTo>
                  <a:lnTo>
                    <a:pt x="190" y="24"/>
                  </a:lnTo>
                  <a:lnTo>
                    <a:pt x="170" y="19"/>
                  </a:lnTo>
                  <a:lnTo>
                    <a:pt x="149" y="16"/>
                  </a:lnTo>
                  <a:lnTo>
                    <a:pt x="145" y="11"/>
                  </a:lnTo>
                  <a:lnTo>
                    <a:pt x="120" y="10"/>
                  </a:lnTo>
                  <a:lnTo>
                    <a:pt x="95" y="9"/>
                  </a:lnTo>
                  <a:lnTo>
                    <a:pt x="70" y="9"/>
                  </a:lnTo>
                  <a:lnTo>
                    <a:pt x="45" y="7"/>
                  </a:lnTo>
                  <a:lnTo>
                    <a:pt x="28" y="0"/>
                  </a:lnTo>
                  <a:lnTo>
                    <a:pt x="1" y="7"/>
                  </a:lnTo>
                  <a:lnTo>
                    <a:pt x="0" y="22"/>
                  </a:lnTo>
                  <a:lnTo>
                    <a:pt x="15" y="52"/>
                  </a:lnTo>
                  <a:lnTo>
                    <a:pt x="30" y="82"/>
                  </a:lnTo>
                  <a:lnTo>
                    <a:pt x="45" y="112"/>
                  </a:lnTo>
                  <a:lnTo>
                    <a:pt x="59" y="142"/>
                  </a:lnTo>
                  <a:lnTo>
                    <a:pt x="61" y="155"/>
                  </a:lnTo>
                  <a:lnTo>
                    <a:pt x="57" y="153"/>
                  </a:lnTo>
                  <a:lnTo>
                    <a:pt x="60" y="179"/>
                  </a:lnTo>
                  <a:lnTo>
                    <a:pt x="64" y="204"/>
                  </a:lnTo>
                  <a:lnTo>
                    <a:pt x="67" y="229"/>
                  </a:lnTo>
                  <a:lnTo>
                    <a:pt x="71" y="255"/>
                  </a:lnTo>
                  <a:lnTo>
                    <a:pt x="83" y="271"/>
                  </a:lnTo>
                  <a:lnTo>
                    <a:pt x="95" y="288"/>
                  </a:lnTo>
                  <a:lnTo>
                    <a:pt x="107" y="275"/>
                  </a:lnTo>
                  <a:lnTo>
                    <a:pt x="114" y="291"/>
                  </a:lnTo>
                  <a:lnTo>
                    <a:pt x="147" y="295"/>
                  </a:lnTo>
                  <a:lnTo>
                    <a:pt x="166" y="286"/>
                  </a:lnTo>
                  <a:lnTo>
                    <a:pt x="168" y="263"/>
                  </a:lnTo>
                  <a:lnTo>
                    <a:pt x="170" y="240"/>
                  </a:lnTo>
                  <a:lnTo>
                    <a:pt x="172" y="217"/>
                  </a:lnTo>
                  <a:lnTo>
                    <a:pt x="174" y="19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48" name="Freeform 104"/>
            <p:cNvSpPr>
              <a:spLocks/>
            </p:cNvSpPr>
            <p:nvPr/>
          </p:nvSpPr>
          <p:spPr bwMode="auto">
            <a:xfrm>
              <a:off x="1707" y="2262"/>
              <a:ext cx="192" cy="228"/>
            </a:xfrm>
            <a:custGeom>
              <a:avLst/>
              <a:gdLst>
                <a:gd name="T0" fmla="*/ 1 w 274"/>
                <a:gd name="T1" fmla="*/ 2 h 324"/>
                <a:gd name="T2" fmla="*/ 1 w 274"/>
                <a:gd name="T3" fmla="*/ 2 h 324"/>
                <a:gd name="T4" fmla="*/ 1 w 274"/>
                <a:gd name="T5" fmla="*/ 2 h 324"/>
                <a:gd name="T6" fmla="*/ 1 w 274"/>
                <a:gd name="T7" fmla="*/ 2 h 324"/>
                <a:gd name="T8" fmla="*/ 1 w 274"/>
                <a:gd name="T9" fmla="*/ 2 h 324"/>
                <a:gd name="T10" fmla="*/ 1 w 274"/>
                <a:gd name="T11" fmla="*/ 2 h 324"/>
                <a:gd name="T12" fmla="*/ 1 w 274"/>
                <a:gd name="T13" fmla="*/ 2 h 324"/>
                <a:gd name="T14" fmla="*/ 1 w 274"/>
                <a:gd name="T15" fmla="*/ 2 h 324"/>
                <a:gd name="T16" fmla="*/ 1 w 274"/>
                <a:gd name="T17" fmla="*/ 2 h 324"/>
                <a:gd name="T18" fmla="*/ 1 w 274"/>
                <a:gd name="T19" fmla="*/ 2 h 324"/>
                <a:gd name="T20" fmla="*/ 1 w 274"/>
                <a:gd name="T21" fmla="*/ 2 h 324"/>
                <a:gd name="T22" fmla="*/ 1 w 274"/>
                <a:gd name="T23" fmla="*/ 2 h 324"/>
                <a:gd name="T24" fmla="*/ 1 w 274"/>
                <a:gd name="T25" fmla="*/ 2 h 324"/>
                <a:gd name="T26" fmla="*/ 1 w 274"/>
                <a:gd name="T27" fmla="*/ 2 h 324"/>
                <a:gd name="T28" fmla="*/ 1 w 274"/>
                <a:gd name="T29" fmla="*/ 2 h 324"/>
                <a:gd name="T30" fmla="*/ 1 w 274"/>
                <a:gd name="T31" fmla="*/ 1 h 324"/>
                <a:gd name="T32" fmla="*/ 1 w 274"/>
                <a:gd name="T33" fmla="*/ 1 h 324"/>
                <a:gd name="T34" fmla="*/ 1 w 274"/>
                <a:gd name="T35" fmla="*/ 1 h 324"/>
                <a:gd name="T36" fmla="*/ 1 w 274"/>
                <a:gd name="T37" fmla="*/ 1 h 324"/>
                <a:gd name="T38" fmla="*/ 1 w 274"/>
                <a:gd name="T39" fmla="*/ 1 h 324"/>
                <a:gd name="T40" fmla="*/ 1 w 274"/>
                <a:gd name="T41" fmla="*/ 1 h 324"/>
                <a:gd name="T42" fmla="*/ 1 w 274"/>
                <a:gd name="T43" fmla="*/ 1 h 324"/>
                <a:gd name="T44" fmla="*/ 1 w 274"/>
                <a:gd name="T45" fmla="*/ 1 h 324"/>
                <a:gd name="T46" fmla="*/ 1 w 274"/>
                <a:gd name="T47" fmla="*/ 1 h 324"/>
                <a:gd name="T48" fmla="*/ 1 w 274"/>
                <a:gd name="T49" fmla="*/ 1 h 324"/>
                <a:gd name="T50" fmla="*/ 1 w 274"/>
                <a:gd name="T51" fmla="*/ 1 h 324"/>
                <a:gd name="T52" fmla="*/ 1 w 274"/>
                <a:gd name="T53" fmla="*/ 1 h 324"/>
                <a:gd name="T54" fmla="*/ 0 w 274"/>
                <a:gd name="T55" fmla="*/ 1 h 324"/>
                <a:gd name="T56" fmla="*/ 1 w 274"/>
                <a:gd name="T57" fmla="*/ 1 h 324"/>
                <a:gd name="T58" fmla="*/ 1 w 274"/>
                <a:gd name="T59" fmla="*/ 1 h 324"/>
                <a:gd name="T60" fmla="*/ 1 w 274"/>
                <a:gd name="T61" fmla="*/ 1 h 324"/>
                <a:gd name="T62" fmla="*/ 1 w 274"/>
                <a:gd name="T63" fmla="*/ 0 h 324"/>
                <a:gd name="T64" fmla="*/ 1 w 274"/>
                <a:gd name="T65" fmla="*/ 1 h 324"/>
                <a:gd name="T66" fmla="*/ 1 w 274"/>
                <a:gd name="T67" fmla="*/ 1 h 324"/>
                <a:gd name="T68" fmla="*/ 1 w 274"/>
                <a:gd name="T69" fmla="*/ 1 h 324"/>
                <a:gd name="T70" fmla="*/ 1 w 274"/>
                <a:gd name="T71" fmla="*/ 1 h 324"/>
                <a:gd name="T72" fmla="*/ 1 w 274"/>
                <a:gd name="T73" fmla="*/ 1 h 324"/>
                <a:gd name="T74" fmla="*/ 1 w 274"/>
                <a:gd name="T75" fmla="*/ 1 h 324"/>
                <a:gd name="T76" fmla="*/ 1 w 274"/>
                <a:gd name="T77" fmla="*/ 1 h 324"/>
                <a:gd name="T78" fmla="*/ 1 w 274"/>
                <a:gd name="T79" fmla="*/ 1 h 324"/>
                <a:gd name="T80" fmla="*/ 1 w 274"/>
                <a:gd name="T81" fmla="*/ 1 h 324"/>
                <a:gd name="T82" fmla="*/ 1 w 274"/>
                <a:gd name="T83" fmla="*/ 1 h 324"/>
                <a:gd name="T84" fmla="*/ 1 w 274"/>
                <a:gd name="T85" fmla="*/ 1 h 324"/>
                <a:gd name="T86" fmla="*/ 1 w 274"/>
                <a:gd name="T87" fmla="*/ 1 h 324"/>
                <a:gd name="T88" fmla="*/ 1 w 274"/>
                <a:gd name="T89" fmla="*/ 1 h 324"/>
                <a:gd name="T90" fmla="*/ 1 w 274"/>
                <a:gd name="T91" fmla="*/ 1 h 324"/>
                <a:gd name="T92" fmla="*/ 2 w 274"/>
                <a:gd name="T93" fmla="*/ 1 h 324"/>
                <a:gd name="T94" fmla="*/ 2 w 274"/>
                <a:gd name="T95" fmla="*/ 1 h 324"/>
                <a:gd name="T96" fmla="*/ 2 w 274"/>
                <a:gd name="T97" fmla="*/ 1 h 324"/>
                <a:gd name="T98" fmla="*/ 2 w 274"/>
                <a:gd name="T99" fmla="*/ 1 h 324"/>
                <a:gd name="T100" fmla="*/ 2 w 274"/>
                <a:gd name="T101" fmla="*/ 1 h 324"/>
                <a:gd name="T102" fmla="*/ 2 w 274"/>
                <a:gd name="T103" fmla="*/ 2 h 324"/>
                <a:gd name="T104" fmla="*/ 2 w 274"/>
                <a:gd name="T105" fmla="*/ 2 h 324"/>
                <a:gd name="T106" fmla="*/ 2 w 274"/>
                <a:gd name="T107" fmla="*/ 2 h 324"/>
                <a:gd name="T108" fmla="*/ 2 w 274"/>
                <a:gd name="T109" fmla="*/ 2 h 324"/>
                <a:gd name="T110" fmla="*/ 2 w 274"/>
                <a:gd name="T111" fmla="*/ 2 h 324"/>
                <a:gd name="T112" fmla="*/ 1 w 274"/>
                <a:gd name="T113" fmla="*/ 2 h 324"/>
                <a:gd name="T114" fmla="*/ 1 w 274"/>
                <a:gd name="T115" fmla="*/ 2 h 324"/>
                <a:gd name="T116" fmla="*/ 1 w 274"/>
                <a:gd name="T117" fmla="*/ 2 h 3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74"/>
                <a:gd name="T178" fmla="*/ 0 h 324"/>
                <a:gd name="T179" fmla="*/ 274 w 274"/>
                <a:gd name="T180" fmla="*/ 324 h 3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74" h="324">
                  <a:moveTo>
                    <a:pt x="183" y="256"/>
                  </a:moveTo>
                  <a:lnTo>
                    <a:pt x="179" y="284"/>
                  </a:lnTo>
                  <a:lnTo>
                    <a:pt x="173" y="310"/>
                  </a:lnTo>
                  <a:lnTo>
                    <a:pt x="169" y="304"/>
                  </a:lnTo>
                  <a:lnTo>
                    <a:pt x="144" y="308"/>
                  </a:lnTo>
                  <a:lnTo>
                    <a:pt x="137" y="322"/>
                  </a:lnTo>
                  <a:lnTo>
                    <a:pt x="126" y="308"/>
                  </a:lnTo>
                  <a:lnTo>
                    <a:pt x="99" y="302"/>
                  </a:lnTo>
                  <a:lnTo>
                    <a:pt x="95" y="299"/>
                  </a:lnTo>
                  <a:lnTo>
                    <a:pt x="77" y="324"/>
                  </a:lnTo>
                  <a:lnTo>
                    <a:pt x="62" y="322"/>
                  </a:lnTo>
                  <a:lnTo>
                    <a:pt x="53" y="299"/>
                  </a:lnTo>
                  <a:lnTo>
                    <a:pt x="44" y="278"/>
                  </a:lnTo>
                  <a:lnTo>
                    <a:pt x="38" y="256"/>
                  </a:lnTo>
                  <a:lnTo>
                    <a:pt x="38" y="238"/>
                  </a:lnTo>
                  <a:lnTo>
                    <a:pt x="26" y="221"/>
                  </a:lnTo>
                  <a:lnTo>
                    <a:pt x="20" y="204"/>
                  </a:lnTo>
                  <a:lnTo>
                    <a:pt x="14" y="192"/>
                  </a:lnTo>
                  <a:lnTo>
                    <a:pt x="14" y="183"/>
                  </a:lnTo>
                  <a:lnTo>
                    <a:pt x="24" y="161"/>
                  </a:lnTo>
                  <a:lnTo>
                    <a:pt x="17" y="159"/>
                  </a:lnTo>
                  <a:lnTo>
                    <a:pt x="14" y="138"/>
                  </a:lnTo>
                  <a:lnTo>
                    <a:pt x="14" y="118"/>
                  </a:lnTo>
                  <a:lnTo>
                    <a:pt x="18" y="105"/>
                  </a:lnTo>
                  <a:lnTo>
                    <a:pt x="18" y="74"/>
                  </a:lnTo>
                  <a:lnTo>
                    <a:pt x="21" y="69"/>
                  </a:lnTo>
                  <a:lnTo>
                    <a:pt x="11" y="50"/>
                  </a:lnTo>
                  <a:lnTo>
                    <a:pt x="0" y="29"/>
                  </a:lnTo>
                  <a:lnTo>
                    <a:pt x="27" y="30"/>
                  </a:lnTo>
                  <a:lnTo>
                    <a:pt x="38" y="23"/>
                  </a:lnTo>
                  <a:lnTo>
                    <a:pt x="56" y="12"/>
                  </a:lnTo>
                  <a:lnTo>
                    <a:pt x="74" y="0"/>
                  </a:lnTo>
                  <a:lnTo>
                    <a:pt x="91" y="3"/>
                  </a:lnTo>
                  <a:lnTo>
                    <a:pt x="93" y="23"/>
                  </a:lnTo>
                  <a:lnTo>
                    <a:pt x="95" y="44"/>
                  </a:lnTo>
                  <a:lnTo>
                    <a:pt x="111" y="62"/>
                  </a:lnTo>
                  <a:lnTo>
                    <a:pt x="128" y="68"/>
                  </a:lnTo>
                  <a:lnTo>
                    <a:pt x="147" y="77"/>
                  </a:lnTo>
                  <a:lnTo>
                    <a:pt x="171" y="94"/>
                  </a:lnTo>
                  <a:lnTo>
                    <a:pt x="197" y="98"/>
                  </a:lnTo>
                  <a:lnTo>
                    <a:pt x="203" y="108"/>
                  </a:lnTo>
                  <a:lnTo>
                    <a:pt x="206" y="132"/>
                  </a:lnTo>
                  <a:lnTo>
                    <a:pt x="201" y="132"/>
                  </a:lnTo>
                  <a:lnTo>
                    <a:pt x="210" y="142"/>
                  </a:lnTo>
                  <a:lnTo>
                    <a:pt x="213" y="161"/>
                  </a:lnTo>
                  <a:lnTo>
                    <a:pt x="233" y="164"/>
                  </a:lnTo>
                  <a:lnTo>
                    <a:pt x="253" y="166"/>
                  </a:lnTo>
                  <a:lnTo>
                    <a:pt x="255" y="188"/>
                  </a:lnTo>
                  <a:lnTo>
                    <a:pt x="269" y="201"/>
                  </a:lnTo>
                  <a:lnTo>
                    <a:pt x="274" y="210"/>
                  </a:lnTo>
                  <a:lnTo>
                    <a:pt x="269" y="230"/>
                  </a:lnTo>
                  <a:lnTo>
                    <a:pt x="264" y="248"/>
                  </a:lnTo>
                  <a:lnTo>
                    <a:pt x="268" y="256"/>
                  </a:lnTo>
                  <a:lnTo>
                    <a:pt x="264" y="258"/>
                  </a:lnTo>
                  <a:lnTo>
                    <a:pt x="265" y="255"/>
                  </a:lnTo>
                  <a:lnTo>
                    <a:pt x="242" y="238"/>
                  </a:lnTo>
                  <a:lnTo>
                    <a:pt x="215" y="242"/>
                  </a:lnTo>
                  <a:lnTo>
                    <a:pt x="186" y="245"/>
                  </a:lnTo>
                  <a:lnTo>
                    <a:pt x="183" y="256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49" name="Freeform 105"/>
            <p:cNvSpPr>
              <a:spLocks/>
            </p:cNvSpPr>
            <p:nvPr/>
          </p:nvSpPr>
          <p:spPr bwMode="auto">
            <a:xfrm>
              <a:off x="2912" y="2403"/>
              <a:ext cx="142" cy="157"/>
            </a:xfrm>
            <a:custGeom>
              <a:avLst/>
              <a:gdLst>
                <a:gd name="T0" fmla="*/ 0 w 202"/>
                <a:gd name="T1" fmla="*/ 1 h 224"/>
                <a:gd name="T2" fmla="*/ 1 w 202"/>
                <a:gd name="T3" fmla="*/ 1 h 224"/>
                <a:gd name="T4" fmla="*/ 1 w 202"/>
                <a:gd name="T5" fmla="*/ 1 h 224"/>
                <a:gd name="T6" fmla="*/ 1 w 202"/>
                <a:gd name="T7" fmla="*/ 1 h 224"/>
                <a:gd name="T8" fmla="*/ 1 w 202"/>
                <a:gd name="T9" fmla="*/ 1 h 224"/>
                <a:gd name="T10" fmla="*/ 1 w 202"/>
                <a:gd name="T11" fmla="*/ 1 h 224"/>
                <a:gd name="T12" fmla="*/ 1 w 202"/>
                <a:gd name="T13" fmla="*/ 1 h 224"/>
                <a:gd name="T14" fmla="*/ 1 w 202"/>
                <a:gd name="T15" fmla="*/ 1 h 224"/>
                <a:gd name="T16" fmla="*/ 1 w 202"/>
                <a:gd name="T17" fmla="*/ 1 h 224"/>
                <a:gd name="T18" fmla="*/ 1 w 202"/>
                <a:gd name="T19" fmla="*/ 1 h 224"/>
                <a:gd name="T20" fmla="*/ 1 w 202"/>
                <a:gd name="T21" fmla="*/ 1 h 224"/>
                <a:gd name="T22" fmla="*/ 1 w 202"/>
                <a:gd name="T23" fmla="*/ 1 h 224"/>
                <a:gd name="T24" fmla="*/ 1 w 202"/>
                <a:gd name="T25" fmla="*/ 0 h 224"/>
                <a:gd name="T26" fmla="*/ 1 w 202"/>
                <a:gd name="T27" fmla="*/ 1 h 224"/>
                <a:gd name="T28" fmla="*/ 1 w 202"/>
                <a:gd name="T29" fmla="*/ 1 h 224"/>
                <a:gd name="T30" fmla="*/ 1 w 202"/>
                <a:gd name="T31" fmla="*/ 1 h 224"/>
                <a:gd name="T32" fmla="*/ 1 w 202"/>
                <a:gd name="T33" fmla="*/ 1 h 224"/>
                <a:gd name="T34" fmla="*/ 1 w 202"/>
                <a:gd name="T35" fmla="*/ 1 h 224"/>
                <a:gd name="T36" fmla="*/ 1 w 202"/>
                <a:gd name="T37" fmla="*/ 1 h 224"/>
                <a:gd name="T38" fmla="*/ 1 w 202"/>
                <a:gd name="T39" fmla="*/ 1 h 224"/>
                <a:gd name="T40" fmla="*/ 1 w 202"/>
                <a:gd name="T41" fmla="*/ 1 h 224"/>
                <a:gd name="T42" fmla="*/ 1 w 202"/>
                <a:gd name="T43" fmla="*/ 1 h 224"/>
                <a:gd name="T44" fmla="*/ 1 w 202"/>
                <a:gd name="T45" fmla="*/ 1 h 224"/>
                <a:gd name="T46" fmla="*/ 1 w 202"/>
                <a:gd name="T47" fmla="*/ 1 h 224"/>
                <a:gd name="T48" fmla="*/ 1 w 202"/>
                <a:gd name="T49" fmla="*/ 1 h 224"/>
                <a:gd name="T50" fmla="*/ 1 w 202"/>
                <a:gd name="T51" fmla="*/ 1 h 224"/>
                <a:gd name="T52" fmla="*/ 1 w 202"/>
                <a:gd name="T53" fmla="*/ 1 h 224"/>
                <a:gd name="T54" fmla="*/ 1 w 202"/>
                <a:gd name="T55" fmla="*/ 1 h 224"/>
                <a:gd name="T56" fmla="*/ 1 w 202"/>
                <a:gd name="T57" fmla="*/ 1 h 224"/>
                <a:gd name="T58" fmla="*/ 1 w 202"/>
                <a:gd name="T59" fmla="*/ 1 h 224"/>
                <a:gd name="T60" fmla="*/ 1 w 202"/>
                <a:gd name="T61" fmla="*/ 1 h 224"/>
                <a:gd name="T62" fmla="*/ 1 w 202"/>
                <a:gd name="T63" fmla="*/ 1 h 224"/>
                <a:gd name="T64" fmla="*/ 1 w 202"/>
                <a:gd name="T65" fmla="*/ 1 h 224"/>
                <a:gd name="T66" fmla="*/ 1 w 202"/>
                <a:gd name="T67" fmla="*/ 1 h 224"/>
                <a:gd name="T68" fmla="*/ 0 w 202"/>
                <a:gd name="T69" fmla="*/ 1 h 2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02"/>
                <a:gd name="T106" fmla="*/ 0 h 224"/>
                <a:gd name="T107" fmla="*/ 202 w 202"/>
                <a:gd name="T108" fmla="*/ 224 h 22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02" h="224">
                  <a:moveTo>
                    <a:pt x="0" y="172"/>
                  </a:moveTo>
                  <a:lnTo>
                    <a:pt x="2" y="139"/>
                  </a:lnTo>
                  <a:lnTo>
                    <a:pt x="3" y="104"/>
                  </a:lnTo>
                  <a:lnTo>
                    <a:pt x="24" y="104"/>
                  </a:lnTo>
                  <a:lnTo>
                    <a:pt x="24" y="81"/>
                  </a:lnTo>
                  <a:lnTo>
                    <a:pt x="26" y="58"/>
                  </a:lnTo>
                  <a:lnTo>
                    <a:pt x="26" y="36"/>
                  </a:lnTo>
                  <a:lnTo>
                    <a:pt x="27" y="13"/>
                  </a:lnTo>
                  <a:lnTo>
                    <a:pt x="52" y="9"/>
                  </a:lnTo>
                  <a:lnTo>
                    <a:pt x="77" y="7"/>
                  </a:lnTo>
                  <a:lnTo>
                    <a:pt x="86" y="15"/>
                  </a:lnTo>
                  <a:lnTo>
                    <a:pt x="102" y="6"/>
                  </a:lnTo>
                  <a:lnTo>
                    <a:pt x="119" y="0"/>
                  </a:lnTo>
                  <a:lnTo>
                    <a:pt x="132" y="24"/>
                  </a:lnTo>
                  <a:lnTo>
                    <a:pt x="144" y="48"/>
                  </a:lnTo>
                  <a:lnTo>
                    <a:pt x="160" y="61"/>
                  </a:lnTo>
                  <a:lnTo>
                    <a:pt x="165" y="66"/>
                  </a:lnTo>
                  <a:lnTo>
                    <a:pt x="170" y="73"/>
                  </a:lnTo>
                  <a:lnTo>
                    <a:pt x="177" y="93"/>
                  </a:lnTo>
                  <a:lnTo>
                    <a:pt x="196" y="103"/>
                  </a:lnTo>
                  <a:lnTo>
                    <a:pt x="202" y="106"/>
                  </a:lnTo>
                  <a:lnTo>
                    <a:pt x="201" y="109"/>
                  </a:lnTo>
                  <a:lnTo>
                    <a:pt x="172" y="128"/>
                  </a:lnTo>
                  <a:lnTo>
                    <a:pt x="150" y="146"/>
                  </a:lnTo>
                  <a:lnTo>
                    <a:pt x="138" y="168"/>
                  </a:lnTo>
                  <a:lnTo>
                    <a:pt x="125" y="176"/>
                  </a:lnTo>
                  <a:lnTo>
                    <a:pt x="113" y="198"/>
                  </a:lnTo>
                  <a:lnTo>
                    <a:pt x="81" y="193"/>
                  </a:lnTo>
                  <a:lnTo>
                    <a:pt x="64" y="187"/>
                  </a:lnTo>
                  <a:lnTo>
                    <a:pt x="52" y="202"/>
                  </a:lnTo>
                  <a:lnTo>
                    <a:pt x="41" y="219"/>
                  </a:lnTo>
                  <a:lnTo>
                    <a:pt x="18" y="224"/>
                  </a:lnTo>
                  <a:lnTo>
                    <a:pt x="11" y="220"/>
                  </a:lnTo>
                  <a:lnTo>
                    <a:pt x="15" y="196"/>
                  </a:lnTo>
                  <a:lnTo>
                    <a:pt x="0" y="17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50" name="Freeform 106"/>
            <p:cNvSpPr>
              <a:spLocks/>
            </p:cNvSpPr>
            <p:nvPr/>
          </p:nvSpPr>
          <p:spPr bwMode="auto">
            <a:xfrm>
              <a:off x="3013" y="2591"/>
              <a:ext cx="34" cy="35"/>
            </a:xfrm>
            <a:custGeom>
              <a:avLst/>
              <a:gdLst>
                <a:gd name="T0" fmla="*/ 1 w 48"/>
                <a:gd name="T1" fmla="*/ 1 h 50"/>
                <a:gd name="T2" fmla="*/ 0 w 48"/>
                <a:gd name="T3" fmla="*/ 1 h 50"/>
                <a:gd name="T4" fmla="*/ 1 w 48"/>
                <a:gd name="T5" fmla="*/ 1 h 50"/>
                <a:gd name="T6" fmla="*/ 1 w 48"/>
                <a:gd name="T7" fmla="*/ 1 h 50"/>
                <a:gd name="T8" fmla="*/ 1 w 48"/>
                <a:gd name="T9" fmla="*/ 1 h 50"/>
                <a:gd name="T10" fmla="*/ 1 w 48"/>
                <a:gd name="T11" fmla="*/ 1 h 50"/>
                <a:gd name="T12" fmla="*/ 1 w 48"/>
                <a:gd name="T13" fmla="*/ 0 h 50"/>
                <a:gd name="T14" fmla="*/ 1 w 48"/>
                <a:gd name="T15" fmla="*/ 1 h 5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8"/>
                <a:gd name="T25" fmla="*/ 0 h 50"/>
                <a:gd name="T26" fmla="*/ 48 w 48"/>
                <a:gd name="T27" fmla="*/ 50 h 5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8" h="50">
                  <a:moveTo>
                    <a:pt x="21" y="6"/>
                  </a:moveTo>
                  <a:lnTo>
                    <a:pt x="0" y="28"/>
                  </a:lnTo>
                  <a:lnTo>
                    <a:pt x="15" y="50"/>
                  </a:lnTo>
                  <a:lnTo>
                    <a:pt x="23" y="42"/>
                  </a:lnTo>
                  <a:lnTo>
                    <a:pt x="44" y="27"/>
                  </a:lnTo>
                  <a:lnTo>
                    <a:pt x="48" y="12"/>
                  </a:lnTo>
                  <a:lnTo>
                    <a:pt x="29" y="0"/>
                  </a:lnTo>
                  <a:lnTo>
                    <a:pt x="21" y="6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51" name="Freeform 107"/>
            <p:cNvSpPr>
              <a:spLocks/>
            </p:cNvSpPr>
            <p:nvPr/>
          </p:nvSpPr>
          <p:spPr bwMode="auto">
            <a:xfrm>
              <a:off x="3265" y="2303"/>
              <a:ext cx="116" cy="235"/>
            </a:xfrm>
            <a:custGeom>
              <a:avLst/>
              <a:gdLst>
                <a:gd name="T0" fmla="*/ 1 w 167"/>
                <a:gd name="T1" fmla="*/ 1 h 334"/>
                <a:gd name="T2" fmla="*/ 1 w 167"/>
                <a:gd name="T3" fmla="*/ 1 h 334"/>
                <a:gd name="T4" fmla="*/ 1 w 167"/>
                <a:gd name="T5" fmla="*/ 1 h 334"/>
                <a:gd name="T6" fmla="*/ 1 w 167"/>
                <a:gd name="T7" fmla="*/ 1 h 334"/>
                <a:gd name="T8" fmla="*/ 1 w 167"/>
                <a:gd name="T9" fmla="*/ 1 h 334"/>
                <a:gd name="T10" fmla="*/ 1 w 167"/>
                <a:gd name="T11" fmla="*/ 1 h 334"/>
                <a:gd name="T12" fmla="*/ 1 w 167"/>
                <a:gd name="T13" fmla="*/ 1 h 334"/>
                <a:gd name="T14" fmla="*/ 1 w 167"/>
                <a:gd name="T15" fmla="*/ 1 h 334"/>
                <a:gd name="T16" fmla="*/ 1 w 167"/>
                <a:gd name="T17" fmla="*/ 1 h 334"/>
                <a:gd name="T18" fmla="*/ 0 w 167"/>
                <a:gd name="T19" fmla="*/ 2 h 334"/>
                <a:gd name="T20" fmla="*/ 1 w 167"/>
                <a:gd name="T21" fmla="*/ 2 h 334"/>
                <a:gd name="T22" fmla="*/ 1 w 167"/>
                <a:gd name="T23" fmla="*/ 2 h 334"/>
                <a:gd name="T24" fmla="*/ 1 w 167"/>
                <a:gd name="T25" fmla="*/ 3 h 334"/>
                <a:gd name="T26" fmla="*/ 1 w 167"/>
                <a:gd name="T27" fmla="*/ 2 h 334"/>
                <a:gd name="T28" fmla="*/ 1 w 167"/>
                <a:gd name="T29" fmla="*/ 2 h 334"/>
                <a:gd name="T30" fmla="*/ 1 w 167"/>
                <a:gd name="T31" fmla="*/ 2 h 334"/>
                <a:gd name="T32" fmla="*/ 1 w 167"/>
                <a:gd name="T33" fmla="*/ 2 h 334"/>
                <a:gd name="T34" fmla="*/ 1 w 167"/>
                <a:gd name="T35" fmla="*/ 2 h 334"/>
                <a:gd name="T36" fmla="*/ 1 w 167"/>
                <a:gd name="T37" fmla="*/ 1 h 334"/>
                <a:gd name="T38" fmla="*/ 1 w 167"/>
                <a:gd name="T39" fmla="*/ 1 h 334"/>
                <a:gd name="T40" fmla="*/ 1 w 167"/>
                <a:gd name="T41" fmla="*/ 1 h 334"/>
                <a:gd name="T42" fmla="*/ 1 w 167"/>
                <a:gd name="T43" fmla="*/ 1 h 334"/>
                <a:gd name="T44" fmla="*/ 1 w 167"/>
                <a:gd name="T45" fmla="*/ 1 h 334"/>
                <a:gd name="T46" fmla="*/ 1 w 167"/>
                <a:gd name="T47" fmla="*/ 1 h 334"/>
                <a:gd name="T48" fmla="*/ 1 w 167"/>
                <a:gd name="T49" fmla="*/ 1 h 334"/>
                <a:gd name="T50" fmla="*/ 1 w 167"/>
                <a:gd name="T51" fmla="*/ 1 h 334"/>
                <a:gd name="T52" fmla="*/ 1 w 167"/>
                <a:gd name="T53" fmla="*/ 1 h 334"/>
                <a:gd name="T54" fmla="*/ 1 w 167"/>
                <a:gd name="T55" fmla="*/ 1 h 334"/>
                <a:gd name="T56" fmla="*/ 1 w 167"/>
                <a:gd name="T57" fmla="*/ 1 h 334"/>
                <a:gd name="T58" fmla="*/ 1 w 167"/>
                <a:gd name="T59" fmla="*/ 1 h 334"/>
                <a:gd name="T60" fmla="*/ 1 w 167"/>
                <a:gd name="T61" fmla="*/ 0 h 334"/>
                <a:gd name="T62" fmla="*/ 1 w 167"/>
                <a:gd name="T63" fmla="*/ 1 h 334"/>
                <a:gd name="T64" fmla="*/ 1 w 167"/>
                <a:gd name="T65" fmla="*/ 1 h 334"/>
                <a:gd name="T66" fmla="*/ 1 w 167"/>
                <a:gd name="T67" fmla="*/ 1 h 334"/>
                <a:gd name="T68" fmla="*/ 1 w 167"/>
                <a:gd name="T69" fmla="*/ 1 h 334"/>
                <a:gd name="T70" fmla="*/ 1 w 167"/>
                <a:gd name="T71" fmla="*/ 1 h 334"/>
                <a:gd name="T72" fmla="*/ 1 w 167"/>
                <a:gd name="T73" fmla="*/ 1 h 334"/>
                <a:gd name="T74" fmla="*/ 1 w 167"/>
                <a:gd name="T75" fmla="*/ 1 h 334"/>
                <a:gd name="T76" fmla="*/ 1 w 167"/>
                <a:gd name="T77" fmla="*/ 1 h 334"/>
                <a:gd name="T78" fmla="*/ 1 w 167"/>
                <a:gd name="T79" fmla="*/ 1 h 334"/>
                <a:gd name="T80" fmla="*/ 1 w 167"/>
                <a:gd name="T81" fmla="*/ 1 h 334"/>
                <a:gd name="T82" fmla="*/ 1 w 167"/>
                <a:gd name="T83" fmla="*/ 1 h 334"/>
                <a:gd name="T84" fmla="*/ 1 w 167"/>
                <a:gd name="T85" fmla="*/ 1 h 334"/>
                <a:gd name="T86" fmla="*/ 1 w 167"/>
                <a:gd name="T87" fmla="*/ 1 h 334"/>
                <a:gd name="T88" fmla="*/ 1 w 167"/>
                <a:gd name="T89" fmla="*/ 1 h 334"/>
                <a:gd name="T90" fmla="*/ 1 w 167"/>
                <a:gd name="T91" fmla="*/ 1 h 33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67"/>
                <a:gd name="T139" fmla="*/ 0 h 334"/>
                <a:gd name="T140" fmla="*/ 167 w 167"/>
                <a:gd name="T141" fmla="*/ 334 h 33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67" h="334">
                  <a:moveTo>
                    <a:pt x="61" y="95"/>
                  </a:moveTo>
                  <a:lnTo>
                    <a:pt x="53" y="96"/>
                  </a:lnTo>
                  <a:lnTo>
                    <a:pt x="34" y="106"/>
                  </a:lnTo>
                  <a:lnTo>
                    <a:pt x="28" y="126"/>
                  </a:lnTo>
                  <a:lnTo>
                    <a:pt x="23" y="145"/>
                  </a:lnTo>
                  <a:lnTo>
                    <a:pt x="26" y="170"/>
                  </a:lnTo>
                  <a:lnTo>
                    <a:pt x="29" y="196"/>
                  </a:lnTo>
                  <a:lnTo>
                    <a:pt x="18" y="212"/>
                  </a:lnTo>
                  <a:lnTo>
                    <a:pt x="6" y="229"/>
                  </a:lnTo>
                  <a:lnTo>
                    <a:pt x="0" y="263"/>
                  </a:lnTo>
                  <a:lnTo>
                    <a:pt x="5" y="290"/>
                  </a:lnTo>
                  <a:lnTo>
                    <a:pt x="13" y="322"/>
                  </a:lnTo>
                  <a:lnTo>
                    <a:pt x="41" y="334"/>
                  </a:lnTo>
                  <a:lnTo>
                    <a:pt x="60" y="324"/>
                  </a:lnTo>
                  <a:lnTo>
                    <a:pt x="79" y="314"/>
                  </a:lnTo>
                  <a:lnTo>
                    <a:pt x="86" y="292"/>
                  </a:lnTo>
                  <a:lnTo>
                    <a:pt x="95" y="270"/>
                  </a:lnTo>
                  <a:lnTo>
                    <a:pt x="102" y="247"/>
                  </a:lnTo>
                  <a:lnTo>
                    <a:pt x="110" y="224"/>
                  </a:lnTo>
                  <a:lnTo>
                    <a:pt x="119" y="202"/>
                  </a:lnTo>
                  <a:lnTo>
                    <a:pt x="126" y="179"/>
                  </a:lnTo>
                  <a:lnTo>
                    <a:pt x="133" y="156"/>
                  </a:lnTo>
                  <a:lnTo>
                    <a:pt x="142" y="134"/>
                  </a:lnTo>
                  <a:lnTo>
                    <a:pt x="150" y="119"/>
                  </a:lnTo>
                  <a:lnTo>
                    <a:pt x="150" y="84"/>
                  </a:lnTo>
                  <a:lnTo>
                    <a:pt x="162" y="94"/>
                  </a:lnTo>
                  <a:lnTo>
                    <a:pt x="167" y="80"/>
                  </a:lnTo>
                  <a:lnTo>
                    <a:pt x="160" y="49"/>
                  </a:lnTo>
                  <a:lnTo>
                    <a:pt x="152" y="18"/>
                  </a:lnTo>
                  <a:lnTo>
                    <a:pt x="146" y="1"/>
                  </a:lnTo>
                  <a:lnTo>
                    <a:pt x="142" y="0"/>
                  </a:lnTo>
                  <a:lnTo>
                    <a:pt x="136" y="8"/>
                  </a:lnTo>
                  <a:lnTo>
                    <a:pt x="131" y="34"/>
                  </a:lnTo>
                  <a:lnTo>
                    <a:pt x="122" y="37"/>
                  </a:lnTo>
                  <a:lnTo>
                    <a:pt x="119" y="41"/>
                  </a:lnTo>
                  <a:lnTo>
                    <a:pt x="113" y="37"/>
                  </a:lnTo>
                  <a:lnTo>
                    <a:pt x="115" y="52"/>
                  </a:lnTo>
                  <a:lnTo>
                    <a:pt x="109" y="61"/>
                  </a:lnTo>
                  <a:lnTo>
                    <a:pt x="112" y="64"/>
                  </a:lnTo>
                  <a:lnTo>
                    <a:pt x="101" y="72"/>
                  </a:lnTo>
                  <a:lnTo>
                    <a:pt x="102" y="64"/>
                  </a:lnTo>
                  <a:lnTo>
                    <a:pt x="95" y="80"/>
                  </a:lnTo>
                  <a:lnTo>
                    <a:pt x="91" y="83"/>
                  </a:lnTo>
                  <a:lnTo>
                    <a:pt x="86" y="80"/>
                  </a:lnTo>
                  <a:lnTo>
                    <a:pt x="78" y="94"/>
                  </a:lnTo>
                  <a:lnTo>
                    <a:pt x="61" y="95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352" name="Freeform 108"/>
            <p:cNvSpPr>
              <a:spLocks/>
            </p:cNvSpPr>
            <p:nvPr/>
          </p:nvSpPr>
          <p:spPr bwMode="auto">
            <a:xfrm>
              <a:off x="3111" y="2255"/>
              <a:ext cx="48" cy="135"/>
            </a:xfrm>
            <a:custGeom>
              <a:avLst/>
              <a:gdLst>
                <a:gd name="T0" fmla="*/ 1 w 67"/>
                <a:gd name="T1" fmla="*/ 1 h 192"/>
                <a:gd name="T2" fmla="*/ 1 w 67"/>
                <a:gd name="T3" fmla="*/ 1 h 192"/>
                <a:gd name="T4" fmla="*/ 1 w 67"/>
                <a:gd name="T5" fmla="*/ 1 h 192"/>
                <a:gd name="T6" fmla="*/ 1 w 67"/>
                <a:gd name="T7" fmla="*/ 1 h 192"/>
                <a:gd name="T8" fmla="*/ 1 w 67"/>
                <a:gd name="T9" fmla="*/ 1 h 192"/>
                <a:gd name="T10" fmla="*/ 1 w 67"/>
                <a:gd name="T11" fmla="*/ 1 h 192"/>
                <a:gd name="T12" fmla="*/ 1 w 67"/>
                <a:gd name="T13" fmla="*/ 1 h 192"/>
                <a:gd name="T14" fmla="*/ 1 w 67"/>
                <a:gd name="T15" fmla="*/ 1 h 192"/>
                <a:gd name="T16" fmla="*/ 1 w 67"/>
                <a:gd name="T17" fmla="*/ 1 h 192"/>
                <a:gd name="T18" fmla="*/ 1 w 67"/>
                <a:gd name="T19" fmla="*/ 1 h 192"/>
                <a:gd name="T20" fmla="*/ 1 w 67"/>
                <a:gd name="T21" fmla="*/ 1 h 192"/>
                <a:gd name="T22" fmla="*/ 1 w 67"/>
                <a:gd name="T23" fmla="*/ 1 h 192"/>
                <a:gd name="T24" fmla="*/ 1 w 67"/>
                <a:gd name="T25" fmla="*/ 1 h 192"/>
                <a:gd name="T26" fmla="*/ 1 w 67"/>
                <a:gd name="T27" fmla="*/ 1 h 192"/>
                <a:gd name="T28" fmla="*/ 1 w 67"/>
                <a:gd name="T29" fmla="*/ 1 h 192"/>
                <a:gd name="T30" fmla="*/ 1 w 67"/>
                <a:gd name="T31" fmla="*/ 1 h 192"/>
                <a:gd name="T32" fmla="*/ 1 w 67"/>
                <a:gd name="T33" fmla="*/ 0 h 192"/>
                <a:gd name="T34" fmla="*/ 1 w 67"/>
                <a:gd name="T35" fmla="*/ 1 h 192"/>
                <a:gd name="T36" fmla="*/ 1 w 67"/>
                <a:gd name="T37" fmla="*/ 1 h 192"/>
                <a:gd name="T38" fmla="*/ 1 w 67"/>
                <a:gd name="T39" fmla="*/ 1 h 192"/>
                <a:gd name="T40" fmla="*/ 1 w 67"/>
                <a:gd name="T41" fmla="*/ 1 h 192"/>
                <a:gd name="T42" fmla="*/ 1 w 67"/>
                <a:gd name="T43" fmla="*/ 1 h 192"/>
                <a:gd name="T44" fmla="*/ 1 w 67"/>
                <a:gd name="T45" fmla="*/ 1 h 192"/>
                <a:gd name="T46" fmla="*/ 0 w 67"/>
                <a:gd name="T47" fmla="*/ 1 h 192"/>
                <a:gd name="T48" fmla="*/ 1 w 67"/>
                <a:gd name="T49" fmla="*/ 1 h 192"/>
                <a:gd name="T50" fmla="*/ 1 w 67"/>
                <a:gd name="T51" fmla="*/ 1 h 192"/>
                <a:gd name="T52" fmla="*/ 1 w 67"/>
                <a:gd name="T53" fmla="*/ 1 h 192"/>
                <a:gd name="T54" fmla="*/ 1 w 67"/>
                <a:gd name="T55" fmla="*/ 1 h 19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67"/>
                <a:gd name="T85" fmla="*/ 0 h 192"/>
                <a:gd name="T86" fmla="*/ 67 w 67"/>
                <a:gd name="T87" fmla="*/ 192 h 19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67" h="192">
                  <a:moveTo>
                    <a:pt x="39" y="134"/>
                  </a:moveTo>
                  <a:lnTo>
                    <a:pt x="31" y="159"/>
                  </a:lnTo>
                  <a:lnTo>
                    <a:pt x="42" y="176"/>
                  </a:lnTo>
                  <a:lnTo>
                    <a:pt x="51" y="192"/>
                  </a:lnTo>
                  <a:lnTo>
                    <a:pt x="49" y="177"/>
                  </a:lnTo>
                  <a:lnTo>
                    <a:pt x="61" y="167"/>
                  </a:lnTo>
                  <a:lnTo>
                    <a:pt x="65" y="149"/>
                  </a:lnTo>
                  <a:lnTo>
                    <a:pt x="67" y="131"/>
                  </a:lnTo>
                  <a:lnTo>
                    <a:pt x="55" y="116"/>
                  </a:lnTo>
                  <a:lnTo>
                    <a:pt x="42" y="102"/>
                  </a:lnTo>
                  <a:lnTo>
                    <a:pt x="38" y="78"/>
                  </a:lnTo>
                  <a:lnTo>
                    <a:pt x="42" y="59"/>
                  </a:lnTo>
                  <a:lnTo>
                    <a:pt x="50" y="54"/>
                  </a:lnTo>
                  <a:lnTo>
                    <a:pt x="44" y="35"/>
                  </a:lnTo>
                  <a:lnTo>
                    <a:pt x="38" y="8"/>
                  </a:lnTo>
                  <a:lnTo>
                    <a:pt x="30" y="3"/>
                  </a:lnTo>
                  <a:lnTo>
                    <a:pt x="7" y="0"/>
                  </a:lnTo>
                  <a:lnTo>
                    <a:pt x="9" y="6"/>
                  </a:lnTo>
                  <a:lnTo>
                    <a:pt x="23" y="26"/>
                  </a:lnTo>
                  <a:lnTo>
                    <a:pt x="17" y="35"/>
                  </a:lnTo>
                  <a:lnTo>
                    <a:pt x="17" y="54"/>
                  </a:lnTo>
                  <a:lnTo>
                    <a:pt x="15" y="73"/>
                  </a:lnTo>
                  <a:lnTo>
                    <a:pt x="12" y="80"/>
                  </a:lnTo>
                  <a:lnTo>
                    <a:pt x="0" y="104"/>
                  </a:lnTo>
                  <a:lnTo>
                    <a:pt x="11" y="115"/>
                  </a:lnTo>
                  <a:lnTo>
                    <a:pt x="17" y="126"/>
                  </a:lnTo>
                  <a:lnTo>
                    <a:pt x="31" y="126"/>
                  </a:lnTo>
                  <a:lnTo>
                    <a:pt x="39" y="13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353" name="Freeform 109"/>
            <p:cNvSpPr>
              <a:spLocks/>
            </p:cNvSpPr>
            <p:nvPr/>
          </p:nvSpPr>
          <p:spPr bwMode="auto">
            <a:xfrm>
              <a:off x="3073" y="2275"/>
              <a:ext cx="161" cy="285"/>
            </a:xfrm>
            <a:custGeom>
              <a:avLst/>
              <a:gdLst>
                <a:gd name="T0" fmla="*/ 1 w 229"/>
                <a:gd name="T1" fmla="*/ 2 h 406"/>
                <a:gd name="T2" fmla="*/ 1 w 229"/>
                <a:gd name="T3" fmla="*/ 1 h 406"/>
                <a:gd name="T4" fmla="*/ 1 w 229"/>
                <a:gd name="T5" fmla="*/ 1 h 406"/>
                <a:gd name="T6" fmla="*/ 1 w 229"/>
                <a:gd name="T7" fmla="*/ 1 h 406"/>
                <a:gd name="T8" fmla="*/ 1 w 229"/>
                <a:gd name="T9" fmla="*/ 1 h 406"/>
                <a:gd name="T10" fmla="*/ 1 w 229"/>
                <a:gd name="T11" fmla="*/ 1 h 406"/>
                <a:gd name="T12" fmla="*/ 1 w 229"/>
                <a:gd name="T13" fmla="*/ 1 h 406"/>
                <a:gd name="T14" fmla="*/ 1 w 229"/>
                <a:gd name="T15" fmla="*/ 0 h 406"/>
                <a:gd name="T16" fmla="*/ 1 w 229"/>
                <a:gd name="T17" fmla="*/ 1 h 406"/>
                <a:gd name="T18" fmla="*/ 1 w 229"/>
                <a:gd name="T19" fmla="*/ 1 h 406"/>
                <a:gd name="T20" fmla="*/ 1 w 229"/>
                <a:gd name="T21" fmla="*/ 1 h 406"/>
                <a:gd name="T22" fmla="*/ 1 w 229"/>
                <a:gd name="T23" fmla="*/ 1 h 406"/>
                <a:gd name="T24" fmla="*/ 1 w 229"/>
                <a:gd name="T25" fmla="*/ 1 h 406"/>
                <a:gd name="T26" fmla="*/ 1 w 229"/>
                <a:gd name="T27" fmla="*/ 1 h 406"/>
                <a:gd name="T28" fmla="*/ 1 w 229"/>
                <a:gd name="T29" fmla="*/ 1 h 406"/>
                <a:gd name="T30" fmla="*/ 1 w 229"/>
                <a:gd name="T31" fmla="*/ 1 h 406"/>
                <a:gd name="T32" fmla="*/ 1 w 229"/>
                <a:gd name="T33" fmla="*/ 1 h 406"/>
                <a:gd name="T34" fmla="*/ 1 w 229"/>
                <a:gd name="T35" fmla="*/ 1 h 406"/>
                <a:gd name="T36" fmla="*/ 1 w 229"/>
                <a:gd name="T37" fmla="*/ 1 h 406"/>
                <a:gd name="T38" fmla="*/ 1 w 229"/>
                <a:gd name="T39" fmla="*/ 1 h 406"/>
                <a:gd name="T40" fmla="*/ 1 w 229"/>
                <a:gd name="T41" fmla="*/ 1 h 406"/>
                <a:gd name="T42" fmla="*/ 1 w 229"/>
                <a:gd name="T43" fmla="*/ 1 h 406"/>
                <a:gd name="T44" fmla="*/ 1 w 229"/>
                <a:gd name="T45" fmla="*/ 1 h 406"/>
                <a:gd name="T46" fmla="*/ 1 w 229"/>
                <a:gd name="T47" fmla="*/ 1 h 406"/>
                <a:gd name="T48" fmla="*/ 1 w 229"/>
                <a:gd name="T49" fmla="*/ 1 h 406"/>
                <a:gd name="T50" fmla="*/ 1 w 229"/>
                <a:gd name="T51" fmla="*/ 2 h 406"/>
                <a:gd name="T52" fmla="*/ 1 w 229"/>
                <a:gd name="T53" fmla="*/ 2 h 406"/>
                <a:gd name="T54" fmla="*/ 1 w 229"/>
                <a:gd name="T55" fmla="*/ 2 h 406"/>
                <a:gd name="T56" fmla="*/ 1 w 229"/>
                <a:gd name="T57" fmla="*/ 3 h 406"/>
                <a:gd name="T58" fmla="*/ 1 w 229"/>
                <a:gd name="T59" fmla="*/ 3 h 406"/>
                <a:gd name="T60" fmla="*/ 1 w 229"/>
                <a:gd name="T61" fmla="*/ 3 h 406"/>
                <a:gd name="T62" fmla="*/ 1 w 229"/>
                <a:gd name="T63" fmla="*/ 3 h 406"/>
                <a:gd name="T64" fmla="*/ 1 w 229"/>
                <a:gd name="T65" fmla="*/ 3 h 406"/>
                <a:gd name="T66" fmla="*/ 1 w 229"/>
                <a:gd name="T67" fmla="*/ 2 h 406"/>
                <a:gd name="T68" fmla="*/ 1 w 229"/>
                <a:gd name="T69" fmla="*/ 2 h 406"/>
                <a:gd name="T70" fmla="*/ 1 w 229"/>
                <a:gd name="T71" fmla="*/ 2 h 40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29"/>
                <a:gd name="T109" fmla="*/ 0 h 406"/>
                <a:gd name="T110" fmla="*/ 229 w 229"/>
                <a:gd name="T111" fmla="*/ 406 h 40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29" h="406">
                  <a:moveTo>
                    <a:pt x="93" y="254"/>
                  </a:moveTo>
                  <a:lnTo>
                    <a:pt x="92" y="237"/>
                  </a:lnTo>
                  <a:lnTo>
                    <a:pt x="91" y="230"/>
                  </a:lnTo>
                  <a:lnTo>
                    <a:pt x="100" y="230"/>
                  </a:lnTo>
                  <a:lnTo>
                    <a:pt x="124" y="209"/>
                  </a:lnTo>
                  <a:lnTo>
                    <a:pt x="140" y="188"/>
                  </a:lnTo>
                  <a:lnTo>
                    <a:pt x="159" y="176"/>
                  </a:lnTo>
                  <a:lnTo>
                    <a:pt x="178" y="165"/>
                  </a:lnTo>
                  <a:lnTo>
                    <a:pt x="206" y="148"/>
                  </a:lnTo>
                  <a:lnTo>
                    <a:pt x="224" y="117"/>
                  </a:lnTo>
                  <a:lnTo>
                    <a:pt x="229" y="98"/>
                  </a:lnTo>
                  <a:lnTo>
                    <a:pt x="226" y="99"/>
                  </a:lnTo>
                  <a:lnTo>
                    <a:pt x="224" y="63"/>
                  </a:lnTo>
                  <a:lnTo>
                    <a:pt x="226" y="51"/>
                  </a:lnTo>
                  <a:lnTo>
                    <a:pt x="226" y="17"/>
                  </a:lnTo>
                  <a:lnTo>
                    <a:pt x="228" y="0"/>
                  </a:lnTo>
                  <a:lnTo>
                    <a:pt x="225" y="0"/>
                  </a:lnTo>
                  <a:lnTo>
                    <a:pt x="202" y="11"/>
                  </a:lnTo>
                  <a:lnTo>
                    <a:pt x="180" y="22"/>
                  </a:lnTo>
                  <a:lnTo>
                    <a:pt x="168" y="23"/>
                  </a:lnTo>
                  <a:lnTo>
                    <a:pt x="152" y="29"/>
                  </a:lnTo>
                  <a:lnTo>
                    <a:pt x="127" y="26"/>
                  </a:lnTo>
                  <a:lnTo>
                    <a:pt x="115" y="27"/>
                  </a:lnTo>
                  <a:lnTo>
                    <a:pt x="105" y="27"/>
                  </a:lnTo>
                  <a:lnTo>
                    <a:pt x="97" y="32"/>
                  </a:lnTo>
                  <a:lnTo>
                    <a:pt x="93" y="51"/>
                  </a:lnTo>
                  <a:lnTo>
                    <a:pt x="97" y="75"/>
                  </a:lnTo>
                  <a:lnTo>
                    <a:pt x="110" y="89"/>
                  </a:lnTo>
                  <a:lnTo>
                    <a:pt x="122" y="104"/>
                  </a:lnTo>
                  <a:lnTo>
                    <a:pt x="120" y="122"/>
                  </a:lnTo>
                  <a:lnTo>
                    <a:pt x="116" y="140"/>
                  </a:lnTo>
                  <a:lnTo>
                    <a:pt x="104" y="150"/>
                  </a:lnTo>
                  <a:lnTo>
                    <a:pt x="106" y="165"/>
                  </a:lnTo>
                  <a:lnTo>
                    <a:pt x="97" y="149"/>
                  </a:lnTo>
                  <a:lnTo>
                    <a:pt x="86" y="132"/>
                  </a:lnTo>
                  <a:lnTo>
                    <a:pt x="94" y="107"/>
                  </a:lnTo>
                  <a:lnTo>
                    <a:pt x="86" y="99"/>
                  </a:lnTo>
                  <a:lnTo>
                    <a:pt x="72" y="99"/>
                  </a:lnTo>
                  <a:lnTo>
                    <a:pt x="66" y="88"/>
                  </a:lnTo>
                  <a:lnTo>
                    <a:pt x="49" y="95"/>
                  </a:lnTo>
                  <a:lnTo>
                    <a:pt x="32" y="101"/>
                  </a:lnTo>
                  <a:lnTo>
                    <a:pt x="15" y="108"/>
                  </a:lnTo>
                  <a:lnTo>
                    <a:pt x="0" y="114"/>
                  </a:lnTo>
                  <a:lnTo>
                    <a:pt x="3" y="128"/>
                  </a:lnTo>
                  <a:lnTo>
                    <a:pt x="2" y="137"/>
                  </a:lnTo>
                  <a:lnTo>
                    <a:pt x="14" y="137"/>
                  </a:lnTo>
                  <a:lnTo>
                    <a:pt x="34" y="146"/>
                  </a:lnTo>
                  <a:lnTo>
                    <a:pt x="56" y="155"/>
                  </a:lnTo>
                  <a:lnTo>
                    <a:pt x="56" y="185"/>
                  </a:lnTo>
                  <a:lnTo>
                    <a:pt x="51" y="206"/>
                  </a:lnTo>
                  <a:lnTo>
                    <a:pt x="54" y="228"/>
                  </a:lnTo>
                  <a:lnTo>
                    <a:pt x="46" y="250"/>
                  </a:lnTo>
                  <a:lnTo>
                    <a:pt x="42" y="270"/>
                  </a:lnTo>
                  <a:lnTo>
                    <a:pt x="28" y="284"/>
                  </a:lnTo>
                  <a:lnTo>
                    <a:pt x="14" y="297"/>
                  </a:lnTo>
                  <a:lnTo>
                    <a:pt x="19" y="314"/>
                  </a:lnTo>
                  <a:lnTo>
                    <a:pt x="22" y="332"/>
                  </a:lnTo>
                  <a:lnTo>
                    <a:pt x="24" y="358"/>
                  </a:lnTo>
                  <a:lnTo>
                    <a:pt x="24" y="384"/>
                  </a:lnTo>
                  <a:lnTo>
                    <a:pt x="26" y="406"/>
                  </a:lnTo>
                  <a:lnTo>
                    <a:pt x="42" y="406"/>
                  </a:lnTo>
                  <a:lnTo>
                    <a:pt x="43" y="390"/>
                  </a:lnTo>
                  <a:lnTo>
                    <a:pt x="37" y="384"/>
                  </a:lnTo>
                  <a:lnTo>
                    <a:pt x="62" y="363"/>
                  </a:lnTo>
                  <a:lnTo>
                    <a:pt x="81" y="353"/>
                  </a:lnTo>
                  <a:lnTo>
                    <a:pt x="99" y="342"/>
                  </a:lnTo>
                  <a:lnTo>
                    <a:pt x="99" y="333"/>
                  </a:lnTo>
                  <a:lnTo>
                    <a:pt x="102" y="310"/>
                  </a:lnTo>
                  <a:lnTo>
                    <a:pt x="105" y="288"/>
                  </a:lnTo>
                  <a:lnTo>
                    <a:pt x="100" y="296"/>
                  </a:lnTo>
                  <a:lnTo>
                    <a:pt x="97" y="275"/>
                  </a:lnTo>
                  <a:lnTo>
                    <a:pt x="93" y="25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54" name="Freeform 110"/>
            <p:cNvSpPr>
              <a:spLocks/>
            </p:cNvSpPr>
            <p:nvPr/>
          </p:nvSpPr>
          <p:spPr bwMode="auto">
            <a:xfrm>
              <a:off x="2857" y="2478"/>
              <a:ext cx="246" cy="220"/>
            </a:xfrm>
            <a:custGeom>
              <a:avLst/>
              <a:gdLst>
                <a:gd name="T0" fmla="*/ 1 w 351"/>
                <a:gd name="T1" fmla="*/ 1 h 312"/>
                <a:gd name="T2" fmla="*/ 1 w 351"/>
                <a:gd name="T3" fmla="*/ 1 h 312"/>
                <a:gd name="T4" fmla="*/ 1 w 351"/>
                <a:gd name="T5" fmla="*/ 1 h 312"/>
                <a:gd name="T6" fmla="*/ 1 w 351"/>
                <a:gd name="T7" fmla="*/ 1 h 312"/>
                <a:gd name="T8" fmla="*/ 1 w 351"/>
                <a:gd name="T9" fmla="*/ 1 h 312"/>
                <a:gd name="T10" fmla="*/ 1 w 351"/>
                <a:gd name="T11" fmla="*/ 2 h 312"/>
                <a:gd name="T12" fmla="*/ 1 w 351"/>
                <a:gd name="T13" fmla="*/ 2 h 312"/>
                <a:gd name="T14" fmla="*/ 1 w 351"/>
                <a:gd name="T15" fmla="*/ 2 h 312"/>
                <a:gd name="T16" fmla="*/ 1 w 351"/>
                <a:gd name="T17" fmla="*/ 2 h 312"/>
                <a:gd name="T18" fmla="*/ 1 w 351"/>
                <a:gd name="T19" fmla="*/ 2 h 312"/>
                <a:gd name="T20" fmla="*/ 1 w 351"/>
                <a:gd name="T21" fmla="*/ 2 h 312"/>
                <a:gd name="T22" fmla="*/ 1 w 351"/>
                <a:gd name="T23" fmla="*/ 2 h 312"/>
                <a:gd name="T24" fmla="*/ 1 w 351"/>
                <a:gd name="T25" fmla="*/ 2 h 312"/>
                <a:gd name="T26" fmla="*/ 2 w 351"/>
                <a:gd name="T27" fmla="*/ 2 h 312"/>
                <a:gd name="T28" fmla="*/ 2 w 351"/>
                <a:gd name="T29" fmla="*/ 1 h 312"/>
                <a:gd name="T30" fmla="*/ 2 w 351"/>
                <a:gd name="T31" fmla="*/ 1 h 312"/>
                <a:gd name="T32" fmla="*/ 3 w 351"/>
                <a:gd name="T33" fmla="*/ 1 h 312"/>
                <a:gd name="T34" fmla="*/ 3 w 351"/>
                <a:gd name="T35" fmla="*/ 1 h 312"/>
                <a:gd name="T36" fmla="*/ 2 w 351"/>
                <a:gd name="T37" fmla="*/ 1 h 312"/>
                <a:gd name="T38" fmla="*/ 2 w 351"/>
                <a:gd name="T39" fmla="*/ 1 h 312"/>
                <a:gd name="T40" fmla="*/ 2 w 351"/>
                <a:gd name="T41" fmla="*/ 1 h 312"/>
                <a:gd name="T42" fmla="*/ 2 w 351"/>
                <a:gd name="T43" fmla="*/ 1 h 312"/>
                <a:gd name="T44" fmla="*/ 2 w 351"/>
                <a:gd name="T45" fmla="*/ 1 h 312"/>
                <a:gd name="T46" fmla="*/ 2 w 351"/>
                <a:gd name="T47" fmla="*/ 0 h 312"/>
                <a:gd name="T48" fmla="*/ 1 w 351"/>
                <a:gd name="T49" fmla="*/ 1 h 312"/>
                <a:gd name="T50" fmla="*/ 1 w 351"/>
                <a:gd name="T51" fmla="*/ 1 h 312"/>
                <a:gd name="T52" fmla="*/ 1 w 351"/>
                <a:gd name="T53" fmla="*/ 1 h 312"/>
                <a:gd name="T54" fmla="*/ 1 w 351"/>
                <a:gd name="T55" fmla="*/ 1 h 312"/>
                <a:gd name="T56" fmla="*/ 1 w 351"/>
                <a:gd name="T57" fmla="*/ 1 h 312"/>
                <a:gd name="T58" fmla="*/ 1 w 351"/>
                <a:gd name="T59" fmla="*/ 1 h 312"/>
                <a:gd name="T60" fmla="*/ 2 w 351"/>
                <a:gd name="T61" fmla="*/ 1 h 312"/>
                <a:gd name="T62" fmla="*/ 2 w 351"/>
                <a:gd name="T63" fmla="*/ 1 h 312"/>
                <a:gd name="T64" fmla="*/ 2 w 351"/>
                <a:gd name="T65" fmla="*/ 1 h 312"/>
                <a:gd name="T66" fmla="*/ 2 w 351"/>
                <a:gd name="T67" fmla="*/ 1 h 312"/>
                <a:gd name="T68" fmla="*/ 1 w 351"/>
                <a:gd name="T69" fmla="*/ 1 h 31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1"/>
                <a:gd name="T106" fmla="*/ 0 h 312"/>
                <a:gd name="T107" fmla="*/ 351 w 351"/>
                <a:gd name="T108" fmla="*/ 312 h 31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1" h="312">
                  <a:moveTo>
                    <a:pt x="79" y="63"/>
                  </a:moveTo>
                  <a:lnTo>
                    <a:pt x="77" y="87"/>
                  </a:lnTo>
                  <a:lnTo>
                    <a:pt x="75" y="110"/>
                  </a:lnTo>
                  <a:lnTo>
                    <a:pt x="73" y="133"/>
                  </a:lnTo>
                  <a:lnTo>
                    <a:pt x="71" y="156"/>
                  </a:lnTo>
                  <a:lnTo>
                    <a:pt x="52" y="165"/>
                  </a:lnTo>
                  <a:lnTo>
                    <a:pt x="19" y="161"/>
                  </a:lnTo>
                  <a:lnTo>
                    <a:pt x="12" y="145"/>
                  </a:lnTo>
                  <a:lnTo>
                    <a:pt x="0" y="158"/>
                  </a:lnTo>
                  <a:lnTo>
                    <a:pt x="10" y="181"/>
                  </a:lnTo>
                  <a:lnTo>
                    <a:pt x="18" y="204"/>
                  </a:lnTo>
                  <a:lnTo>
                    <a:pt x="26" y="228"/>
                  </a:lnTo>
                  <a:lnTo>
                    <a:pt x="35" y="251"/>
                  </a:lnTo>
                  <a:lnTo>
                    <a:pt x="26" y="261"/>
                  </a:lnTo>
                  <a:lnTo>
                    <a:pt x="29" y="273"/>
                  </a:lnTo>
                  <a:lnTo>
                    <a:pt x="35" y="299"/>
                  </a:lnTo>
                  <a:lnTo>
                    <a:pt x="42" y="297"/>
                  </a:lnTo>
                  <a:lnTo>
                    <a:pt x="53" y="305"/>
                  </a:lnTo>
                  <a:lnTo>
                    <a:pt x="67" y="312"/>
                  </a:lnTo>
                  <a:lnTo>
                    <a:pt x="89" y="305"/>
                  </a:lnTo>
                  <a:lnTo>
                    <a:pt x="111" y="296"/>
                  </a:lnTo>
                  <a:lnTo>
                    <a:pt x="133" y="296"/>
                  </a:lnTo>
                  <a:lnTo>
                    <a:pt x="155" y="295"/>
                  </a:lnTo>
                  <a:lnTo>
                    <a:pt x="184" y="291"/>
                  </a:lnTo>
                  <a:lnTo>
                    <a:pt x="198" y="287"/>
                  </a:lnTo>
                  <a:lnTo>
                    <a:pt x="221" y="273"/>
                  </a:lnTo>
                  <a:lnTo>
                    <a:pt x="244" y="260"/>
                  </a:lnTo>
                  <a:lnTo>
                    <a:pt x="257" y="246"/>
                  </a:lnTo>
                  <a:lnTo>
                    <a:pt x="271" y="231"/>
                  </a:lnTo>
                  <a:lnTo>
                    <a:pt x="285" y="217"/>
                  </a:lnTo>
                  <a:lnTo>
                    <a:pt x="299" y="201"/>
                  </a:lnTo>
                  <a:lnTo>
                    <a:pt x="315" y="183"/>
                  </a:lnTo>
                  <a:lnTo>
                    <a:pt x="330" y="164"/>
                  </a:lnTo>
                  <a:lnTo>
                    <a:pt x="341" y="140"/>
                  </a:lnTo>
                  <a:lnTo>
                    <a:pt x="351" y="115"/>
                  </a:lnTo>
                  <a:lnTo>
                    <a:pt x="335" y="115"/>
                  </a:lnTo>
                  <a:lnTo>
                    <a:pt x="330" y="126"/>
                  </a:lnTo>
                  <a:lnTo>
                    <a:pt x="310" y="119"/>
                  </a:lnTo>
                  <a:lnTo>
                    <a:pt x="311" y="101"/>
                  </a:lnTo>
                  <a:lnTo>
                    <a:pt x="322" y="87"/>
                  </a:lnTo>
                  <a:lnTo>
                    <a:pt x="333" y="93"/>
                  </a:lnTo>
                  <a:lnTo>
                    <a:pt x="333" y="67"/>
                  </a:lnTo>
                  <a:lnTo>
                    <a:pt x="331" y="41"/>
                  </a:lnTo>
                  <a:lnTo>
                    <a:pt x="328" y="23"/>
                  </a:lnTo>
                  <a:lnTo>
                    <a:pt x="323" y="6"/>
                  </a:lnTo>
                  <a:lnTo>
                    <a:pt x="303" y="2"/>
                  </a:lnTo>
                  <a:lnTo>
                    <a:pt x="282" y="0"/>
                  </a:lnTo>
                  <a:lnTo>
                    <a:pt x="280" y="0"/>
                  </a:lnTo>
                  <a:lnTo>
                    <a:pt x="251" y="19"/>
                  </a:lnTo>
                  <a:lnTo>
                    <a:pt x="229" y="37"/>
                  </a:lnTo>
                  <a:lnTo>
                    <a:pt x="217" y="59"/>
                  </a:lnTo>
                  <a:lnTo>
                    <a:pt x="204" y="67"/>
                  </a:lnTo>
                  <a:lnTo>
                    <a:pt x="192" y="89"/>
                  </a:lnTo>
                  <a:lnTo>
                    <a:pt x="160" y="84"/>
                  </a:lnTo>
                  <a:lnTo>
                    <a:pt x="143" y="78"/>
                  </a:lnTo>
                  <a:lnTo>
                    <a:pt x="131" y="93"/>
                  </a:lnTo>
                  <a:lnTo>
                    <a:pt x="120" y="110"/>
                  </a:lnTo>
                  <a:lnTo>
                    <a:pt x="97" y="115"/>
                  </a:lnTo>
                  <a:lnTo>
                    <a:pt x="90" y="111"/>
                  </a:lnTo>
                  <a:lnTo>
                    <a:pt x="94" y="87"/>
                  </a:lnTo>
                  <a:lnTo>
                    <a:pt x="79" y="63"/>
                  </a:lnTo>
                  <a:lnTo>
                    <a:pt x="244" y="165"/>
                  </a:lnTo>
                  <a:lnTo>
                    <a:pt x="223" y="187"/>
                  </a:lnTo>
                  <a:lnTo>
                    <a:pt x="238" y="209"/>
                  </a:lnTo>
                  <a:lnTo>
                    <a:pt x="246" y="201"/>
                  </a:lnTo>
                  <a:lnTo>
                    <a:pt x="267" y="186"/>
                  </a:lnTo>
                  <a:lnTo>
                    <a:pt x="271" y="171"/>
                  </a:lnTo>
                  <a:lnTo>
                    <a:pt x="252" y="159"/>
                  </a:lnTo>
                  <a:lnTo>
                    <a:pt x="244" y="165"/>
                  </a:lnTo>
                  <a:lnTo>
                    <a:pt x="79" y="6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55" name="Freeform 111"/>
            <p:cNvSpPr>
              <a:spLocks/>
            </p:cNvSpPr>
            <p:nvPr/>
          </p:nvSpPr>
          <p:spPr bwMode="auto">
            <a:xfrm>
              <a:off x="2857" y="2478"/>
              <a:ext cx="246" cy="220"/>
            </a:xfrm>
            <a:custGeom>
              <a:avLst/>
              <a:gdLst>
                <a:gd name="T0" fmla="*/ 1 w 351"/>
                <a:gd name="T1" fmla="*/ 1 h 312"/>
                <a:gd name="T2" fmla="*/ 1 w 351"/>
                <a:gd name="T3" fmla="*/ 1 h 312"/>
                <a:gd name="T4" fmla="*/ 1 w 351"/>
                <a:gd name="T5" fmla="*/ 1 h 312"/>
                <a:gd name="T6" fmla="*/ 1 w 351"/>
                <a:gd name="T7" fmla="*/ 1 h 312"/>
                <a:gd name="T8" fmla="*/ 1 w 351"/>
                <a:gd name="T9" fmla="*/ 1 h 312"/>
                <a:gd name="T10" fmla="*/ 1 w 351"/>
                <a:gd name="T11" fmla="*/ 1 h 312"/>
                <a:gd name="T12" fmla="*/ 1 w 351"/>
                <a:gd name="T13" fmla="*/ 1 h 312"/>
                <a:gd name="T14" fmla="*/ 1 w 351"/>
                <a:gd name="T15" fmla="*/ 1 h 312"/>
                <a:gd name="T16" fmla="*/ 0 w 351"/>
                <a:gd name="T17" fmla="*/ 1 h 312"/>
                <a:gd name="T18" fmla="*/ 1 w 351"/>
                <a:gd name="T19" fmla="*/ 1 h 312"/>
                <a:gd name="T20" fmla="*/ 1 w 351"/>
                <a:gd name="T21" fmla="*/ 1 h 312"/>
                <a:gd name="T22" fmla="*/ 1 w 351"/>
                <a:gd name="T23" fmla="*/ 2 h 312"/>
                <a:gd name="T24" fmla="*/ 1 w 351"/>
                <a:gd name="T25" fmla="*/ 2 h 312"/>
                <a:gd name="T26" fmla="*/ 1 w 351"/>
                <a:gd name="T27" fmla="*/ 2 h 312"/>
                <a:gd name="T28" fmla="*/ 1 w 351"/>
                <a:gd name="T29" fmla="*/ 2 h 312"/>
                <a:gd name="T30" fmla="*/ 1 w 351"/>
                <a:gd name="T31" fmla="*/ 2 h 312"/>
                <a:gd name="T32" fmla="*/ 1 w 351"/>
                <a:gd name="T33" fmla="*/ 2 h 312"/>
                <a:gd name="T34" fmla="*/ 1 w 351"/>
                <a:gd name="T35" fmla="*/ 2 h 312"/>
                <a:gd name="T36" fmla="*/ 1 w 351"/>
                <a:gd name="T37" fmla="*/ 2 h 312"/>
                <a:gd name="T38" fmla="*/ 1 w 351"/>
                <a:gd name="T39" fmla="*/ 2 h 312"/>
                <a:gd name="T40" fmla="*/ 1 w 351"/>
                <a:gd name="T41" fmla="*/ 2 h 312"/>
                <a:gd name="T42" fmla="*/ 1 w 351"/>
                <a:gd name="T43" fmla="*/ 2 h 312"/>
                <a:gd name="T44" fmla="*/ 1 w 351"/>
                <a:gd name="T45" fmla="*/ 2 h 312"/>
                <a:gd name="T46" fmla="*/ 1 w 351"/>
                <a:gd name="T47" fmla="*/ 2 h 312"/>
                <a:gd name="T48" fmla="*/ 1 w 351"/>
                <a:gd name="T49" fmla="*/ 2 h 312"/>
                <a:gd name="T50" fmla="*/ 1 w 351"/>
                <a:gd name="T51" fmla="*/ 2 h 312"/>
                <a:gd name="T52" fmla="*/ 2 w 351"/>
                <a:gd name="T53" fmla="*/ 2 h 312"/>
                <a:gd name="T54" fmla="*/ 2 w 351"/>
                <a:gd name="T55" fmla="*/ 2 h 312"/>
                <a:gd name="T56" fmla="*/ 2 w 351"/>
                <a:gd name="T57" fmla="*/ 2 h 312"/>
                <a:gd name="T58" fmla="*/ 2 w 351"/>
                <a:gd name="T59" fmla="*/ 1 h 312"/>
                <a:gd name="T60" fmla="*/ 2 w 351"/>
                <a:gd name="T61" fmla="*/ 1 h 312"/>
                <a:gd name="T62" fmla="*/ 2 w 351"/>
                <a:gd name="T63" fmla="*/ 1 h 312"/>
                <a:gd name="T64" fmla="*/ 2 w 351"/>
                <a:gd name="T65" fmla="*/ 1 h 312"/>
                <a:gd name="T66" fmla="*/ 3 w 351"/>
                <a:gd name="T67" fmla="*/ 1 h 312"/>
                <a:gd name="T68" fmla="*/ 3 w 351"/>
                <a:gd name="T69" fmla="*/ 1 h 312"/>
                <a:gd name="T70" fmla="*/ 3 w 351"/>
                <a:gd name="T71" fmla="*/ 1 h 312"/>
                <a:gd name="T72" fmla="*/ 2 w 351"/>
                <a:gd name="T73" fmla="*/ 1 h 312"/>
                <a:gd name="T74" fmla="*/ 2 w 351"/>
                <a:gd name="T75" fmla="*/ 1 h 312"/>
                <a:gd name="T76" fmla="*/ 2 w 351"/>
                <a:gd name="T77" fmla="*/ 1 h 312"/>
                <a:gd name="T78" fmla="*/ 2 w 351"/>
                <a:gd name="T79" fmla="*/ 1 h 312"/>
                <a:gd name="T80" fmla="*/ 2 w 351"/>
                <a:gd name="T81" fmla="*/ 1 h 312"/>
                <a:gd name="T82" fmla="*/ 2 w 351"/>
                <a:gd name="T83" fmla="*/ 1 h 312"/>
                <a:gd name="T84" fmla="*/ 2 w 351"/>
                <a:gd name="T85" fmla="*/ 1 h 312"/>
                <a:gd name="T86" fmla="*/ 2 w 351"/>
                <a:gd name="T87" fmla="*/ 1 h 312"/>
                <a:gd name="T88" fmla="*/ 2 w 351"/>
                <a:gd name="T89" fmla="*/ 1 h 312"/>
                <a:gd name="T90" fmla="*/ 2 w 351"/>
                <a:gd name="T91" fmla="*/ 1 h 312"/>
                <a:gd name="T92" fmla="*/ 2 w 351"/>
                <a:gd name="T93" fmla="*/ 0 h 312"/>
                <a:gd name="T94" fmla="*/ 2 w 351"/>
                <a:gd name="T95" fmla="*/ 0 h 312"/>
                <a:gd name="T96" fmla="*/ 2 w 351"/>
                <a:gd name="T97" fmla="*/ 1 h 312"/>
                <a:gd name="T98" fmla="*/ 1 w 351"/>
                <a:gd name="T99" fmla="*/ 1 h 312"/>
                <a:gd name="T100" fmla="*/ 1 w 351"/>
                <a:gd name="T101" fmla="*/ 1 h 312"/>
                <a:gd name="T102" fmla="*/ 1 w 351"/>
                <a:gd name="T103" fmla="*/ 1 h 312"/>
                <a:gd name="T104" fmla="*/ 1 w 351"/>
                <a:gd name="T105" fmla="*/ 1 h 312"/>
                <a:gd name="T106" fmla="*/ 1 w 351"/>
                <a:gd name="T107" fmla="*/ 1 h 312"/>
                <a:gd name="T108" fmla="*/ 1 w 351"/>
                <a:gd name="T109" fmla="*/ 1 h 312"/>
                <a:gd name="T110" fmla="*/ 1 w 351"/>
                <a:gd name="T111" fmla="*/ 1 h 312"/>
                <a:gd name="T112" fmla="*/ 1 w 351"/>
                <a:gd name="T113" fmla="*/ 1 h 312"/>
                <a:gd name="T114" fmla="*/ 1 w 351"/>
                <a:gd name="T115" fmla="*/ 1 h 312"/>
                <a:gd name="T116" fmla="*/ 1 w 351"/>
                <a:gd name="T117" fmla="*/ 1 h 312"/>
                <a:gd name="T118" fmla="*/ 1 w 351"/>
                <a:gd name="T119" fmla="*/ 1 h 312"/>
                <a:gd name="T120" fmla="*/ 1 w 351"/>
                <a:gd name="T121" fmla="*/ 1 h 31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51"/>
                <a:gd name="T184" fmla="*/ 0 h 312"/>
                <a:gd name="T185" fmla="*/ 351 w 351"/>
                <a:gd name="T186" fmla="*/ 312 h 31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51" h="312">
                  <a:moveTo>
                    <a:pt x="79" y="63"/>
                  </a:moveTo>
                  <a:lnTo>
                    <a:pt x="77" y="87"/>
                  </a:lnTo>
                  <a:lnTo>
                    <a:pt x="75" y="110"/>
                  </a:lnTo>
                  <a:lnTo>
                    <a:pt x="73" y="133"/>
                  </a:lnTo>
                  <a:lnTo>
                    <a:pt x="71" y="156"/>
                  </a:lnTo>
                  <a:lnTo>
                    <a:pt x="52" y="165"/>
                  </a:lnTo>
                  <a:lnTo>
                    <a:pt x="19" y="161"/>
                  </a:lnTo>
                  <a:lnTo>
                    <a:pt x="12" y="145"/>
                  </a:lnTo>
                  <a:lnTo>
                    <a:pt x="0" y="158"/>
                  </a:lnTo>
                  <a:lnTo>
                    <a:pt x="10" y="181"/>
                  </a:lnTo>
                  <a:lnTo>
                    <a:pt x="18" y="204"/>
                  </a:lnTo>
                  <a:lnTo>
                    <a:pt x="26" y="228"/>
                  </a:lnTo>
                  <a:lnTo>
                    <a:pt x="35" y="251"/>
                  </a:lnTo>
                  <a:lnTo>
                    <a:pt x="26" y="261"/>
                  </a:lnTo>
                  <a:lnTo>
                    <a:pt x="29" y="273"/>
                  </a:lnTo>
                  <a:lnTo>
                    <a:pt x="35" y="299"/>
                  </a:lnTo>
                  <a:lnTo>
                    <a:pt x="42" y="297"/>
                  </a:lnTo>
                  <a:lnTo>
                    <a:pt x="53" y="305"/>
                  </a:lnTo>
                  <a:lnTo>
                    <a:pt x="67" y="312"/>
                  </a:lnTo>
                  <a:lnTo>
                    <a:pt x="89" y="305"/>
                  </a:lnTo>
                  <a:lnTo>
                    <a:pt x="111" y="296"/>
                  </a:lnTo>
                  <a:lnTo>
                    <a:pt x="133" y="296"/>
                  </a:lnTo>
                  <a:lnTo>
                    <a:pt x="155" y="295"/>
                  </a:lnTo>
                  <a:lnTo>
                    <a:pt x="184" y="291"/>
                  </a:lnTo>
                  <a:lnTo>
                    <a:pt x="198" y="287"/>
                  </a:lnTo>
                  <a:lnTo>
                    <a:pt x="221" y="273"/>
                  </a:lnTo>
                  <a:lnTo>
                    <a:pt x="244" y="260"/>
                  </a:lnTo>
                  <a:lnTo>
                    <a:pt x="257" y="246"/>
                  </a:lnTo>
                  <a:lnTo>
                    <a:pt x="271" y="231"/>
                  </a:lnTo>
                  <a:lnTo>
                    <a:pt x="285" y="217"/>
                  </a:lnTo>
                  <a:lnTo>
                    <a:pt x="299" y="201"/>
                  </a:lnTo>
                  <a:lnTo>
                    <a:pt x="315" y="183"/>
                  </a:lnTo>
                  <a:lnTo>
                    <a:pt x="330" y="164"/>
                  </a:lnTo>
                  <a:lnTo>
                    <a:pt x="341" y="140"/>
                  </a:lnTo>
                  <a:lnTo>
                    <a:pt x="351" y="115"/>
                  </a:lnTo>
                  <a:lnTo>
                    <a:pt x="335" y="115"/>
                  </a:lnTo>
                  <a:lnTo>
                    <a:pt x="330" y="126"/>
                  </a:lnTo>
                  <a:lnTo>
                    <a:pt x="310" y="119"/>
                  </a:lnTo>
                  <a:lnTo>
                    <a:pt x="311" y="101"/>
                  </a:lnTo>
                  <a:lnTo>
                    <a:pt x="322" y="87"/>
                  </a:lnTo>
                  <a:lnTo>
                    <a:pt x="333" y="93"/>
                  </a:lnTo>
                  <a:lnTo>
                    <a:pt x="333" y="67"/>
                  </a:lnTo>
                  <a:lnTo>
                    <a:pt x="331" y="41"/>
                  </a:lnTo>
                  <a:lnTo>
                    <a:pt x="328" y="23"/>
                  </a:lnTo>
                  <a:lnTo>
                    <a:pt x="323" y="6"/>
                  </a:lnTo>
                  <a:lnTo>
                    <a:pt x="303" y="2"/>
                  </a:lnTo>
                  <a:lnTo>
                    <a:pt x="282" y="0"/>
                  </a:lnTo>
                  <a:lnTo>
                    <a:pt x="280" y="0"/>
                  </a:lnTo>
                  <a:lnTo>
                    <a:pt x="251" y="19"/>
                  </a:lnTo>
                  <a:lnTo>
                    <a:pt x="229" y="37"/>
                  </a:lnTo>
                  <a:lnTo>
                    <a:pt x="217" y="59"/>
                  </a:lnTo>
                  <a:lnTo>
                    <a:pt x="204" y="67"/>
                  </a:lnTo>
                  <a:lnTo>
                    <a:pt x="192" y="89"/>
                  </a:lnTo>
                  <a:lnTo>
                    <a:pt x="160" y="84"/>
                  </a:lnTo>
                  <a:lnTo>
                    <a:pt x="143" y="78"/>
                  </a:lnTo>
                  <a:lnTo>
                    <a:pt x="131" y="93"/>
                  </a:lnTo>
                  <a:lnTo>
                    <a:pt x="120" y="110"/>
                  </a:lnTo>
                  <a:lnTo>
                    <a:pt x="97" y="115"/>
                  </a:lnTo>
                  <a:lnTo>
                    <a:pt x="90" y="111"/>
                  </a:lnTo>
                  <a:lnTo>
                    <a:pt x="94" y="87"/>
                  </a:lnTo>
                  <a:lnTo>
                    <a:pt x="79" y="6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56" name="Freeform 112"/>
            <p:cNvSpPr>
              <a:spLocks/>
            </p:cNvSpPr>
            <p:nvPr/>
          </p:nvSpPr>
          <p:spPr bwMode="auto">
            <a:xfrm>
              <a:off x="3013" y="2591"/>
              <a:ext cx="34" cy="35"/>
            </a:xfrm>
            <a:custGeom>
              <a:avLst/>
              <a:gdLst>
                <a:gd name="T0" fmla="*/ 1 w 48"/>
                <a:gd name="T1" fmla="*/ 1 h 50"/>
                <a:gd name="T2" fmla="*/ 0 w 48"/>
                <a:gd name="T3" fmla="*/ 1 h 50"/>
                <a:gd name="T4" fmla="*/ 1 w 48"/>
                <a:gd name="T5" fmla="*/ 1 h 50"/>
                <a:gd name="T6" fmla="*/ 1 w 48"/>
                <a:gd name="T7" fmla="*/ 1 h 50"/>
                <a:gd name="T8" fmla="*/ 1 w 48"/>
                <a:gd name="T9" fmla="*/ 1 h 50"/>
                <a:gd name="T10" fmla="*/ 1 w 48"/>
                <a:gd name="T11" fmla="*/ 1 h 50"/>
                <a:gd name="T12" fmla="*/ 1 w 48"/>
                <a:gd name="T13" fmla="*/ 0 h 50"/>
                <a:gd name="T14" fmla="*/ 1 w 48"/>
                <a:gd name="T15" fmla="*/ 1 h 5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8"/>
                <a:gd name="T25" fmla="*/ 0 h 50"/>
                <a:gd name="T26" fmla="*/ 48 w 48"/>
                <a:gd name="T27" fmla="*/ 50 h 5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8" h="50">
                  <a:moveTo>
                    <a:pt x="21" y="6"/>
                  </a:moveTo>
                  <a:lnTo>
                    <a:pt x="0" y="28"/>
                  </a:lnTo>
                  <a:lnTo>
                    <a:pt x="15" y="50"/>
                  </a:lnTo>
                  <a:lnTo>
                    <a:pt x="23" y="42"/>
                  </a:lnTo>
                  <a:lnTo>
                    <a:pt x="44" y="27"/>
                  </a:lnTo>
                  <a:lnTo>
                    <a:pt x="48" y="12"/>
                  </a:lnTo>
                  <a:lnTo>
                    <a:pt x="29" y="0"/>
                  </a:lnTo>
                  <a:lnTo>
                    <a:pt x="21" y="6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57" name="Freeform 113"/>
            <p:cNvSpPr>
              <a:spLocks/>
            </p:cNvSpPr>
            <p:nvPr/>
          </p:nvSpPr>
          <p:spPr bwMode="auto">
            <a:xfrm>
              <a:off x="2829" y="2487"/>
              <a:ext cx="4" cy="10"/>
            </a:xfrm>
            <a:custGeom>
              <a:avLst/>
              <a:gdLst>
                <a:gd name="T0" fmla="*/ 4 w 4"/>
                <a:gd name="T1" fmla="*/ 2 h 13"/>
                <a:gd name="T2" fmla="*/ 0 w 4"/>
                <a:gd name="T3" fmla="*/ 2 h 13"/>
                <a:gd name="T4" fmla="*/ 2 w 4"/>
                <a:gd name="T5" fmla="*/ 0 h 13"/>
                <a:gd name="T6" fmla="*/ 4 w 4"/>
                <a:gd name="T7" fmla="*/ 2 h 1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13"/>
                <a:gd name="T14" fmla="*/ 4 w 4"/>
                <a:gd name="T15" fmla="*/ 13 h 1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13">
                  <a:moveTo>
                    <a:pt x="4" y="13"/>
                  </a:moveTo>
                  <a:lnTo>
                    <a:pt x="0" y="11"/>
                  </a:lnTo>
                  <a:lnTo>
                    <a:pt x="2" y="0"/>
                  </a:lnTo>
                  <a:lnTo>
                    <a:pt x="4" y="1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58" name="Freeform 114"/>
            <p:cNvSpPr>
              <a:spLocks/>
            </p:cNvSpPr>
            <p:nvPr/>
          </p:nvSpPr>
          <p:spPr bwMode="auto">
            <a:xfrm>
              <a:off x="3073" y="2540"/>
              <a:ext cx="19" cy="27"/>
            </a:xfrm>
            <a:custGeom>
              <a:avLst/>
              <a:gdLst>
                <a:gd name="T0" fmla="*/ 2 w 25"/>
                <a:gd name="T1" fmla="*/ 0 h 39"/>
                <a:gd name="T2" fmla="*/ 1 w 25"/>
                <a:gd name="T3" fmla="*/ 1 h 39"/>
                <a:gd name="T4" fmla="*/ 0 w 25"/>
                <a:gd name="T5" fmla="*/ 1 h 39"/>
                <a:gd name="T6" fmla="*/ 2 w 25"/>
                <a:gd name="T7" fmla="*/ 1 h 39"/>
                <a:gd name="T8" fmla="*/ 2 w 25"/>
                <a:gd name="T9" fmla="*/ 1 h 39"/>
                <a:gd name="T10" fmla="*/ 2 w 25"/>
                <a:gd name="T11" fmla="*/ 1 h 39"/>
                <a:gd name="T12" fmla="*/ 2 w 25"/>
                <a:gd name="T13" fmla="*/ 0 h 3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5"/>
                <a:gd name="T22" fmla="*/ 0 h 39"/>
                <a:gd name="T23" fmla="*/ 25 w 25"/>
                <a:gd name="T24" fmla="*/ 39 h 3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5" h="39">
                  <a:moveTo>
                    <a:pt x="12" y="0"/>
                  </a:moveTo>
                  <a:lnTo>
                    <a:pt x="1" y="14"/>
                  </a:lnTo>
                  <a:lnTo>
                    <a:pt x="0" y="32"/>
                  </a:lnTo>
                  <a:lnTo>
                    <a:pt x="20" y="39"/>
                  </a:lnTo>
                  <a:lnTo>
                    <a:pt x="25" y="28"/>
                  </a:lnTo>
                  <a:lnTo>
                    <a:pt x="23" y="6"/>
                  </a:lnTo>
                  <a:lnTo>
                    <a:pt x="12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59" name="Freeform 115"/>
            <p:cNvSpPr>
              <a:spLocks/>
            </p:cNvSpPr>
            <p:nvPr/>
          </p:nvSpPr>
          <p:spPr bwMode="auto">
            <a:xfrm>
              <a:off x="2791" y="2194"/>
              <a:ext cx="188" cy="211"/>
            </a:xfrm>
            <a:custGeom>
              <a:avLst/>
              <a:gdLst>
                <a:gd name="T0" fmla="*/ 1 w 269"/>
                <a:gd name="T1" fmla="*/ 1 h 300"/>
                <a:gd name="T2" fmla="*/ 1 w 269"/>
                <a:gd name="T3" fmla="*/ 1 h 300"/>
                <a:gd name="T4" fmla="*/ 1 w 269"/>
                <a:gd name="T5" fmla="*/ 1 h 300"/>
                <a:gd name="T6" fmla="*/ 1 w 269"/>
                <a:gd name="T7" fmla="*/ 1 h 300"/>
                <a:gd name="T8" fmla="*/ 1 w 269"/>
                <a:gd name="T9" fmla="*/ 1 h 300"/>
                <a:gd name="T10" fmla="*/ 1 w 269"/>
                <a:gd name="T11" fmla="*/ 2 h 300"/>
                <a:gd name="T12" fmla="*/ 1 w 269"/>
                <a:gd name="T13" fmla="*/ 2 h 300"/>
                <a:gd name="T14" fmla="*/ 1 w 269"/>
                <a:gd name="T15" fmla="*/ 2 h 300"/>
                <a:gd name="T16" fmla="*/ 1 w 269"/>
                <a:gd name="T17" fmla="*/ 2 h 300"/>
                <a:gd name="T18" fmla="*/ 1 w 269"/>
                <a:gd name="T19" fmla="*/ 2 h 300"/>
                <a:gd name="T20" fmla="*/ 1 w 269"/>
                <a:gd name="T21" fmla="*/ 2 h 300"/>
                <a:gd name="T22" fmla="*/ 1 w 269"/>
                <a:gd name="T23" fmla="*/ 2 h 300"/>
                <a:gd name="T24" fmla="*/ 1 w 269"/>
                <a:gd name="T25" fmla="*/ 2 h 300"/>
                <a:gd name="T26" fmla="*/ 1 w 269"/>
                <a:gd name="T27" fmla="*/ 2 h 300"/>
                <a:gd name="T28" fmla="*/ 1 w 269"/>
                <a:gd name="T29" fmla="*/ 2 h 300"/>
                <a:gd name="T30" fmla="*/ 1 w 269"/>
                <a:gd name="T31" fmla="*/ 2 h 300"/>
                <a:gd name="T32" fmla="*/ 1 w 269"/>
                <a:gd name="T33" fmla="*/ 2 h 300"/>
                <a:gd name="T34" fmla="*/ 1 w 269"/>
                <a:gd name="T35" fmla="*/ 2 h 300"/>
                <a:gd name="T36" fmla="*/ 1 w 269"/>
                <a:gd name="T37" fmla="*/ 2 h 300"/>
                <a:gd name="T38" fmla="*/ 0 w 269"/>
                <a:gd name="T39" fmla="*/ 2 h 300"/>
                <a:gd name="T40" fmla="*/ 1 w 269"/>
                <a:gd name="T41" fmla="*/ 2 h 300"/>
                <a:gd name="T42" fmla="*/ 1 w 269"/>
                <a:gd name="T43" fmla="*/ 2 h 300"/>
                <a:gd name="T44" fmla="*/ 1 w 269"/>
                <a:gd name="T45" fmla="*/ 1 h 300"/>
                <a:gd name="T46" fmla="*/ 1 w 269"/>
                <a:gd name="T47" fmla="*/ 1 h 300"/>
                <a:gd name="T48" fmla="*/ 1 w 269"/>
                <a:gd name="T49" fmla="*/ 1 h 300"/>
                <a:gd name="T50" fmla="*/ 1 w 269"/>
                <a:gd name="T51" fmla="*/ 1 h 300"/>
                <a:gd name="T52" fmla="*/ 1 w 269"/>
                <a:gd name="T53" fmla="*/ 1 h 300"/>
                <a:gd name="T54" fmla="*/ 1 w 269"/>
                <a:gd name="T55" fmla="*/ 1 h 300"/>
                <a:gd name="T56" fmla="*/ 1 w 269"/>
                <a:gd name="T57" fmla="*/ 1 h 300"/>
                <a:gd name="T58" fmla="*/ 1 w 269"/>
                <a:gd name="T59" fmla="*/ 1 h 300"/>
                <a:gd name="T60" fmla="*/ 1 w 269"/>
                <a:gd name="T61" fmla="*/ 1 h 300"/>
                <a:gd name="T62" fmla="*/ 1 w 269"/>
                <a:gd name="T63" fmla="*/ 1 h 300"/>
                <a:gd name="T64" fmla="*/ 1 w 269"/>
                <a:gd name="T65" fmla="*/ 0 h 300"/>
                <a:gd name="T66" fmla="*/ 1 w 269"/>
                <a:gd name="T67" fmla="*/ 1 h 300"/>
                <a:gd name="T68" fmla="*/ 1 w 269"/>
                <a:gd name="T69" fmla="*/ 1 h 300"/>
                <a:gd name="T70" fmla="*/ 1 w 269"/>
                <a:gd name="T71" fmla="*/ 1 h 300"/>
                <a:gd name="T72" fmla="*/ 1 w 269"/>
                <a:gd name="T73" fmla="*/ 1 h 300"/>
                <a:gd name="T74" fmla="*/ 1 w 269"/>
                <a:gd name="T75" fmla="*/ 1 h 300"/>
                <a:gd name="T76" fmla="*/ 1 w 269"/>
                <a:gd name="T77" fmla="*/ 1 h 300"/>
                <a:gd name="T78" fmla="*/ 1 w 269"/>
                <a:gd name="T79" fmla="*/ 1 h 300"/>
                <a:gd name="T80" fmla="*/ 1 w 269"/>
                <a:gd name="T81" fmla="*/ 1 h 300"/>
                <a:gd name="T82" fmla="*/ 1 w 269"/>
                <a:gd name="T83" fmla="*/ 1 h 300"/>
                <a:gd name="T84" fmla="*/ 1 w 269"/>
                <a:gd name="T85" fmla="*/ 1 h 300"/>
                <a:gd name="T86" fmla="*/ 1 w 269"/>
                <a:gd name="T87" fmla="*/ 1 h 300"/>
                <a:gd name="T88" fmla="*/ 1 w 269"/>
                <a:gd name="T89" fmla="*/ 1 h 300"/>
                <a:gd name="T90" fmla="*/ 1 w 269"/>
                <a:gd name="T91" fmla="*/ 1 h 300"/>
                <a:gd name="T92" fmla="*/ 1 w 269"/>
                <a:gd name="T93" fmla="*/ 1 h 300"/>
                <a:gd name="T94" fmla="*/ 1 w 269"/>
                <a:gd name="T95" fmla="*/ 1 h 300"/>
                <a:gd name="T96" fmla="*/ 1 w 269"/>
                <a:gd name="T97" fmla="*/ 1 h 300"/>
                <a:gd name="T98" fmla="*/ 1 w 269"/>
                <a:gd name="T99" fmla="*/ 1 h 300"/>
                <a:gd name="T100" fmla="*/ 1 w 269"/>
                <a:gd name="T101" fmla="*/ 1 h 300"/>
                <a:gd name="T102" fmla="*/ 1 w 269"/>
                <a:gd name="T103" fmla="*/ 1 h 300"/>
                <a:gd name="T104" fmla="*/ 1 w 269"/>
                <a:gd name="T105" fmla="*/ 1 h 30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69"/>
                <a:gd name="T160" fmla="*/ 0 h 300"/>
                <a:gd name="T161" fmla="*/ 269 w 269"/>
                <a:gd name="T162" fmla="*/ 300 h 30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69" h="300">
                  <a:moveTo>
                    <a:pt x="268" y="177"/>
                  </a:moveTo>
                  <a:lnTo>
                    <a:pt x="247" y="177"/>
                  </a:lnTo>
                  <a:lnTo>
                    <a:pt x="225" y="178"/>
                  </a:lnTo>
                  <a:lnTo>
                    <a:pt x="225" y="197"/>
                  </a:lnTo>
                  <a:lnTo>
                    <a:pt x="224" y="217"/>
                  </a:lnTo>
                  <a:lnTo>
                    <a:pt x="224" y="237"/>
                  </a:lnTo>
                  <a:lnTo>
                    <a:pt x="223" y="256"/>
                  </a:lnTo>
                  <a:lnTo>
                    <a:pt x="238" y="275"/>
                  </a:lnTo>
                  <a:lnTo>
                    <a:pt x="254" y="293"/>
                  </a:lnTo>
                  <a:lnTo>
                    <a:pt x="221" y="297"/>
                  </a:lnTo>
                  <a:lnTo>
                    <a:pt x="189" y="300"/>
                  </a:lnTo>
                  <a:lnTo>
                    <a:pt x="169" y="295"/>
                  </a:lnTo>
                  <a:lnTo>
                    <a:pt x="148" y="292"/>
                  </a:lnTo>
                  <a:lnTo>
                    <a:pt x="144" y="287"/>
                  </a:lnTo>
                  <a:lnTo>
                    <a:pt x="119" y="286"/>
                  </a:lnTo>
                  <a:lnTo>
                    <a:pt x="94" y="285"/>
                  </a:lnTo>
                  <a:lnTo>
                    <a:pt x="69" y="285"/>
                  </a:lnTo>
                  <a:lnTo>
                    <a:pt x="44" y="283"/>
                  </a:lnTo>
                  <a:lnTo>
                    <a:pt x="27" y="276"/>
                  </a:lnTo>
                  <a:lnTo>
                    <a:pt x="0" y="283"/>
                  </a:lnTo>
                  <a:lnTo>
                    <a:pt x="3" y="263"/>
                  </a:lnTo>
                  <a:lnTo>
                    <a:pt x="4" y="244"/>
                  </a:lnTo>
                  <a:lnTo>
                    <a:pt x="15" y="213"/>
                  </a:lnTo>
                  <a:lnTo>
                    <a:pt x="24" y="181"/>
                  </a:lnTo>
                  <a:lnTo>
                    <a:pt x="35" y="165"/>
                  </a:lnTo>
                  <a:lnTo>
                    <a:pt x="47" y="148"/>
                  </a:lnTo>
                  <a:lnTo>
                    <a:pt x="42" y="115"/>
                  </a:lnTo>
                  <a:lnTo>
                    <a:pt x="36" y="96"/>
                  </a:lnTo>
                  <a:lnTo>
                    <a:pt x="30" y="77"/>
                  </a:lnTo>
                  <a:lnTo>
                    <a:pt x="39" y="65"/>
                  </a:lnTo>
                  <a:lnTo>
                    <a:pt x="27" y="35"/>
                  </a:lnTo>
                  <a:lnTo>
                    <a:pt x="16" y="6"/>
                  </a:lnTo>
                  <a:lnTo>
                    <a:pt x="34" y="0"/>
                  </a:lnTo>
                  <a:lnTo>
                    <a:pt x="53" y="1"/>
                  </a:lnTo>
                  <a:lnTo>
                    <a:pt x="72" y="3"/>
                  </a:lnTo>
                  <a:lnTo>
                    <a:pt x="90" y="3"/>
                  </a:lnTo>
                  <a:lnTo>
                    <a:pt x="110" y="4"/>
                  </a:lnTo>
                  <a:lnTo>
                    <a:pt x="118" y="27"/>
                  </a:lnTo>
                  <a:lnTo>
                    <a:pt x="126" y="51"/>
                  </a:lnTo>
                  <a:lnTo>
                    <a:pt x="142" y="57"/>
                  </a:lnTo>
                  <a:lnTo>
                    <a:pt x="169" y="51"/>
                  </a:lnTo>
                  <a:lnTo>
                    <a:pt x="173" y="29"/>
                  </a:lnTo>
                  <a:lnTo>
                    <a:pt x="196" y="30"/>
                  </a:lnTo>
                  <a:lnTo>
                    <a:pt x="195" y="36"/>
                  </a:lnTo>
                  <a:lnTo>
                    <a:pt x="224" y="40"/>
                  </a:lnTo>
                  <a:lnTo>
                    <a:pt x="225" y="69"/>
                  </a:lnTo>
                  <a:lnTo>
                    <a:pt x="225" y="97"/>
                  </a:lnTo>
                  <a:lnTo>
                    <a:pt x="232" y="123"/>
                  </a:lnTo>
                  <a:lnTo>
                    <a:pt x="233" y="132"/>
                  </a:lnTo>
                  <a:lnTo>
                    <a:pt x="251" y="129"/>
                  </a:lnTo>
                  <a:lnTo>
                    <a:pt x="269" y="125"/>
                  </a:lnTo>
                  <a:lnTo>
                    <a:pt x="269" y="150"/>
                  </a:lnTo>
                  <a:lnTo>
                    <a:pt x="268" y="17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60" name="Freeform 116"/>
            <p:cNvSpPr>
              <a:spLocks/>
            </p:cNvSpPr>
            <p:nvPr/>
          </p:nvSpPr>
          <p:spPr bwMode="auto">
            <a:xfrm>
              <a:off x="2798" y="2170"/>
              <a:ext cx="15" cy="23"/>
            </a:xfrm>
            <a:custGeom>
              <a:avLst/>
              <a:gdLst>
                <a:gd name="T0" fmla="*/ 1 w 23"/>
                <a:gd name="T1" fmla="*/ 1 h 32"/>
                <a:gd name="T2" fmla="*/ 0 w 23"/>
                <a:gd name="T3" fmla="*/ 1 h 32"/>
                <a:gd name="T4" fmla="*/ 1 w 23"/>
                <a:gd name="T5" fmla="*/ 0 h 32"/>
                <a:gd name="T6" fmla="*/ 1 w 23"/>
                <a:gd name="T7" fmla="*/ 1 h 32"/>
                <a:gd name="T8" fmla="*/ 1 w 23"/>
                <a:gd name="T9" fmla="*/ 1 h 32"/>
                <a:gd name="T10" fmla="*/ 1 w 23"/>
                <a:gd name="T11" fmla="*/ 1 h 32"/>
                <a:gd name="T12" fmla="*/ 1 w 23"/>
                <a:gd name="T13" fmla="*/ 1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3"/>
                <a:gd name="T22" fmla="*/ 0 h 32"/>
                <a:gd name="T23" fmla="*/ 23 w 23"/>
                <a:gd name="T24" fmla="*/ 32 h 3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3" h="32">
                  <a:moveTo>
                    <a:pt x="4" y="32"/>
                  </a:moveTo>
                  <a:lnTo>
                    <a:pt x="0" y="13"/>
                  </a:lnTo>
                  <a:lnTo>
                    <a:pt x="14" y="0"/>
                  </a:lnTo>
                  <a:lnTo>
                    <a:pt x="23" y="3"/>
                  </a:lnTo>
                  <a:lnTo>
                    <a:pt x="12" y="10"/>
                  </a:lnTo>
                  <a:lnTo>
                    <a:pt x="11" y="30"/>
                  </a:lnTo>
                  <a:lnTo>
                    <a:pt x="4" y="3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61" name="Freeform 117"/>
            <p:cNvSpPr>
              <a:spLocks/>
            </p:cNvSpPr>
            <p:nvPr/>
          </p:nvSpPr>
          <p:spPr bwMode="auto">
            <a:xfrm>
              <a:off x="1637" y="2000"/>
              <a:ext cx="601" cy="681"/>
            </a:xfrm>
            <a:custGeom>
              <a:avLst/>
              <a:gdLst>
                <a:gd name="T0" fmla="*/ 4 w 856"/>
                <a:gd name="T1" fmla="*/ 1 h 968"/>
                <a:gd name="T2" fmla="*/ 4 w 856"/>
                <a:gd name="T3" fmla="*/ 1 h 968"/>
                <a:gd name="T4" fmla="*/ 4 w 856"/>
                <a:gd name="T5" fmla="*/ 1 h 968"/>
                <a:gd name="T6" fmla="*/ 4 w 856"/>
                <a:gd name="T7" fmla="*/ 1 h 968"/>
                <a:gd name="T8" fmla="*/ 4 w 856"/>
                <a:gd name="T9" fmla="*/ 1 h 968"/>
                <a:gd name="T10" fmla="*/ 4 w 856"/>
                <a:gd name="T11" fmla="*/ 1 h 968"/>
                <a:gd name="T12" fmla="*/ 3 w 856"/>
                <a:gd name="T13" fmla="*/ 1 h 968"/>
                <a:gd name="T14" fmla="*/ 4 w 856"/>
                <a:gd name="T15" fmla="*/ 1 h 968"/>
                <a:gd name="T16" fmla="*/ 4 w 856"/>
                <a:gd name="T17" fmla="*/ 1 h 968"/>
                <a:gd name="T18" fmla="*/ 4 w 856"/>
                <a:gd name="T19" fmla="*/ 1 h 968"/>
                <a:gd name="T20" fmla="*/ 3 w 856"/>
                <a:gd name="T21" fmla="*/ 1 h 968"/>
                <a:gd name="T22" fmla="*/ 3 w 856"/>
                <a:gd name="T23" fmla="*/ 1 h 968"/>
                <a:gd name="T24" fmla="*/ 3 w 856"/>
                <a:gd name="T25" fmla="*/ 1 h 968"/>
                <a:gd name="T26" fmla="*/ 2 w 856"/>
                <a:gd name="T27" fmla="*/ 1 h 968"/>
                <a:gd name="T28" fmla="*/ 2 w 856"/>
                <a:gd name="T29" fmla="*/ 1 h 968"/>
                <a:gd name="T30" fmla="*/ 2 w 856"/>
                <a:gd name="T31" fmla="*/ 1 h 968"/>
                <a:gd name="T32" fmla="*/ 1 w 856"/>
                <a:gd name="T33" fmla="*/ 1 h 968"/>
                <a:gd name="T34" fmla="*/ 1 w 856"/>
                <a:gd name="T35" fmla="*/ 1 h 968"/>
                <a:gd name="T36" fmla="*/ 1 w 856"/>
                <a:gd name="T37" fmla="*/ 1 h 968"/>
                <a:gd name="T38" fmla="*/ 1 w 856"/>
                <a:gd name="T39" fmla="*/ 1 h 968"/>
                <a:gd name="T40" fmla="*/ 1 w 856"/>
                <a:gd name="T41" fmla="*/ 1 h 968"/>
                <a:gd name="T42" fmla="*/ 1 w 856"/>
                <a:gd name="T43" fmla="*/ 1 h 968"/>
                <a:gd name="T44" fmla="*/ 1 w 856"/>
                <a:gd name="T45" fmla="*/ 2 h 968"/>
                <a:gd name="T46" fmla="*/ 1 w 856"/>
                <a:gd name="T47" fmla="*/ 2 h 968"/>
                <a:gd name="T48" fmla="*/ 1 w 856"/>
                <a:gd name="T49" fmla="*/ 3 h 968"/>
                <a:gd name="T50" fmla="*/ 1 w 856"/>
                <a:gd name="T51" fmla="*/ 3 h 968"/>
                <a:gd name="T52" fmla="*/ 1 w 856"/>
                <a:gd name="T53" fmla="*/ 3 h 968"/>
                <a:gd name="T54" fmla="*/ 1 w 856"/>
                <a:gd name="T55" fmla="*/ 3 h 968"/>
                <a:gd name="T56" fmla="*/ 1 w 856"/>
                <a:gd name="T57" fmla="*/ 3 h 968"/>
                <a:gd name="T58" fmla="*/ 2 w 856"/>
                <a:gd name="T59" fmla="*/ 4 h 968"/>
                <a:gd name="T60" fmla="*/ 2 w 856"/>
                <a:gd name="T61" fmla="*/ 4 h 968"/>
                <a:gd name="T62" fmla="*/ 3 w 856"/>
                <a:gd name="T63" fmla="*/ 4 h 968"/>
                <a:gd name="T64" fmla="*/ 3 w 856"/>
                <a:gd name="T65" fmla="*/ 4 h 968"/>
                <a:gd name="T66" fmla="*/ 3 w 856"/>
                <a:gd name="T67" fmla="*/ 5 h 968"/>
                <a:gd name="T68" fmla="*/ 3 w 856"/>
                <a:gd name="T69" fmla="*/ 6 h 968"/>
                <a:gd name="T70" fmla="*/ 3 w 856"/>
                <a:gd name="T71" fmla="*/ 6 h 968"/>
                <a:gd name="T72" fmla="*/ 3 w 856"/>
                <a:gd name="T73" fmla="*/ 6 h 968"/>
                <a:gd name="T74" fmla="*/ 3 w 856"/>
                <a:gd name="T75" fmla="*/ 6 h 968"/>
                <a:gd name="T76" fmla="*/ 3 w 856"/>
                <a:gd name="T77" fmla="*/ 6 h 968"/>
                <a:gd name="T78" fmla="*/ 4 w 856"/>
                <a:gd name="T79" fmla="*/ 7 h 968"/>
                <a:gd name="T80" fmla="*/ 4 w 856"/>
                <a:gd name="T81" fmla="*/ 6 h 968"/>
                <a:gd name="T82" fmla="*/ 4 w 856"/>
                <a:gd name="T83" fmla="*/ 6 h 968"/>
                <a:gd name="T84" fmla="*/ 4 w 856"/>
                <a:gd name="T85" fmla="*/ 6 h 968"/>
                <a:gd name="T86" fmla="*/ 4 w 856"/>
                <a:gd name="T87" fmla="*/ 6 h 968"/>
                <a:gd name="T88" fmla="*/ 4 w 856"/>
                <a:gd name="T89" fmla="*/ 6 h 968"/>
                <a:gd name="T90" fmla="*/ 4 w 856"/>
                <a:gd name="T91" fmla="*/ 6 h 968"/>
                <a:gd name="T92" fmla="*/ 4 w 856"/>
                <a:gd name="T93" fmla="*/ 6 h 968"/>
                <a:gd name="T94" fmla="*/ 5 w 856"/>
                <a:gd name="T95" fmla="*/ 6 h 968"/>
                <a:gd name="T96" fmla="*/ 5 w 856"/>
                <a:gd name="T97" fmla="*/ 6 h 968"/>
                <a:gd name="T98" fmla="*/ 6 w 856"/>
                <a:gd name="T99" fmla="*/ 4 h 968"/>
                <a:gd name="T100" fmla="*/ 6 w 856"/>
                <a:gd name="T101" fmla="*/ 4 h 968"/>
                <a:gd name="T102" fmla="*/ 6 w 856"/>
                <a:gd name="T103" fmla="*/ 4 h 968"/>
                <a:gd name="T104" fmla="*/ 6 w 856"/>
                <a:gd name="T105" fmla="*/ 3 h 968"/>
                <a:gd name="T106" fmla="*/ 6 w 856"/>
                <a:gd name="T107" fmla="*/ 3 h 968"/>
                <a:gd name="T108" fmla="*/ 6 w 856"/>
                <a:gd name="T109" fmla="*/ 2 h 968"/>
                <a:gd name="T110" fmla="*/ 6 w 856"/>
                <a:gd name="T111" fmla="*/ 1 h 968"/>
                <a:gd name="T112" fmla="*/ 5 w 856"/>
                <a:gd name="T113" fmla="*/ 1 h 96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856"/>
                <a:gd name="T172" fmla="*/ 0 h 968"/>
                <a:gd name="T173" fmla="*/ 856 w 856"/>
                <a:gd name="T174" fmla="*/ 968 h 96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856" h="968">
                  <a:moveTo>
                    <a:pt x="650" y="190"/>
                  </a:moveTo>
                  <a:lnTo>
                    <a:pt x="646" y="192"/>
                  </a:lnTo>
                  <a:lnTo>
                    <a:pt x="638" y="209"/>
                  </a:lnTo>
                  <a:lnTo>
                    <a:pt x="644" y="190"/>
                  </a:lnTo>
                  <a:lnTo>
                    <a:pt x="640" y="185"/>
                  </a:lnTo>
                  <a:lnTo>
                    <a:pt x="638" y="188"/>
                  </a:lnTo>
                  <a:lnTo>
                    <a:pt x="639" y="176"/>
                  </a:lnTo>
                  <a:lnTo>
                    <a:pt x="632" y="168"/>
                  </a:lnTo>
                  <a:lnTo>
                    <a:pt x="623" y="168"/>
                  </a:lnTo>
                  <a:lnTo>
                    <a:pt x="621" y="166"/>
                  </a:lnTo>
                  <a:lnTo>
                    <a:pt x="612" y="161"/>
                  </a:lnTo>
                  <a:lnTo>
                    <a:pt x="604" y="156"/>
                  </a:lnTo>
                  <a:lnTo>
                    <a:pt x="594" y="153"/>
                  </a:lnTo>
                  <a:lnTo>
                    <a:pt x="587" y="152"/>
                  </a:lnTo>
                  <a:lnTo>
                    <a:pt x="576" y="146"/>
                  </a:lnTo>
                  <a:lnTo>
                    <a:pt x="575" y="148"/>
                  </a:lnTo>
                  <a:lnTo>
                    <a:pt x="562" y="152"/>
                  </a:lnTo>
                  <a:lnTo>
                    <a:pt x="554" y="166"/>
                  </a:lnTo>
                  <a:lnTo>
                    <a:pt x="552" y="170"/>
                  </a:lnTo>
                  <a:lnTo>
                    <a:pt x="544" y="173"/>
                  </a:lnTo>
                  <a:lnTo>
                    <a:pt x="530" y="195"/>
                  </a:lnTo>
                  <a:lnTo>
                    <a:pt x="531" y="177"/>
                  </a:lnTo>
                  <a:lnTo>
                    <a:pt x="525" y="182"/>
                  </a:lnTo>
                  <a:lnTo>
                    <a:pt x="518" y="178"/>
                  </a:lnTo>
                  <a:lnTo>
                    <a:pt x="509" y="178"/>
                  </a:lnTo>
                  <a:lnTo>
                    <a:pt x="502" y="154"/>
                  </a:lnTo>
                  <a:lnTo>
                    <a:pt x="488" y="162"/>
                  </a:lnTo>
                  <a:lnTo>
                    <a:pt x="472" y="170"/>
                  </a:lnTo>
                  <a:lnTo>
                    <a:pt x="465" y="168"/>
                  </a:lnTo>
                  <a:lnTo>
                    <a:pt x="480" y="158"/>
                  </a:lnTo>
                  <a:lnTo>
                    <a:pt x="494" y="131"/>
                  </a:lnTo>
                  <a:lnTo>
                    <a:pt x="508" y="116"/>
                  </a:lnTo>
                  <a:lnTo>
                    <a:pt x="522" y="99"/>
                  </a:lnTo>
                  <a:lnTo>
                    <a:pt x="516" y="86"/>
                  </a:lnTo>
                  <a:lnTo>
                    <a:pt x="506" y="77"/>
                  </a:lnTo>
                  <a:lnTo>
                    <a:pt x="501" y="56"/>
                  </a:lnTo>
                  <a:lnTo>
                    <a:pt x="497" y="34"/>
                  </a:lnTo>
                  <a:lnTo>
                    <a:pt x="496" y="36"/>
                  </a:lnTo>
                  <a:lnTo>
                    <a:pt x="488" y="23"/>
                  </a:lnTo>
                  <a:lnTo>
                    <a:pt x="489" y="29"/>
                  </a:lnTo>
                  <a:lnTo>
                    <a:pt x="486" y="29"/>
                  </a:lnTo>
                  <a:lnTo>
                    <a:pt x="485" y="30"/>
                  </a:lnTo>
                  <a:lnTo>
                    <a:pt x="471" y="53"/>
                  </a:lnTo>
                  <a:lnTo>
                    <a:pt x="456" y="76"/>
                  </a:lnTo>
                  <a:lnTo>
                    <a:pt x="435" y="75"/>
                  </a:lnTo>
                  <a:lnTo>
                    <a:pt x="420" y="72"/>
                  </a:lnTo>
                  <a:lnTo>
                    <a:pt x="407" y="68"/>
                  </a:lnTo>
                  <a:lnTo>
                    <a:pt x="388" y="71"/>
                  </a:lnTo>
                  <a:lnTo>
                    <a:pt x="389" y="84"/>
                  </a:lnTo>
                  <a:lnTo>
                    <a:pt x="380" y="82"/>
                  </a:lnTo>
                  <a:lnTo>
                    <a:pt x="357" y="86"/>
                  </a:lnTo>
                  <a:lnTo>
                    <a:pt x="335" y="96"/>
                  </a:lnTo>
                  <a:lnTo>
                    <a:pt x="322" y="96"/>
                  </a:lnTo>
                  <a:lnTo>
                    <a:pt x="307" y="78"/>
                  </a:lnTo>
                  <a:lnTo>
                    <a:pt x="305" y="50"/>
                  </a:lnTo>
                  <a:lnTo>
                    <a:pt x="310" y="27"/>
                  </a:lnTo>
                  <a:lnTo>
                    <a:pt x="301" y="14"/>
                  </a:lnTo>
                  <a:lnTo>
                    <a:pt x="299" y="0"/>
                  </a:lnTo>
                  <a:lnTo>
                    <a:pt x="287" y="0"/>
                  </a:lnTo>
                  <a:lnTo>
                    <a:pt x="288" y="2"/>
                  </a:lnTo>
                  <a:lnTo>
                    <a:pt x="282" y="15"/>
                  </a:lnTo>
                  <a:lnTo>
                    <a:pt x="264" y="22"/>
                  </a:lnTo>
                  <a:lnTo>
                    <a:pt x="246" y="30"/>
                  </a:lnTo>
                  <a:lnTo>
                    <a:pt x="243" y="39"/>
                  </a:lnTo>
                  <a:lnTo>
                    <a:pt x="222" y="32"/>
                  </a:lnTo>
                  <a:lnTo>
                    <a:pt x="201" y="24"/>
                  </a:lnTo>
                  <a:lnTo>
                    <a:pt x="208" y="38"/>
                  </a:lnTo>
                  <a:lnTo>
                    <a:pt x="214" y="65"/>
                  </a:lnTo>
                  <a:lnTo>
                    <a:pt x="228" y="70"/>
                  </a:lnTo>
                  <a:lnTo>
                    <a:pt x="225" y="77"/>
                  </a:lnTo>
                  <a:lnTo>
                    <a:pt x="205" y="94"/>
                  </a:lnTo>
                  <a:lnTo>
                    <a:pt x="183" y="111"/>
                  </a:lnTo>
                  <a:lnTo>
                    <a:pt x="180" y="110"/>
                  </a:lnTo>
                  <a:lnTo>
                    <a:pt x="168" y="111"/>
                  </a:lnTo>
                  <a:lnTo>
                    <a:pt x="150" y="100"/>
                  </a:lnTo>
                  <a:lnTo>
                    <a:pt x="147" y="98"/>
                  </a:lnTo>
                  <a:lnTo>
                    <a:pt x="138" y="77"/>
                  </a:lnTo>
                  <a:lnTo>
                    <a:pt x="126" y="86"/>
                  </a:lnTo>
                  <a:lnTo>
                    <a:pt x="120" y="83"/>
                  </a:lnTo>
                  <a:lnTo>
                    <a:pt x="123" y="87"/>
                  </a:lnTo>
                  <a:lnTo>
                    <a:pt x="105" y="87"/>
                  </a:lnTo>
                  <a:lnTo>
                    <a:pt x="85" y="87"/>
                  </a:lnTo>
                  <a:lnTo>
                    <a:pt x="88" y="104"/>
                  </a:lnTo>
                  <a:lnTo>
                    <a:pt x="100" y="108"/>
                  </a:lnTo>
                  <a:lnTo>
                    <a:pt x="96" y="114"/>
                  </a:lnTo>
                  <a:lnTo>
                    <a:pt x="81" y="116"/>
                  </a:lnTo>
                  <a:lnTo>
                    <a:pt x="85" y="140"/>
                  </a:lnTo>
                  <a:lnTo>
                    <a:pt x="95" y="165"/>
                  </a:lnTo>
                  <a:lnTo>
                    <a:pt x="89" y="200"/>
                  </a:lnTo>
                  <a:lnTo>
                    <a:pt x="84" y="234"/>
                  </a:lnTo>
                  <a:lnTo>
                    <a:pt x="77" y="234"/>
                  </a:lnTo>
                  <a:lnTo>
                    <a:pt x="58" y="239"/>
                  </a:lnTo>
                  <a:lnTo>
                    <a:pt x="41" y="248"/>
                  </a:lnTo>
                  <a:lnTo>
                    <a:pt x="23" y="255"/>
                  </a:lnTo>
                  <a:lnTo>
                    <a:pt x="18" y="274"/>
                  </a:lnTo>
                  <a:lnTo>
                    <a:pt x="12" y="293"/>
                  </a:lnTo>
                  <a:lnTo>
                    <a:pt x="0" y="314"/>
                  </a:lnTo>
                  <a:lnTo>
                    <a:pt x="11" y="332"/>
                  </a:lnTo>
                  <a:lnTo>
                    <a:pt x="21" y="351"/>
                  </a:lnTo>
                  <a:lnTo>
                    <a:pt x="19" y="362"/>
                  </a:lnTo>
                  <a:lnTo>
                    <a:pt x="28" y="364"/>
                  </a:lnTo>
                  <a:lnTo>
                    <a:pt x="41" y="374"/>
                  </a:lnTo>
                  <a:lnTo>
                    <a:pt x="59" y="378"/>
                  </a:lnTo>
                  <a:lnTo>
                    <a:pt x="73" y="366"/>
                  </a:lnTo>
                  <a:lnTo>
                    <a:pt x="75" y="384"/>
                  </a:lnTo>
                  <a:lnTo>
                    <a:pt x="77" y="404"/>
                  </a:lnTo>
                  <a:lnTo>
                    <a:pt x="100" y="401"/>
                  </a:lnTo>
                  <a:lnTo>
                    <a:pt x="127" y="402"/>
                  </a:lnTo>
                  <a:lnTo>
                    <a:pt x="138" y="395"/>
                  </a:lnTo>
                  <a:lnTo>
                    <a:pt x="156" y="384"/>
                  </a:lnTo>
                  <a:lnTo>
                    <a:pt x="174" y="372"/>
                  </a:lnTo>
                  <a:lnTo>
                    <a:pt x="191" y="375"/>
                  </a:lnTo>
                  <a:lnTo>
                    <a:pt x="193" y="395"/>
                  </a:lnTo>
                  <a:lnTo>
                    <a:pt x="195" y="416"/>
                  </a:lnTo>
                  <a:lnTo>
                    <a:pt x="211" y="434"/>
                  </a:lnTo>
                  <a:lnTo>
                    <a:pt x="228" y="440"/>
                  </a:lnTo>
                  <a:lnTo>
                    <a:pt x="247" y="449"/>
                  </a:lnTo>
                  <a:lnTo>
                    <a:pt x="271" y="466"/>
                  </a:lnTo>
                  <a:lnTo>
                    <a:pt x="297" y="470"/>
                  </a:lnTo>
                  <a:lnTo>
                    <a:pt x="303" y="480"/>
                  </a:lnTo>
                  <a:lnTo>
                    <a:pt x="306" y="504"/>
                  </a:lnTo>
                  <a:lnTo>
                    <a:pt x="301" y="504"/>
                  </a:lnTo>
                  <a:lnTo>
                    <a:pt x="310" y="514"/>
                  </a:lnTo>
                  <a:lnTo>
                    <a:pt x="313" y="533"/>
                  </a:lnTo>
                  <a:lnTo>
                    <a:pt x="333" y="536"/>
                  </a:lnTo>
                  <a:lnTo>
                    <a:pt x="353" y="538"/>
                  </a:lnTo>
                  <a:lnTo>
                    <a:pt x="355" y="560"/>
                  </a:lnTo>
                  <a:lnTo>
                    <a:pt x="369" y="573"/>
                  </a:lnTo>
                  <a:lnTo>
                    <a:pt x="374" y="582"/>
                  </a:lnTo>
                  <a:lnTo>
                    <a:pt x="369" y="602"/>
                  </a:lnTo>
                  <a:lnTo>
                    <a:pt x="364" y="620"/>
                  </a:lnTo>
                  <a:lnTo>
                    <a:pt x="368" y="628"/>
                  </a:lnTo>
                  <a:lnTo>
                    <a:pt x="364" y="630"/>
                  </a:lnTo>
                  <a:lnTo>
                    <a:pt x="369" y="641"/>
                  </a:lnTo>
                  <a:lnTo>
                    <a:pt x="372" y="676"/>
                  </a:lnTo>
                  <a:lnTo>
                    <a:pt x="404" y="681"/>
                  </a:lnTo>
                  <a:lnTo>
                    <a:pt x="419" y="683"/>
                  </a:lnTo>
                  <a:lnTo>
                    <a:pt x="425" y="704"/>
                  </a:lnTo>
                  <a:lnTo>
                    <a:pt x="432" y="724"/>
                  </a:lnTo>
                  <a:lnTo>
                    <a:pt x="443" y="724"/>
                  </a:lnTo>
                  <a:lnTo>
                    <a:pt x="455" y="725"/>
                  </a:lnTo>
                  <a:lnTo>
                    <a:pt x="454" y="744"/>
                  </a:lnTo>
                  <a:lnTo>
                    <a:pt x="454" y="765"/>
                  </a:lnTo>
                  <a:lnTo>
                    <a:pt x="467" y="765"/>
                  </a:lnTo>
                  <a:lnTo>
                    <a:pt x="477" y="797"/>
                  </a:lnTo>
                  <a:lnTo>
                    <a:pt x="464" y="809"/>
                  </a:lnTo>
                  <a:lnTo>
                    <a:pt x="450" y="821"/>
                  </a:lnTo>
                  <a:lnTo>
                    <a:pt x="438" y="836"/>
                  </a:lnTo>
                  <a:lnTo>
                    <a:pt x="426" y="850"/>
                  </a:lnTo>
                  <a:lnTo>
                    <a:pt x="416" y="864"/>
                  </a:lnTo>
                  <a:lnTo>
                    <a:pt x="405" y="879"/>
                  </a:lnTo>
                  <a:lnTo>
                    <a:pt x="405" y="880"/>
                  </a:lnTo>
                  <a:lnTo>
                    <a:pt x="416" y="878"/>
                  </a:lnTo>
                  <a:lnTo>
                    <a:pt x="442" y="898"/>
                  </a:lnTo>
                  <a:lnTo>
                    <a:pt x="448" y="898"/>
                  </a:lnTo>
                  <a:lnTo>
                    <a:pt x="461" y="906"/>
                  </a:lnTo>
                  <a:lnTo>
                    <a:pt x="484" y="922"/>
                  </a:lnTo>
                  <a:lnTo>
                    <a:pt x="506" y="939"/>
                  </a:lnTo>
                  <a:lnTo>
                    <a:pt x="503" y="951"/>
                  </a:lnTo>
                  <a:lnTo>
                    <a:pt x="508" y="968"/>
                  </a:lnTo>
                  <a:lnTo>
                    <a:pt x="516" y="952"/>
                  </a:lnTo>
                  <a:lnTo>
                    <a:pt x="525" y="936"/>
                  </a:lnTo>
                  <a:lnTo>
                    <a:pt x="525" y="921"/>
                  </a:lnTo>
                  <a:lnTo>
                    <a:pt x="531" y="906"/>
                  </a:lnTo>
                  <a:lnTo>
                    <a:pt x="540" y="894"/>
                  </a:lnTo>
                  <a:lnTo>
                    <a:pt x="538" y="880"/>
                  </a:lnTo>
                  <a:lnTo>
                    <a:pt x="539" y="879"/>
                  </a:lnTo>
                  <a:lnTo>
                    <a:pt x="549" y="882"/>
                  </a:lnTo>
                  <a:lnTo>
                    <a:pt x="554" y="884"/>
                  </a:lnTo>
                  <a:lnTo>
                    <a:pt x="545" y="902"/>
                  </a:lnTo>
                  <a:lnTo>
                    <a:pt x="536" y="920"/>
                  </a:lnTo>
                  <a:lnTo>
                    <a:pt x="528" y="924"/>
                  </a:lnTo>
                  <a:lnTo>
                    <a:pt x="531" y="927"/>
                  </a:lnTo>
                  <a:lnTo>
                    <a:pt x="545" y="906"/>
                  </a:lnTo>
                  <a:lnTo>
                    <a:pt x="560" y="886"/>
                  </a:lnTo>
                  <a:lnTo>
                    <a:pt x="568" y="866"/>
                  </a:lnTo>
                  <a:lnTo>
                    <a:pt x="578" y="845"/>
                  </a:lnTo>
                  <a:lnTo>
                    <a:pt x="584" y="834"/>
                  </a:lnTo>
                  <a:lnTo>
                    <a:pt x="585" y="834"/>
                  </a:lnTo>
                  <a:lnTo>
                    <a:pt x="585" y="814"/>
                  </a:lnTo>
                  <a:lnTo>
                    <a:pt x="585" y="795"/>
                  </a:lnTo>
                  <a:lnTo>
                    <a:pt x="580" y="780"/>
                  </a:lnTo>
                  <a:lnTo>
                    <a:pt x="580" y="772"/>
                  </a:lnTo>
                  <a:lnTo>
                    <a:pt x="584" y="764"/>
                  </a:lnTo>
                  <a:lnTo>
                    <a:pt x="580" y="761"/>
                  </a:lnTo>
                  <a:lnTo>
                    <a:pt x="588" y="760"/>
                  </a:lnTo>
                  <a:lnTo>
                    <a:pt x="608" y="742"/>
                  </a:lnTo>
                  <a:lnTo>
                    <a:pt x="627" y="724"/>
                  </a:lnTo>
                  <a:lnTo>
                    <a:pt x="645" y="718"/>
                  </a:lnTo>
                  <a:lnTo>
                    <a:pt x="662" y="707"/>
                  </a:lnTo>
                  <a:lnTo>
                    <a:pt x="669" y="701"/>
                  </a:lnTo>
                  <a:lnTo>
                    <a:pt x="683" y="701"/>
                  </a:lnTo>
                  <a:lnTo>
                    <a:pt x="676" y="702"/>
                  </a:lnTo>
                  <a:lnTo>
                    <a:pt x="690" y="698"/>
                  </a:lnTo>
                  <a:lnTo>
                    <a:pt x="694" y="696"/>
                  </a:lnTo>
                  <a:lnTo>
                    <a:pt x="718" y="696"/>
                  </a:lnTo>
                  <a:lnTo>
                    <a:pt x="724" y="682"/>
                  </a:lnTo>
                  <a:lnTo>
                    <a:pt x="737" y="675"/>
                  </a:lnTo>
                  <a:lnTo>
                    <a:pt x="740" y="647"/>
                  </a:lnTo>
                  <a:lnTo>
                    <a:pt x="750" y="628"/>
                  </a:lnTo>
                  <a:lnTo>
                    <a:pt x="761" y="609"/>
                  </a:lnTo>
                  <a:lnTo>
                    <a:pt x="765" y="575"/>
                  </a:lnTo>
                  <a:lnTo>
                    <a:pt x="770" y="563"/>
                  </a:lnTo>
                  <a:lnTo>
                    <a:pt x="771" y="539"/>
                  </a:lnTo>
                  <a:lnTo>
                    <a:pt x="772" y="515"/>
                  </a:lnTo>
                  <a:lnTo>
                    <a:pt x="771" y="497"/>
                  </a:lnTo>
                  <a:lnTo>
                    <a:pt x="771" y="479"/>
                  </a:lnTo>
                  <a:lnTo>
                    <a:pt x="767" y="471"/>
                  </a:lnTo>
                  <a:lnTo>
                    <a:pt x="771" y="448"/>
                  </a:lnTo>
                  <a:lnTo>
                    <a:pt x="778" y="446"/>
                  </a:lnTo>
                  <a:lnTo>
                    <a:pt x="779" y="453"/>
                  </a:lnTo>
                  <a:lnTo>
                    <a:pt x="791" y="434"/>
                  </a:lnTo>
                  <a:lnTo>
                    <a:pt x="802" y="414"/>
                  </a:lnTo>
                  <a:lnTo>
                    <a:pt x="802" y="412"/>
                  </a:lnTo>
                  <a:lnTo>
                    <a:pt x="807" y="406"/>
                  </a:lnTo>
                  <a:lnTo>
                    <a:pt x="820" y="388"/>
                  </a:lnTo>
                  <a:lnTo>
                    <a:pt x="833" y="370"/>
                  </a:lnTo>
                  <a:lnTo>
                    <a:pt x="852" y="342"/>
                  </a:lnTo>
                  <a:lnTo>
                    <a:pt x="856" y="308"/>
                  </a:lnTo>
                  <a:lnTo>
                    <a:pt x="846" y="282"/>
                  </a:lnTo>
                  <a:lnTo>
                    <a:pt x="837" y="257"/>
                  </a:lnTo>
                  <a:lnTo>
                    <a:pt x="820" y="254"/>
                  </a:lnTo>
                  <a:lnTo>
                    <a:pt x="802" y="251"/>
                  </a:lnTo>
                  <a:lnTo>
                    <a:pt x="778" y="230"/>
                  </a:lnTo>
                  <a:lnTo>
                    <a:pt x="755" y="209"/>
                  </a:lnTo>
                  <a:lnTo>
                    <a:pt x="724" y="201"/>
                  </a:lnTo>
                  <a:lnTo>
                    <a:pt x="704" y="201"/>
                  </a:lnTo>
                  <a:lnTo>
                    <a:pt x="684" y="197"/>
                  </a:lnTo>
                  <a:lnTo>
                    <a:pt x="665" y="192"/>
                  </a:lnTo>
                  <a:lnTo>
                    <a:pt x="648" y="197"/>
                  </a:lnTo>
                  <a:lnTo>
                    <a:pt x="650" y="19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62" name="Freeform 118"/>
            <p:cNvSpPr>
              <a:spLocks/>
            </p:cNvSpPr>
            <p:nvPr/>
          </p:nvSpPr>
          <p:spPr bwMode="auto">
            <a:xfrm>
              <a:off x="1991" y="2093"/>
              <a:ext cx="36" cy="31"/>
            </a:xfrm>
            <a:custGeom>
              <a:avLst/>
              <a:gdLst>
                <a:gd name="T0" fmla="*/ 1 w 52"/>
                <a:gd name="T1" fmla="*/ 1 h 44"/>
                <a:gd name="T2" fmla="*/ 1 w 52"/>
                <a:gd name="T3" fmla="*/ 1 h 44"/>
                <a:gd name="T4" fmla="*/ 1 w 52"/>
                <a:gd name="T5" fmla="*/ 1 h 44"/>
                <a:gd name="T6" fmla="*/ 1 w 52"/>
                <a:gd name="T7" fmla="*/ 1 h 44"/>
                <a:gd name="T8" fmla="*/ 0 w 52"/>
                <a:gd name="T9" fmla="*/ 1 h 44"/>
                <a:gd name="T10" fmla="*/ 1 w 52"/>
                <a:gd name="T11" fmla="*/ 1 h 44"/>
                <a:gd name="T12" fmla="*/ 1 w 52"/>
                <a:gd name="T13" fmla="*/ 1 h 44"/>
                <a:gd name="T14" fmla="*/ 1 w 52"/>
                <a:gd name="T15" fmla="*/ 0 h 44"/>
                <a:gd name="T16" fmla="*/ 1 w 52"/>
                <a:gd name="T17" fmla="*/ 1 h 44"/>
                <a:gd name="T18" fmla="*/ 1 w 52"/>
                <a:gd name="T19" fmla="*/ 1 h 44"/>
                <a:gd name="T20" fmla="*/ 1 w 52"/>
                <a:gd name="T21" fmla="*/ 1 h 44"/>
                <a:gd name="T22" fmla="*/ 1 w 52"/>
                <a:gd name="T23" fmla="*/ 1 h 44"/>
                <a:gd name="T24" fmla="*/ 1 w 52"/>
                <a:gd name="T25" fmla="*/ 1 h 44"/>
                <a:gd name="T26" fmla="*/ 1 w 52"/>
                <a:gd name="T27" fmla="*/ 1 h 44"/>
                <a:gd name="T28" fmla="*/ 1 w 52"/>
                <a:gd name="T29" fmla="*/ 1 h 4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2"/>
                <a:gd name="T46" fmla="*/ 0 h 44"/>
                <a:gd name="T47" fmla="*/ 52 w 52"/>
                <a:gd name="T48" fmla="*/ 44 h 4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2" h="44">
                  <a:moveTo>
                    <a:pt x="27" y="40"/>
                  </a:moveTo>
                  <a:lnTo>
                    <a:pt x="23" y="42"/>
                  </a:lnTo>
                  <a:lnTo>
                    <a:pt x="11" y="36"/>
                  </a:lnTo>
                  <a:lnTo>
                    <a:pt x="8" y="44"/>
                  </a:lnTo>
                  <a:lnTo>
                    <a:pt x="0" y="26"/>
                  </a:lnTo>
                  <a:lnTo>
                    <a:pt x="3" y="24"/>
                  </a:lnTo>
                  <a:lnTo>
                    <a:pt x="2" y="14"/>
                  </a:lnTo>
                  <a:lnTo>
                    <a:pt x="9" y="0"/>
                  </a:lnTo>
                  <a:lnTo>
                    <a:pt x="30" y="4"/>
                  </a:lnTo>
                  <a:lnTo>
                    <a:pt x="52" y="8"/>
                  </a:lnTo>
                  <a:lnTo>
                    <a:pt x="42" y="28"/>
                  </a:lnTo>
                  <a:lnTo>
                    <a:pt x="40" y="30"/>
                  </a:lnTo>
                  <a:lnTo>
                    <a:pt x="38" y="36"/>
                  </a:lnTo>
                  <a:lnTo>
                    <a:pt x="34" y="36"/>
                  </a:lnTo>
                  <a:lnTo>
                    <a:pt x="27" y="4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63" name="Freeform 119"/>
            <p:cNvSpPr>
              <a:spLocks/>
            </p:cNvSpPr>
            <p:nvPr/>
          </p:nvSpPr>
          <p:spPr bwMode="auto">
            <a:xfrm>
              <a:off x="2757" y="2051"/>
              <a:ext cx="30" cy="22"/>
            </a:xfrm>
            <a:custGeom>
              <a:avLst/>
              <a:gdLst>
                <a:gd name="T0" fmla="*/ 2 w 40"/>
                <a:gd name="T1" fmla="*/ 1 h 34"/>
                <a:gd name="T2" fmla="*/ 0 w 40"/>
                <a:gd name="T3" fmla="*/ 1 h 34"/>
                <a:gd name="T4" fmla="*/ 2 w 40"/>
                <a:gd name="T5" fmla="*/ 1 h 34"/>
                <a:gd name="T6" fmla="*/ 2 w 40"/>
                <a:gd name="T7" fmla="*/ 0 h 34"/>
                <a:gd name="T8" fmla="*/ 2 w 40"/>
                <a:gd name="T9" fmla="*/ 1 h 34"/>
                <a:gd name="T10" fmla="*/ 2 w 40"/>
                <a:gd name="T11" fmla="*/ 1 h 34"/>
                <a:gd name="T12" fmla="*/ 2 w 40"/>
                <a:gd name="T13" fmla="*/ 1 h 34"/>
                <a:gd name="T14" fmla="*/ 2 w 40"/>
                <a:gd name="T15" fmla="*/ 1 h 34"/>
                <a:gd name="T16" fmla="*/ 2 w 40"/>
                <a:gd name="T17" fmla="*/ 1 h 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0"/>
                <a:gd name="T28" fmla="*/ 0 h 34"/>
                <a:gd name="T29" fmla="*/ 40 w 40"/>
                <a:gd name="T30" fmla="*/ 34 h 3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0" h="34">
                  <a:moveTo>
                    <a:pt x="7" y="34"/>
                  </a:moveTo>
                  <a:lnTo>
                    <a:pt x="0" y="31"/>
                  </a:lnTo>
                  <a:lnTo>
                    <a:pt x="2" y="22"/>
                  </a:lnTo>
                  <a:lnTo>
                    <a:pt x="7" y="0"/>
                  </a:lnTo>
                  <a:lnTo>
                    <a:pt x="24" y="3"/>
                  </a:lnTo>
                  <a:lnTo>
                    <a:pt x="40" y="5"/>
                  </a:lnTo>
                  <a:lnTo>
                    <a:pt x="40" y="34"/>
                  </a:lnTo>
                  <a:lnTo>
                    <a:pt x="24" y="34"/>
                  </a:lnTo>
                  <a:lnTo>
                    <a:pt x="7" y="3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64" name="Freeform 120"/>
            <p:cNvSpPr>
              <a:spLocks/>
            </p:cNvSpPr>
            <p:nvPr/>
          </p:nvSpPr>
          <p:spPr bwMode="auto">
            <a:xfrm>
              <a:off x="2743" y="2026"/>
              <a:ext cx="7" cy="9"/>
            </a:xfrm>
            <a:custGeom>
              <a:avLst/>
              <a:gdLst>
                <a:gd name="T0" fmla="*/ 1 w 11"/>
                <a:gd name="T1" fmla="*/ 1 h 14"/>
                <a:gd name="T2" fmla="*/ 1 w 11"/>
                <a:gd name="T3" fmla="*/ 0 h 14"/>
                <a:gd name="T4" fmla="*/ 0 w 11"/>
                <a:gd name="T5" fmla="*/ 1 h 14"/>
                <a:gd name="T6" fmla="*/ 1 w 11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"/>
                <a:gd name="T13" fmla="*/ 0 h 14"/>
                <a:gd name="T14" fmla="*/ 11 w 11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" h="14">
                  <a:moveTo>
                    <a:pt x="11" y="2"/>
                  </a:moveTo>
                  <a:lnTo>
                    <a:pt x="7" y="0"/>
                  </a:lnTo>
                  <a:lnTo>
                    <a:pt x="0" y="14"/>
                  </a:lnTo>
                  <a:lnTo>
                    <a:pt x="11" y="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65" name="Freeform 121"/>
            <p:cNvSpPr>
              <a:spLocks/>
            </p:cNvSpPr>
            <p:nvPr/>
          </p:nvSpPr>
          <p:spPr bwMode="auto">
            <a:xfrm>
              <a:off x="2747" y="2054"/>
              <a:ext cx="89" cy="107"/>
            </a:xfrm>
            <a:custGeom>
              <a:avLst/>
              <a:gdLst>
                <a:gd name="T0" fmla="*/ 1 w 125"/>
                <a:gd name="T1" fmla="*/ 1 h 152"/>
                <a:gd name="T2" fmla="*/ 1 w 125"/>
                <a:gd name="T3" fmla="*/ 1 h 152"/>
                <a:gd name="T4" fmla="*/ 1 w 125"/>
                <a:gd name="T5" fmla="*/ 1 h 152"/>
                <a:gd name="T6" fmla="*/ 1 w 125"/>
                <a:gd name="T7" fmla="*/ 1 h 152"/>
                <a:gd name="T8" fmla="*/ 1 w 125"/>
                <a:gd name="T9" fmla="*/ 1 h 152"/>
                <a:gd name="T10" fmla="*/ 1 w 125"/>
                <a:gd name="T11" fmla="*/ 1 h 152"/>
                <a:gd name="T12" fmla="*/ 0 w 125"/>
                <a:gd name="T13" fmla="*/ 1 h 152"/>
                <a:gd name="T14" fmla="*/ 1 w 125"/>
                <a:gd name="T15" fmla="*/ 1 h 152"/>
                <a:gd name="T16" fmla="*/ 1 w 125"/>
                <a:gd name="T17" fmla="*/ 1 h 152"/>
                <a:gd name="T18" fmla="*/ 1 w 125"/>
                <a:gd name="T19" fmla="*/ 1 h 152"/>
                <a:gd name="T20" fmla="*/ 1 w 125"/>
                <a:gd name="T21" fmla="*/ 1 h 152"/>
                <a:gd name="T22" fmla="*/ 1 w 125"/>
                <a:gd name="T23" fmla="*/ 1 h 152"/>
                <a:gd name="T24" fmla="*/ 1 w 125"/>
                <a:gd name="T25" fmla="*/ 1 h 152"/>
                <a:gd name="T26" fmla="*/ 1 w 125"/>
                <a:gd name="T27" fmla="*/ 1 h 152"/>
                <a:gd name="T28" fmla="*/ 1 w 125"/>
                <a:gd name="T29" fmla="*/ 1 h 152"/>
                <a:gd name="T30" fmla="*/ 1 w 125"/>
                <a:gd name="T31" fmla="*/ 1 h 152"/>
                <a:gd name="T32" fmla="*/ 1 w 125"/>
                <a:gd name="T33" fmla="*/ 1 h 152"/>
                <a:gd name="T34" fmla="*/ 1 w 125"/>
                <a:gd name="T35" fmla="*/ 1 h 152"/>
                <a:gd name="T36" fmla="*/ 1 w 125"/>
                <a:gd name="T37" fmla="*/ 1 h 152"/>
                <a:gd name="T38" fmla="*/ 1 w 125"/>
                <a:gd name="T39" fmla="*/ 1 h 152"/>
                <a:gd name="T40" fmla="*/ 1 w 125"/>
                <a:gd name="T41" fmla="*/ 1 h 152"/>
                <a:gd name="T42" fmla="*/ 1 w 125"/>
                <a:gd name="T43" fmla="*/ 1 h 152"/>
                <a:gd name="T44" fmla="*/ 1 w 125"/>
                <a:gd name="T45" fmla="*/ 1 h 152"/>
                <a:gd name="T46" fmla="*/ 1 w 125"/>
                <a:gd name="T47" fmla="*/ 1 h 152"/>
                <a:gd name="T48" fmla="*/ 1 w 125"/>
                <a:gd name="T49" fmla="*/ 1 h 152"/>
                <a:gd name="T50" fmla="*/ 1 w 125"/>
                <a:gd name="T51" fmla="*/ 1 h 152"/>
                <a:gd name="T52" fmla="*/ 1 w 125"/>
                <a:gd name="T53" fmla="*/ 1 h 152"/>
                <a:gd name="T54" fmla="*/ 1 w 125"/>
                <a:gd name="T55" fmla="*/ 1 h 152"/>
                <a:gd name="T56" fmla="*/ 1 w 125"/>
                <a:gd name="T57" fmla="*/ 1 h 152"/>
                <a:gd name="T58" fmla="*/ 1 w 125"/>
                <a:gd name="T59" fmla="*/ 1 h 152"/>
                <a:gd name="T60" fmla="*/ 1 w 125"/>
                <a:gd name="T61" fmla="*/ 1 h 152"/>
                <a:gd name="T62" fmla="*/ 1 w 125"/>
                <a:gd name="T63" fmla="*/ 1 h 152"/>
                <a:gd name="T64" fmla="*/ 1 w 125"/>
                <a:gd name="T65" fmla="*/ 1 h 152"/>
                <a:gd name="T66" fmla="*/ 1 w 125"/>
                <a:gd name="T67" fmla="*/ 0 h 152"/>
                <a:gd name="T68" fmla="*/ 1 w 125"/>
                <a:gd name="T69" fmla="*/ 0 h 152"/>
                <a:gd name="T70" fmla="*/ 1 w 125"/>
                <a:gd name="T71" fmla="*/ 0 h 152"/>
                <a:gd name="T72" fmla="*/ 1 w 125"/>
                <a:gd name="T73" fmla="*/ 1 h 152"/>
                <a:gd name="T74" fmla="*/ 1 w 125"/>
                <a:gd name="T75" fmla="*/ 1 h 152"/>
                <a:gd name="T76" fmla="*/ 1 w 125"/>
                <a:gd name="T77" fmla="*/ 1 h 152"/>
                <a:gd name="T78" fmla="*/ 1 w 125"/>
                <a:gd name="T79" fmla="*/ 1 h 15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25"/>
                <a:gd name="T121" fmla="*/ 0 h 152"/>
                <a:gd name="T122" fmla="*/ 125 w 125"/>
                <a:gd name="T123" fmla="*/ 152 h 15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25" h="152">
                  <a:moveTo>
                    <a:pt x="21" y="29"/>
                  </a:moveTo>
                  <a:lnTo>
                    <a:pt x="18" y="38"/>
                  </a:lnTo>
                  <a:lnTo>
                    <a:pt x="11" y="38"/>
                  </a:lnTo>
                  <a:lnTo>
                    <a:pt x="25" y="50"/>
                  </a:lnTo>
                  <a:lnTo>
                    <a:pt x="12" y="49"/>
                  </a:lnTo>
                  <a:lnTo>
                    <a:pt x="5" y="72"/>
                  </a:lnTo>
                  <a:lnTo>
                    <a:pt x="0" y="72"/>
                  </a:lnTo>
                  <a:lnTo>
                    <a:pt x="9" y="89"/>
                  </a:lnTo>
                  <a:lnTo>
                    <a:pt x="13" y="94"/>
                  </a:lnTo>
                  <a:lnTo>
                    <a:pt x="6" y="88"/>
                  </a:lnTo>
                  <a:lnTo>
                    <a:pt x="16" y="102"/>
                  </a:lnTo>
                  <a:lnTo>
                    <a:pt x="12" y="102"/>
                  </a:lnTo>
                  <a:lnTo>
                    <a:pt x="27" y="118"/>
                  </a:lnTo>
                  <a:lnTo>
                    <a:pt x="23" y="116"/>
                  </a:lnTo>
                  <a:lnTo>
                    <a:pt x="37" y="134"/>
                  </a:lnTo>
                  <a:lnTo>
                    <a:pt x="52" y="152"/>
                  </a:lnTo>
                  <a:lnTo>
                    <a:pt x="59" y="142"/>
                  </a:lnTo>
                  <a:lnTo>
                    <a:pt x="64" y="145"/>
                  </a:lnTo>
                  <a:lnTo>
                    <a:pt x="69" y="140"/>
                  </a:lnTo>
                  <a:lnTo>
                    <a:pt x="65" y="130"/>
                  </a:lnTo>
                  <a:lnTo>
                    <a:pt x="61" y="124"/>
                  </a:lnTo>
                  <a:lnTo>
                    <a:pt x="61" y="116"/>
                  </a:lnTo>
                  <a:lnTo>
                    <a:pt x="81" y="114"/>
                  </a:lnTo>
                  <a:lnTo>
                    <a:pt x="83" y="100"/>
                  </a:lnTo>
                  <a:lnTo>
                    <a:pt x="95" y="113"/>
                  </a:lnTo>
                  <a:lnTo>
                    <a:pt x="108" y="108"/>
                  </a:lnTo>
                  <a:lnTo>
                    <a:pt x="112" y="115"/>
                  </a:lnTo>
                  <a:lnTo>
                    <a:pt x="119" y="109"/>
                  </a:lnTo>
                  <a:lnTo>
                    <a:pt x="125" y="74"/>
                  </a:lnTo>
                  <a:lnTo>
                    <a:pt x="112" y="53"/>
                  </a:lnTo>
                  <a:lnTo>
                    <a:pt x="123" y="38"/>
                  </a:lnTo>
                  <a:lnTo>
                    <a:pt x="120" y="22"/>
                  </a:lnTo>
                  <a:lnTo>
                    <a:pt x="96" y="24"/>
                  </a:lnTo>
                  <a:lnTo>
                    <a:pt x="99" y="0"/>
                  </a:lnTo>
                  <a:lnTo>
                    <a:pt x="77" y="0"/>
                  </a:lnTo>
                  <a:lnTo>
                    <a:pt x="55" y="0"/>
                  </a:lnTo>
                  <a:lnTo>
                    <a:pt x="55" y="29"/>
                  </a:lnTo>
                  <a:lnTo>
                    <a:pt x="39" y="29"/>
                  </a:lnTo>
                  <a:lnTo>
                    <a:pt x="22" y="29"/>
                  </a:lnTo>
                  <a:lnTo>
                    <a:pt x="21" y="29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66" name="Freeform 122"/>
            <p:cNvSpPr>
              <a:spLocks/>
            </p:cNvSpPr>
            <p:nvPr/>
          </p:nvSpPr>
          <p:spPr bwMode="auto">
            <a:xfrm>
              <a:off x="1828" y="2429"/>
              <a:ext cx="129" cy="142"/>
            </a:xfrm>
            <a:custGeom>
              <a:avLst/>
              <a:gdLst>
                <a:gd name="T0" fmla="*/ 1 w 182"/>
                <a:gd name="T1" fmla="*/ 1 h 202"/>
                <a:gd name="T2" fmla="*/ 1 w 182"/>
                <a:gd name="T3" fmla="*/ 1 h 202"/>
                <a:gd name="T4" fmla="*/ 0 w 182"/>
                <a:gd name="T5" fmla="*/ 1 h 202"/>
                <a:gd name="T6" fmla="*/ 1 w 182"/>
                <a:gd name="T7" fmla="*/ 1 h 202"/>
                <a:gd name="T8" fmla="*/ 1 w 182"/>
                <a:gd name="T9" fmla="*/ 1 h 202"/>
                <a:gd name="T10" fmla="*/ 1 w 182"/>
                <a:gd name="T11" fmla="*/ 1 h 202"/>
                <a:gd name="T12" fmla="*/ 1 w 182"/>
                <a:gd name="T13" fmla="*/ 1 h 202"/>
                <a:gd name="T14" fmla="*/ 1 w 182"/>
                <a:gd name="T15" fmla="*/ 1 h 202"/>
                <a:gd name="T16" fmla="*/ 1 w 182"/>
                <a:gd name="T17" fmla="*/ 1 h 202"/>
                <a:gd name="T18" fmla="*/ 1 w 182"/>
                <a:gd name="T19" fmla="*/ 1 h 202"/>
                <a:gd name="T20" fmla="*/ 1 w 182"/>
                <a:gd name="T21" fmla="*/ 1 h 202"/>
                <a:gd name="T22" fmla="*/ 1 w 182"/>
                <a:gd name="T23" fmla="*/ 1 h 202"/>
                <a:gd name="T24" fmla="*/ 1 w 182"/>
                <a:gd name="T25" fmla="*/ 1 h 202"/>
                <a:gd name="T26" fmla="*/ 1 w 182"/>
                <a:gd name="T27" fmla="*/ 1 h 202"/>
                <a:gd name="T28" fmla="*/ 1 w 182"/>
                <a:gd name="T29" fmla="*/ 1 h 202"/>
                <a:gd name="T30" fmla="*/ 1 w 182"/>
                <a:gd name="T31" fmla="*/ 1 h 202"/>
                <a:gd name="T32" fmla="*/ 1 w 182"/>
                <a:gd name="T33" fmla="*/ 1 h 202"/>
                <a:gd name="T34" fmla="*/ 1 w 182"/>
                <a:gd name="T35" fmla="*/ 1 h 202"/>
                <a:gd name="T36" fmla="*/ 1 w 182"/>
                <a:gd name="T37" fmla="*/ 1 h 202"/>
                <a:gd name="T38" fmla="*/ 1 w 182"/>
                <a:gd name="T39" fmla="*/ 1 h 202"/>
                <a:gd name="T40" fmla="*/ 1 w 182"/>
                <a:gd name="T41" fmla="*/ 1 h 202"/>
                <a:gd name="T42" fmla="*/ 1 w 182"/>
                <a:gd name="T43" fmla="*/ 1 h 202"/>
                <a:gd name="T44" fmla="*/ 1 w 182"/>
                <a:gd name="T45" fmla="*/ 1 h 202"/>
                <a:gd name="T46" fmla="*/ 1 w 182"/>
                <a:gd name="T47" fmla="*/ 1 h 202"/>
                <a:gd name="T48" fmla="*/ 1 w 182"/>
                <a:gd name="T49" fmla="*/ 1 h 202"/>
                <a:gd name="T50" fmla="*/ 1 w 182"/>
                <a:gd name="T51" fmla="*/ 1 h 202"/>
                <a:gd name="T52" fmla="*/ 1 w 182"/>
                <a:gd name="T53" fmla="*/ 1 h 202"/>
                <a:gd name="T54" fmla="*/ 1 w 182"/>
                <a:gd name="T55" fmla="*/ 0 h 202"/>
                <a:gd name="T56" fmla="*/ 1 w 182"/>
                <a:gd name="T57" fmla="*/ 1 h 202"/>
                <a:gd name="T58" fmla="*/ 1 w 182"/>
                <a:gd name="T59" fmla="*/ 1 h 202"/>
                <a:gd name="T60" fmla="*/ 1 w 182"/>
                <a:gd name="T61" fmla="*/ 1 h 20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82"/>
                <a:gd name="T94" fmla="*/ 0 h 202"/>
                <a:gd name="T95" fmla="*/ 182 w 182"/>
                <a:gd name="T96" fmla="*/ 202 h 20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82" h="202">
                  <a:moveTo>
                    <a:pt x="10" y="18"/>
                  </a:moveTo>
                  <a:lnTo>
                    <a:pt x="6" y="46"/>
                  </a:lnTo>
                  <a:lnTo>
                    <a:pt x="0" y="72"/>
                  </a:lnTo>
                  <a:lnTo>
                    <a:pt x="21" y="92"/>
                  </a:lnTo>
                  <a:lnTo>
                    <a:pt x="43" y="113"/>
                  </a:lnTo>
                  <a:lnTo>
                    <a:pt x="61" y="120"/>
                  </a:lnTo>
                  <a:lnTo>
                    <a:pt x="79" y="128"/>
                  </a:lnTo>
                  <a:lnTo>
                    <a:pt x="98" y="140"/>
                  </a:lnTo>
                  <a:lnTo>
                    <a:pt x="117" y="151"/>
                  </a:lnTo>
                  <a:lnTo>
                    <a:pt x="109" y="175"/>
                  </a:lnTo>
                  <a:lnTo>
                    <a:pt x="101" y="198"/>
                  </a:lnTo>
                  <a:lnTo>
                    <a:pt x="126" y="200"/>
                  </a:lnTo>
                  <a:lnTo>
                    <a:pt x="151" y="202"/>
                  </a:lnTo>
                  <a:lnTo>
                    <a:pt x="165" y="197"/>
                  </a:lnTo>
                  <a:lnTo>
                    <a:pt x="182" y="170"/>
                  </a:lnTo>
                  <a:lnTo>
                    <a:pt x="181" y="155"/>
                  </a:lnTo>
                  <a:lnTo>
                    <a:pt x="181" y="134"/>
                  </a:lnTo>
                  <a:lnTo>
                    <a:pt x="182" y="115"/>
                  </a:lnTo>
                  <a:lnTo>
                    <a:pt x="170" y="114"/>
                  </a:lnTo>
                  <a:lnTo>
                    <a:pt x="159" y="114"/>
                  </a:lnTo>
                  <a:lnTo>
                    <a:pt x="152" y="94"/>
                  </a:lnTo>
                  <a:lnTo>
                    <a:pt x="146" y="73"/>
                  </a:lnTo>
                  <a:lnTo>
                    <a:pt x="131" y="71"/>
                  </a:lnTo>
                  <a:lnTo>
                    <a:pt x="99" y="66"/>
                  </a:lnTo>
                  <a:lnTo>
                    <a:pt x="96" y="31"/>
                  </a:lnTo>
                  <a:lnTo>
                    <a:pt x="91" y="20"/>
                  </a:lnTo>
                  <a:lnTo>
                    <a:pt x="92" y="17"/>
                  </a:lnTo>
                  <a:lnTo>
                    <a:pt x="69" y="0"/>
                  </a:lnTo>
                  <a:lnTo>
                    <a:pt x="42" y="4"/>
                  </a:lnTo>
                  <a:lnTo>
                    <a:pt x="13" y="7"/>
                  </a:lnTo>
                  <a:lnTo>
                    <a:pt x="10" y="1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67" name="Freeform 123"/>
            <p:cNvSpPr>
              <a:spLocks/>
            </p:cNvSpPr>
            <p:nvPr/>
          </p:nvSpPr>
          <p:spPr bwMode="auto">
            <a:xfrm>
              <a:off x="2711" y="2085"/>
              <a:ext cx="5" cy="5"/>
            </a:xfrm>
            <a:custGeom>
              <a:avLst/>
              <a:gdLst>
                <a:gd name="T0" fmla="*/ 1 w 7"/>
                <a:gd name="T1" fmla="*/ 1 h 9"/>
                <a:gd name="T2" fmla="*/ 1 w 7"/>
                <a:gd name="T3" fmla="*/ 1 h 9"/>
                <a:gd name="T4" fmla="*/ 0 w 7"/>
                <a:gd name="T5" fmla="*/ 1 h 9"/>
                <a:gd name="T6" fmla="*/ 1 w 7"/>
                <a:gd name="T7" fmla="*/ 0 h 9"/>
                <a:gd name="T8" fmla="*/ 1 w 7"/>
                <a:gd name="T9" fmla="*/ 1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9"/>
                <a:gd name="T17" fmla="*/ 7 w 7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9">
                  <a:moveTo>
                    <a:pt x="7" y="3"/>
                  </a:moveTo>
                  <a:lnTo>
                    <a:pt x="2" y="9"/>
                  </a:lnTo>
                  <a:lnTo>
                    <a:pt x="0" y="5"/>
                  </a:lnTo>
                  <a:lnTo>
                    <a:pt x="3" y="0"/>
                  </a:lnTo>
                  <a:lnTo>
                    <a:pt x="7" y="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68" name="Freeform 124"/>
            <p:cNvSpPr>
              <a:spLocks/>
            </p:cNvSpPr>
            <p:nvPr/>
          </p:nvSpPr>
          <p:spPr bwMode="auto">
            <a:xfrm>
              <a:off x="2726" y="2062"/>
              <a:ext cx="2" cy="3"/>
            </a:xfrm>
            <a:custGeom>
              <a:avLst/>
              <a:gdLst>
                <a:gd name="T0" fmla="*/ 0 w 1"/>
                <a:gd name="T1" fmla="*/ 2 h 4"/>
                <a:gd name="T2" fmla="*/ 0 w 1"/>
                <a:gd name="T3" fmla="*/ 1 h 4"/>
                <a:gd name="T4" fmla="*/ 16384 w 1"/>
                <a:gd name="T5" fmla="*/ 0 h 4"/>
                <a:gd name="T6" fmla="*/ 0 w 1"/>
                <a:gd name="T7" fmla="*/ 2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4"/>
                <a:gd name="T14" fmla="*/ 1 w 1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4">
                  <a:moveTo>
                    <a:pt x="0" y="4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0" y="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69" name="Freeform 125"/>
            <p:cNvSpPr>
              <a:spLocks/>
            </p:cNvSpPr>
            <p:nvPr/>
          </p:nvSpPr>
          <p:spPr bwMode="auto">
            <a:xfrm>
              <a:off x="3065" y="2110"/>
              <a:ext cx="167" cy="186"/>
            </a:xfrm>
            <a:custGeom>
              <a:avLst/>
              <a:gdLst>
                <a:gd name="T0" fmla="*/ 1 w 237"/>
                <a:gd name="T1" fmla="*/ 1 h 264"/>
                <a:gd name="T2" fmla="*/ 1 w 237"/>
                <a:gd name="T3" fmla="*/ 1 h 264"/>
                <a:gd name="T4" fmla="*/ 1 w 237"/>
                <a:gd name="T5" fmla="*/ 1 h 264"/>
                <a:gd name="T6" fmla="*/ 1 w 237"/>
                <a:gd name="T7" fmla="*/ 1 h 264"/>
                <a:gd name="T8" fmla="*/ 1 w 237"/>
                <a:gd name="T9" fmla="*/ 1 h 264"/>
                <a:gd name="T10" fmla="*/ 1 w 237"/>
                <a:gd name="T11" fmla="*/ 0 h 264"/>
                <a:gd name="T12" fmla="*/ 1 w 237"/>
                <a:gd name="T13" fmla="*/ 0 h 264"/>
                <a:gd name="T14" fmla="*/ 1 w 237"/>
                <a:gd name="T15" fmla="*/ 0 h 264"/>
                <a:gd name="T16" fmla="*/ 1 w 237"/>
                <a:gd name="T17" fmla="*/ 1 h 264"/>
                <a:gd name="T18" fmla="*/ 1 w 237"/>
                <a:gd name="T19" fmla="*/ 1 h 264"/>
                <a:gd name="T20" fmla="*/ 1 w 237"/>
                <a:gd name="T21" fmla="*/ 1 h 264"/>
                <a:gd name="T22" fmla="*/ 1 w 237"/>
                <a:gd name="T23" fmla="*/ 1 h 264"/>
                <a:gd name="T24" fmla="*/ 1 w 237"/>
                <a:gd name="T25" fmla="*/ 1 h 264"/>
                <a:gd name="T26" fmla="*/ 1 w 237"/>
                <a:gd name="T27" fmla="*/ 1 h 264"/>
                <a:gd name="T28" fmla="*/ 1 w 237"/>
                <a:gd name="T29" fmla="*/ 1 h 264"/>
                <a:gd name="T30" fmla="*/ 1 w 237"/>
                <a:gd name="T31" fmla="*/ 1 h 264"/>
                <a:gd name="T32" fmla="*/ 0 w 237"/>
                <a:gd name="T33" fmla="*/ 1 h 264"/>
                <a:gd name="T34" fmla="*/ 1 w 237"/>
                <a:gd name="T35" fmla="*/ 1 h 264"/>
                <a:gd name="T36" fmla="*/ 1 w 237"/>
                <a:gd name="T37" fmla="*/ 1 h 264"/>
                <a:gd name="T38" fmla="*/ 1 w 237"/>
                <a:gd name="T39" fmla="*/ 1 h 264"/>
                <a:gd name="T40" fmla="*/ 1 w 237"/>
                <a:gd name="T41" fmla="*/ 1 h 264"/>
                <a:gd name="T42" fmla="*/ 1 w 237"/>
                <a:gd name="T43" fmla="*/ 1 h 264"/>
                <a:gd name="T44" fmla="*/ 1 w 237"/>
                <a:gd name="T45" fmla="*/ 1 h 264"/>
                <a:gd name="T46" fmla="*/ 1 w 237"/>
                <a:gd name="T47" fmla="*/ 1 h 264"/>
                <a:gd name="T48" fmla="*/ 1 w 237"/>
                <a:gd name="T49" fmla="*/ 1 h 264"/>
                <a:gd name="T50" fmla="*/ 1 w 237"/>
                <a:gd name="T51" fmla="*/ 1 h 264"/>
                <a:gd name="T52" fmla="*/ 1 w 237"/>
                <a:gd name="T53" fmla="*/ 1 h 264"/>
                <a:gd name="T54" fmla="*/ 1 w 237"/>
                <a:gd name="T55" fmla="*/ 2 h 264"/>
                <a:gd name="T56" fmla="*/ 1 w 237"/>
                <a:gd name="T57" fmla="*/ 2 h 264"/>
                <a:gd name="T58" fmla="*/ 1 w 237"/>
                <a:gd name="T59" fmla="*/ 2 h 264"/>
                <a:gd name="T60" fmla="*/ 1 w 237"/>
                <a:gd name="T61" fmla="*/ 2 h 264"/>
                <a:gd name="T62" fmla="*/ 1 w 237"/>
                <a:gd name="T63" fmla="*/ 2 h 264"/>
                <a:gd name="T64" fmla="*/ 1 w 237"/>
                <a:gd name="T65" fmla="*/ 2 h 264"/>
                <a:gd name="T66" fmla="*/ 1 w 237"/>
                <a:gd name="T67" fmla="*/ 2 h 264"/>
                <a:gd name="T68" fmla="*/ 1 w 237"/>
                <a:gd name="T69" fmla="*/ 2 h 264"/>
                <a:gd name="T70" fmla="*/ 2 w 237"/>
                <a:gd name="T71" fmla="*/ 2 h 264"/>
                <a:gd name="T72" fmla="*/ 1 w 237"/>
                <a:gd name="T73" fmla="*/ 1 h 264"/>
                <a:gd name="T74" fmla="*/ 1 w 237"/>
                <a:gd name="T75" fmla="*/ 1 h 264"/>
                <a:gd name="T76" fmla="*/ 1 w 237"/>
                <a:gd name="T77" fmla="*/ 1 h 264"/>
                <a:gd name="T78" fmla="*/ 1 w 237"/>
                <a:gd name="T79" fmla="*/ 1 h 264"/>
                <a:gd name="T80" fmla="*/ 1 w 237"/>
                <a:gd name="T81" fmla="*/ 1 h 264"/>
                <a:gd name="T82" fmla="*/ 1 w 237"/>
                <a:gd name="T83" fmla="*/ 1 h 264"/>
                <a:gd name="T84" fmla="*/ 1 w 237"/>
                <a:gd name="T85" fmla="*/ 1 h 264"/>
                <a:gd name="T86" fmla="*/ 1 w 237"/>
                <a:gd name="T87" fmla="*/ 1 h 264"/>
                <a:gd name="T88" fmla="*/ 1 w 237"/>
                <a:gd name="T89" fmla="*/ 1 h 264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37"/>
                <a:gd name="T136" fmla="*/ 0 h 264"/>
                <a:gd name="T137" fmla="*/ 237 w 237"/>
                <a:gd name="T138" fmla="*/ 264 h 264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37" h="264">
                  <a:moveTo>
                    <a:pt x="181" y="58"/>
                  </a:moveTo>
                  <a:lnTo>
                    <a:pt x="180" y="49"/>
                  </a:lnTo>
                  <a:lnTo>
                    <a:pt x="159" y="37"/>
                  </a:lnTo>
                  <a:lnTo>
                    <a:pt x="139" y="24"/>
                  </a:lnTo>
                  <a:lnTo>
                    <a:pt x="118" y="12"/>
                  </a:lnTo>
                  <a:lnTo>
                    <a:pt x="99" y="0"/>
                  </a:lnTo>
                  <a:lnTo>
                    <a:pt x="80" y="0"/>
                  </a:lnTo>
                  <a:lnTo>
                    <a:pt x="61" y="0"/>
                  </a:lnTo>
                  <a:lnTo>
                    <a:pt x="43" y="1"/>
                  </a:lnTo>
                  <a:lnTo>
                    <a:pt x="24" y="1"/>
                  </a:lnTo>
                  <a:lnTo>
                    <a:pt x="31" y="33"/>
                  </a:lnTo>
                  <a:lnTo>
                    <a:pt x="25" y="35"/>
                  </a:lnTo>
                  <a:lnTo>
                    <a:pt x="25" y="47"/>
                  </a:lnTo>
                  <a:lnTo>
                    <a:pt x="31" y="55"/>
                  </a:lnTo>
                  <a:lnTo>
                    <a:pt x="18" y="70"/>
                  </a:lnTo>
                  <a:lnTo>
                    <a:pt x="4" y="85"/>
                  </a:lnTo>
                  <a:lnTo>
                    <a:pt x="0" y="85"/>
                  </a:lnTo>
                  <a:lnTo>
                    <a:pt x="1" y="103"/>
                  </a:lnTo>
                  <a:lnTo>
                    <a:pt x="1" y="121"/>
                  </a:lnTo>
                  <a:lnTo>
                    <a:pt x="9" y="143"/>
                  </a:lnTo>
                  <a:lnTo>
                    <a:pt x="19" y="160"/>
                  </a:lnTo>
                  <a:lnTo>
                    <a:pt x="27" y="178"/>
                  </a:lnTo>
                  <a:lnTo>
                    <a:pt x="28" y="183"/>
                  </a:lnTo>
                  <a:lnTo>
                    <a:pt x="51" y="196"/>
                  </a:lnTo>
                  <a:lnTo>
                    <a:pt x="74" y="208"/>
                  </a:lnTo>
                  <a:lnTo>
                    <a:pt x="97" y="211"/>
                  </a:lnTo>
                  <a:lnTo>
                    <a:pt x="105" y="216"/>
                  </a:lnTo>
                  <a:lnTo>
                    <a:pt x="111" y="243"/>
                  </a:lnTo>
                  <a:lnTo>
                    <a:pt x="117" y="262"/>
                  </a:lnTo>
                  <a:lnTo>
                    <a:pt x="127" y="262"/>
                  </a:lnTo>
                  <a:lnTo>
                    <a:pt x="139" y="261"/>
                  </a:lnTo>
                  <a:lnTo>
                    <a:pt x="164" y="264"/>
                  </a:lnTo>
                  <a:lnTo>
                    <a:pt x="180" y="258"/>
                  </a:lnTo>
                  <a:lnTo>
                    <a:pt x="192" y="257"/>
                  </a:lnTo>
                  <a:lnTo>
                    <a:pt x="214" y="246"/>
                  </a:lnTo>
                  <a:lnTo>
                    <a:pt x="237" y="235"/>
                  </a:lnTo>
                  <a:lnTo>
                    <a:pt x="223" y="220"/>
                  </a:lnTo>
                  <a:lnTo>
                    <a:pt x="218" y="196"/>
                  </a:lnTo>
                  <a:lnTo>
                    <a:pt x="216" y="177"/>
                  </a:lnTo>
                  <a:lnTo>
                    <a:pt x="214" y="169"/>
                  </a:lnTo>
                  <a:lnTo>
                    <a:pt x="218" y="145"/>
                  </a:lnTo>
                  <a:lnTo>
                    <a:pt x="204" y="124"/>
                  </a:lnTo>
                  <a:lnTo>
                    <a:pt x="213" y="91"/>
                  </a:lnTo>
                  <a:lnTo>
                    <a:pt x="198" y="75"/>
                  </a:lnTo>
                  <a:lnTo>
                    <a:pt x="181" y="5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70" name="Freeform 126"/>
            <p:cNvSpPr>
              <a:spLocks/>
            </p:cNvSpPr>
            <p:nvPr/>
          </p:nvSpPr>
          <p:spPr bwMode="auto">
            <a:xfrm>
              <a:off x="3068" y="2019"/>
              <a:ext cx="83" cy="97"/>
            </a:xfrm>
            <a:custGeom>
              <a:avLst/>
              <a:gdLst>
                <a:gd name="T0" fmla="*/ 1 w 118"/>
                <a:gd name="T1" fmla="*/ 1 h 139"/>
                <a:gd name="T2" fmla="*/ 1 w 118"/>
                <a:gd name="T3" fmla="*/ 0 h 139"/>
                <a:gd name="T4" fmla="*/ 1 w 118"/>
                <a:gd name="T5" fmla="*/ 1 h 139"/>
                <a:gd name="T6" fmla="*/ 1 w 118"/>
                <a:gd name="T7" fmla="*/ 1 h 139"/>
                <a:gd name="T8" fmla="*/ 1 w 118"/>
                <a:gd name="T9" fmla="*/ 1 h 139"/>
                <a:gd name="T10" fmla="*/ 1 w 118"/>
                <a:gd name="T11" fmla="*/ 1 h 139"/>
                <a:gd name="T12" fmla="*/ 1 w 118"/>
                <a:gd name="T13" fmla="*/ 1 h 139"/>
                <a:gd name="T14" fmla="*/ 1 w 118"/>
                <a:gd name="T15" fmla="*/ 1 h 139"/>
                <a:gd name="T16" fmla="*/ 1 w 118"/>
                <a:gd name="T17" fmla="*/ 1 h 139"/>
                <a:gd name="T18" fmla="*/ 1 w 118"/>
                <a:gd name="T19" fmla="*/ 1 h 139"/>
                <a:gd name="T20" fmla="*/ 1 w 118"/>
                <a:gd name="T21" fmla="*/ 1 h 139"/>
                <a:gd name="T22" fmla="*/ 1 w 118"/>
                <a:gd name="T23" fmla="*/ 1 h 139"/>
                <a:gd name="T24" fmla="*/ 1 w 118"/>
                <a:gd name="T25" fmla="*/ 1 h 139"/>
                <a:gd name="T26" fmla="*/ 0 w 118"/>
                <a:gd name="T27" fmla="*/ 1 h 139"/>
                <a:gd name="T28" fmla="*/ 1 w 118"/>
                <a:gd name="T29" fmla="*/ 1 h 139"/>
                <a:gd name="T30" fmla="*/ 1 w 118"/>
                <a:gd name="T31" fmla="*/ 1 h 139"/>
                <a:gd name="T32" fmla="*/ 1 w 118"/>
                <a:gd name="T33" fmla="*/ 1 h 139"/>
                <a:gd name="T34" fmla="*/ 1 w 118"/>
                <a:gd name="T35" fmla="*/ 1 h 139"/>
                <a:gd name="T36" fmla="*/ 1 w 118"/>
                <a:gd name="T37" fmla="*/ 1 h 139"/>
                <a:gd name="T38" fmla="*/ 1 w 118"/>
                <a:gd name="T39" fmla="*/ 1 h 139"/>
                <a:gd name="T40" fmla="*/ 1 w 118"/>
                <a:gd name="T41" fmla="*/ 1 h 139"/>
                <a:gd name="T42" fmla="*/ 1 w 118"/>
                <a:gd name="T43" fmla="*/ 1 h 139"/>
                <a:gd name="T44" fmla="*/ 1 w 118"/>
                <a:gd name="T45" fmla="*/ 1 h 139"/>
                <a:gd name="T46" fmla="*/ 1 w 118"/>
                <a:gd name="T47" fmla="*/ 1 h 139"/>
                <a:gd name="T48" fmla="*/ 1 w 118"/>
                <a:gd name="T49" fmla="*/ 1 h 13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18"/>
                <a:gd name="T76" fmla="*/ 0 h 139"/>
                <a:gd name="T77" fmla="*/ 118 w 118"/>
                <a:gd name="T78" fmla="*/ 139 h 13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18" h="139">
                  <a:moveTo>
                    <a:pt x="105" y="19"/>
                  </a:moveTo>
                  <a:lnTo>
                    <a:pt x="96" y="0"/>
                  </a:lnTo>
                  <a:lnTo>
                    <a:pt x="86" y="10"/>
                  </a:lnTo>
                  <a:lnTo>
                    <a:pt x="60" y="10"/>
                  </a:lnTo>
                  <a:lnTo>
                    <a:pt x="51" y="15"/>
                  </a:lnTo>
                  <a:lnTo>
                    <a:pt x="46" y="12"/>
                  </a:lnTo>
                  <a:lnTo>
                    <a:pt x="29" y="13"/>
                  </a:lnTo>
                  <a:lnTo>
                    <a:pt x="28" y="18"/>
                  </a:lnTo>
                  <a:lnTo>
                    <a:pt x="26" y="39"/>
                  </a:lnTo>
                  <a:lnTo>
                    <a:pt x="38" y="50"/>
                  </a:lnTo>
                  <a:lnTo>
                    <a:pt x="23" y="67"/>
                  </a:lnTo>
                  <a:lnTo>
                    <a:pt x="9" y="82"/>
                  </a:lnTo>
                  <a:lnTo>
                    <a:pt x="5" y="110"/>
                  </a:lnTo>
                  <a:lnTo>
                    <a:pt x="0" y="139"/>
                  </a:lnTo>
                  <a:lnTo>
                    <a:pt x="6" y="139"/>
                  </a:lnTo>
                  <a:lnTo>
                    <a:pt x="20" y="130"/>
                  </a:lnTo>
                  <a:lnTo>
                    <a:pt x="39" y="130"/>
                  </a:lnTo>
                  <a:lnTo>
                    <a:pt x="57" y="129"/>
                  </a:lnTo>
                  <a:lnTo>
                    <a:pt x="76" y="129"/>
                  </a:lnTo>
                  <a:lnTo>
                    <a:pt x="95" y="129"/>
                  </a:lnTo>
                  <a:lnTo>
                    <a:pt x="94" y="102"/>
                  </a:lnTo>
                  <a:lnTo>
                    <a:pt x="110" y="76"/>
                  </a:lnTo>
                  <a:lnTo>
                    <a:pt x="118" y="57"/>
                  </a:lnTo>
                  <a:lnTo>
                    <a:pt x="112" y="38"/>
                  </a:lnTo>
                  <a:lnTo>
                    <a:pt x="105" y="19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71" name="Freeform 127"/>
            <p:cNvSpPr>
              <a:spLocks/>
            </p:cNvSpPr>
            <p:nvPr/>
          </p:nvSpPr>
          <p:spPr bwMode="auto">
            <a:xfrm>
              <a:off x="2799" y="2000"/>
              <a:ext cx="296" cy="327"/>
            </a:xfrm>
            <a:custGeom>
              <a:avLst/>
              <a:gdLst>
                <a:gd name="T0" fmla="*/ 3 w 419"/>
                <a:gd name="T1" fmla="*/ 1 h 465"/>
                <a:gd name="T2" fmla="*/ 3 w 419"/>
                <a:gd name="T3" fmla="*/ 1 h 465"/>
                <a:gd name="T4" fmla="*/ 3 w 419"/>
                <a:gd name="T5" fmla="*/ 1 h 465"/>
                <a:gd name="T6" fmla="*/ 3 w 419"/>
                <a:gd name="T7" fmla="*/ 2 h 465"/>
                <a:gd name="T8" fmla="*/ 3 w 419"/>
                <a:gd name="T9" fmla="*/ 2 h 465"/>
                <a:gd name="T10" fmla="*/ 3 w 419"/>
                <a:gd name="T11" fmla="*/ 2 h 465"/>
                <a:gd name="T12" fmla="*/ 3 w 419"/>
                <a:gd name="T13" fmla="*/ 3 h 465"/>
                <a:gd name="T14" fmla="*/ 3 w 419"/>
                <a:gd name="T15" fmla="*/ 3 h 465"/>
                <a:gd name="T16" fmla="*/ 3 w 419"/>
                <a:gd name="T17" fmla="*/ 3 h 465"/>
                <a:gd name="T18" fmla="*/ 3 w 419"/>
                <a:gd name="T19" fmla="*/ 3 h 465"/>
                <a:gd name="T20" fmla="*/ 3 w 419"/>
                <a:gd name="T21" fmla="*/ 3 h 465"/>
                <a:gd name="T22" fmla="*/ 3 w 419"/>
                <a:gd name="T23" fmla="*/ 3 h 465"/>
                <a:gd name="T24" fmla="*/ 3 w 419"/>
                <a:gd name="T25" fmla="*/ 3 h 465"/>
                <a:gd name="T26" fmla="*/ 3 w 419"/>
                <a:gd name="T27" fmla="*/ 3 h 465"/>
                <a:gd name="T28" fmla="*/ 2 w 419"/>
                <a:gd name="T29" fmla="*/ 3 h 465"/>
                <a:gd name="T30" fmla="*/ 2 w 419"/>
                <a:gd name="T31" fmla="*/ 3 h 465"/>
                <a:gd name="T32" fmla="*/ 1 w 419"/>
                <a:gd name="T33" fmla="*/ 3 h 465"/>
                <a:gd name="T34" fmla="*/ 1 w 419"/>
                <a:gd name="T35" fmla="*/ 3 h 465"/>
                <a:gd name="T36" fmla="*/ 1 w 419"/>
                <a:gd name="T37" fmla="*/ 2 h 465"/>
                <a:gd name="T38" fmla="*/ 1 w 419"/>
                <a:gd name="T39" fmla="*/ 2 h 465"/>
                <a:gd name="T40" fmla="*/ 1 w 419"/>
                <a:gd name="T41" fmla="*/ 2 h 465"/>
                <a:gd name="T42" fmla="*/ 1 w 419"/>
                <a:gd name="T43" fmla="*/ 2 h 465"/>
                <a:gd name="T44" fmla="*/ 1 w 419"/>
                <a:gd name="T45" fmla="*/ 2 h 465"/>
                <a:gd name="T46" fmla="*/ 1 w 419"/>
                <a:gd name="T47" fmla="*/ 2 h 465"/>
                <a:gd name="T48" fmla="*/ 1 w 419"/>
                <a:gd name="T49" fmla="*/ 2 h 465"/>
                <a:gd name="T50" fmla="*/ 0 w 419"/>
                <a:gd name="T51" fmla="*/ 2 h 465"/>
                <a:gd name="T52" fmla="*/ 1 w 419"/>
                <a:gd name="T53" fmla="*/ 2 h 465"/>
                <a:gd name="T54" fmla="*/ 1 w 419"/>
                <a:gd name="T55" fmla="*/ 2 h 465"/>
                <a:gd name="T56" fmla="*/ 1 w 419"/>
                <a:gd name="T57" fmla="*/ 2 h 465"/>
                <a:gd name="T58" fmla="*/ 1 w 419"/>
                <a:gd name="T59" fmla="*/ 2 h 465"/>
                <a:gd name="T60" fmla="*/ 1 w 419"/>
                <a:gd name="T61" fmla="*/ 1 h 465"/>
                <a:gd name="T62" fmla="*/ 1 w 419"/>
                <a:gd name="T63" fmla="*/ 1 h 465"/>
                <a:gd name="T64" fmla="*/ 1 w 419"/>
                <a:gd name="T65" fmla="*/ 1 h 465"/>
                <a:gd name="T66" fmla="*/ 1 w 419"/>
                <a:gd name="T67" fmla="*/ 1 h 465"/>
                <a:gd name="T68" fmla="*/ 1 w 419"/>
                <a:gd name="T69" fmla="*/ 1 h 465"/>
                <a:gd name="T70" fmla="*/ 1 w 419"/>
                <a:gd name="T71" fmla="*/ 1 h 465"/>
                <a:gd name="T72" fmla="*/ 1 w 419"/>
                <a:gd name="T73" fmla="*/ 1 h 465"/>
                <a:gd name="T74" fmla="*/ 2 w 419"/>
                <a:gd name="T75" fmla="*/ 1 h 465"/>
                <a:gd name="T76" fmla="*/ 2 w 419"/>
                <a:gd name="T77" fmla="*/ 1 h 465"/>
                <a:gd name="T78" fmla="*/ 2 w 419"/>
                <a:gd name="T79" fmla="*/ 0 h 465"/>
                <a:gd name="T80" fmla="*/ 3 w 419"/>
                <a:gd name="T81" fmla="*/ 1 h 465"/>
                <a:gd name="T82" fmla="*/ 3 w 419"/>
                <a:gd name="T83" fmla="*/ 1 h 465"/>
                <a:gd name="T84" fmla="*/ 3 w 419"/>
                <a:gd name="T85" fmla="*/ 1 h 465"/>
                <a:gd name="T86" fmla="*/ 3 w 419"/>
                <a:gd name="T87" fmla="*/ 1 h 465"/>
                <a:gd name="T88" fmla="*/ 3 w 419"/>
                <a:gd name="T89" fmla="*/ 1 h 465"/>
                <a:gd name="T90" fmla="*/ 3 w 419"/>
                <a:gd name="T91" fmla="*/ 1 h 465"/>
                <a:gd name="T92" fmla="*/ 3 w 419"/>
                <a:gd name="T93" fmla="*/ 1 h 46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19"/>
                <a:gd name="T142" fmla="*/ 0 h 465"/>
                <a:gd name="T143" fmla="*/ 419 w 419"/>
                <a:gd name="T144" fmla="*/ 465 h 465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19" h="465">
                  <a:moveTo>
                    <a:pt x="381" y="166"/>
                  </a:moveTo>
                  <a:lnTo>
                    <a:pt x="372" y="183"/>
                  </a:lnTo>
                  <a:lnTo>
                    <a:pt x="366" y="198"/>
                  </a:lnTo>
                  <a:lnTo>
                    <a:pt x="367" y="198"/>
                  </a:lnTo>
                  <a:lnTo>
                    <a:pt x="368" y="199"/>
                  </a:lnTo>
                  <a:lnTo>
                    <a:pt x="368" y="201"/>
                  </a:lnTo>
                  <a:lnTo>
                    <a:pt x="373" y="221"/>
                  </a:lnTo>
                  <a:lnTo>
                    <a:pt x="377" y="241"/>
                  </a:lnTo>
                  <a:lnTo>
                    <a:pt x="378" y="259"/>
                  </a:lnTo>
                  <a:lnTo>
                    <a:pt x="378" y="277"/>
                  </a:lnTo>
                  <a:lnTo>
                    <a:pt x="386" y="299"/>
                  </a:lnTo>
                  <a:lnTo>
                    <a:pt x="396" y="316"/>
                  </a:lnTo>
                  <a:lnTo>
                    <a:pt x="404" y="334"/>
                  </a:lnTo>
                  <a:lnTo>
                    <a:pt x="385" y="339"/>
                  </a:lnTo>
                  <a:lnTo>
                    <a:pt x="365" y="343"/>
                  </a:lnTo>
                  <a:lnTo>
                    <a:pt x="353" y="361"/>
                  </a:lnTo>
                  <a:lnTo>
                    <a:pt x="356" y="383"/>
                  </a:lnTo>
                  <a:lnTo>
                    <a:pt x="355" y="405"/>
                  </a:lnTo>
                  <a:lnTo>
                    <a:pt x="353" y="425"/>
                  </a:lnTo>
                  <a:lnTo>
                    <a:pt x="374" y="441"/>
                  </a:lnTo>
                  <a:lnTo>
                    <a:pt x="381" y="432"/>
                  </a:lnTo>
                  <a:lnTo>
                    <a:pt x="377" y="465"/>
                  </a:lnTo>
                  <a:lnTo>
                    <a:pt x="372" y="462"/>
                  </a:lnTo>
                  <a:lnTo>
                    <a:pt x="362" y="462"/>
                  </a:lnTo>
                  <a:lnTo>
                    <a:pt x="344" y="438"/>
                  </a:lnTo>
                  <a:lnTo>
                    <a:pt x="331" y="429"/>
                  </a:lnTo>
                  <a:lnTo>
                    <a:pt x="321" y="419"/>
                  </a:lnTo>
                  <a:lnTo>
                    <a:pt x="313" y="429"/>
                  </a:lnTo>
                  <a:lnTo>
                    <a:pt x="284" y="418"/>
                  </a:lnTo>
                  <a:lnTo>
                    <a:pt x="281" y="411"/>
                  </a:lnTo>
                  <a:lnTo>
                    <a:pt x="264" y="413"/>
                  </a:lnTo>
                  <a:lnTo>
                    <a:pt x="255" y="401"/>
                  </a:lnTo>
                  <a:lnTo>
                    <a:pt x="237" y="405"/>
                  </a:lnTo>
                  <a:lnTo>
                    <a:pt x="219" y="408"/>
                  </a:lnTo>
                  <a:lnTo>
                    <a:pt x="218" y="399"/>
                  </a:lnTo>
                  <a:lnTo>
                    <a:pt x="211" y="373"/>
                  </a:lnTo>
                  <a:lnTo>
                    <a:pt x="211" y="345"/>
                  </a:lnTo>
                  <a:lnTo>
                    <a:pt x="210" y="316"/>
                  </a:lnTo>
                  <a:lnTo>
                    <a:pt x="181" y="312"/>
                  </a:lnTo>
                  <a:lnTo>
                    <a:pt x="182" y="306"/>
                  </a:lnTo>
                  <a:lnTo>
                    <a:pt x="159" y="305"/>
                  </a:lnTo>
                  <a:lnTo>
                    <a:pt x="155" y="327"/>
                  </a:lnTo>
                  <a:lnTo>
                    <a:pt x="128" y="333"/>
                  </a:lnTo>
                  <a:lnTo>
                    <a:pt x="112" y="327"/>
                  </a:lnTo>
                  <a:lnTo>
                    <a:pt x="104" y="303"/>
                  </a:lnTo>
                  <a:lnTo>
                    <a:pt x="96" y="280"/>
                  </a:lnTo>
                  <a:lnTo>
                    <a:pt x="76" y="279"/>
                  </a:lnTo>
                  <a:lnTo>
                    <a:pt x="58" y="279"/>
                  </a:lnTo>
                  <a:lnTo>
                    <a:pt x="39" y="277"/>
                  </a:lnTo>
                  <a:lnTo>
                    <a:pt x="20" y="276"/>
                  </a:lnTo>
                  <a:lnTo>
                    <a:pt x="3" y="279"/>
                  </a:lnTo>
                  <a:lnTo>
                    <a:pt x="0" y="275"/>
                  </a:lnTo>
                  <a:lnTo>
                    <a:pt x="7" y="273"/>
                  </a:lnTo>
                  <a:lnTo>
                    <a:pt x="8" y="253"/>
                  </a:lnTo>
                  <a:lnTo>
                    <a:pt x="19" y="246"/>
                  </a:lnTo>
                  <a:lnTo>
                    <a:pt x="30" y="250"/>
                  </a:lnTo>
                  <a:lnTo>
                    <a:pt x="36" y="243"/>
                  </a:lnTo>
                  <a:lnTo>
                    <a:pt x="49" y="241"/>
                  </a:lnTo>
                  <a:lnTo>
                    <a:pt x="51" y="252"/>
                  </a:lnTo>
                  <a:lnTo>
                    <a:pt x="68" y="235"/>
                  </a:lnTo>
                  <a:lnTo>
                    <a:pt x="85" y="220"/>
                  </a:lnTo>
                  <a:lnTo>
                    <a:pt x="87" y="201"/>
                  </a:lnTo>
                  <a:lnTo>
                    <a:pt x="91" y="181"/>
                  </a:lnTo>
                  <a:lnTo>
                    <a:pt x="106" y="161"/>
                  </a:lnTo>
                  <a:lnTo>
                    <a:pt x="121" y="141"/>
                  </a:lnTo>
                  <a:lnTo>
                    <a:pt x="124" y="121"/>
                  </a:lnTo>
                  <a:lnTo>
                    <a:pt x="128" y="103"/>
                  </a:lnTo>
                  <a:lnTo>
                    <a:pt x="130" y="84"/>
                  </a:lnTo>
                  <a:lnTo>
                    <a:pt x="134" y="66"/>
                  </a:lnTo>
                  <a:lnTo>
                    <a:pt x="140" y="45"/>
                  </a:lnTo>
                  <a:lnTo>
                    <a:pt x="139" y="25"/>
                  </a:lnTo>
                  <a:lnTo>
                    <a:pt x="157" y="4"/>
                  </a:lnTo>
                  <a:lnTo>
                    <a:pt x="180" y="17"/>
                  </a:lnTo>
                  <a:lnTo>
                    <a:pt x="200" y="23"/>
                  </a:lnTo>
                  <a:lnTo>
                    <a:pt x="222" y="29"/>
                  </a:lnTo>
                  <a:lnTo>
                    <a:pt x="231" y="13"/>
                  </a:lnTo>
                  <a:lnTo>
                    <a:pt x="241" y="15"/>
                  </a:lnTo>
                  <a:lnTo>
                    <a:pt x="264" y="7"/>
                  </a:lnTo>
                  <a:lnTo>
                    <a:pt x="279" y="7"/>
                  </a:lnTo>
                  <a:lnTo>
                    <a:pt x="288" y="0"/>
                  </a:lnTo>
                  <a:lnTo>
                    <a:pt x="305" y="1"/>
                  </a:lnTo>
                  <a:lnTo>
                    <a:pt x="321" y="4"/>
                  </a:lnTo>
                  <a:lnTo>
                    <a:pt x="333" y="6"/>
                  </a:lnTo>
                  <a:lnTo>
                    <a:pt x="339" y="12"/>
                  </a:lnTo>
                  <a:lnTo>
                    <a:pt x="356" y="23"/>
                  </a:lnTo>
                  <a:lnTo>
                    <a:pt x="369" y="21"/>
                  </a:lnTo>
                  <a:lnTo>
                    <a:pt x="378" y="15"/>
                  </a:lnTo>
                  <a:lnTo>
                    <a:pt x="393" y="30"/>
                  </a:lnTo>
                  <a:lnTo>
                    <a:pt x="409" y="45"/>
                  </a:lnTo>
                  <a:lnTo>
                    <a:pt x="407" y="66"/>
                  </a:lnTo>
                  <a:lnTo>
                    <a:pt x="419" y="77"/>
                  </a:lnTo>
                  <a:lnTo>
                    <a:pt x="404" y="94"/>
                  </a:lnTo>
                  <a:lnTo>
                    <a:pt x="390" y="109"/>
                  </a:lnTo>
                  <a:lnTo>
                    <a:pt x="386" y="137"/>
                  </a:lnTo>
                  <a:lnTo>
                    <a:pt x="381" y="166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372" name="Freeform 128"/>
            <p:cNvSpPr>
              <a:spLocks/>
            </p:cNvSpPr>
            <p:nvPr/>
          </p:nvSpPr>
          <p:spPr bwMode="auto">
            <a:xfrm>
              <a:off x="2947" y="2234"/>
              <a:ext cx="181" cy="173"/>
            </a:xfrm>
            <a:custGeom>
              <a:avLst/>
              <a:gdLst>
                <a:gd name="T0" fmla="*/ 1 w 258"/>
                <a:gd name="T1" fmla="*/ 1 h 246"/>
                <a:gd name="T2" fmla="*/ 1 w 258"/>
                <a:gd name="T3" fmla="*/ 1 h 246"/>
                <a:gd name="T4" fmla="*/ 1 w 258"/>
                <a:gd name="T5" fmla="*/ 1 h 246"/>
                <a:gd name="T6" fmla="*/ 1 w 258"/>
                <a:gd name="T7" fmla="*/ 1 h 246"/>
                <a:gd name="T8" fmla="*/ 1 w 258"/>
                <a:gd name="T9" fmla="*/ 1 h 246"/>
                <a:gd name="T10" fmla="*/ 1 w 258"/>
                <a:gd name="T11" fmla="*/ 1 h 246"/>
                <a:gd name="T12" fmla="*/ 0 w 258"/>
                <a:gd name="T13" fmla="*/ 1 h 246"/>
                <a:gd name="T14" fmla="*/ 1 w 258"/>
                <a:gd name="T15" fmla="*/ 1 h 246"/>
                <a:gd name="T16" fmla="*/ 1 w 258"/>
                <a:gd name="T17" fmla="*/ 2 h 246"/>
                <a:gd name="T18" fmla="*/ 1 w 258"/>
                <a:gd name="T19" fmla="*/ 1 h 246"/>
                <a:gd name="T20" fmla="*/ 1 w 258"/>
                <a:gd name="T21" fmla="*/ 2 h 246"/>
                <a:gd name="T22" fmla="*/ 1 w 258"/>
                <a:gd name="T23" fmla="*/ 2 h 246"/>
                <a:gd name="T24" fmla="*/ 1 w 258"/>
                <a:gd name="T25" fmla="*/ 1 h 246"/>
                <a:gd name="T26" fmla="*/ 1 w 258"/>
                <a:gd name="T27" fmla="*/ 1 h 246"/>
                <a:gd name="T28" fmla="*/ 1 w 258"/>
                <a:gd name="T29" fmla="*/ 1 h 246"/>
                <a:gd name="T30" fmla="*/ 1 w 258"/>
                <a:gd name="T31" fmla="*/ 1 h 246"/>
                <a:gd name="T32" fmla="*/ 1 w 258"/>
                <a:gd name="T33" fmla="*/ 1 h 246"/>
                <a:gd name="T34" fmla="*/ 1 w 258"/>
                <a:gd name="T35" fmla="*/ 1 h 246"/>
                <a:gd name="T36" fmla="*/ 1 w 258"/>
                <a:gd name="T37" fmla="*/ 1 h 246"/>
                <a:gd name="T38" fmla="*/ 1 w 258"/>
                <a:gd name="T39" fmla="*/ 1 h 246"/>
                <a:gd name="T40" fmla="*/ 1 w 258"/>
                <a:gd name="T41" fmla="*/ 1 h 246"/>
                <a:gd name="T42" fmla="*/ 2 w 258"/>
                <a:gd name="T43" fmla="*/ 1 h 246"/>
                <a:gd name="T44" fmla="*/ 2 w 258"/>
                <a:gd name="T45" fmla="*/ 1 h 246"/>
                <a:gd name="T46" fmla="*/ 2 w 258"/>
                <a:gd name="T47" fmla="*/ 1 h 246"/>
                <a:gd name="T48" fmla="*/ 2 w 258"/>
                <a:gd name="T49" fmla="*/ 1 h 246"/>
                <a:gd name="T50" fmla="*/ 2 w 258"/>
                <a:gd name="T51" fmla="*/ 1 h 246"/>
                <a:gd name="T52" fmla="*/ 2 w 258"/>
                <a:gd name="T53" fmla="*/ 1 h 246"/>
                <a:gd name="T54" fmla="*/ 2 w 258"/>
                <a:gd name="T55" fmla="*/ 1 h 246"/>
                <a:gd name="T56" fmla="*/ 2 w 258"/>
                <a:gd name="T57" fmla="*/ 1 h 246"/>
                <a:gd name="T58" fmla="*/ 2 w 258"/>
                <a:gd name="T59" fmla="*/ 1 h 246"/>
                <a:gd name="T60" fmla="*/ 1 w 258"/>
                <a:gd name="T61" fmla="*/ 1 h 246"/>
                <a:gd name="T62" fmla="*/ 1 w 258"/>
                <a:gd name="T63" fmla="*/ 1 h 246"/>
                <a:gd name="T64" fmla="*/ 1 w 258"/>
                <a:gd name="T65" fmla="*/ 0 h 246"/>
                <a:gd name="T66" fmla="*/ 1 w 258"/>
                <a:gd name="T67" fmla="*/ 1 h 246"/>
                <a:gd name="T68" fmla="*/ 1 w 258"/>
                <a:gd name="T69" fmla="*/ 1 h 246"/>
                <a:gd name="T70" fmla="*/ 1 w 258"/>
                <a:gd name="T71" fmla="*/ 1 h 246"/>
                <a:gd name="T72" fmla="*/ 1 w 258"/>
                <a:gd name="T73" fmla="*/ 1 h 246"/>
                <a:gd name="T74" fmla="*/ 1 w 258"/>
                <a:gd name="T75" fmla="*/ 1 h 246"/>
                <a:gd name="T76" fmla="*/ 1 w 258"/>
                <a:gd name="T77" fmla="*/ 1 h 246"/>
                <a:gd name="T78" fmla="*/ 1 w 258"/>
                <a:gd name="T79" fmla="*/ 1 h 246"/>
                <a:gd name="T80" fmla="*/ 1 w 258"/>
                <a:gd name="T81" fmla="*/ 1 h 246"/>
                <a:gd name="T82" fmla="*/ 1 w 258"/>
                <a:gd name="T83" fmla="*/ 1 h 246"/>
                <a:gd name="T84" fmla="*/ 1 w 258"/>
                <a:gd name="T85" fmla="*/ 1 h 246"/>
                <a:gd name="T86" fmla="*/ 1 w 258"/>
                <a:gd name="T87" fmla="*/ 1 h 246"/>
                <a:gd name="T88" fmla="*/ 1 w 258"/>
                <a:gd name="T89" fmla="*/ 1 h 246"/>
                <a:gd name="T90" fmla="*/ 1 w 258"/>
                <a:gd name="T91" fmla="*/ 1 h 246"/>
                <a:gd name="T92" fmla="*/ 1 w 258"/>
                <a:gd name="T93" fmla="*/ 1 h 246"/>
                <a:gd name="T94" fmla="*/ 1 w 258"/>
                <a:gd name="T95" fmla="*/ 1 h 246"/>
                <a:gd name="T96" fmla="*/ 1 w 258"/>
                <a:gd name="T97" fmla="*/ 1 h 246"/>
                <a:gd name="T98" fmla="*/ 1 w 258"/>
                <a:gd name="T99" fmla="*/ 1 h 246"/>
                <a:gd name="T100" fmla="*/ 1 w 258"/>
                <a:gd name="T101" fmla="*/ 1 h 246"/>
                <a:gd name="T102" fmla="*/ 1 w 258"/>
                <a:gd name="T103" fmla="*/ 1 h 246"/>
                <a:gd name="T104" fmla="*/ 1 w 258"/>
                <a:gd name="T105" fmla="*/ 1 h 246"/>
                <a:gd name="T106" fmla="*/ 1 w 258"/>
                <a:gd name="T107" fmla="*/ 1 h 24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58"/>
                <a:gd name="T163" fmla="*/ 0 h 246"/>
                <a:gd name="T164" fmla="*/ 258 w 258"/>
                <a:gd name="T165" fmla="*/ 246 h 24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58" h="246">
                  <a:moveTo>
                    <a:pt x="45" y="119"/>
                  </a:moveTo>
                  <a:lnTo>
                    <a:pt x="24" y="119"/>
                  </a:lnTo>
                  <a:lnTo>
                    <a:pt x="2" y="120"/>
                  </a:lnTo>
                  <a:lnTo>
                    <a:pt x="2" y="139"/>
                  </a:lnTo>
                  <a:lnTo>
                    <a:pt x="1" y="159"/>
                  </a:lnTo>
                  <a:lnTo>
                    <a:pt x="1" y="179"/>
                  </a:lnTo>
                  <a:lnTo>
                    <a:pt x="0" y="198"/>
                  </a:lnTo>
                  <a:lnTo>
                    <a:pt x="15" y="217"/>
                  </a:lnTo>
                  <a:lnTo>
                    <a:pt x="31" y="235"/>
                  </a:lnTo>
                  <a:lnTo>
                    <a:pt x="45" y="231"/>
                  </a:lnTo>
                  <a:lnTo>
                    <a:pt x="69" y="239"/>
                  </a:lnTo>
                  <a:lnTo>
                    <a:pt x="100" y="246"/>
                  </a:lnTo>
                  <a:lnTo>
                    <a:pt x="121" y="228"/>
                  </a:lnTo>
                  <a:lnTo>
                    <a:pt x="144" y="209"/>
                  </a:lnTo>
                  <a:lnTo>
                    <a:pt x="151" y="193"/>
                  </a:lnTo>
                  <a:lnTo>
                    <a:pt x="166" y="189"/>
                  </a:lnTo>
                  <a:lnTo>
                    <a:pt x="183" y="185"/>
                  </a:lnTo>
                  <a:lnTo>
                    <a:pt x="180" y="171"/>
                  </a:lnTo>
                  <a:lnTo>
                    <a:pt x="195" y="165"/>
                  </a:lnTo>
                  <a:lnTo>
                    <a:pt x="212" y="158"/>
                  </a:lnTo>
                  <a:lnTo>
                    <a:pt x="229" y="152"/>
                  </a:lnTo>
                  <a:lnTo>
                    <a:pt x="246" y="145"/>
                  </a:lnTo>
                  <a:lnTo>
                    <a:pt x="235" y="134"/>
                  </a:lnTo>
                  <a:lnTo>
                    <a:pt x="247" y="110"/>
                  </a:lnTo>
                  <a:lnTo>
                    <a:pt x="250" y="103"/>
                  </a:lnTo>
                  <a:lnTo>
                    <a:pt x="252" y="84"/>
                  </a:lnTo>
                  <a:lnTo>
                    <a:pt x="252" y="65"/>
                  </a:lnTo>
                  <a:lnTo>
                    <a:pt x="258" y="56"/>
                  </a:lnTo>
                  <a:lnTo>
                    <a:pt x="244" y="36"/>
                  </a:lnTo>
                  <a:lnTo>
                    <a:pt x="242" y="30"/>
                  </a:lnTo>
                  <a:lnTo>
                    <a:pt x="219" y="18"/>
                  </a:lnTo>
                  <a:lnTo>
                    <a:pt x="196" y="5"/>
                  </a:lnTo>
                  <a:lnTo>
                    <a:pt x="195" y="0"/>
                  </a:lnTo>
                  <a:lnTo>
                    <a:pt x="176" y="5"/>
                  </a:lnTo>
                  <a:lnTo>
                    <a:pt x="156" y="9"/>
                  </a:lnTo>
                  <a:lnTo>
                    <a:pt x="144" y="27"/>
                  </a:lnTo>
                  <a:lnTo>
                    <a:pt x="147" y="49"/>
                  </a:lnTo>
                  <a:lnTo>
                    <a:pt x="146" y="71"/>
                  </a:lnTo>
                  <a:lnTo>
                    <a:pt x="144" y="91"/>
                  </a:lnTo>
                  <a:lnTo>
                    <a:pt x="165" y="107"/>
                  </a:lnTo>
                  <a:lnTo>
                    <a:pt x="172" y="98"/>
                  </a:lnTo>
                  <a:lnTo>
                    <a:pt x="168" y="131"/>
                  </a:lnTo>
                  <a:lnTo>
                    <a:pt x="163" y="128"/>
                  </a:lnTo>
                  <a:lnTo>
                    <a:pt x="153" y="128"/>
                  </a:lnTo>
                  <a:lnTo>
                    <a:pt x="135" y="104"/>
                  </a:lnTo>
                  <a:lnTo>
                    <a:pt x="122" y="95"/>
                  </a:lnTo>
                  <a:lnTo>
                    <a:pt x="112" y="85"/>
                  </a:lnTo>
                  <a:lnTo>
                    <a:pt x="104" y="95"/>
                  </a:lnTo>
                  <a:lnTo>
                    <a:pt x="75" y="84"/>
                  </a:lnTo>
                  <a:lnTo>
                    <a:pt x="72" y="77"/>
                  </a:lnTo>
                  <a:lnTo>
                    <a:pt x="55" y="79"/>
                  </a:lnTo>
                  <a:lnTo>
                    <a:pt x="46" y="67"/>
                  </a:lnTo>
                  <a:lnTo>
                    <a:pt x="46" y="92"/>
                  </a:lnTo>
                  <a:lnTo>
                    <a:pt x="45" y="119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73" name="Freeform 129"/>
            <p:cNvSpPr>
              <a:spLocks/>
            </p:cNvSpPr>
            <p:nvPr/>
          </p:nvSpPr>
          <p:spPr bwMode="auto">
            <a:xfrm>
              <a:off x="2996" y="2365"/>
              <a:ext cx="117" cy="118"/>
            </a:xfrm>
            <a:custGeom>
              <a:avLst/>
              <a:gdLst>
                <a:gd name="T0" fmla="*/ 1 w 167"/>
                <a:gd name="T1" fmla="*/ 1 h 169"/>
                <a:gd name="T2" fmla="*/ 1 w 167"/>
                <a:gd name="T3" fmla="*/ 1 h 169"/>
                <a:gd name="T4" fmla="*/ 1 w 167"/>
                <a:gd name="T5" fmla="*/ 1 h 169"/>
                <a:gd name="T6" fmla="*/ 1 w 167"/>
                <a:gd name="T7" fmla="*/ 1 h 169"/>
                <a:gd name="T8" fmla="*/ 1 w 167"/>
                <a:gd name="T9" fmla="*/ 1 h 169"/>
                <a:gd name="T10" fmla="*/ 1 w 167"/>
                <a:gd name="T11" fmla="*/ 1 h 169"/>
                <a:gd name="T12" fmla="*/ 1 w 167"/>
                <a:gd name="T13" fmla="*/ 1 h 169"/>
                <a:gd name="T14" fmla="*/ 1 w 167"/>
                <a:gd name="T15" fmla="*/ 1 h 169"/>
                <a:gd name="T16" fmla="*/ 0 w 167"/>
                <a:gd name="T17" fmla="*/ 1 h 169"/>
                <a:gd name="T18" fmla="*/ 1 w 167"/>
                <a:gd name="T19" fmla="*/ 1 h 169"/>
                <a:gd name="T20" fmla="*/ 1 w 167"/>
                <a:gd name="T21" fmla="*/ 1 h 169"/>
                <a:gd name="T22" fmla="*/ 1 w 167"/>
                <a:gd name="T23" fmla="*/ 1 h 169"/>
                <a:gd name="T24" fmla="*/ 1 w 167"/>
                <a:gd name="T25" fmla="*/ 1 h 169"/>
                <a:gd name="T26" fmla="*/ 1 w 167"/>
                <a:gd name="T27" fmla="*/ 1 h 169"/>
                <a:gd name="T28" fmla="*/ 1 w 167"/>
                <a:gd name="T29" fmla="*/ 0 h 169"/>
                <a:gd name="T30" fmla="*/ 1 w 167"/>
                <a:gd name="T31" fmla="*/ 1 h 169"/>
                <a:gd name="T32" fmla="*/ 1 w 167"/>
                <a:gd name="T33" fmla="*/ 1 h 169"/>
                <a:gd name="T34" fmla="*/ 1 w 167"/>
                <a:gd name="T35" fmla="*/ 1 h 169"/>
                <a:gd name="T36" fmla="*/ 1 w 167"/>
                <a:gd name="T37" fmla="*/ 1 h 169"/>
                <a:gd name="T38" fmla="*/ 1 w 167"/>
                <a:gd name="T39" fmla="*/ 1 h 169"/>
                <a:gd name="T40" fmla="*/ 1 w 167"/>
                <a:gd name="T41" fmla="*/ 1 h 169"/>
                <a:gd name="T42" fmla="*/ 1 w 167"/>
                <a:gd name="T43" fmla="*/ 1 h 169"/>
                <a:gd name="T44" fmla="*/ 1 w 167"/>
                <a:gd name="T45" fmla="*/ 1 h 169"/>
                <a:gd name="T46" fmla="*/ 1 w 167"/>
                <a:gd name="T47" fmla="*/ 1 h 169"/>
                <a:gd name="T48" fmla="*/ 1 w 167"/>
                <a:gd name="T49" fmla="*/ 1 h 169"/>
                <a:gd name="T50" fmla="*/ 1 w 167"/>
                <a:gd name="T51" fmla="*/ 1 h 169"/>
                <a:gd name="T52" fmla="*/ 1 w 167"/>
                <a:gd name="T53" fmla="*/ 1 h 169"/>
                <a:gd name="T54" fmla="*/ 1 w 167"/>
                <a:gd name="T55" fmla="*/ 1 h 169"/>
                <a:gd name="T56" fmla="*/ 1 w 167"/>
                <a:gd name="T57" fmla="*/ 1 h 16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67"/>
                <a:gd name="T88" fmla="*/ 0 h 169"/>
                <a:gd name="T89" fmla="*/ 167 w 167"/>
                <a:gd name="T90" fmla="*/ 169 h 16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67" h="169">
                  <a:moveTo>
                    <a:pt x="83" y="160"/>
                  </a:moveTo>
                  <a:lnTo>
                    <a:pt x="77" y="157"/>
                  </a:lnTo>
                  <a:lnTo>
                    <a:pt x="58" y="147"/>
                  </a:lnTo>
                  <a:lnTo>
                    <a:pt x="51" y="127"/>
                  </a:lnTo>
                  <a:lnTo>
                    <a:pt x="46" y="120"/>
                  </a:lnTo>
                  <a:lnTo>
                    <a:pt x="41" y="115"/>
                  </a:lnTo>
                  <a:lnTo>
                    <a:pt x="25" y="102"/>
                  </a:lnTo>
                  <a:lnTo>
                    <a:pt x="13" y="78"/>
                  </a:lnTo>
                  <a:lnTo>
                    <a:pt x="0" y="54"/>
                  </a:lnTo>
                  <a:lnTo>
                    <a:pt x="31" y="61"/>
                  </a:lnTo>
                  <a:lnTo>
                    <a:pt x="52" y="43"/>
                  </a:lnTo>
                  <a:lnTo>
                    <a:pt x="75" y="24"/>
                  </a:lnTo>
                  <a:lnTo>
                    <a:pt x="82" y="8"/>
                  </a:lnTo>
                  <a:lnTo>
                    <a:pt x="97" y="4"/>
                  </a:lnTo>
                  <a:lnTo>
                    <a:pt x="114" y="0"/>
                  </a:lnTo>
                  <a:lnTo>
                    <a:pt x="113" y="9"/>
                  </a:lnTo>
                  <a:lnTo>
                    <a:pt x="125" y="9"/>
                  </a:lnTo>
                  <a:lnTo>
                    <a:pt x="145" y="18"/>
                  </a:lnTo>
                  <a:lnTo>
                    <a:pt x="167" y="27"/>
                  </a:lnTo>
                  <a:lnTo>
                    <a:pt x="167" y="57"/>
                  </a:lnTo>
                  <a:lnTo>
                    <a:pt x="162" y="78"/>
                  </a:lnTo>
                  <a:lnTo>
                    <a:pt x="165" y="100"/>
                  </a:lnTo>
                  <a:lnTo>
                    <a:pt x="157" y="122"/>
                  </a:lnTo>
                  <a:lnTo>
                    <a:pt x="153" y="142"/>
                  </a:lnTo>
                  <a:lnTo>
                    <a:pt x="139" y="156"/>
                  </a:lnTo>
                  <a:lnTo>
                    <a:pt x="125" y="169"/>
                  </a:lnTo>
                  <a:lnTo>
                    <a:pt x="105" y="165"/>
                  </a:lnTo>
                  <a:lnTo>
                    <a:pt x="84" y="163"/>
                  </a:lnTo>
                  <a:lnTo>
                    <a:pt x="83" y="16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374" name="Freeform 130"/>
            <p:cNvSpPr>
              <a:spLocks/>
            </p:cNvSpPr>
            <p:nvPr/>
          </p:nvSpPr>
          <p:spPr bwMode="auto">
            <a:xfrm>
              <a:off x="1919" y="2618"/>
              <a:ext cx="75" cy="83"/>
            </a:xfrm>
            <a:custGeom>
              <a:avLst/>
              <a:gdLst>
                <a:gd name="T0" fmla="*/ 1 w 106"/>
                <a:gd name="T1" fmla="*/ 1 h 118"/>
                <a:gd name="T2" fmla="*/ 1 w 106"/>
                <a:gd name="T3" fmla="*/ 1 h 118"/>
                <a:gd name="T4" fmla="*/ 1 w 106"/>
                <a:gd name="T5" fmla="*/ 1 h 118"/>
                <a:gd name="T6" fmla="*/ 1 w 106"/>
                <a:gd name="T7" fmla="*/ 1 h 118"/>
                <a:gd name="T8" fmla="*/ 1 w 106"/>
                <a:gd name="T9" fmla="*/ 1 h 118"/>
                <a:gd name="T10" fmla="*/ 1 w 106"/>
                <a:gd name="T11" fmla="*/ 0 h 118"/>
                <a:gd name="T12" fmla="*/ 1 w 106"/>
                <a:gd name="T13" fmla="*/ 1 h 118"/>
                <a:gd name="T14" fmla="*/ 1 w 106"/>
                <a:gd name="T15" fmla="*/ 1 h 118"/>
                <a:gd name="T16" fmla="*/ 1 w 106"/>
                <a:gd name="T17" fmla="*/ 1 h 118"/>
                <a:gd name="T18" fmla="*/ 0 w 106"/>
                <a:gd name="T19" fmla="*/ 1 h 118"/>
                <a:gd name="T20" fmla="*/ 1 w 106"/>
                <a:gd name="T21" fmla="*/ 1 h 118"/>
                <a:gd name="T22" fmla="*/ 0 w 106"/>
                <a:gd name="T23" fmla="*/ 1 h 118"/>
                <a:gd name="T24" fmla="*/ 1 w 106"/>
                <a:gd name="T25" fmla="*/ 1 h 118"/>
                <a:gd name="T26" fmla="*/ 1 w 106"/>
                <a:gd name="T27" fmla="*/ 1 h 118"/>
                <a:gd name="T28" fmla="*/ 1 w 106"/>
                <a:gd name="T29" fmla="*/ 1 h 118"/>
                <a:gd name="T30" fmla="*/ 1 w 106"/>
                <a:gd name="T31" fmla="*/ 1 h 118"/>
                <a:gd name="T32" fmla="*/ 1 w 106"/>
                <a:gd name="T33" fmla="*/ 1 h 118"/>
                <a:gd name="T34" fmla="*/ 1 w 106"/>
                <a:gd name="T35" fmla="*/ 1 h 118"/>
                <a:gd name="T36" fmla="*/ 1 w 106"/>
                <a:gd name="T37" fmla="*/ 1 h 11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06"/>
                <a:gd name="T58" fmla="*/ 0 h 118"/>
                <a:gd name="T59" fmla="*/ 106 w 106"/>
                <a:gd name="T60" fmla="*/ 118 h 11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06" h="118">
                  <a:moveTo>
                    <a:pt x="104" y="61"/>
                  </a:moveTo>
                  <a:lnTo>
                    <a:pt x="82" y="44"/>
                  </a:lnTo>
                  <a:lnTo>
                    <a:pt x="59" y="28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14" y="0"/>
                  </a:lnTo>
                  <a:lnTo>
                    <a:pt x="3" y="2"/>
                  </a:lnTo>
                  <a:lnTo>
                    <a:pt x="3" y="3"/>
                  </a:lnTo>
                  <a:lnTo>
                    <a:pt x="2" y="31"/>
                  </a:lnTo>
                  <a:lnTo>
                    <a:pt x="0" y="57"/>
                  </a:lnTo>
                  <a:lnTo>
                    <a:pt x="2" y="61"/>
                  </a:lnTo>
                  <a:lnTo>
                    <a:pt x="0" y="81"/>
                  </a:lnTo>
                  <a:lnTo>
                    <a:pt x="11" y="102"/>
                  </a:lnTo>
                  <a:lnTo>
                    <a:pt x="38" y="112"/>
                  </a:lnTo>
                  <a:lnTo>
                    <a:pt x="72" y="118"/>
                  </a:lnTo>
                  <a:lnTo>
                    <a:pt x="92" y="110"/>
                  </a:lnTo>
                  <a:lnTo>
                    <a:pt x="106" y="90"/>
                  </a:lnTo>
                  <a:lnTo>
                    <a:pt x="101" y="73"/>
                  </a:lnTo>
                  <a:lnTo>
                    <a:pt x="104" y="6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75" name="Freeform 131"/>
            <p:cNvSpPr>
              <a:spLocks/>
            </p:cNvSpPr>
            <p:nvPr/>
          </p:nvSpPr>
          <p:spPr bwMode="auto">
            <a:xfrm>
              <a:off x="1735" y="2473"/>
              <a:ext cx="236" cy="527"/>
            </a:xfrm>
            <a:custGeom>
              <a:avLst/>
              <a:gdLst>
                <a:gd name="T0" fmla="*/ 1 w 336"/>
                <a:gd name="T1" fmla="*/ 4 h 751"/>
                <a:gd name="T2" fmla="*/ 1 w 336"/>
                <a:gd name="T3" fmla="*/ 4 h 751"/>
                <a:gd name="T4" fmla="*/ 1 w 336"/>
                <a:gd name="T5" fmla="*/ 4 h 751"/>
                <a:gd name="T6" fmla="*/ 1 w 336"/>
                <a:gd name="T7" fmla="*/ 4 h 751"/>
                <a:gd name="T8" fmla="*/ 1 w 336"/>
                <a:gd name="T9" fmla="*/ 4 h 751"/>
                <a:gd name="T10" fmla="*/ 1 w 336"/>
                <a:gd name="T11" fmla="*/ 4 h 751"/>
                <a:gd name="T12" fmla="*/ 1 w 336"/>
                <a:gd name="T13" fmla="*/ 4 h 751"/>
                <a:gd name="T14" fmla="*/ 1 w 336"/>
                <a:gd name="T15" fmla="*/ 4 h 751"/>
                <a:gd name="T16" fmla="*/ 1 w 336"/>
                <a:gd name="T17" fmla="*/ 4 h 751"/>
                <a:gd name="T18" fmla="*/ 1 w 336"/>
                <a:gd name="T19" fmla="*/ 4 h 751"/>
                <a:gd name="T20" fmla="*/ 1 w 336"/>
                <a:gd name="T21" fmla="*/ 5 h 751"/>
                <a:gd name="T22" fmla="*/ 1 w 336"/>
                <a:gd name="T23" fmla="*/ 5 h 751"/>
                <a:gd name="T24" fmla="*/ 1 w 336"/>
                <a:gd name="T25" fmla="*/ 5 h 751"/>
                <a:gd name="T26" fmla="*/ 1 w 336"/>
                <a:gd name="T27" fmla="*/ 5 h 751"/>
                <a:gd name="T28" fmla="*/ 1 w 336"/>
                <a:gd name="T29" fmla="*/ 6 h 751"/>
                <a:gd name="T30" fmla="*/ 1 w 336"/>
                <a:gd name="T31" fmla="*/ 6 h 751"/>
                <a:gd name="T32" fmla="*/ 1 w 336"/>
                <a:gd name="T33" fmla="*/ 6 h 751"/>
                <a:gd name="T34" fmla="*/ 1 w 336"/>
                <a:gd name="T35" fmla="*/ 5 h 751"/>
                <a:gd name="T36" fmla="*/ 1 w 336"/>
                <a:gd name="T37" fmla="*/ 5 h 751"/>
                <a:gd name="T38" fmla="*/ 1 w 336"/>
                <a:gd name="T39" fmla="*/ 4 h 751"/>
                <a:gd name="T40" fmla="*/ 1 w 336"/>
                <a:gd name="T41" fmla="*/ 4 h 751"/>
                <a:gd name="T42" fmla="*/ 1 w 336"/>
                <a:gd name="T43" fmla="*/ 4 h 751"/>
                <a:gd name="T44" fmla="*/ 1 w 336"/>
                <a:gd name="T45" fmla="*/ 4 h 751"/>
                <a:gd name="T46" fmla="*/ 1 w 336"/>
                <a:gd name="T47" fmla="*/ 4 h 751"/>
                <a:gd name="T48" fmla="*/ 1 w 336"/>
                <a:gd name="T49" fmla="*/ 3 h 751"/>
                <a:gd name="T50" fmla="*/ 1 w 336"/>
                <a:gd name="T51" fmla="*/ 3 h 751"/>
                <a:gd name="T52" fmla="*/ 1 w 336"/>
                <a:gd name="T53" fmla="*/ 3 h 751"/>
                <a:gd name="T54" fmla="*/ 1 w 336"/>
                <a:gd name="T55" fmla="*/ 3 h 751"/>
                <a:gd name="T56" fmla="*/ 1 w 336"/>
                <a:gd name="T57" fmla="*/ 2 h 751"/>
                <a:gd name="T58" fmla="*/ 1 w 336"/>
                <a:gd name="T59" fmla="*/ 2 h 751"/>
                <a:gd name="T60" fmla="*/ 1 w 336"/>
                <a:gd name="T61" fmla="*/ 1 h 751"/>
                <a:gd name="T62" fmla="*/ 1 w 336"/>
                <a:gd name="T63" fmla="*/ 1 h 751"/>
                <a:gd name="T64" fmla="*/ 1 w 336"/>
                <a:gd name="T65" fmla="*/ 1 h 751"/>
                <a:gd name="T66" fmla="*/ 1 w 336"/>
                <a:gd name="T67" fmla="*/ 1 h 751"/>
                <a:gd name="T68" fmla="*/ 1 w 336"/>
                <a:gd name="T69" fmla="*/ 1 h 751"/>
                <a:gd name="T70" fmla="*/ 1 w 336"/>
                <a:gd name="T71" fmla="*/ 1 h 751"/>
                <a:gd name="T72" fmla="*/ 1 w 336"/>
                <a:gd name="T73" fmla="*/ 1 h 751"/>
                <a:gd name="T74" fmla="*/ 1 w 336"/>
                <a:gd name="T75" fmla="*/ 1 h 751"/>
                <a:gd name="T76" fmla="*/ 1 w 336"/>
                <a:gd name="T77" fmla="*/ 1 h 751"/>
                <a:gd name="T78" fmla="*/ 1 w 336"/>
                <a:gd name="T79" fmla="*/ 1 h 751"/>
                <a:gd name="T80" fmla="*/ 1 w 336"/>
                <a:gd name="T81" fmla="*/ 1 h 751"/>
                <a:gd name="T82" fmla="*/ 1 w 336"/>
                <a:gd name="T83" fmla="*/ 1 h 751"/>
                <a:gd name="T84" fmla="*/ 1 w 336"/>
                <a:gd name="T85" fmla="*/ 1 h 751"/>
                <a:gd name="T86" fmla="*/ 2 w 336"/>
                <a:gd name="T87" fmla="*/ 1 h 751"/>
                <a:gd name="T88" fmla="*/ 2 w 336"/>
                <a:gd name="T89" fmla="*/ 1 h 751"/>
                <a:gd name="T90" fmla="*/ 2 w 336"/>
                <a:gd name="T91" fmla="*/ 1 h 751"/>
                <a:gd name="T92" fmla="*/ 2 w 336"/>
                <a:gd name="T93" fmla="*/ 1 h 751"/>
                <a:gd name="T94" fmla="*/ 3 w 336"/>
                <a:gd name="T95" fmla="*/ 1 h 751"/>
                <a:gd name="T96" fmla="*/ 2 w 336"/>
                <a:gd name="T97" fmla="*/ 1 h 751"/>
                <a:gd name="T98" fmla="*/ 2 w 336"/>
                <a:gd name="T99" fmla="*/ 1 h 751"/>
                <a:gd name="T100" fmla="*/ 2 w 336"/>
                <a:gd name="T101" fmla="*/ 1 h 751"/>
                <a:gd name="T102" fmla="*/ 2 w 336"/>
                <a:gd name="T103" fmla="*/ 2 h 751"/>
                <a:gd name="T104" fmla="*/ 2 w 336"/>
                <a:gd name="T105" fmla="*/ 2 h 751"/>
                <a:gd name="T106" fmla="*/ 2 w 336"/>
                <a:gd name="T107" fmla="*/ 2 h 751"/>
                <a:gd name="T108" fmla="*/ 2 w 336"/>
                <a:gd name="T109" fmla="*/ 3 h 751"/>
                <a:gd name="T110" fmla="*/ 2 w 336"/>
                <a:gd name="T111" fmla="*/ 3 h 751"/>
                <a:gd name="T112" fmla="*/ 2 w 336"/>
                <a:gd name="T113" fmla="*/ 3 h 751"/>
                <a:gd name="T114" fmla="*/ 2 w 336"/>
                <a:gd name="T115" fmla="*/ 3 h 751"/>
                <a:gd name="T116" fmla="*/ 1 w 336"/>
                <a:gd name="T117" fmla="*/ 3 h 751"/>
                <a:gd name="T118" fmla="*/ 1 w 336"/>
                <a:gd name="T119" fmla="*/ 3 h 75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36"/>
                <a:gd name="T181" fmla="*/ 0 h 751"/>
                <a:gd name="T182" fmla="*/ 336 w 336"/>
                <a:gd name="T183" fmla="*/ 751 h 751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36" h="751">
                  <a:moveTo>
                    <a:pt x="216" y="477"/>
                  </a:moveTo>
                  <a:lnTo>
                    <a:pt x="187" y="477"/>
                  </a:lnTo>
                  <a:lnTo>
                    <a:pt x="165" y="472"/>
                  </a:lnTo>
                  <a:lnTo>
                    <a:pt x="182" y="505"/>
                  </a:lnTo>
                  <a:lnTo>
                    <a:pt x="188" y="508"/>
                  </a:lnTo>
                  <a:lnTo>
                    <a:pt x="196" y="507"/>
                  </a:lnTo>
                  <a:lnTo>
                    <a:pt x="202" y="503"/>
                  </a:lnTo>
                  <a:lnTo>
                    <a:pt x="208" y="521"/>
                  </a:lnTo>
                  <a:lnTo>
                    <a:pt x="196" y="517"/>
                  </a:lnTo>
                  <a:lnTo>
                    <a:pt x="182" y="517"/>
                  </a:lnTo>
                  <a:lnTo>
                    <a:pt x="198" y="525"/>
                  </a:lnTo>
                  <a:lnTo>
                    <a:pt x="183" y="544"/>
                  </a:lnTo>
                  <a:lnTo>
                    <a:pt x="184" y="564"/>
                  </a:lnTo>
                  <a:lnTo>
                    <a:pt x="182" y="575"/>
                  </a:lnTo>
                  <a:lnTo>
                    <a:pt x="159" y="586"/>
                  </a:lnTo>
                  <a:lnTo>
                    <a:pt x="160" y="609"/>
                  </a:lnTo>
                  <a:lnTo>
                    <a:pt x="192" y="625"/>
                  </a:lnTo>
                  <a:lnTo>
                    <a:pt x="204" y="631"/>
                  </a:lnTo>
                  <a:lnTo>
                    <a:pt x="196" y="643"/>
                  </a:lnTo>
                  <a:lnTo>
                    <a:pt x="204" y="646"/>
                  </a:lnTo>
                  <a:lnTo>
                    <a:pt x="193" y="661"/>
                  </a:lnTo>
                  <a:lnTo>
                    <a:pt x="182" y="677"/>
                  </a:lnTo>
                  <a:lnTo>
                    <a:pt x="181" y="696"/>
                  </a:lnTo>
                  <a:lnTo>
                    <a:pt x="170" y="693"/>
                  </a:lnTo>
                  <a:lnTo>
                    <a:pt x="165" y="695"/>
                  </a:lnTo>
                  <a:lnTo>
                    <a:pt x="176" y="700"/>
                  </a:lnTo>
                  <a:lnTo>
                    <a:pt x="166" y="713"/>
                  </a:lnTo>
                  <a:lnTo>
                    <a:pt x="166" y="719"/>
                  </a:lnTo>
                  <a:lnTo>
                    <a:pt x="176" y="733"/>
                  </a:lnTo>
                  <a:lnTo>
                    <a:pt x="171" y="733"/>
                  </a:lnTo>
                  <a:lnTo>
                    <a:pt x="184" y="739"/>
                  </a:lnTo>
                  <a:lnTo>
                    <a:pt x="196" y="751"/>
                  </a:lnTo>
                  <a:lnTo>
                    <a:pt x="164" y="743"/>
                  </a:lnTo>
                  <a:lnTo>
                    <a:pt x="126" y="739"/>
                  </a:lnTo>
                  <a:lnTo>
                    <a:pt x="114" y="729"/>
                  </a:lnTo>
                  <a:lnTo>
                    <a:pt x="102" y="709"/>
                  </a:lnTo>
                  <a:lnTo>
                    <a:pt x="90" y="711"/>
                  </a:lnTo>
                  <a:lnTo>
                    <a:pt x="72" y="678"/>
                  </a:lnTo>
                  <a:lnTo>
                    <a:pt x="84" y="664"/>
                  </a:lnTo>
                  <a:lnTo>
                    <a:pt x="80" y="631"/>
                  </a:lnTo>
                  <a:lnTo>
                    <a:pt x="76" y="604"/>
                  </a:lnTo>
                  <a:lnTo>
                    <a:pt x="74" y="585"/>
                  </a:lnTo>
                  <a:lnTo>
                    <a:pt x="69" y="574"/>
                  </a:lnTo>
                  <a:lnTo>
                    <a:pt x="61" y="569"/>
                  </a:lnTo>
                  <a:lnTo>
                    <a:pt x="74" y="564"/>
                  </a:lnTo>
                  <a:lnTo>
                    <a:pt x="58" y="555"/>
                  </a:lnTo>
                  <a:lnTo>
                    <a:pt x="49" y="528"/>
                  </a:lnTo>
                  <a:lnTo>
                    <a:pt x="38" y="515"/>
                  </a:lnTo>
                  <a:lnTo>
                    <a:pt x="38" y="495"/>
                  </a:lnTo>
                  <a:lnTo>
                    <a:pt x="30" y="462"/>
                  </a:lnTo>
                  <a:lnTo>
                    <a:pt x="27" y="436"/>
                  </a:lnTo>
                  <a:lnTo>
                    <a:pt x="32" y="420"/>
                  </a:lnTo>
                  <a:lnTo>
                    <a:pt x="28" y="406"/>
                  </a:lnTo>
                  <a:lnTo>
                    <a:pt x="22" y="385"/>
                  </a:lnTo>
                  <a:lnTo>
                    <a:pt x="16" y="364"/>
                  </a:lnTo>
                  <a:lnTo>
                    <a:pt x="27" y="348"/>
                  </a:lnTo>
                  <a:lnTo>
                    <a:pt x="22" y="331"/>
                  </a:lnTo>
                  <a:lnTo>
                    <a:pt x="25" y="300"/>
                  </a:lnTo>
                  <a:lnTo>
                    <a:pt x="20" y="286"/>
                  </a:lnTo>
                  <a:lnTo>
                    <a:pt x="9" y="265"/>
                  </a:lnTo>
                  <a:lnTo>
                    <a:pt x="0" y="245"/>
                  </a:lnTo>
                  <a:lnTo>
                    <a:pt x="1" y="229"/>
                  </a:lnTo>
                  <a:lnTo>
                    <a:pt x="3" y="214"/>
                  </a:lnTo>
                  <a:lnTo>
                    <a:pt x="2" y="196"/>
                  </a:lnTo>
                  <a:lnTo>
                    <a:pt x="2" y="178"/>
                  </a:lnTo>
                  <a:lnTo>
                    <a:pt x="10" y="155"/>
                  </a:lnTo>
                  <a:lnTo>
                    <a:pt x="20" y="133"/>
                  </a:lnTo>
                  <a:lnTo>
                    <a:pt x="26" y="126"/>
                  </a:lnTo>
                  <a:lnTo>
                    <a:pt x="18" y="112"/>
                  </a:lnTo>
                  <a:lnTo>
                    <a:pt x="14" y="77"/>
                  </a:lnTo>
                  <a:lnTo>
                    <a:pt x="18" y="65"/>
                  </a:lnTo>
                  <a:lnTo>
                    <a:pt x="37" y="55"/>
                  </a:lnTo>
                  <a:lnTo>
                    <a:pt x="40" y="30"/>
                  </a:lnTo>
                  <a:lnTo>
                    <a:pt x="36" y="25"/>
                  </a:lnTo>
                  <a:lnTo>
                    <a:pt x="54" y="0"/>
                  </a:lnTo>
                  <a:lnTo>
                    <a:pt x="58" y="3"/>
                  </a:lnTo>
                  <a:lnTo>
                    <a:pt x="85" y="9"/>
                  </a:lnTo>
                  <a:lnTo>
                    <a:pt x="96" y="23"/>
                  </a:lnTo>
                  <a:lnTo>
                    <a:pt x="103" y="9"/>
                  </a:lnTo>
                  <a:lnTo>
                    <a:pt x="128" y="5"/>
                  </a:lnTo>
                  <a:lnTo>
                    <a:pt x="132" y="11"/>
                  </a:lnTo>
                  <a:lnTo>
                    <a:pt x="153" y="31"/>
                  </a:lnTo>
                  <a:lnTo>
                    <a:pt x="175" y="52"/>
                  </a:lnTo>
                  <a:lnTo>
                    <a:pt x="193" y="59"/>
                  </a:lnTo>
                  <a:lnTo>
                    <a:pt x="211" y="67"/>
                  </a:lnTo>
                  <a:lnTo>
                    <a:pt x="230" y="79"/>
                  </a:lnTo>
                  <a:lnTo>
                    <a:pt x="249" y="90"/>
                  </a:lnTo>
                  <a:lnTo>
                    <a:pt x="241" y="114"/>
                  </a:lnTo>
                  <a:lnTo>
                    <a:pt x="233" y="137"/>
                  </a:lnTo>
                  <a:lnTo>
                    <a:pt x="258" y="139"/>
                  </a:lnTo>
                  <a:lnTo>
                    <a:pt x="283" y="141"/>
                  </a:lnTo>
                  <a:lnTo>
                    <a:pt x="297" y="136"/>
                  </a:lnTo>
                  <a:lnTo>
                    <a:pt x="314" y="109"/>
                  </a:lnTo>
                  <a:lnTo>
                    <a:pt x="313" y="94"/>
                  </a:lnTo>
                  <a:lnTo>
                    <a:pt x="326" y="94"/>
                  </a:lnTo>
                  <a:lnTo>
                    <a:pt x="336" y="126"/>
                  </a:lnTo>
                  <a:lnTo>
                    <a:pt x="323" y="138"/>
                  </a:lnTo>
                  <a:lnTo>
                    <a:pt x="309" y="150"/>
                  </a:lnTo>
                  <a:lnTo>
                    <a:pt x="297" y="165"/>
                  </a:lnTo>
                  <a:lnTo>
                    <a:pt x="285" y="179"/>
                  </a:lnTo>
                  <a:lnTo>
                    <a:pt x="275" y="193"/>
                  </a:lnTo>
                  <a:lnTo>
                    <a:pt x="264" y="208"/>
                  </a:lnTo>
                  <a:lnTo>
                    <a:pt x="264" y="210"/>
                  </a:lnTo>
                  <a:lnTo>
                    <a:pt x="263" y="238"/>
                  </a:lnTo>
                  <a:lnTo>
                    <a:pt x="261" y="264"/>
                  </a:lnTo>
                  <a:lnTo>
                    <a:pt x="264" y="281"/>
                  </a:lnTo>
                  <a:lnTo>
                    <a:pt x="259" y="291"/>
                  </a:lnTo>
                  <a:lnTo>
                    <a:pt x="269" y="319"/>
                  </a:lnTo>
                  <a:lnTo>
                    <a:pt x="297" y="340"/>
                  </a:lnTo>
                  <a:lnTo>
                    <a:pt x="299" y="357"/>
                  </a:lnTo>
                  <a:lnTo>
                    <a:pt x="313" y="367"/>
                  </a:lnTo>
                  <a:lnTo>
                    <a:pt x="305" y="388"/>
                  </a:lnTo>
                  <a:lnTo>
                    <a:pt x="296" y="409"/>
                  </a:lnTo>
                  <a:lnTo>
                    <a:pt x="278" y="414"/>
                  </a:lnTo>
                  <a:lnTo>
                    <a:pt x="261" y="419"/>
                  </a:lnTo>
                  <a:lnTo>
                    <a:pt x="243" y="423"/>
                  </a:lnTo>
                  <a:lnTo>
                    <a:pt x="227" y="427"/>
                  </a:lnTo>
                  <a:lnTo>
                    <a:pt x="210" y="425"/>
                  </a:lnTo>
                  <a:lnTo>
                    <a:pt x="214" y="435"/>
                  </a:lnTo>
                  <a:lnTo>
                    <a:pt x="221" y="465"/>
                  </a:lnTo>
                  <a:lnTo>
                    <a:pt x="216" y="47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76" name="Freeform 132"/>
            <p:cNvSpPr>
              <a:spLocks/>
            </p:cNvSpPr>
            <p:nvPr/>
          </p:nvSpPr>
          <p:spPr bwMode="auto">
            <a:xfrm>
              <a:off x="1874" y="3006"/>
              <a:ext cx="58" cy="36"/>
            </a:xfrm>
            <a:custGeom>
              <a:avLst/>
              <a:gdLst>
                <a:gd name="T0" fmla="*/ 1 w 83"/>
                <a:gd name="T1" fmla="*/ 1 h 52"/>
                <a:gd name="T2" fmla="*/ 0 w 83"/>
                <a:gd name="T3" fmla="*/ 0 h 52"/>
                <a:gd name="T4" fmla="*/ 1 w 83"/>
                <a:gd name="T5" fmla="*/ 1 h 52"/>
                <a:gd name="T6" fmla="*/ 1 w 83"/>
                <a:gd name="T7" fmla="*/ 1 h 52"/>
                <a:gd name="T8" fmla="*/ 1 w 83"/>
                <a:gd name="T9" fmla="*/ 1 h 52"/>
                <a:gd name="T10" fmla="*/ 1 w 83"/>
                <a:gd name="T11" fmla="*/ 1 h 52"/>
                <a:gd name="T12" fmla="*/ 1 w 83"/>
                <a:gd name="T13" fmla="*/ 1 h 52"/>
                <a:gd name="T14" fmla="*/ 1 w 83"/>
                <a:gd name="T15" fmla="*/ 1 h 52"/>
                <a:gd name="T16" fmla="*/ 1 w 83"/>
                <a:gd name="T17" fmla="*/ 1 h 5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3"/>
                <a:gd name="T28" fmla="*/ 0 h 52"/>
                <a:gd name="T29" fmla="*/ 83 w 83"/>
                <a:gd name="T30" fmla="*/ 52 h 5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3" h="52">
                  <a:moveTo>
                    <a:pt x="6" y="9"/>
                  </a:moveTo>
                  <a:lnTo>
                    <a:pt x="0" y="0"/>
                  </a:lnTo>
                  <a:lnTo>
                    <a:pt x="11" y="26"/>
                  </a:lnTo>
                  <a:lnTo>
                    <a:pt x="22" y="52"/>
                  </a:lnTo>
                  <a:lnTo>
                    <a:pt x="52" y="52"/>
                  </a:lnTo>
                  <a:lnTo>
                    <a:pt x="83" y="52"/>
                  </a:lnTo>
                  <a:lnTo>
                    <a:pt x="80" y="46"/>
                  </a:lnTo>
                  <a:lnTo>
                    <a:pt x="37" y="32"/>
                  </a:lnTo>
                  <a:lnTo>
                    <a:pt x="6" y="9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77" name="Freeform 133"/>
            <p:cNvSpPr>
              <a:spLocks/>
            </p:cNvSpPr>
            <p:nvPr/>
          </p:nvSpPr>
          <p:spPr bwMode="auto">
            <a:xfrm>
              <a:off x="1704" y="2397"/>
              <a:ext cx="170" cy="629"/>
            </a:xfrm>
            <a:custGeom>
              <a:avLst/>
              <a:gdLst>
                <a:gd name="T0" fmla="*/ 1 w 241"/>
                <a:gd name="T1" fmla="*/ 3 h 894"/>
                <a:gd name="T2" fmla="*/ 1 w 241"/>
                <a:gd name="T3" fmla="*/ 3 h 894"/>
                <a:gd name="T4" fmla="*/ 1 w 241"/>
                <a:gd name="T5" fmla="*/ 4 h 894"/>
                <a:gd name="T6" fmla="*/ 1 w 241"/>
                <a:gd name="T7" fmla="*/ 4 h 894"/>
                <a:gd name="T8" fmla="*/ 1 w 241"/>
                <a:gd name="T9" fmla="*/ 4 h 894"/>
                <a:gd name="T10" fmla="*/ 1 w 241"/>
                <a:gd name="T11" fmla="*/ 4 h 894"/>
                <a:gd name="T12" fmla="*/ 1 w 241"/>
                <a:gd name="T13" fmla="*/ 4 h 894"/>
                <a:gd name="T14" fmla="*/ 1 w 241"/>
                <a:gd name="T15" fmla="*/ 4 h 894"/>
                <a:gd name="T16" fmla="*/ 1 w 241"/>
                <a:gd name="T17" fmla="*/ 5 h 894"/>
                <a:gd name="T18" fmla="*/ 1 w 241"/>
                <a:gd name="T19" fmla="*/ 6 h 894"/>
                <a:gd name="T20" fmla="*/ 1 w 241"/>
                <a:gd name="T21" fmla="*/ 6 h 894"/>
                <a:gd name="T22" fmla="*/ 1 w 241"/>
                <a:gd name="T23" fmla="*/ 6 h 894"/>
                <a:gd name="T24" fmla="*/ 1 w 241"/>
                <a:gd name="T25" fmla="*/ 6 h 894"/>
                <a:gd name="T26" fmla="*/ 1 w 241"/>
                <a:gd name="T27" fmla="*/ 6 h 894"/>
                <a:gd name="T28" fmla="*/ 1 w 241"/>
                <a:gd name="T29" fmla="*/ 6 h 894"/>
                <a:gd name="T30" fmla="*/ 1 w 241"/>
                <a:gd name="T31" fmla="*/ 6 h 894"/>
                <a:gd name="T32" fmla="*/ 1 w 241"/>
                <a:gd name="T33" fmla="*/ 6 h 894"/>
                <a:gd name="T34" fmla="*/ 1 w 241"/>
                <a:gd name="T35" fmla="*/ 6 h 894"/>
                <a:gd name="T36" fmla="*/ 1 w 241"/>
                <a:gd name="T37" fmla="*/ 6 h 894"/>
                <a:gd name="T38" fmla="*/ 1 w 241"/>
                <a:gd name="T39" fmla="*/ 6 h 894"/>
                <a:gd name="T40" fmla="*/ 1 w 241"/>
                <a:gd name="T41" fmla="*/ 6 h 894"/>
                <a:gd name="T42" fmla="*/ 1 w 241"/>
                <a:gd name="T43" fmla="*/ 6 h 894"/>
                <a:gd name="T44" fmla="*/ 1 w 241"/>
                <a:gd name="T45" fmla="*/ 6 h 894"/>
                <a:gd name="T46" fmla="*/ 1 w 241"/>
                <a:gd name="T47" fmla="*/ 6 h 894"/>
                <a:gd name="T48" fmla="*/ 1 w 241"/>
                <a:gd name="T49" fmla="*/ 6 h 894"/>
                <a:gd name="T50" fmla="*/ 1 w 241"/>
                <a:gd name="T51" fmla="*/ 6 h 894"/>
                <a:gd name="T52" fmla="*/ 1 w 241"/>
                <a:gd name="T53" fmla="*/ 6 h 894"/>
                <a:gd name="T54" fmla="*/ 1 w 241"/>
                <a:gd name="T55" fmla="*/ 6 h 894"/>
                <a:gd name="T56" fmla="*/ 1 w 241"/>
                <a:gd name="T57" fmla="*/ 6 h 894"/>
                <a:gd name="T58" fmla="*/ 1 w 241"/>
                <a:gd name="T59" fmla="*/ 5 h 894"/>
                <a:gd name="T60" fmla="*/ 1 w 241"/>
                <a:gd name="T61" fmla="*/ 4 h 894"/>
                <a:gd name="T62" fmla="*/ 1 w 241"/>
                <a:gd name="T63" fmla="*/ 4 h 894"/>
                <a:gd name="T64" fmla="*/ 1 w 241"/>
                <a:gd name="T65" fmla="*/ 4 h 894"/>
                <a:gd name="T66" fmla="*/ 1 w 241"/>
                <a:gd name="T67" fmla="*/ 3 h 894"/>
                <a:gd name="T68" fmla="*/ 1 w 241"/>
                <a:gd name="T69" fmla="*/ 3 h 894"/>
                <a:gd name="T70" fmla="*/ 1 w 241"/>
                <a:gd name="T71" fmla="*/ 2 h 894"/>
                <a:gd name="T72" fmla="*/ 1 w 241"/>
                <a:gd name="T73" fmla="*/ 2 h 894"/>
                <a:gd name="T74" fmla="*/ 1 w 241"/>
                <a:gd name="T75" fmla="*/ 1 h 894"/>
                <a:gd name="T76" fmla="*/ 1 w 241"/>
                <a:gd name="T77" fmla="*/ 1 h 894"/>
                <a:gd name="T78" fmla="*/ 1 w 241"/>
                <a:gd name="T79" fmla="*/ 1 h 894"/>
                <a:gd name="T80" fmla="*/ 1 w 241"/>
                <a:gd name="T81" fmla="*/ 1 h 894"/>
                <a:gd name="T82" fmla="*/ 1 w 241"/>
                <a:gd name="T83" fmla="*/ 1 h 894"/>
                <a:gd name="T84" fmla="*/ 1 w 241"/>
                <a:gd name="T85" fmla="*/ 1 h 894"/>
                <a:gd name="T86" fmla="*/ 1 w 241"/>
                <a:gd name="T87" fmla="*/ 1 h 894"/>
                <a:gd name="T88" fmla="*/ 1 w 241"/>
                <a:gd name="T89" fmla="*/ 1 h 894"/>
                <a:gd name="T90" fmla="*/ 1 w 241"/>
                <a:gd name="T91" fmla="*/ 2 h 894"/>
                <a:gd name="T92" fmla="*/ 1 w 241"/>
                <a:gd name="T93" fmla="*/ 2 h 8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41"/>
                <a:gd name="T142" fmla="*/ 0 h 894"/>
                <a:gd name="T143" fmla="*/ 241 w 241"/>
                <a:gd name="T144" fmla="*/ 894 h 8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41" h="894">
                  <a:moveTo>
                    <a:pt x="16" y="318"/>
                  </a:moveTo>
                  <a:lnTo>
                    <a:pt x="21" y="336"/>
                  </a:lnTo>
                  <a:lnTo>
                    <a:pt x="24" y="354"/>
                  </a:lnTo>
                  <a:lnTo>
                    <a:pt x="28" y="374"/>
                  </a:lnTo>
                  <a:lnTo>
                    <a:pt x="30" y="393"/>
                  </a:lnTo>
                  <a:lnTo>
                    <a:pt x="27" y="414"/>
                  </a:lnTo>
                  <a:lnTo>
                    <a:pt x="24" y="437"/>
                  </a:lnTo>
                  <a:lnTo>
                    <a:pt x="23" y="459"/>
                  </a:lnTo>
                  <a:lnTo>
                    <a:pt x="21" y="480"/>
                  </a:lnTo>
                  <a:lnTo>
                    <a:pt x="16" y="489"/>
                  </a:lnTo>
                  <a:lnTo>
                    <a:pt x="23" y="510"/>
                  </a:lnTo>
                  <a:lnTo>
                    <a:pt x="30" y="531"/>
                  </a:lnTo>
                  <a:lnTo>
                    <a:pt x="36" y="555"/>
                  </a:lnTo>
                  <a:lnTo>
                    <a:pt x="34" y="576"/>
                  </a:lnTo>
                  <a:lnTo>
                    <a:pt x="46" y="598"/>
                  </a:lnTo>
                  <a:lnTo>
                    <a:pt x="48" y="602"/>
                  </a:lnTo>
                  <a:lnTo>
                    <a:pt x="57" y="597"/>
                  </a:lnTo>
                  <a:lnTo>
                    <a:pt x="64" y="598"/>
                  </a:lnTo>
                  <a:lnTo>
                    <a:pt x="70" y="594"/>
                  </a:lnTo>
                  <a:lnTo>
                    <a:pt x="67" y="608"/>
                  </a:lnTo>
                  <a:lnTo>
                    <a:pt x="75" y="615"/>
                  </a:lnTo>
                  <a:lnTo>
                    <a:pt x="71" y="612"/>
                  </a:lnTo>
                  <a:lnTo>
                    <a:pt x="72" y="620"/>
                  </a:lnTo>
                  <a:lnTo>
                    <a:pt x="75" y="634"/>
                  </a:lnTo>
                  <a:lnTo>
                    <a:pt x="76" y="650"/>
                  </a:lnTo>
                  <a:lnTo>
                    <a:pt x="76" y="659"/>
                  </a:lnTo>
                  <a:lnTo>
                    <a:pt x="88" y="669"/>
                  </a:lnTo>
                  <a:lnTo>
                    <a:pt x="82" y="684"/>
                  </a:lnTo>
                  <a:lnTo>
                    <a:pt x="88" y="690"/>
                  </a:lnTo>
                  <a:lnTo>
                    <a:pt x="83" y="690"/>
                  </a:lnTo>
                  <a:lnTo>
                    <a:pt x="83" y="698"/>
                  </a:lnTo>
                  <a:lnTo>
                    <a:pt x="84" y="698"/>
                  </a:lnTo>
                  <a:lnTo>
                    <a:pt x="85" y="711"/>
                  </a:lnTo>
                  <a:lnTo>
                    <a:pt x="87" y="708"/>
                  </a:lnTo>
                  <a:lnTo>
                    <a:pt x="81" y="719"/>
                  </a:lnTo>
                  <a:lnTo>
                    <a:pt x="79" y="712"/>
                  </a:lnTo>
                  <a:lnTo>
                    <a:pt x="71" y="711"/>
                  </a:lnTo>
                  <a:lnTo>
                    <a:pt x="72" y="702"/>
                  </a:lnTo>
                  <a:lnTo>
                    <a:pt x="67" y="704"/>
                  </a:lnTo>
                  <a:lnTo>
                    <a:pt x="61" y="705"/>
                  </a:lnTo>
                  <a:lnTo>
                    <a:pt x="51" y="725"/>
                  </a:lnTo>
                  <a:lnTo>
                    <a:pt x="54" y="724"/>
                  </a:lnTo>
                  <a:lnTo>
                    <a:pt x="61" y="719"/>
                  </a:lnTo>
                  <a:lnTo>
                    <a:pt x="73" y="724"/>
                  </a:lnTo>
                  <a:lnTo>
                    <a:pt x="88" y="736"/>
                  </a:lnTo>
                  <a:lnTo>
                    <a:pt x="82" y="741"/>
                  </a:lnTo>
                  <a:lnTo>
                    <a:pt x="87" y="744"/>
                  </a:lnTo>
                  <a:lnTo>
                    <a:pt x="78" y="748"/>
                  </a:lnTo>
                  <a:lnTo>
                    <a:pt x="95" y="747"/>
                  </a:lnTo>
                  <a:lnTo>
                    <a:pt x="97" y="744"/>
                  </a:lnTo>
                  <a:lnTo>
                    <a:pt x="105" y="754"/>
                  </a:lnTo>
                  <a:lnTo>
                    <a:pt x="105" y="760"/>
                  </a:lnTo>
                  <a:lnTo>
                    <a:pt x="90" y="756"/>
                  </a:lnTo>
                  <a:lnTo>
                    <a:pt x="84" y="755"/>
                  </a:lnTo>
                  <a:lnTo>
                    <a:pt x="94" y="771"/>
                  </a:lnTo>
                  <a:lnTo>
                    <a:pt x="103" y="788"/>
                  </a:lnTo>
                  <a:lnTo>
                    <a:pt x="105" y="796"/>
                  </a:lnTo>
                  <a:lnTo>
                    <a:pt x="108" y="804"/>
                  </a:lnTo>
                  <a:lnTo>
                    <a:pt x="105" y="807"/>
                  </a:lnTo>
                  <a:lnTo>
                    <a:pt x="115" y="814"/>
                  </a:lnTo>
                  <a:lnTo>
                    <a:pt x="123" y="824"/>
                  </a:lnTo>
                  <a:lnTo>
                    <a:pt x="121" y="828"/>
                  </a:lnTo>
                  <a:lnTo>
                    <a:pt x="131" y="834"/>
                  </a:lnTo>
                  <a:lnTo>
                    <a:pt x="136" y="840"/>
                  </a:lnTo>
                  <a:lnTo>
                    <a:pt x="131" y="838"/>
                  </a:lnTo>
                  <a:lnTo>
                    <a:pt x="142" y="848"/>
                  </a:lnTo>
                  <a:lnTo>
                    <a:pt x="142" y="854"/>
                  </a:lnTo>
                  <a:lnTo>
                    <a:pt x="150" y="864"/>
                  </a:lnTo>
                  <a:lnTo>
                    <a:pt x="154" y="869"/>
                  </a:lnTo>
                  <a:lnTo>
                    <a:pt x="163" y="875"/>
                  </a:lnTo>
                  <a:lnTo>
                    <a:pt x="167" y="878"/>
                  </a:lnTo>
                  <a:lnTo>
                    <a:pt x="163" y="880"/>
                  </a:lnTo>
                  <a:lnTo>
                    <a:pt x="175" y="884"/>
                  </a:lnTo>
                  <a:lnTo>
                    <a:pt x="204" y="894"/>
                  </a:lnTo>
                  <a:lnTo>
                    <a:pt x="205" y="866"/>
                  </a:lnTo>
                  <a:lnTo>
                    <a:pt x="221" y="856"/>
                  </a:lnTo>
                  <a:lnTo>
                    <a:pt x="241" y="858"/>
                  </a:lnTo>
                  <a:lnTo>
                    <a:pt x="209" y="850"/>
                  </a:lnTo>
                  <a:lnTo>
                    <a:pt x="171" y="846"/>
                  </a:lnTo>
                  <a:lnTo>
                    <a:pt x="159" y="836"/>
                  </a:lnTo>
                  <a:lnTo>
                    <a:pt x="147" y="816"/>
                  </a:lnTo>
                  <a:lnTo>
                    <a:pt x="135" y="818"/>
                  </a:lnTo>
                  <a:lnTo>
                    <a:pt x="117" y="785"/>
                  </a:lnTo>
                  <a:lnTo>
                    <a:pt x="129" y="771"/>
                  </a:lnTo>
                  <a:lnTo>
                    <a:pt x="125" y="738"/>
                  </a:lnTo>
                  <a:lnTo>
                    <a:pt x="121" y="711"/>
                  </a:lnTo>
                  <a:lnTo>
                    <a:pt x="119" y="692"/>
                  </a:lnTo>
                  <a:lnTo>
                    <a:pt x="114" y="681"/>
                  </a:lnTo>
                  <a:lnTo>
                    <a:pt x="106" y="676"/>
                  </a:lnTo>
                  <a:lnTo>
                    <a:pt x="119" y="671"/>
                  </a:lnTo>
                  <a:lnTo>
                    <a:pt x="103" y="662"/>
                  </a:lnTo>
                  <a:lnTo>
                    <a:pt x="94" y="635"/>
                  </a:lnTo>
                  <a:lnTo>
                    <a:pt x="83" y="622"/>
                  </a:lnTo>
                  <a:lnTo>
                    <a:pt x="83" y="602"/>
                  </a:lnTo>
                  <a:lnTo>
                    <a:pt x="75" y="569"/>
                  </a:lnTo>
                  <a:lnTo>
                    <a:pt x="72" y="543"/>
                  </a:lnTo>
                  <a:lnTo>
                    <a:pt x="77" y="527"/>
                  </a:lnTo>
                  <a:lnTo>
                    <a:pt x="73" y="513"/>
                  </a:lnTo>
                  <a:lnTo>
                    <a:pt x="67" y="492"/>
                  </a:lnTo>
                  <a:lnTo>
                    <a:pt x="61" y="471"/>
                  </a:lnTo>
                  <a:lnTo>
                    <a:pt x="72" y="455"/>
                  </a:lnTo>
                  <a:lnTo>
                    <a:pt x="67" y="438"/>
                  </a:lnTo>
                  <a:lnTo>
                    <a:pt x="70" y="407"/>
                  </a:lnTo>
                  <a:lnTo>
                    <a:pt x="65" y="393"/>
                  </a:lnTo>
                  <a:lnTo>
                    <a:pt x="54" y="372"/>
                  </a:lnTo>
                  <a:lnTo>
                    <a:pt x="45" y="352"/>
                  </a:lnTo>
                  <a:lnTo>
                    <a:pt x="46" y="336"/>
                  </a:lnTo>
                  <a:lnTo>
                    <a:pt x="48" y="321"/>
                  </a:lnTo>
                  <a:lnTo>
                    <a:pt x="47" y="303"/>
                  </a:lnTo>
                  <a:lnTo>
                    <a:pt x="47" y="285"/>
                  </a:lnTo>
                  <a:lnTo>
                    <a:pt x="55" y="262"/>
                  </a:lnTo>
                  <a:lnTo>
                    <a:pt x="65" y="240"/>
                  </a:lnTo>
                  <a:lnTo>
                    <a:pt x="71" y="233"/>
                  </a:lnTo>
                  <a:lnTo>
                    <a:pt x="63" y="219"/>
                  </a:lnTo>
                  <a:lnTo>
                    <a:pt x="59" y="184"/>
                  </a:lnTo>
                  <a:lnTo>
                    <a:pt x="63" y="172"/>
                  </a:lnTo>
                  <a:lnTo>
                    <a:pt x="82" y="162"/>
                  </a:lnTo>
                  <a:lnTo>
                    <a:pt x="85" y="137"/>
                  </a:lnTo>
                  <a:lnTo>
                    <a:pt x="81" y="132"/>
                  </a:lnTo>
                  <a:lnTo>
                    <a:pt x="66" y="130"/>
                  </a:lnTo>
                  <a:lnTo>
                    <a:pt x="57" y="107"/>
                  </a:lnTo>
                  <a:lnTo>
                    <a:pt x="48" y="86"/>
                  </a:lnTo>
                  <a:lnTo>
                    <a:pt x="42" y="64"/>
                  </a:lnTo>
                  <a:lnTo>
                    <a:pt x="42" y="46"/>
                  </a:lnTo>
                  <a:lnTo>
                    <a:pt x="30" y="29"/>
                  </a:lnTo>
                  <a:lnTo>
                    <a:pt x="24" y="12"/>
                  </a:lnTo>
                  <a:lnTo>
                    <a:pt x="18" y="0"/>
                  </a:lnTo>
                  <a:lnTo>
                    <a:pt x="12" y="10"/>
                  </a:lnTo>
                  <a:lnTo>
                    <a:pt x="5" y="21"/>
                  </a:lnTo>
                  <a:lnTo>
                    <a:pt x="0" y="22"/>
                  </a:lnTo>
                  <a:lnTo>
                    <a:pt x="6" y="53"/>
                  </a:lnTo>
                  <a:lnTo>
                    <a:pt x="12" y="84"/>
                  </a:lnTo>
                  <a:lnTo>
                    <a:pt x="12" y="112"/>
                  </a:lnTo>
                  <a:lnTo>
                    <a:pt x="11" y="138"/>
                  </a:lnTo>
                  <a:lnTo>
                    <a:pt x="11" y="149"/>
                  </a:lnTo>
                  <a:lnTo>
                    <a:pt x="15" y="180"/>
                  </a:lnTo>
                  <a:lnTo>
                    <a:pt x="16" y="208"/>
                  </a:lnTo>
                  <a:lnTo>
                    <a:pt x="15" y="243"/>
                  </a:lnTo>
                  <a:lnTo>
                    <a:pt x="15" y="278"/>
                  </a:lnTo>
                  <a:lnTo>
                    <a:pt x="16" y="293"/>
                  </a:lnTo>
                  <a:lnTo>
                    <a:pt x="16" y="31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78" name="Freeform 134"/>
            <p:cNvSpPr>
              <a:spLocks/>
            </p:cNvSpPr>
            <p:nvPr/>
          </p:nvSpPr>
          <p:spPr bwMode="auto">
            <a:xfrm>
              <a:off x="1845" y="3003"/>
              <a:ext cx="45" cy="39"/>
            </a:xfrm>
            <a:custGeom>
              <a:avLst/>
              <a:gdLst>
                <a:gd name="T0" fmla="*/ 1 w 64"/>
                <a:gd name="T1" fmla="*/ 1 h 56"/>
                <a:gd name="T2" fmla="*/ 1 w 64"/>
                <a:gd name="T3" fmla="*/ 1 h 56"/>
                <a:gd name="T4" fmla="*/ 1 w 64"/>
                <a:gd name="T5" fmla="*/ 1 h 56"/>
                <a:gd name="T6" fmla="*/ 1 w 64"/>
                <a:gd name="T7" fmla="*/ 1 h 56"/>
                <a:gd name="T8" fmla="*/ 1 w 64"/>
                <a:gd name="T9" fmla="*/ 1 h 56"/>
                <a:gd name="T10" fmla="*/ 1 w 64"/>
                <a:gd name="T11" fmla="*/ 1 h 56"/>
                <a:gd name="T12" fmla="*/ 1 w 64"/>
                <a:gd name="T13" fmla="*/ 1 h 56"/>
                <a:gd name="T14" fmla="*/ 0 w 64"/>
                <a:gd name="T15" fmla="*/ 1 h 56"/>
                <a:gd name="T16" fmla="*/ 1 w 64"/>
                <a:gd name="T17" fmla="*/ 1 h 56"/>
                <a:gd name="T18" fmla="*/ 1 w 64"/>
                <a:gd name="T19" fmla="*/ 1 h 56"/>
                <a:gd name="T20" fmla="*/ 1 w 64"/>
                <a:gd name="T21" fmla="*/ 1 h 56"/>
                <a:gd name="T22" fmla="*/ 1 w 64"/>
                <a:gd name="T23" fmla="*/ 1 h 56"/>
                <a:gd name="T24" fmla="*/ 1 w 64"/>
                <a:gd name="T25" fmla="*/ 1 h 56"/>
                <a:gd name="T26" fmla="*/ 1 w 64"/>
                <a:gd name="T27" fmla="*/ 1 h 56"/>
                <a:gd name="T28" fmla="*/ 1 w 64"/>
                <a:gd name="T29" fmla="*/ 1 h 56"/>
                <a:gd name="T30" fmla="*/ 1 w 64"/>
                <a:gd name="T31" fmla="*/ 1 h 56"/>
                <a:gd name="T32" fmla="*/ 1 w 64"/>
                <a:gd name="T33" fmla="*/ 1 h 56"/>
                <a:gd name="T34" fmla="*/ 1 w 64"/>
                <a:gd name="T35" fmla="*/ 1 h 56"/>
                <a:gd name="T36" fmla="*/ 1 w 64"/>
                <a:gd name="T37" fmla="*/ 1 h 56"/>
                <a:gd name="T38" fmla="*/ 1 w 64"/>
                <a:gd name="T39" fmla="*/ 1 h 56"/>
                <a:gd name="T40" fmla="*/ 1 w 64"/>
                <a:gd name="T41" fmla="*/ 1 h 56"/>
                <a:gd name="T42" fmla="*/ 1 w 64"/>
                <a:gd name="T43" fmla="*/ 0 h 56"/>
                <a:gd name="T44" fmla="*/ 1 w 64"/>
                <a:gd name="T45" fmla="*/ 1 h 5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4"/>
                <a:gd name="T70" fmla="*/ 0 h 56"/>
                <a:gd name="T71" fmla="*/ 64 w 64"/>
                <a:gd name="T72" fmla="*/ 56 h 5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4" h="56">
                  <a:moveTo>
                    <a:pt x="42" y="4"/>
                  </a:moveTo>
                  <a:lnTo>
                    <a:pt x="53" y="30"/>
                  </a:lnTo>
                  <a:lnTo>
                    <a:pt x="64" y="56"/>
                  </a:lnTo>
                  <a:lnTo>
                    <a:pt x="57" y="54"/>
                  </a:lnTo>
                  <a:lnTo>
                    <a:pt x="48" y="55"/>
                  </a:lnTo>
                  <a:lnTo>
                    <a:pt x="26" y="53"/>
                  </a:lnTo>
                  <a:lnTo>
                    <a:pt x="18" y="52"/>
                  </a:lnTo>
                  <a:lnTo>
                    <a:pt x="0" y="49"/>
                  </a:lnTo>
                  <a:lnTo>
                    <a:pt x="5" y="48"/>
                  </a:lnTo>
                  <a:lnTo>
                    <a:pt x="16" y="43"/>
                  </a:lnTo>
                  <a:lnTo>
                    <a:pt x="22" y="48"/>
                  </a:lnTo>
                  <a:lnTo>
                    <a:pt x="28" y="48"/>
                  </a:lnTo>
                  <a:lnTo>
                    <a:pt x="17" y="42"/>
                  </a:lnTo>
                  <a:lnTo>
                    <a:pt x="30" y="44"/>
                  </a:lnTo>
                  <a:lnTo>
                    <a:pt x="38" y="46"/>
                  </a:lnTo>
                  <a:lnTo>
                    <a:pt x="48" y="48"/>
                  </a:lnTo>
                  <a:lnTo>
                    <a:pt x="51" y="48"/>
                  </a:lnTo>
                  <a:lnTo>
                    <a:pt x="27" y="34"/>
                  </a:lnTo>
                  <a:lnTo>
                    <a:pt x="36" y="23"/>
                  </a:lnTo>
                  <a:lnTo>
                    <a:pt x="21" y="23"/>
                  </a:lnTo>
                  <a:lnTo>
                    <a:pt x="14" y="5"/>
                  </a:lnTo>
                  <a:lnTo>
                    <a:pt x="22" y="0"/>
                  </a:lnTo>
                  <a:lnTo>
                    <a:pt x="42" y="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79" name="Freeform 135"/>
            <p:cNvSpPr>
              <a:spLocks/>
            </p:cNvSpPr>
            <p:nvPr/>
          </p:nvSpPr>
          <p:spPr bwMode="auto">
            <a:xfrm>
              <a:off x="1732" y="2820"/>
              <a:ext cx="11" cy="27"/>
            </a:xfrm>
            <a:custGeom>
              <a:avLst/>
              <a:gdLst>
                <a:gd name="T0" fmla="*/ 1 w 17"/>
                <a:gd name="T1" fmla="*/ 0 h 37"/>
                <a:gd name="T2" fmla="*/ 0 w 17"/>
                <a:gd name="T3" fmla="*/ 1 h 37"/>
                <a:gd name="T4" fmla="*/ 1 w 17"/>
                <a:gd name="T5" fmla="*/ 1 h 37"/>
                <a:gd name="T6" fmla="*/ 1 w 17"/>
                <a:gd name="T7" fmla="*/ 1 h 37"/>
                <a:gd name="T8" fmla="*/ 1 w 17"/>
                <a:gd name="T9" fmla="*/ 1 h 37"/>
                <a:gd name="T10" fmla="*/ 1 w 17"/>
                <a:gd name="T11" fmla="*/ 1 h 37"/>
                <a:gd name="T12" fmla="*/ 1 w 17"/>
                <a:gd name="T13" fmla="*/ 1 h 37"/>
                <a:gd name="T14" fmla="*/ 1 w 17"/>
                <a:gd name="T15" fmla="*/ 0 h 3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7"/>
                <a:gd name="T25" fmla="*/ 0 h 37"/>
                <a:gd name="T26" fmla="*/ 17 w 17"/>
                <a:gd name="T27" fmla="*/ 37 h 3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7" h="37">
                  <a:moveTo>
                    <a:pt x="6" y="0"/>
                  </a:moveTo>
                  <a:lnTo>
                    <a:pt x="0" y="3"/>
                  </a:lnTo>
                  <a:lnTo>
                    <a:pt x="8" y="37"/>
                  </a:lnTo>
                  <a:lnTo>
                    <a:pt x="17" y="33"/>
                  </a:lnTo>
                  <a:lnTo>
                    <a:pt x="17" y="29"/>
                  </a:lnTo>
                  <a:lnTo>
                    <a:pt x="13" y="12"/>
                  </a:lnTo>
                  <a:lnTo>
                    <a:pt x="17" y="11"/>
                  </a:lnTo>
                  <a:lnTo>
                    <a:pt x="6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80" name="Freeform 136"/>
            <p:cNvSpPr>
              <a:spLocks/>
            </p:cNvSpPr>
            <p:nvPr/>
          </p:nvSpPr>
          <p:spPr bwMode="auto">
            <a:xfrm>
              <a:off x="1760" y="2941"/>
              <a:ext cx="13" cy="21"/>
            </a:xfrm>
            <a:custGeom>
              <a:avLst/>
              <a:gdLst>
                <a:gd name="T0" fmla="*/ 1 w 20"/>
                <a:gd name="T1" fmla="*/ 0 h 30"/>
                <a:gd name="T2" fmla="*/ 0 w 20"/>
                <a:gd name="T3" fmla="*/ 1 h 30"/>
                <a:gd name="T4" fmla="*/ 1 w 20"/>
                <a:gd name="T5" fmla="*/ 1 h 30"/>
                <a:gd name="T6" fmla="*/ 1 w 20"/>
                <a:gd name="T7" fmla="*/ 1 h 30"/>
                <a:gd name="T8" fmla="*/ 1 w 20"/>
                <a:gd name="T9" fmla="*/ 1 h 30"/>
                <a:gd name="T10" fmla="*/ 1 w 20"/>
                <a:gd name="T11" fmla="*/ 0 h 3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"/>
                <a:gd name="T19" fmla="*/ 0 h 30"/>
                <a:gd name="T20" fmla="*/ 20 w 20"/>
                <a:gd name="T21" fmla="*/ 30 h 3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" h="30">
                  <a:moveTo>
                    <a:pt x="10" y="0"/>
                  </a:moveTo>
                  <a:lnTo>
                    <a:pt x="0" y="12"/>
                  </a:lnTo>
                  <a:lnTo>
                    <a:pt x="11" y="25"/>
                  </a:lnTo>
                  <a:lnTo>
                    <a:pt x="18" y="30"/>
                  </a:lnTo>
                  <a:lnTo>
                    <a:pt x="20" y="21"/>
                  </a:lnTo>
                  <a:lnTo>
                    <a:pt x="10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81" name="Freeform 137"/>
            <p:cNvSpPr>
              <a:spLocks/>
            </p:cNvSpPr>
            <p:nvPr/>
          </p:nvSpPr>
          <p:spPr bwMode="auto">
            <a:xfrm>
              <a:off x="1525" y="2066"/>
              <a:ext cx="89" cy="113"/>
            </a:xfrm>
            <a:custGeom>
              <a:avLst/>
              <a:gdLst>
                <a:gd name="T0" fmla="*/ 0 w 125"/>
                <a:gd name="T1" fmla="*/ 1 h 160"/>
                <a:gd name="T2" fmla="*/ 1 w 125"/>
                <a:gd name="T3" fmla="*/ 1 h 160"/>
                <a:gd name="T4" fmla="*/ 0 w 125"/>
                <a:gd name="T5" fmla="*/ 1 h 160"/>
                <a:gd name="T6" fmla="*/ 1 w 125"/>
                <a:gd name="T7" fmla="*/ 1 h 160"/>
                <a:gd name="T8" fmla="*/ 1 w 125"/>
                <a:gd name="T9" fmla="*/ 1 h 160"/>
                <a:gd name="T10" fmla="*/ 1 w 125"/>
                <a:gd name="T11" fmla="*/ 1 h 160"/>
                <a:gd name="T12" fmla="*/ 1 w 125"/>
                <a:gd name="T13" fmla="*/ 1 h 160"/>
                <a:gd name="T14" fmla="*/ 1 w 125"/>
                <a:gd name="T15" fmla="*/ 1 h 160"/>
                <a:gd name="T16" fmla="*/ 1 w 125"/>
                <a:gd name="T17" fmla="*/ 1 h 160"/>
                <a:gd name="T18" fmla="*/ 1 w 125"/>
                <a:gd name="T19" fmla="*/ 1 h 160"/>
                <a:gd name="T20" fmla="*/ 1 w 125"/>
                <a:gd name="T21" fmla="*/ 1 h 160"/>
                <a:gd name="T22" fmla="*/ 1 w 125"/>
                <a:gd name="T23" fmla="*/ 1 h 160"/>
                <a:gd name="T24" fmla="*/ 1 w 125"/>
                <a:gd name="T25" fmla="*/ 1 h 160"/>
                <a:gd name="T26" fmla="*/ 1 w 125"/>
                <a:gd name="T27" fmla="*/ 1 h 160"/>
                <a:gd name="T28" fmla="*/ 1 w 125"/>
                <a:gd name="T29" fmla="*/ 1 h 160"/>
                <a:gd name="T30" fmla="*/ 1 w 125"/>
                <a:gd name="T31" fmla="*/ 1 h 160"/>
                <a:gd name="T32" fmla="*/ 1 w 125"/>
                <a:gd name="T33" fmla="*/ 1 h 160"/>
                <a:gd name="T34" fmla="*/ 1 w 125"/>
                <a:gd name="T35" fmla="*/ 1 h 160"/>
                <a:gd name="T36" fmla="*/ 1 w 125"/>
                <a:gd name="T37" fmla="*/ 1 h 160"/>
                <a:gd name="T38" fmla="*/ 1 w 125"/>
                <a:gd name="T39" fmla="*/ 1 h 160"/>
                <a:gd name="T40" fmla="*/ 1 w 125"/>
                <a:gd name="T41" fmla="*/ 1 h 160"/>
                <a:gd name="T42" fmla="*/ 1 w 125"/>
                <a:gd name="T43" fmla="*/ 1 h 160"/>
                <a:gd name="T44" fmla="*/ 1 w 125"/>
                <a:gd name="T45" fmla="*/ 1 h 160"/>
                <a:gd name="T46" fmla="*/ 1 w 125"/>
                <a:gd name="T47" fmla="*/ 1 h 160"/>
                <a:gd name="T48" fmla="*/ 1 w 125"/>
                <a:gd name="T49" fmla="*/ 1 h 160"/>
                <a:gd name="T50" fmla="*/ 1 w 125"/>
                <a:gd name="T51" fmla="*/ 1 h 160"/>
                <a:gd name="T52" fmla="*/ 1 w 125"/>
                <a:gd name="T53" fmla="*/ 1 h 160"/>
                <a:gd name="T54" fmla="*/ 1 w 125"/>
                <a:gd name="T55" fmla="*/ 1 h 160"/>
                <a:gd name="T56" fmla="*/ 1 w 125"/>
                <a:gd name="T57" fmla="*/ 1 h 160"/>
                <a:gd name="T58" fmla="*/ 1 w 125"/>
                <a:gd name="T59" fmla="*/ 1 h 160"/>
                <a:gd name="T60" fmla="*/ 1 w 125"/>
                <a:gd name="T61" fmla="*/ 0 h 160"/>
                <a:gd name="T62" fmla="*/ 1 w 125"/>
                <a:gd name="T63" fmla="*/ 1 h 160"/>
                <a:gd name="T64" fmla="*/ 1 w 125"/>
                <a:gd name="T65" fmla="*/ 1 h 160"/>
                <a:gd name="T66" fmla="*/ 1 w 125"/>
                <a:gd name="T67" fmla="*/ 1 h 160"/>
                <a:gd name="T68" fmla="*/ 1 w 125"/>
                <a:gd name="T69" fmla="*/ 1 h 160"/>
                <a:gd name="T70" fmla="*/ 0 w 125"/>
                <a:gd name="T71" fmla="*/ 1 h 16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25"/>
                <a:gd name="T109" fmla="*/ 0 h 160"/>
                <a:gd name="T110" fmla="*/ 125 w 125"/>
                <a:gd name="T111" fmla="*/ 160 h 16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25" h="160">
                  <a:moveTo>
                    <a:pt x="0" y="64"/>
                  </a:moveTo>
                  <a:lnTo>
                    <a:pt x="4" y="89"/>
                  </a:lnTo>
                  <a:lnTo>
                    <a:pt x="0" y="94"/>
                  </a:lnTo>
                  <a:lnTo>
                    <a:pt x="16" y="101"/>
                  </a:lnTo>
                  <a:lnTo>
                    <a:pt x="20" y="95"/>
                  </a:lnTo>
                  <a:lnTo>
                    <a:pt x="23" y="100"/>
                  </a:lnTo>
                  <a:lnTo>
                    <a:pt x="22" y="115"/>
                  </a:lnTo>
                  <a:lnTo>
                    <a:pt x="13" y="120"/>
                  </a:lnTo>
                  <a:lnTo>
                    <a:pt x="16" y="134"/>
                  </a:lnTo>
                  <a:lnTo>
                    <a:pt x="11" y="145"/>
                  </a:lnTo>
                  <a:lnTo>
                    <a:pt x="18" y="143"/>
                  </a:lnTo>
                  <a:lnTo>
                    <a:pt x="42" y="160"/>
                  </a:lnTo>
                  <a:lnTo>
                    <a:pt x="49" y="151"/>
                  </a:lnTo>
                  <a:lnTo>
                    <a:pt x="52" y="140"/>
                  </a:lnTo>
                  <a:lnTo>
                    <a:pt x="56" y="131"/>
                  </a:lnTo>
                  <a:lnTo>
                    <a:pt x="60" y="116"/>
                  </a:lnTo>
                  <a:lnTo>
                    <a:pt x="62" y="116"/>
                  </a:lnTo>
                  <a:lnTo>
                    <a:pt x="62" y="121"/>
                  </a:lnTo>
                  <a:lnTo>
                    <a:pt x="66" y="120"/>
                  </a:lnTo>
                  <a:lnTo>
                    <a:pt x="65" y="116"/>
                  </a:lnTo>
                  <a:lnTo>
                    <a:pt x="70" y="110"/>
                  </a:lnTo>
                  <a:lnTo>
                    <a:pt x="83" y="104"/>
                  </a:lnTo>
                  <a:lnTo>
                    <a:pt x="107" y="89"/>
                  </a:lnTo>
                  <a:lnTo>
                    <a:pt x="120" y="60"/>
                  </a:lnTo>
                  <a:lnTo>
                    <a:pt x="125" y="60"/>
                  </a:lnTo>
                  <a:lnTo>
                    <a:pt x="116" y="41"/>
                  </a:lnTo>
                  <a:lnTo>
                    <a:pt x="122" y="38"/>
                  </a:lnTo>
                  <a:lnTo>
                    <a:pt x="98" y="26"/>
                  </a:lnTo>
                  <a:lnTo>
                    <a:pt x="77" y="26"/>
                  </a:lnTo>
                  <a:lnTo>
                    <a:pt x="64" y="13"/>
                  </a:lnTo>
                  <a:lnTo>
                    <a:pt x="46" y="0"/>
                  </a:lnTo>
                  <a:lnTo>
                    <a:pt x="37" y="10"/>
                  </a:lnTo>
                  <a:lnTo>
                    <a:pt x="18" y="20"/>
                  </a:lnTo>
                  <a:lnTo>
                    <a:pt x="13" y="40"/>
                  </a:lnTo>
                  <a:lnTo>
                    <a:pt x="11" y="52"/>
                  </a:lnTo>
                  <a:lnTo>
                    <a:pt x="0" y="6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82" name="Freeform 138"/>
            <p:cNvSpPr>
              <a:spLocks/>
            </p:cNvSpPr>
            <p:nvPr/>
          </p:nvSpPr>
          <p:spPr bwMode="auto">
            <a:xfrm>
              <a:off x="1538" y="2140"/>
              <a:ext cx="4" cy="2"/>
            </a:xfrm>
            <a:custGeom>
              <a:avLst/>
              <a:gdLst>
                <a:gd name="T0" fmla="*/ 1 w 6"/>
                <a:gd name="T1" fmla="*/ 0 h 5"/>
                <a:gd name="T2" fmla="*/ 1 w 6"/>
                <a:gd name="T3" fmla="*/ 0 h 5"/>
                <a:gd name="T4" fmla="*/ 0 w 6"/>
                <a:gd name="T5" fmla="*/ 0 h 5"/>
                <a:gd name="T6" fmla="*/ 1 w 6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5"/>
                <a:gd name="T14" fmla="*/ 6 w 6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5">
                  <a:moveTo>
                    <a:pt x="6" y="1"/>
                  </a:moveTo>
                  <a:lnTo>
                    <a:pt x="1" y="5"/>
                  </a:lnTo>
                  <a:lnTo>
                    <a:pt x="0" y="0"/>
                  </a:lnTo>
                  <a:lnTo>
                    <a:pt x="6" y="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83" name="Freeform 139"/>
            <p:cNvSpPr>
              <a:spLocks/>
            </p:cNvSpPr>
            <p:nvPr/>
          </p:nvSpPr>
          <p:spPr bwMode="auto">
            <a:xfrm>
              <a:off x="1521" y="2093"/>
              <a:ext cx="203" cy="319"/>
            </a:xfrm>
            <a:custGeom>
              <a:avLst/>
              <a:gdLst>
                <a:gd name="T0" fmla="*/ 3 w 288"/>
                <a:gd name="T1" fmla="*/ 4 h 455"/>
                <a:gd name="T2" fmla="*/ 3 w 288"/>
                <a:gd name="T3" fmla="*/ 4 h 455"/>
                <a:gd name="T4" fmla="*/ 3 w 288"/>
                <a:gd name="T5" fmla="*/ 4 h 455"/>
                <a:gd name="T6" fmla="*/ 3 w 288"/>
                <a:gd name="T7" fmla="*/ 4 h 455"/>
                <a:gd name="T8" fmla="*/ 3 w 288"/>
                <a:gd name="T9" fmla="*/ 4 h 455"/>
                <a:gd name="T10" fmla="*/ 3 w 288"/>
                <a:gd name="T11" fmla="*/ 4 h 455"/>
                <a:gd name="T12" fmla="*/ 2 w 288"/>
                <a:gd name="T13" fmla="*/ 4 h 455"/>
                <a:gd name="T14" fmla="*/ 1 w 288"/>
                <a:gd name="T15" fmla="*/ 4 h 455"/>
                <a:gd name="T16" fmla="*/ 1 w 288"/>
                <a:gd name="T17" fmla="*/ 4 h 455"/>
                <a:gd name="T18" fmla="*/ 1 w 288"/>
                <a:gd name="T19" fmla="*/ 3 h 455"/>
                <a:gd name="T20" fmla="*/ 1 w 288"/>
                <a:gd name="T21" fmla="*/ 3 h 455"/>
                <a:gd name="T22" fmla="*/ 1 w 288"/>
                <a:gd name="T23" fmla="*/ 2 h 455"/>
                <a:gd name="T24" fmla="*/ 1 w 288"/>
                <a:gd name="T25" fmla="*/ 2 h 455"/>
                <a:gd name="T26" fmla="*/ 1 w 288"/>
                <a:gd name="T27" fmla="*/ 1 h 455"/>
                <a:gd name="T28" fmla="*/ 1 w 288"/>
                <a:gd name="T29" fmla="*/ 1 h 455"/>
                <a:gd name="T30" fmla="*/ 1 w 288"/>
                <a:gd name="T31" fmla="*/ 1 h 455"/>
                <a:gd name="T32" fmla="*/ 1 w 288"/>
                <a:gd name="T33" fmla="*/ 1 h 455"/>
                <a:gd name="T34" fmla="*/ 1 w 288"/>
                <a:gd name="T35" fmla="*/ 1 h 455"/>
                <a:gd name="T36" fmla="*/ 1 w 288"/>
                <a:gd name="T37" fmla="*/ 1 h 455"/>
                <a:gd name="T38" fmla="*/ 1 w 288"/>
                <a:gd name="T39" fmla="*/ 1 h 455"/>
                <a:gd name="T40" fmla="*/ 1 w 288"/>
                <a:gd name="T41" fmla="*/ 1 h 455"/>
                <a:gd name="T42" fmla="*/ 1 w 288"/>
                <a:gd name="T43" fmla="*/ 1 h 455"/>
                <a:gd name="T44" fmla="*/ 1 w 288"/>
                <a:gd name="T45" fmla="*/ 1 h 455"/>
                <a:gd name="T46" fmla="*/ 1 w 288"/>
                <a:gd name="T47" fmla="*/ 1 h 455"/>
                <a:gd name="T48" fmla="*/ 1 w 288"/>
                <a:gd name="T49" fmla="*/ 1 h 455"/>
                <a:gd name="T50" fmla="*/ 1 w 288"/>
                <a:gd name="T51" fmla="*/ 1 h 455"/>
                <a:gd name="T52" fmla="*/ 1 w 288"/>
                <a:gd name="T53" fmla="*/ 1 h 455"/>
                <a:gd name="T54" fmla="*/ 2 w 288"/>
                <a:gd name="T55" fmla="*/ 1 h 455"/>
                <a:gd name="T56" fmla="*/ 2 w 288"/>
                <a:gd name="T57" fmla="*/ 1 h 455"/>
                <a:gd name="T58" fmla="*/ 3 w 288"/>
                <a:gd name="T59" fmla="*/ 1 h 455"/>
                <a:gd name="T60" fmla="*/ 3 w 288"/>
                <a:gd name="T61" fmla="*/ 1 h 455"/>
                <a:gd name="T62" fmla="*/ 2 w 288"/>
                <a:gd name="T63" fmla="*/ 1 h 455"/>
                <a:gd name="T64" fmla="*/ 2 w 288"/>
                <a:gd name="T65" fmla="*/ 1 h 455"/>
                <a:gd name="T66" fmla="*/ 2 w 288"/>
                <a:gd name="T67" fmla="*/ 1 h 455"/>
                <a:gd name="T68" fmla="*/ 2 w 288"/>
                <a:gd name="T69" fmla="*/ 2 h 455"/>
                <a:gd name="T70" fmla="*/ 2 w 288"/>
                <a:gd name="T71" fmla="*/ 2 h 455"/>
                <a:gd name="T72" fmla="*/ 2 w 288"/>
                <a:gd name="T73" fmla="*/ 3 h 455"/>
                <a:gd name="T74" fmla="*/ 3 w 288"/>
                <a:gd name="T75" fmla="*/ 3 h 455"/>
                <a:gd name="T76" fmla="*/ 3 w 288"/>
                <a:gd name="T77" fmla="*/ 3 h 455"/>
                <a:gd name="T78" fmla="*/ 3 w 288"/>
                <a:gd name="T79" fmla="*/ 3 h 455"/>
                <a:gd name="T80" fmla="*/ 3 w 288"/>
                <a:gd name="T81" fmla="*/ 3 h 45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88"/>
                <a:gd name="T124" fmla="*/ 0 h 455"/>
                <a:gd name="T125" fmla="*/ 288 w 288"/>
                <a:gd name="T126" fmla="*/ 455 h 45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88" h="455">
                  <a:moveTo>
                    <a:pt x="282" y="346"/>
                  </a:moveTo>
                  <a:lnTo>
                    <a:pt x="278" y="359"/>
                  </a:lnTo>
                  <a:lnTo>
                    <a:pt x="278" y="379"/>
                  </a:lnTo>
                  <a:lnTo>
                    <a:pt x="281" y="400"/>
                  </a:lnTo>
                  <a:lnTo>
                    <a:pt x="288" y="402"/>
                  </a:lnTo>
                  <a:lnTo>
                    <a:pt x="278" y="424"/>
                  </a:lnTo>
                  <a:lnTo>
                    <a:pt x="278" y="433"/>
                  </a:lnTo>
                  <a:lnTo>
                    <a:pt x="272" y="443"/>
                  </a:lnTo>
                  <a:lnTo>
                    <a:pt x="265" y="454"/>
                  </a:lnTo>
                  <a:lnTo>
                    <a:pt x="260" y="455"/>
                  </a:lnTo>
                  <a:lnTo>
                    <a:pt x="246" y="443"/>
                  </a:lnTo>
                  <a:lnTo>
                    <a:pt x="236" y="431"/>
                  </a:lnTo>
                  <a:lnTo>
                    <a:pt x="218" y="420"/>
                  </a:lnTo>
                  <a:lnTo>
                    <a:pt x="199" y="409"/>
                  </a:lnTo>
                  <a:lnTo>
                    <a:pt x="180" y="399"/>
                  </a:lnTo>
                  <a:lnTo>
                    <a:pt x="162" y="388"/>
                  </a:lnTo>
                  <a:lnTo>
                    <a:pt x="143" y="369"/>
                  </a:lnTo>
                  <a:lnTo>
                    <a:pt x="123" y="351"/>
                  </a:lnTo>
                  <a:lnTo>
                    <a:pt x="123" y="337"/>
                  </a:lnTo>
                  <a:lnTo>
                    <a:pt x="109" y="310"/>
                  </a:lnTo>
                  <a:lnTo>
                    <a:pt x="95" y="283"/>
                  </a:lnTo>
                  <a:lnTo>
                    <a:pt x="84" y="267"/>
                  </a:lnTo>
                  <a:lnTo>
                    <a:pt x="74" y="249"/>
                  </a:lnTo>
                  <a:lnTo>
                    <a:pt x="65" y="231"/>
                  </a:lnTo>
                  <a:lnTo>
                    <a:pt x="56" y="213"/>
                  </a:lnTo>
                  <a:lnTo>
                    <a:pt x="47" y="193"/>
                  </a:lnTo>
                  <a:lnTo>
                    <a:pt x="37" y="175"/>
                  </a:lnTo>
                  <a:lnTo>
                    <a:pt x="21" y="163"/>
                  </a:lnTo>
                  <a:lnTo>
                    <a:pt x="6" y="151"/>
                  </a:lnTo>
                  <a:lnTo>
                    <a:pt x="8" y="144"/>
                  </a:lnTo>
                  <a:lnTo>
                    <a:pt x="0" y="112"/>
                  </a:lnTo>
                  <a:lnTo>
                    <a:pt x="11" y="97"/>
                  </a:lnTo>
                  <a:lnTo>
                    <a:pt x="20" y="83"/>
                  </a:lnTo>
                  <a:lnTo>
                    <a:pt x="23" y="97"/>
                  </a:lnTo>
                  <a:lnTo>
                    <a:pt x="18" y="108"/>
                  </a:lnTo>
                  <a:lnTo>
                    <a:pt x="25" y="106"/>
                  </a:lnTo>
                  <a:lnTo>
                    <a:pt x="49" y="123"/>
                  </a:lnTo>
                  <a:lnTo>
                    <a:pt x="56" y="114"/>
                  </a:lnTo>
                  <a:lnTo>
                    <a:pt x="59" y="103"/>
                  </a:lnTo>
                  <a:lnTo>
                    <a:pt x="63" y="95"/>
                  </a:lnTo>
                  <a:lnTo>
                    <a:pt x="67" y="79"/>
                  </a:lnTo>
                  <a:lnTo>
                    <a:pt x="69" y="79"/>
                  </a:lnTo>
                  <a:lnTo>
                    <a:pt x="69" y="84"/>
                  </a:lnTo>
                  <a:lnTo>
                    <a:pt x="73" y="83"/>
                  </a:lnTo>
                  <a:lnTo>
                    <a:pt x="72" y="79"/>
                  </a:lnTo>
                  <a:lnTo>
                    <a:pt x="77" y="73"/>
                  </a:lnTo>
                  <a:lnTo>
                    <a:pt x="90" y="67"/>
                  </a:lnTo>
                  <a:lnTo>
                    <a:pt x="114" y="52"/>
                  </a:lnTo>
                  <a:lnTo>
                    <a:pt x="127" y="23"/>
                  </a:lnTo>
                  <a:lnTo>
                    <a:pt x="132" y="23"/>
                  </a:lnTo>
                  <a:lnTo>
                    <a:pt x="123" y="4"/>
                  </a:lnTo>
                  <a:lnTo>
                    <a:pt x="129" y="1"/>
                  </a:lnTo>
                  <a:lnTo>
                    <a:pt x="131" y="0"/>
                  </a:lnTo>
                  <a:lnTo>
                    <a:pt x="144" y="12"/>
                  </a:lnTo>
                  <a:lnTo>
                    <a:pt x="156" y="24"/>
                  </a:lnTo>
                  <a:lnTo>
                    <a:pt x="173" y="43"/>
                  </a:lnTo>
                  <a:lnTo>
                    <a:pt x="177" y="55"/>
                  </a:lnTo>
                  <a:lnTo>
                    <a:pt x="204" y="55"/>
                  </a:lnTo>
                  <a:lnTo>
                    <a:pt x="221" y="57"/>
                  </a:lnTo>
                  <a:lnTo>
                    <a:pt x="243" y="64"/>
                  </a:lnTo>
                  <a:lnTo>
                    <a:pt x="235" y="94"/>
                  </a:lnTo>
                  <a:lnTo>
                    <a:pt x="248" y="103"/>
                  </a:lnTo>
                  <a:lnTo>
                    <a:pt x="241" y="103"/>
                  </a:lnTo>
                  <a:lnTo>
                    <a:pt x="222" y="108"/>
                  </a:lnTo>
                  <a:lnTo>
                    <a:pt x="205" y="117"/>
                  </a:lnTo>
                  <a:lnTo>
                    <a:pt x="187" y="124"/>
                  </a:lnTo>
                  <a:lnTo>
                    <a:pt x="182" y="143"/>
                  </a:lnTo>
                  <a:lnTo>
                    <a:pt x="176" y="162"/>
                  </a:lnTo>
                  <a:lnTo>
                    <a:pt x="164" y="183"/>
                  </a:lnTo>
                  <a:lnTo>
                    <a:pt x="175" y="201"/>
                  </a:lnTo>
                  <a:lnTo>
                    <a:pt x="185" y="220"/>
                  </a:lnTo>
                  <a:lnTo>
                    <a:pt x="183" y="231"/>
                  </a:lnTo>
                  <a:lnTo>
                    <a:pt x="192" y="233"/>
                  </a:lnTo>
                  <a:lnTo>
                    <a:pt x="205" y="243"/>
                  </a:lnTo>
                  <a:lnTo>
                    <a:pt x="223" y="247"/>
                  </a:lnTo>
                  <a:lnTo>
                    <a:pt x="237" y="235"/>
                  </a:lnTo>
                  <a:lnTo>
                    <a:pt x="239" y="253"/>
                  </a:lnTo>
                  <a:lnTo>
                    <a:pt x="241" y="273"/>
                  </a:lnTo>
                  <a:lnTo>
                    <a:pt x="264" y="270"/>
                  </a:lnTo>
                  <a:lnTo>
                    <a:pt x="275" y="291"/>
                  </a:lnTo>
                  <a:lnTo>
                    <a:pt x="285" y="310"/>
                  </a:lnTo>
                  <a:lnTo>
                    <a:pt x="282" y="315"/>
                  </a:lnTo>
                  <a:lnTo>
                    <a:pt x="282" y="346"/>
                  </a:lnTo>
                  <a:close/>
                </a:path>
              </a:pathLst>
            </a:custGeom>
            <a:gradFill rotWithShape="1">
              <a:gsLst>
                <a:gs pos="0">
                  <a:schemeClr val="hlink"/>
                </a:gs>
                <a:gs pos="100000">
                  <a:srgbClr val="004747"/>
                </a:gs>
              </a:gsLst>
              <a:lin ang="5400000" scaled="1"/>
            </a:gradFill>
            <a:ln w="6350" cap="rnd">
              <a:solidFill>
                <a:srgbClr val="CCCCCC"/>
              </a:solidFill>
              <a:round/>
              <a:headEnd/>
              <a:tailEnd/>
            </a:ln>
          </p:spPr>
          <p:txBody>
            <a:bodyPr lIns="91430" tIns="45716" rIns="91430" bIns="45716"/>
            <a:lstStyle/>
            <a:p>
              <a:endParaRPr lang="en-US"/>
            </a:p>
          </p:txBody>
        </p:sp>
        <p:sp>
          <p:nvSpPr>
            <p:cNvPr id="10384" name="Freeform 140"/>
            <p:cNvSpPr>
              <a:spLocks/>
            </p:cNvSpPr>
            <p:nvPr/>
          </p:nvSpPr>
          <p:spPr bwMode="auto">
            <a:xfrm>
              <a:off x="3661" y="1166"/>
              <a:ext cx="786" cy="571"/>
            </a:xfrm>
            <a:custGeom>
              <a:avLst/>
              <a:gdLst>
                <a:gd name="T0" fmla="*/ 3 w 1118"/>
                <a:gd name="T1" fmla="*/ 4 h 812"/>
                <a:gd name="T2" fmla="*/ 3 w 1118"/>
                <a:gd name="T3" fmla="*/ 4 h 812"/>
                <a:gd name="T4" fmla="*/ 2 w 1118"/>
                <a:gd name="T5" fmla="*/ 4 h 812"/>
                <a:gd name="T6" fmla="*/ 1 w 1118"/>
                <a:gd name="T7" fmla="*/ 4 h 812"/>
                <a:gd name="T8" fmla="*/ 1 w 1118"/>
                <a:gd name="T9" fmla="*/ 4 h 812"/>
                <a:gd name="T10" fmla="*/ 1 w 1118"/>
                <a:gd name="T11" fmla="*/ 3 h 812"/>
                <a:gd name="T12" fmla="*/ 1 w 1118"/>
                <a:gd name="T13" fmla="*/ 3 h 812"/>
                <a:gd name="T14" fmla="*/ 1 w 1118"/>
                <a:gd name="T15" fmla="*/ 3 h 812"/>
                <a:gd name="T16" fmla="*/ 1 w 1118"/>
                <a:gd name="T17" fmla="*/ 3 h 812"/>
                <a:gd name="T18" fmla="*/ 1 w 1118"/>
                <a:gd name="T19" fmla="*/ 2 h 812"/>
                <a:gd name="T20" fmla="*/ 1 w 1118"/>
                <a:gd name="T21" fmla="*/ 2 h 812"/>
                <a:gd name="T22" fmla="*/ 1 w 1118"/>
                <a:gd name="T23" fmla="*/ 1 h 812"/>
                <a:gd name="T24" fmla="*/ 1 w 1118"/>
                <a:gd name="T25" fmla="*/ 1 h 812"/>
                <a:gd name="T26" fmla="*/ 1 w 1118"/>
                <a:gd name="T27" fmla="*/ 1 h 812"/>
                <a:gd name="T28" fmla="*/ 1 w 1118"/>
                <a:gd name="T29" fmla="*/ 1 h 812"/>
                <a:gd name="T30" fmla="*/ 2 w 1118"/>
                <a:gd name="T31" fmla="*/ 1 h 812"/>
                <a:gd name="T32" fmla="*/ 3 w 1118"/>
                <a:gd name="T33" fmla="*/ 2 h 812"/>
                <a:gd name="T34" fmla="*/ 4 w 1118"/>
                <a:gd name="T35" fmla="*/ 2 h 812"/>
                <a:gd name="T36" fmla="*/ 4 w 1118"/>
                <a:gd name="T37" fmla="*/ 2 h 812"/>
                <a:gd name="T38" fmla="*/ 6 w 1118"/>
                <a:gd name="T39" fmla="*/ 1 h 812"/>
                <a:gd name="T40" fmla="*/ 6 w 1118"/>
                <a:gd name="T41" fmla="*/ 1 h 812"/>
                <a:gd name="T42" fmla="*/ 6 w 1118"/>
                <a:gd name="T43" fmla="*/ 1 h 812"/>
                <a:gd name="T44" fmla="*/ 6 w 1118"/>
                <a:gd name="T45" fmla="*/ 1 h 812"/>
                <a:gd name="T46" fmla="*/ 6 w 1118"/>
                <a:gd name="T47" fmla="*/ 1 h 812"/>
                <a:gd name="T48" fmla="*/ 6 w 1118"/>
                <a:gd name="T49" fmla="*/ 0 h 812"/>
                <a:gd name="T50" fmla="*/ 6 w 1118"/>
                <a:gd name="T51" fmla="*/ 1 h 812"/>
                <a:gd name="T52" fmla="*/ 8 w 1118"/>
                <a:gd name="T53" fmla="*/ 1 h 812"/>
                <a:gd name="T54" fmla="*/ 8 w 1118"/>
                <a:gd name="T55" fmla="*/ 1 h 812"/>
                <a:gd name="T56" fmla="*/ 8 w 1118"/>
                <a:gd name="T57" fmla="*/ 2 h 812"/>
                <a:gd name="T58" fmla="*/ 8 w 1118"/>
                <a:gd name="T59" fmla="*/ 2 h 812"/>
                <a:gd name="T60" fmla="*/ 8 w 1118"/>
                <a:gd name="T61" fmla="*/ 2 h 812"/>
                <a:gd name="T62" fmla="*/ 7 w 1118"/>
                <a:gd name="T63" fmla="*/ 3 h 812"/>
                <a:gd name="T64" fmla="*/ 6 w 1118"/>
                <a:gd name="T65" fmla="*/ 3 h 812"/>
                <a:gd name="T66" fmla="*/ 6 w 1118"/>
                <a:gd name="T67" fmla="*/ 3 h 812"/>
                <a:gd name="T68" fmla="*/ 8 w 1118"/>
                <a:gd name="T69" fmla="*/ 3 h 812"/>
                <a:gd name="T70" fmla="*/ 7 w 1118"/>
                <a:gd name="T71" fmla="*/ 3 h 812"/>
                <a:gd name="T72" fmla="*/ 8 w 1118"/>
                <a:gd name="T73" fmla="*/ 4 h 812"/>
                <a:gd name="T74" fmla="*/ 8 w 1118"/>
                <a:gd name="T75" fmla="*/ 4 h 812"/>
                <a:gd name="T76" fmla="*/ 8 w 1118"/>
                <a:gd name="T77" fmla="*/ 4 h 812"/>
                <a:gd name="T78" fmla="*/ 8 w 1118"/>
                <a:gd name="T79" fmla="*/ 4 h 812"/>
                <a:gd name="T80" fmla="*/ 8 w 1118"/>
                <a:gd name="T81" fmla="*/ 4 h 812"/>
                <a:gd name="T82" fmla="*/ 8 w 1118"/>
                <a:gd name="T83" fmla="*/ 5 h 812"/>
                <a:gd name="T84" fmla="*/ 8 w 1118"/>
                <a:gd name="T85" fmla="*/ 5 h 812"/>
                <a:gd name="T86" fmla="*/ 8 w 1118"/>
                <a:gd name="T87" fmla="*/ 6 h 812"/>
                <a:gd name="T88" fmla="*/ 7 w 1118"/>
                <a:gd name="T89" fmla="*/ 6 h 812"/>
                <a:gd name="T90" fmla="*/ 7 w 1118"/>
                <a:gd name="T91" fmla="*/ 6 h 812"/>
                <a:gd name="T92" fmla="*/ 6 w 1118"/>
                <a:gd name="T93" fmla="*/ 6 h 812"/>
                <a:gd name="T94" fmla="*/ 6 w 1118"/>
                <a:gd name="T95" fmla="*/ 6 h 812"/>
                <a:gd name="T96" fmla="*/ 6 w 1118"/>
                <a:gd name="T97" fmla="*/ 6 h 812"/>
                <a:gd name="T98" fmla="*/ 6 w 1118"/>
                <a:gd name="T99" fmla="*/ 6 h 812"/>
                <a:gd name="T100" fmla="*/ 6 w 1118"/>
                <a:gd name="T101" fmla="*/ 6 h 812"/>
                <a:gd name="T102" fmla="*/ 6 w 1118"/>
                <a:gd name="T103" fmla="*/ 6 h 812"/>
                <a:gd name="T104" fmla="*/ 6 w 1118"/>
                <a:gd name="T105" fmla="*/ 6 h 812"/>
                <a:gd name="T106" fmla="*/ 5 w 1118"/>
                <a:gd name="T107" fmla="*/ 6 h 812"/>
                <a:gd name="T108" fmla="*/ 4 w 1118"/>
                <a:gd name="T109" fmla="*/ 6 h 812"/>
                <a:gd name="T110" fmla="*/ 4 w 1118"/>
                <a:gd name="T111" fmla="*/ 6 h 812"/>
                <a:gd name="T112" fmla="*/ 4 w 1118"/>
                <a:gd name="T113" fmla="*/ 5 h 812"/>
                <a:gd name="T114" fmla="*/ 4 w 1118"/>
                <a:gd name="T115" fmla="*/ 4 h 812"/>
                <a:gd name="T116" fmla="*/ 4 w 1118"/>
                <a:gd name="T117" fmla="*/ 4 h 81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8"/>
                <a:gd name="T178" fmla="*/ 0 h 812"/>
                <a:gd name="T179" fmla="*/ 1118 w 1118"/>
                <a:gd name="T180" fmla="*/ 812 h 81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8" h="812">
                  <a:moveTo>
                    <a:pt x="499" y="591"/>
                  </a:moveTo>
                  <a:lnTo>
                    <a:pt x="484" y="606"/>
                  </a:lnTo>
                  <a:lnTo>
                    <a:pt x="468" y="619"/>
                  </a:lnTo>
                  <a:lnTo>
                    <a:pt x="449" y="627"/>
                  </a:lnTo>
                  <a:lnTo>
                    <a:pt x="438" y="619"/>
                  </a:lnTo>
                  <a:lnTo>
                    <a:pt x="407" y="616"/>
                  </a:lnTo>
                  <a:lnTo>
                    <a:pt x="393" y="638"/>
                  </a:lnTo>
                  <a:lnTo>
                    <a:pt x="383" y="618"/>
                  </a:lnTo>
                  <a:lnTo>
                    <a:pt x="373" y="625"/>
                  </a:lnTo>
                  <a:lnTo>
                    <a:pt x="347" y="622"/>
                  </a:lnTo>
                  <a:lnTo>
                    <a:pt x="329" y="619"/>
                  </a:lnTo>
                  <a:lnTo>
                    <a:pt x="306" y="610"/>
                  </a:lnTo>
                  <a:lnTo>
                    <a:pt x="304" y="606"/>
                  </a:lnTo>
                  <a:lnTo>
                    <a:pt x="283" y="597"/>
                  </a:lnTo>
                  <a:lnTo>
                    <a:pt x="276" y="589"/>
                  </a:lnTo>
                  <a:lnTo>
                    <a:pt x="268" y="592"/>
                  </a:lnTo>
                  <a:lnTo>
                    <a:pt x="240" y="571"/>
                  </a:lnTo>
                  <a:lnTo>
                    <a:pt x="223" y="560"/>
                  </a:lnTo>
                  <a:lnTo>
                    <a:pt x="214" y="568"/>
                  </a:lnTo>
                  <a:lnTo>
                    <a:pt x="213" y="566"/>
                  </a:lnTo>
                  <a:lnTo>
                    <a:pt x="191" y="553"/>
                  </a:lnTo>
                  <a:lnTo>
                    <a:pt x="166" y="538"/>
                  </a:lnTo>
                  <a:lnTo>
                    <a:pt x="156" y="535"/>
                  </a:lnTo>
                  <a:lnTo>
                    <a:pt x="147" y="507"/>
                  </a:lnTo>
                  <a:lnTo>
                    <a:pt x="159" y="510"/>
                  </a:lnTo>
                  <a:lnTo>
                    <a:pt x="162" y="500"/>
                  </a:lnTo>
                  <a:lnTo>
                    <a:pt x="149" y="482"/>
                  </a:lnTo>
                  <a:lnTo>
                    <a:pt x="149" y="472"/>
                  </a:lnTo>
                  <a:lnTo>
                    <a:pt x="147" y="466"/>
                  </a:lnTo>
                  <a:lnTo>
                    <a:pt x="143" y="462"/>
                  </a:lnTo>
                  <a:lnTo>
                    <a:pt x="139" y="456"/>
                  </a:lnTo>
                  <a:lnTo>
                    <a:pt x="138" y="451"/>
                  </a:lnTo>
                  <a:lnTo>
                    <a:pt x="136" y="444"/>
                  </a:lnTo>
                  <a:lnTo>
                    <a:pt x="129" y="441"/>
                  </a:lnTo>
                  <a:lnTo>
                    <a:pt x="119" y="438"/>
                  </a:lnTo>
                  <a:lnTo>
                    <a:pt x="113" y="435"/>
                  </a:lnTo>
                  <a:lnTo>
                    <a:pt x="84" y="427"/>
                  </a:lnTo>
                  <a:lnTo>
                    <a:pt x="69" y="420"/>
                  </a:lnTo>
                  <a:lnTo>
                    <a:pt x="59" y="404"/>
                  </a:lnTo>
                  <a:lnTo>
                    <a:pt x="35" y="397"/>
                  </a:lnTo>
                  <a:lnTo>
                    <a:pt x="34" y="392"/>
                  </a:lnTo>
                  <a:lnTo>
                    <a:pt x="40" y="392"/>
                  </a:lnTo>
                  <a:lnTo>
                    <a:pt x="41" y="392"/>
                  </a:lnTo>
                  <a:lnTo>
                    <a:pt x="43" y="390"/>
                  </a:lnTo>
                  <a:lnTo>
                    <a:pt x="30" y="362"/>
                  </a:lnTo>
                  <a:lnTo>
                    <a:pt x="12" y="360"/>
                  </a:lnTo>
                  <a:lnTo>
                    <a:pt x="0" y="339"/>
                  </a:lnTo>
                  <a:lnTo>
                    <a:pt x="9" y="321"/>
                  </a:lnTo>
                  <a:lnTo>
                    <a:pt x="23" y="312"/>
                  </a:lnTo>
                  <a:lnTo>
                    <a:pt x="33" y="312"/>
                  </a:lnTo>
                  <a:lnTo>
                    <a:pt x="45" y="314"/>
                  </a:lnTo>
                  <a:lnTo>
                    <a:pt x="58" y="298"/>
                  </a:lnTo>
                  <a:lnTo>
                    <a:pt x="78" y="294"/>
                  </a:lnTo>
                  <a:lnTo>
                    <a:pt x="95" y="280"/>
                  </a:lnTo>
                  <a:lnTo>
                    <a:pt x="111" y="268"/>
                  </a:lnTo>
                  <a:lnTo>
                    <a:pt x="105" y="256"/>
                  </a:lnTo>
                  <a:lnTo>
                    <a:pt x="109" y="252"/>
                  </a:lnTo>
                  <a:lnTo>
                    <a:pt x="109" y="247"/>
                  </a:lnTo>
                  <a:lnTo>
                    <a:pt x="100" y="229"/>
                  </a:lnTo>
                  <a:lnTo>
                    <a:pt x="91" y="211"/>
                  </a:lnTo>
                  <a:lnTo>
                    <a:pt x="78" y="204"/>
                  </a:lnTo>
                  <a:lnTo>
                    <a:pt x="101" y="195"/>
                  </a:lnTo>
                  <a:lnTo>
                    <a:pt x="129" y="198"/>
                  </a:lnTo>
                  <a:lnTo>
                    <a:pt x="121" y="189"/>
                  </a:lnTo>
                  <a:lnTo>
                    <a:pt x="119" y="168"/>
                  </a:lnTo>
                  <a:lnTo>
                    <a:pt x="117" y="147"/>
                  </a:lnTo>
                  <a:lnTo>
                    <a:pt x="148" y="153"/>
                  </a:lnTo>
                  <a:lnTo>
                    <a:pt x="166" y="151"/>
                  </a:lnTo>
                  <a:lnTo>
                    <a:pt x="156" y="124"/>
                  </a:lnTo>
                  <a:lnTo>
                    <a:pt x="166" y="118"/>
                  </a:lnTo>
                  <a:lnTo>
                    <a:pt x="173" y="102"/>
                  </a:lnTo>
                  <a:lnTo>
                    <a:pt x="189" y="100"/>
                  </a:lnTo>
                  <a:lnTo>
                    <a:pt x="191" y="104"/>
                  </a:lnTo>
                  <a:lnTo>
                    <a:pt x="198" y="112"/>
                  </a:lnTo>
                  <a:lnTo>
                    <a:pt x="227" y="130"/>
                  </a:lnTo>
                  <a:lnTo>
                    <a:pt x="243" y="133"/>
                  </a:lnTo>
                  <a:lnTo>
                    <a:pt x="271" y="153"/>
                  </a:lnTo>
                  <a:lnTo>
                    <a:pt x="279" y="174"/>
                  </a:lnTo>
                  <a:lnTo>
                    <a:pt x="286" y="193"/>
                  </a:lnTo>
                  <a:lnTo>
                    <a:pt x="310" y="198"/>
                  </a:lnTo>
                  <a:lnTo>
                    <a:pt x="333" y="201"/>
                  </a:lnTo>
                  <a:lnTo>
                    <a:pt x="361" y="210"/>
                  </a:lnTo>
                  <a:lnTo>
                    <a:pt x="390" y="219"/>
                  </a:lnTo>
                  <a:lnTo>
                    <a:pt x="408" y="237"/>
                  </a:lnTo>
                  <a:lnTo>
                    <a:pt x="426" y="256"/>
                  </a:lnTo>
                  <a:lnTo>
                    <a:pt x="454" y="258"/>
                  </a:lnTo>
                  <a:lnTo>
                    <a:pt x="481" y="260"/>
                  </a:lnTo>
                  <a:lnTo>
                    <a:pt x="509" y="261"/>
                  </a:lnTo>
                  <a:lnTo>
                    <a:pt x="538" y="264"/>
                  </a:lnTo>
                  <a:lnTo>
                    <a:pt x="545" y="270"/>
                  </a:lnTo>
                  <a:lnTo>
                    <a:pt x="570" y="274"/>
                  </a:lnTo>
                  <a:lnTo>
                    <a:pt x="594" y="279"/>
                  </a:lnTo>
                  <a:lnTo>
                    <a:pt x="610" y="286"/>
                  </a:lnTo>
                  <a:lnTo>
                    <a:pt x="624" y="277"/>
                  </a:lnTo>
                  <a:lnTo>
                    <a:pt x="640" y="267"/>
                  </a:lnTo>
                  <a:lnTo>
                    <a:pt x="663" y="266"/>
                  </a:lnTo>
                  <a:lnTo>
                    <a:pt x="687" y="264"/>
                  </a:lnTo>
                  <a:lnTo>
                    <a:pt x="706" y="249"/>
                  </a:lnTo>
                  <a:lnTo>
                    <a:pt x="724" y="234"/>
                  </a:lnTo>
                  <a:lnTo>
                    <a:pt x="710" y="220"/>
                  </a:lnTo>
                  <a:lnTo>
                    <a:pt x="707" y="199"/>
                  </a:lnTo>
                  <a:lnTo>
                    <a:pt x="736" y="206"/>
                  </a:lnTo>
                  <a:lnTo>
                    <a:pt x="754" y="195"/>
                  </a:lnTo>
                  <a:lnTo>
                    <a:pt x="776" y="190"/>
                  </a:lnTo>
                  <a:lnTo>
                    <a:pt x="779" y="174"/>
                  </a:lnTo>
                  <a:lnTo>
                    <a:pt x="801" y="162"/>
                  </a:lnTo>
                  <a:lnTo>
                    <a:pt x="836" y="163"/>
                  </a:lnTo>
                  <a:lnTo>
                    <a:pt x="830" y="150"/>
                  </a:lnTo>
                  <a:lnTo>
                    <a:pt x="786" y="128"/>
                  </a:lnTo>
                  <a:lnTo>
                    <a:pt x="776" y="138"/>
                  </a:lnTo>
                  <a:lnTo>
                    <a:pt x="768" y="133"/>
                  </a:lnTo>
                  <a:lnTo>
                    <a:pt x="748" y="134"/>
                  </a:lnTo>
                  <a:lnTo>
                    <a:pt x="731" y="124"/>
                  </a:lnTo>
                  <a:lnTo>
                    <a:pt x="737" y="122"/>
                  </a:lnTo>
                  <a:lnTo>
                    <a:pt x="735" y="103"/>
                  </a:lnTo>
                  <a:lnTo>
                    <a:pt x="731" y="84"/>
                  </a:lnTo>
                  <a:lnTo>
                    <a:pt x="760" y="90"/>
                  </a:lnTo>
                  <a:lnTo>
                    <a:pt x="774" y="74"/>
                  </a:lnTo>
                  <a:lnTo>
                    <a:pt x="768" y="56"/>
                  </a:lnTo>
                  <a:lnTo>
                    <a:pt x="767" y="27"/>
                  </a:lnTo>
                  <a:lnTo>
                    <a:pt x="753" y="18"/>
                  </a:lnTo>
                  <a:lnTo>
                    <a:pt x="744" y="14"/>
                  </a:lnTo>
                  <a:lnTo>
                    <a:pt x="759" y="1"/>
                  </a:lnTo>
                  <a:lnTo>
                    <a:pt x="783" y="0"/>
                  </a:lnTo>
                  <a:lnTo>
                    <a:pt x="807" y="0"/>
                  </a:lnTo>
                  <a:lnTo>
                    <a:pt x="857" y="15"/>
                  </a:lnTo>
                  <a:lnTo>
                    <a:pt x="876" y="32"/>
                  </a:lnTo>
                  <a:lnTo>
                    <a:pt x="897" y="49"/>
                  </a:lnTo>
                  <a:lnTo>
                    <a:pt x="916" y="66"/>
                  </a:lnTo>
                  <a:lnTo>
                    <a:pt x="936" y="82"/>
                  </a:lnTo>
                  <a:lnTo>
                    <a:pt x="958" y="91"/>
                  </a:lnTo>
                  <a:lnTo>
                    <a:pt x="993" y="100"/>
                  </a:lnTo>
                  <a:lnTo>
                    <a:pt x="1013" y="109"/>
                  </a:lnTo>
                  <a:lnTo>
                    <a:pt x="1038" y="135"/>
                  </a:lnTo>
                  <a:lnTo>
                    <a:pt x="1067" y="132"/>
                  </a:lnTo>
                  <a:lnTo>
                    <a:pt x="1098" y="121"/>
                  </a:lnTo>
                  <a:lnTo>
                    <a:pt x="1110" y="142"/>
                  </a:lnTo>
                  <a:lnTo>
                    <a:pt x="1114" y="171"/>
                  </a:lnTo>
                  <a:lnTo>
                    <a:pt x="1118" y="200"/>
                  </a:lnTo>
                  <a:lnTo>
                    <a:pt x="1091" y="195"/>
                  </a:lnTo>
                  <a:lnTo>
                    <a:pt x="1088" y="208"/>
                  </a:lnTo>
                  <a:lnTo>
                    <a:pt x="1101" y="230"/>
                  </a:lnTo>
                  <a:lnTo>
                    <a:pt x="1115" y="252"/>
                  </a:lnTo>
                  <a:lnTo>
                    <a:pt x="1107" y="258"/>
                  </a:lnTo>
                  <a:lnTo>
                    <a:pt x="1112" y="265"/>
                  </a:lnTo>
                  <a:lnTo>
                    <a:pt x="1089" y="250"/>
                  </a:lnTo>
                  <a:lnTo>
                    <a:pt x="1089" y="264"/>
                  </a:lnTo>
                  <a:lnTo>
                    <a:pt x="1076" y="274"/>
                  </a:lnTo>
                  <a:lnTo>
                    <a:pt x="1068" y="277"/>
                  </a:lnTo>
                  <a:lnTo>
                    <a:pt x="1077" y="290"/>
                  </a:lnTo>
                  <a:lnTo>
                    <a:pt x="1052" y="283"/>
                  </a:lnTo>
                  <a:lnTo>
                    <a:pt x="1044" y="286"/>
                  </a:lnTo>
                  <a:lnTo>
                    <a:pt x="1031" y="308"/>
                  </a:lnTo>
                  <a:lnTo>
                    <a:pt x="1019" y="321"/>
                  </a:lnTo>
                  <a:lnTo>
                    <a:pt x="1010" y="327"/>
                  </a:lnTo>
                  <a:lnTo>
                    <a:pt x="996" y="337"/>
                  </a:lnTo>
                  <a:lnTo>
                    <a:pt x="984" y="346"/>
                  </a:lnTo>
                  <a:lnTo>
                    <a:pt x="969" y="352"/>
                  </a:lnTo>
                  <a:lnTo>
                    <a:pt x="977" y="339"/>
                  </a:lnTo>
                  <a:lnTo>
                    <a:pt x="964" y="333"/>
                  </a:lnTo>
                  <a:lnTo>
                    <a:pt x="968" y="309"/>
                  </a:lnTo>
                  <a:lnTo>
                    <a:pt x="957" y="303"/>
                  </a:lnTo>
                  <a:lnTo>
                    <a:pt x="944" y="306"/>
                  </a:lnTo>
                  <a:lnTo>
                    <a:pt x="934" y="321"/>
                  </a:lnTo>
                  <a:lnTo>
                    <a:pt x="923" y="337"/>
                  </a:lnTo>
                  <a:lnTo>
                    <a:pt x="909" y="346"/>
                  </a:lnTo>
                  <a:lnTo>
                    <a:pt x="898" y="348"/>
                  </a:lnTo>
                  <a:lnTo>
                    <a:pt x="905" y="364"/>
                  </a:lnTo>
                  <a:lnTo>
                    <a:pt x="933" y="373"/>
                  </a:lnTo>
                  <a:lnTo>
                    <a:pt x="945" y="392"/>
                  </a:lnTo>
                  <a:lnTo>
                    <a:pt x="959" y="390"/>
                  </a:lnTo>
                  <a:lnTo>
                    <a:pt x="976" y="378"/>
                  </a:lnTo>
                  <a:lnTo>
                    <a:pt x="1002" y="387"/>
                  </a:lnTo>
                  <a:lnTo>
                    <a:pt x="1014" y="390"/>
                  </a:lnTo>
                  <a:lnTo>
                    <a:pt x="1016" y="403"/>
                  </a:lnTo>
                  <a:lnTo>
                    <a:pt x="1004" y="400"/>
                  </a:lnTo>
                  <a:lnTo>
                    <a:pt x="990" y="409"/>
                  </a:lnTo>
                  <a:lnTo>
                    <a:pt x="983" y="421"/>
                  </a:lnTo>
                  <a:lnTo>
                    <a:pt x="978" y="429"/>
                  </a:lnTo>
                  <a:lnTo>
                    <a:pt x="975" y="453"/>
                  </a:lnTo>
                  <a:lnTo>
                    <a:pt x="1005" y="471"/>
                  </a:lnTo>
                  <a:lnTo>
                    <a:pt x="1019" y="490"/>
                  </a:lnTo>
                  <a:lnTo>
                    <a:pt x="1034" y="510"/>
                  </a:lnTo>
                  <a:lnTo>
                    <a:pt x="1056" y="530"/>
                  </a:lnTo>
                  <a:lnTo>
                    <a:pt x="1024" y="519"/>
                  </a:lnTo>
                  <a:lnTo>
                    <a:pt x="1025" y="522"/>
                  </a:lnTo>
                  <a:lnTo>
                    <a:pt x="1044" y="535"/>
                  </a:lnTo>
                  <a:lnTo>
                    <a:pt x="1065" y="548"/>
                  </a:lnTo>
                  <a:lnTo>
                    <a:pt x="1044" y="562"/>
                  </a:lnTo>
                  <a:lnTo>
                    <a:pt x="1038" y="566"/>
                  </a:lnTo>
                  <a:lnTo>
                    <a:pt x="1050" y="568"/>
                  </a:lnTo>
                  <a:lnTo>
                    <a:pt x="1064" y="567"/>
                  </a:lnTo>
                  <a:lnTo>
                    <a:pt x="1078" y="576"/>
                  </a:lnTo>
                  <a:lnTo>
                    <a:pt x="1071" y="584"/>
                  </a:lnTo>
                  <a:lnTo>
                    <a:pt x="1078" y="584"/>
                  </a:lnTo>
                  <a:lnTo>
                    <a:pt x="1077" y="589"/>
                  </a:lnTo>
                  <a:lnTo>
                    <a:pt x="1071" y="594"/>
                  </a:lnTo>
                  <a:lnTo>
                    <a:pt x="1073" y="597"/>
                  </a:lnTo>
                  <a:lnTo>
                    <a:pt x="1074" y="603"/>
                  </a:lnTo>
                  <a:lnTo>
                    <a:pt x="1071" y="603"/>
                  </a:lnTo>
                  <a:lnTo>
                    <a:pt x="1077" y="613"/>
                  </a:lnTo>
                  <a:lnTo>
                    <a:pt x="1072" y="614"/>
                  </a:lnTo>
                  <a:lnTo>
                    <a:pt x="1060" y="620"/>
                  </a:lnTo>
                  <a:lnTo>
                    <a:pt x="1065" y="627"/>
                  </a:lnTo>
                  <a:lnTo>
                    <a:pt x="1061" y="640"/>
                  </a:lnTo>
                  <a:lnTo>
                    <a:pt x="1054" y="657"/>
                  </a:lnTo>
                  <a:lnTo>
                    <a:pt x="1050" y="660"/>
                  </a:lnTo>
                  <a:lnTo>
                    <a:pt x="1055" y="663"/>
                  </a:lnTo>
                  <a:lnTo>
                    <a:pt x="1046" y="669"/>
                  </a:lnTo>
                  <a:lnTo>
                    <a:pt x="1043" y="669"/>
                  </a:lnTo>
                  <a:lnTo>
                    <a:pt x="1054" y="673"/>
                  </a:lnTo>
                  <a:lnTo>
                    <a:pt x="1054" y="685"/>
                  </a:lnTo>
                  <a:lnTo>
                    <a:pt x="1048" y="684"/>
                  </a:lnTo>
                  <a:lnTo>
                    <a:pt x="1048" y="690"/>
                  </a:lnTo>
                  <a:lnTo>
                    <a:pt x="1044" y="694"/>
                  </a:lnTo>
                  <a:lnTo>
                    <a:pt x="1042" y="698"/>
                  </a:lnTo>
                  <a:lnTo>
                    <a:pt x="1040" y="706"/>
                  </a:lnTo>
                  <a:lnTo>
                    <a:pt x="1029" y="708"/>
                  </a:lnTo>
                  <a:lnTo>
                    <a:pt x="1026" y="711"/>
                  </a:lnTo>
                  <a:lnTo>
                    <a:pt x="1028" y="715"/>
                  </a:lnTo>
                  <a:lnTo>
                    <a:pt x="1022" y="723"/>
                  </a:lnTo>
                  <a:lnTo>
                    <a:pt x="1005" y="736"/>
                  </a:lnTo>
                  <a:lnTo>
                    <a:pt x="1005" y="739"/>
                  </a:lnTo>
                  <a:lnTo>
                    <a:pt x="998" y="746"/>
                  </a:lnTo>
                  <a:lnTo>
                    <a:pt x="986" y="748"/>
                  </a:lnTo>
                  <a:lnTo>
                    <a:pt x="983" y="750"/>
                  </a:lnTo>
                  <a:lnTo>
                    <a:pt x="981" y="751"/>
                  </a:lnTo>
                  <a:lnTo>
                    <a:pt x="971" y="753"/>
                  </a:lnTo>
                  <a:lnTo>
                    <a:pt x="966" y="751"/>
                  </a:lnTo>
                  <a:lnTo>
                    <a:pt x="962" y="757"/>
                  </a:lnTo>
                  <a:lnTo>
                    <a:pt x="959" y="759"/>
                  </a:lnTo>
                  <a:lnTo>
                    <a:pt x="952" y="758"/>
                  </a:lnTo>
                  <a:lnTo>
                    <a:pt x="941" y="742"/>
                  </a:lnTo>
                  <a:lnTo>
                    <a:pt x="936" y="748"/>
                  </a:lnTo>
                  <a:lnTo>
                    <a:pt x="941" y="765"/>
                  </a:lnTo>
                  <a:lnTo>
                    <a:pt x="935" y="759"/>
                  </a:lnTo>
                  <a:lnTo>
                    <a:pt x="936" y="769"/>
                  </a:lnTo>
                  <a:lnTo>
                    <a:pt x="932" y="768"/>
                  </a:lnTo>
                  <a:lnTo>
                    <a:pt x="924" y="776"/>
                  </a:lnTo>
                  <a:lnTo>
                    <a:pt x="918" y="770"/>
                  </a:lnTo>
                  <a:lnTo>
                    <a:pt x="916" y="775"/>
                  </a:lnTo>
                  <a:lnTo>
                    <a:pt x="910" y="775"/>
                  </a:lnTo>
                  <a:lnTo>
                    <a:pt x="897" y="782"/>
                  </a:lnTo>
                  <a:lnTo>
                    <a:pt x="885" y="786"/>
                  </a:lnTo>
                  <a:lnTo>
                    <a:pt x="880" y="787"/>
                  </a:lnTo>
                  <a:lnTo>
                    <a:pt x="879" y="799"/>
                  </a:lnTo>
                  <a:lnTo>
                    <a:pt x="884" y="812"/>
                  </a:lnTo>
                  <a:lnTo>
                    <a:pt x="873" y="810"/>
                  </a:lnTo>
                  <a:lnTo>
                    <a:pt x="867" y="786"/>
                  </a:lnTo>
                  <a:lnTo>
                    <a:pt x="861" y="781"/>
                  </a:lnTo>
                  <a:lnTo>
                    <a:pt x="852" y="782"/>
                  </a:lnTo>
                  <a:lnTo>
                    <a:pt x="844" y="778"/>
                  </a:lnTo>
                  <a:lnTo>
                    <a:pt x="837" y="775"/>
                  </a:lnTo>
                  <a:lnTo>
                    <a:pt x="834" y="778"/>
                  </a:lnTo>
                  <a:lnTo>
                    <a:pt x="827" y="781"/>
                  </a:lnTo>
                  <a:lnTo>
                    <a:pt x="806" y="772"/>
                  </a:lnTo>
                  <a:lnTo>
                    <a:pt x="796" y="765"/>
                  </a:lnTo>
                  <a:lnTo>
                    <a:pt x="792" y="748"/>
                  </a:lnTo>
                  <a:lnTo>
                    <a:pt x="766" y="740"/>
                  </a:lnTo>
                  <a:lnTo>
                    <a:pt x="758" y="739"/>
                  </a:lnTo>
                  <a:lnTo>
                    <a:pt x="744" y="753"/>
                  </a:lnTo>
                  <a:lnTo>
                    <a:pt x="737" y="753"/>
                  </a:lnTo>
                  <a:lnTo>
                    <a:pt x="734" y="756"/>
                  </a:lnTo>
                  <a:lnTo>
                    <a:pt x="728" y="754"/>
                  </a:lnTo>
                  <a:lnTo>
                    <a:pt x="719" y="754"/>
                  </a:lnTo>
                  <a:lnTo>
                    <a:pt x="714" y="758"/>
                  </a:lnTo>
                  <a:lnTo>
                    <a:pt x="702" y="754"/>
                  </a:lnTo>
                  <a:lnTo>
                    <a:pt x="698" y="760"/>
                  </a:lnTo>
                  <a:lnTo>
                    <a:pt x="687" y="760"/>
                  </a:lnTo>
                  <a:lnTo>
                    <a:pt x="693" y="790"/>
                  </a:lnTo>
                  <a:lnTo>
                    <a:pt x="683" y="786"/>
                  </a:lnTo>
                  <a:lnTo>
                    <a:pt x="680" y="781"/>
                  </a:lnTo>
                  <a:lnTo>
                    <a:pt x="674" y="778"/>
                  </a:lnTo>
                  <a:lnTo>
                    <a:pt x="658" y="782"/>
                  </a:lnTo>
                  <a:lnTo>
                    <a:pt x="648" y="769"/>
                  </a:lnTo>
                  <a:lnTo>
                    <a:pt x="636" y="763"/>
                  </a:lnTo>
                  <a:lnTo>
                    <a:pt x="639" y="744"/>
                  </a:lnTo>
                  <a:lnTo>
                    <a:pt x="624" y="736"/>
                  </a:lnTo>
                  <a:lnTo>
                    <a:pt x="618" y="721"/>
                  </a:lnTo>
                  <a:lnTo>
                    <a:pt x="617" y="717"/>
                  </a:lnTo>
                  <a:lnTo>
                    <a:pt x="594" y="721"/>
                  </a:lnTo>
                  <a:lnTo>
                    <a:pt x="593" y="710"/>
                  </a:lnTo>
                  <a:lnTo>
                    <a:pt x="592" y="699"/>
                  </a:lnTo>
                  <a:lnTo>
                    <a:pt x="603" y="682"/>
                  </a:lnTo>
                  <a:lnTo>
                    <a:pt x="606" y="670"/>
                  </a:lnTo>
                  <a:lnTo>
                    <a:pt x="602" y="651"/>
                  </a:lnTo>
                  <a:lnTo>
                    <a:pt x="597" y="631"/>
                  </a:lnTo>
                  <a:lnTo>
                    <a:pt x="587" y="626"/>
                  </a:lnTo>
                  <a:lnTo>
                    <a:pt x="569" y="607"/>
                  </a:lnTo>
                  <a:lnTo>
                    <a:pt x="567" y="615"/>
                  </a:lnTo>
                  <a:lnTo>
                    <a:pt x="544" y="607"/>
                  </a:lnTo>
                  <a:lnTo>
                    <a:pt x="544" y="597"/>
                  </a:lnTo>
                  <a:lnTo>
                    <a:pt x="535" y="594"/>
                  </a:lnTo>
                  <a:lnTo>
                    <a:pt x="538" y="590"/>
                  </a:lnTo>
                  <a:lnTo>
                    <a:pt x="528" y="588"/>
                  </a:lnTo>
                  <a:lnTo>
                    <a:pt x="516" y="594"/>
                  </a:lnTo>
                  <a:lnTo>
                    <a:pt x="499" y="59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85" name="Freeform 141"/>
            <p:cNvSpPr>
              <a:spLocks/>
            </p:cNvSpPr>
            <p:nvPr/>
          </p:nvSpPr>
          <p:spPr bwMode="auto">
            <a:xfrm>
              <a:off x="3793" y="1189"/>
              <a:ext cx="456" cy="178"/>
            </a:xfrm>
            <a:custGeom>
              <a:avLst/>
              <a:gdLst>
                <a:gd name="T0" fmla="*/ 3 w 647"/>
                <a:gd name="T1" fmla="*/ 2 h 254"/>
                <a:gd name="T2" fmla="*/ 3 w 647"/>
                <a:gd name="T3" fmla="*/ 1 h 254"/>
                <a:gd name="T4" fmla="*/ 2 w 647"/>
                <a:gd name="T5" fmla="*/ 1 h 254"/>
                <a:gd name="T6" fmla="*/ 2 w 647"/>
                <a:gd name="T7" fmla="*/ 1 h 254"/>
                <a:gd name="T8" fmla="*/ 1 w 647"/>
                <a:gd name="T9" fmla="*/ 1 h 254"/>
                <a:gd name="T10" fmla="*/ 1 w 647"/>
                <a:gd name="T11" fmla="*/ 1 h 254"/>
                <a:gd name="T12" fmla="*/ 1 w 647"/>
                <a:gd name="T13" fmla="*/ 1 h 254"/>
                <a:gd name="T14" fmla="*/ 1 w 647"/>
                <a:gd name="T15" fmla="*/ 1 h 254"/>
                <a:gd name="T16" fmla="*/ 1 w 647"/>
                <a:gd name="T17" fmla="*/ 1 h 254"/>
                <a:gd name="T18" fmla="*/ 1 w 647"/>
                <a:gd name="T19" fmla="*/ 1 h 254"/>
                <a:gd name="T20" fmla="*/ 1 w 647"/>
                <a:gd name="T21" fmla="*/ 1 h 254"/>
                <a:gd name="T22" fmla="*/ 1 w 647"/>
                <a:gd name="T23" fmla="*/ 1 h 254"/>
                <a:gd name="T24" fmla="*/ 1 w 647"/>
                <a:gd name="T25" fmla="*/ 1 h 254"/>
                <a:gd name="T26" fmla="*/ 1 w 647"/>
                <a:gd name="T27" fmla="*/ 1 h 254"/>
                <a:gd name="T28" fmla="*/ 1 w 647"/>
                <a:gd name="T29" fmla="*/ 1 h 254"/>
                <a:gd name="T30" fmla="*/ 1 w 647"/>
                <a:gd name="T31" fmla="*/ 0 h 254"/>
                <a:gd name="T32" fmla="*/ 2 w 647"/>
                <a:gd name="T33" fmla="*/ 1 h 254"/>
                <a:gd name="T34" fmla="*/ 2 w 647"/>
                <a:gd name="T35" fmla="*/ 1 h 254"/>
                <a:gd name="T36" fmla="*/ 3 w 647"/>
                <a:gd name="T37" fmla="*/ 1 h 254"/>
                <a:gd name="T38" fmla="*/ 3 w 647"/>
                <a:gd name="T39" fmla="*/ 1 h 254"/>
                <a:gd name="T40" fmla="*/ 3 w 647"/>
                <a:gd name="T41" fmla="*/ 1 h 254"/>
                <a:gd name="T42" fmla="*/ 4 w 647"/>
                <a:gd name="T43" fmla="*/ 1 h 254"/>
                <a:gd name="T44" fmla="*/ 4 w 647"/>
                <a:gd name="T45" fmla="*/ 1 h 254"/>
                <a:gd name="T46" fmla="*/ 4 w 647"/>
                <a:gd name="T47" fmla="*/ 1 h 254"/>
                <a:gd name="T48" fmla="*/ 4 w 647"/>
                <a:gd name="T49" fmla="*/ 1 h 254"/>
                <a:gd name="T50" fmla="*/ 4 w 647"/>
                <a:gd name="T51" fmla="*/ 1 h 254"/>
                <a:gd name="T52" fmla="*/ 4 w 647"/>
                <a:gd name="T53" fmla="*/ 1 h 254"/>
                <a:gd name="T54" fmla="*/ 4 w 647"/>
                <a:gd name="T55" fmla="*/ 1 h 254"/>
                <a:gd name="T56" fmla="*/ 4 w 647"/>
                <a:gd name="T57" fmla="*/ 1 h 254"/>
                <a:gd name="T58" fmla="*/ 4 w 647"/>
                <a:gd name="T59" fmla="*/ 1 h 254"/>
                <a:gd name="T60" fmla="*/ 4 w 647"/>
                <a:gd name="T61" fmla="*/ 1 h 254"/>
                <a:gd name="T62" fmla="*/ 4 w 647"/>
                <a:gd name="T63" fmla="*/ 1 h 254"/>
                <a:gd name="T64" fmla="*/ 4 w 647"/>
                <a:gd name="T65" fmla="*/ 2 h 254"/>
                <a:gd name="T66" fmla="*/ 3 w 647"/>
                <a:gd name="T67" fmla="*/ 2 h 254"/>
                <a:gd name="T68" fmla="*/ 3 w 647"/>
                <a:gd name="T69" fmla="*/ 2 h 25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647"/>
                <a:gd name="T106" fmla="*/ 0 h 254"/>
                <a:gd name="T107" fmla="*/ 647 w 647"/>
                <a:gd name="T108" fmla="*/ 254 h 25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647" h="254">
                  <a:moveTo>
                    <a:pt x="405" y="247"/>
                  </a:moveTo>
                  <a:lnTo>
                    <a:pt x="381" y="242"/>
                  </a:lnTo>
                  <a:lnTo>
                    <a:pt x="356" y="238"/>
                  </a:lnTo>
                  <a:lnTo>
                    <a:pt x="349" y="232"/>
                  </a:lnTo>
                  <a:lnTo>
                    <a:pt x="320" y="229"/>
                  </a:lnTo>
                  <a:lnTo>
                    <a:pt x="292" y="228"/>
                  </a:lnTo>
                  <a:lnTo>
                    <a:pt x="265" y="226"/>
                  </a:lnTo>
                  <a:lnTo>
                    <a:pt x="237" y="224"/>
                  </a:lnTo>
                  <a:lnTo>
                    <a:pt x="219" y="205"/>
                  </a:lnTo>
                  <a:lnTo>
                    <a:pt x="201" y="187"/>
                  </a:lnTo>
                  <a:lnTo>
                    <a:pt x="172" y="178"/>
                  </a:lnTo>
                  <a:lnTo>
                    <a:pt x="144" y="169"/>
                  </a:lnTo>
                  <a:lnTo>
                    <a:pt x="121" y="166"/>
                  </a:lnTo>
                  <a:lnTo>
                    <a:pt x="97" y="161"/>
                  </a:lnTo>
                  <a:lnTo>
                    <a:pt x="90" y="142"/>
                  </a:lnTo>
                  <a:lnTo>
                    <a:pt x="82" y="121"/>
                  </a:lnTo>
                  <a:lnTo>
                    <a:pt x="54" y="101"/>
                  </a:lnTo>
                  <a:lnTo>
                    <a:pt x="38" y="98"/>
                  </a:lnTo>
                  <a:lnTo>
                    <a:pt x="9" y="80"/>
                  </a:lnTo>
                  <a:lnTo>
                    <a:pt x="2" y="72"/>
                  </a:lnTo>
                  <a:lnTo>
                    <a:pt x="0" y="68"/>
                  </a:lnTo>
                  <a:lnTo>
                    <a:pt x="9" y="60"/>
                  </a:lnTo>
                  <a:lnTo>
                    <a:pt x="27" y="53"/>
                  </a:lnTo>
                  <a:lnTo>
                    <a:pt x="46" y="41"/>
                  </a:lnTo>
                  <a:lnTo>
                    <a:pt x="66" y="30"/>
                  </a:lnTo>
                  <a:lnTo>
                    <a:pt x="105" y="35"/>
                  </a:lnTo>
                  <a:lnTo>
                    <a:pt x="111" y="43"/>
                  </a:lnTo>
                  <a:lnTo>
                    <a:pt x="141" y="48"/>
                  </a:lnTo>
                  <a:lnTo>
                    <a:pt x="170" y="53"/>
                  </a:lnTo>
                  <a:lnTo>
                    <a:pt x="184" y="41"/>
                  </a:lnTo>
                  <a:lnTo>
                    <a:pt x="166" y="24"/>
                  </a:lnTo>
                  <a:lnTo>
                    <a:pt x="171" y="0"/>
                  </a:lnTo>
                  <a:lnTo>
                    <a:pt x="205" y="7"/>
                  </a:lnTo>
                  <a:lnTo>
                    <a:pt x="237" y="14"/>
                  </a:lnTo>
                  <a:lnTo>
                    <a:pt x="252" y="28"/>
                  </a:lnTo>
                  <a:lnTo>
                    <a:pt x="282" y="43"/>
                  </a:lnTo>
                  <a:lnTo>
                    <a:pt x="315" y="37"/>
                  </a:lnTo>
                  <a:lnTo>
                    <a:pt x="342" y="42"/>
                  </a:lnTo>
                  <a:lnTo>
                    <a:pt x="369" y="48"/>
                  </a:lnTo>
                  <a:lnTo>
                    <a:pt x="380" y="58"/>
                  </a:lnTo>
                  <a:lnTo>
                    <a:pt x="421" y="67"/>
                  </a:lnTo>
                  <a:lnTo>
                    <a:pt x="444" y="64"/>
                  </a:lnTo>
                  <a:lnTo>
                    <a:pt x="465" y="59"/>
                  </a:lnTo>
                  <a:lnTo>
                    <a:pt x="488" y="42"/>
                  </a:lnTo>
                  <a:lnTo>
                    <a:pt x="524" y="50"/>
                  </a:lnTo>
                  <a:lnTo>
                    <a:pt x="542" y="52"/>
                  </a:lnTo>
                  <a:lnTo>
                    <a:pt x="546" y="71"/>
                  </a:lnTo>
                  <a:lnTo>
                    <a:pt x="548" y="90"/>
                  </a:lnTo>
                  <a:lnTo>
                    <a:pt x="542" y="92"/>
                  </a:lnTo>
                  <a:lnTo>
                    <a:pt x="559" y="102"/>
                  </a:lnTo>
                  <a:lnTo>
                    <a:pt x="579" y="101"/>
                  </a:lnTo>
                  <a:lnTo>
                    <a:pt x="587" y="106"/>
                  </a:lnTo>
                  <a:lnTo>
                    <a:pt x="597" y="96"/>
                  </a:lnTo>
                  <a:lnTo>
                    <a:pt x="641" y="118"/>
                  </a:lnTo>
                  <a:lnTo>
                    <a:pt x="647" y="131"/>
                  </a:lnTo>
                  <a:lnTo>
                    <a:pt x="612" y="130"/>
                  </a:lnTo>
                  <a:lnTo>
                    <a:pt x="590" y="142"/>
                  </a:lnTo>
                  <a:lnTo>
                    <a:pt x="587" y="158"/>
                  </a:lnTo>
                  <a:lnTo>
                    <a:pt x="565" y="163"/>
                  </a:lnTo>
                  <a:lnTo>
                    <a:pt x="547" y="174"/>
                  </a:lnTo>
                  <a:lnTo>
                    <a:pt x="518" y="167"/>
                  </a:lnTo>
                  <a:lnTo>
                    <a:pt x="521" y="188"/>
                  </a:lnTo>
                  <a:lnTo>
                    <a:pt x="535" y="202"/>
                  </a:lnTo>
                  <a:lnTo>
                    <a:pt x="517" y="217"/>
                  </a:lnTo>
                  <a:lnTo>
                    <a:pt x="498" y="232"/>
                  </a:lnTo>
                  <a:lnTo>
                    <a:pt x="474" y="234"/>
                  </a:lnTo>
                  <a:lnTo>
                    <a:pt x="451" y="235"/>
                  </a:lnTo>
                  <a:lnTo>
                    <a:pt x="435" y="245"/>
                  </a:lnTo>
                  <a:lnTo>
                    <a:pt x="421" y="254"/>
                  </a:lnTo>
                  <a:lnTo>
                    <a:pt x="405" y="24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86" name="Freeform 142"/>
            <p:cNvSpPr>
              <a:spLocks/>
            </p:cNvSpPr>
            <p:nvPr/>
          </p:nvSpPr>
          <p:spPr bwMode="auto">
            <a:xfrm>
              <a:off x="3242" y="1132"/>
              <a:ext cx="540" cy="240"/>
            </a:xfrm>
            <a:custGeom>
              <a:avLst/>
              <a:gdLst>
                <a:gd name="T0" fmla="*/ 1 w 768"/>
                <a:gd name="T1" fmla="*/ 1 h 339"/>
                <a:gd name="T2" fmla="*/ 1 w 768"/>
                <a:gd name="T3" fmla="*/ 1 h 339"/>
                <a:gd name="T4" fmla="*/ 1 w 768"/>
                <a:gd name="T5" fmla="*/ 1 h 339"/>
                <a:gd name="T6" fmla="*/ 1 w 768"/>
                <a:gd name="T7" fmla="*/ 1 h 339"/>
                <a:gd name="T8" fmla="*/ 1 w 768"/>
                <a:gd name="T9" fmla="*/ 1 h 339"/>
                <a:gd name="T10" fmla="*/ 1 w 768"/>
                <a:gd name="T11" fmla="*/ 1 h 339"/>
                <a:gd name="T12" fmla="*/ 1 w 768"/>
                <a:gd name="T13" fmla="*/ 1 h 339"/>
                <a:gd name="T14" fmla="*/ 1 w 768"/>
                <a:gd name="T15" fmla="*/ 1 h 339"/>
                <a:gd name="T16" fmla="*/ 1 w 768"/>
                <a:gd name="T17" fmla="*/ 1 h 339"/>
                <a:gd name="T18" fmla="*/ 2 w 768"/>
                <a:gd name="T19" fmla="*/ 1 h 339"/>
                <a:gd name="T20" fmla="*/ 2 w 768"/>
                <a:gd name="T21" fmla="*/ 1 h 339"/>
                <a:gd name="T22" fmla="*/ 1 w 768"/>
                <a:gd name="T23" fmla="*/ 1 h 339"/>
                <a:gd name="T24" fmla="*/ 2 w 768"/>
                <a:gd name="T25" fmla="*/ 1 h 339"/>
                <a:gd name="T26" fmla="*/ 2 w 768"/>
                <a:gd name="T27" fmla="*/ 1 h 339"/>
                <a:gd name="T28" fmla="*/ 3 w 768"/>
                <a:gd name="T29" fmla="*/ 1 h 339"/>
                <a:gd name="T30" fmla="*/ 3 w 768"/>
                <a:gd name="T31" fmla="*/ 1 h 339"/>
                <a:gd name="T32" fmla="*/ 3 w 768"/>
                <a:gd name="T33" fmla="*/ 1 h 339"/>
                <a:gd name="T34" fmla="*/ 4 w 768"/>
                <a:gd name="T35" fmla="*/ 1 h 339"/>
                <a:gd name="T36" fmla="*/ 4 w 768"/>
                <a:gd name="T37" fmla="*/ 1 h 339"/>
                <a:gd name="T38" fmla="*/ 4 w 768"/>
                <a:gd name="T39" fmla="*/ 1 h 339"/>
                <a:gd name="T40" fmla="*/ 4 w 768"/>
                <a:gd name="T41" fmla="*/ 1 h 339"/>
                <a:gd name="T42" fmla="*/ 4 w 768"/>
                <a:gd name="T43" fmla="*/ 1 h 339"/>
                <a:gd name="T44" fmla="*/ 5 w 768"/>
                <a:gd name="T45" fmla="*/ 1 h 339"/>
                <a:gd name="T46" fmla="*/ 6 w 768"/>
                <a:gd name="T47" fmla="*/ 1 h 339"/>
                <a:gd name="T48" fmla="*/ 6 w 768"/>
                <a:gd name="T49" fmla="*/ 1 h 339"/>
                <a:gd name="T50" fmla="*/ 6 w 768"/>
                <a:gd name="T51" fmla="*/ 1 h 339"/>
                <a:gd name="T52" fmla="*/ 6 w 768"/>
                <a:gd name="T53" fmla="*/ 1 h 339"/>
                <a:gd name="T54" fmla="*/ 6 w 768"/>
                <a:gd name="T55" fmla="*/ 1 h 339"/>
                <a:gd name="T56" fmla="*/ 6 w 768"/>
                <a:gd name="T57" fmla="*/ 2 h 339"/>
                <a:gd name="T58" fmla="*/ 5 w 768"/>
                <a:gd name="T59" fmla="*/ 2 h 339"/>
                <a:gd name="T60" fmla="*/ 5 w 768"/>
                <a:gd name="T61" fmla="*/ 2 h 339"/>
                <a:gd name="T62" fmla="*/ 6 w 768"/>
                <a:gd name="T63" fmla="*/ 2 h 339"/>
                <a:gd name="T64" fmla="*/ 5 w 768"/>
                <a:gd name="T65" fmla="*/ 2 h 339"/>
                <a:gd name="T66" fmla="*/ 4 w 768"/>
                <a:gd name="T67" fmla="*/ 2 h 339"/>
                <a:gd name="T68" fmla="*/ 4 w 768"/>
                <a:gd name="T69" fmla="*/ 2 h 339"/>
                <a:gd name="T70" fmla="*/ 4 w 768"/>
                <a:gd name="T71" fmla="*/ 2 h 339"/>
                <a:gd name="T72" fmla="*/ 4 w 768"/>
                <a:gd name="T73" fmla="*/ 3 h 339"/>
                <a:gd name="T74" fmla="*/ 4 w 768"/>
                <a:gd name="T75" fmla="*/ 3 h 339"/>
                <a:gd name="T76" fmla="*/ 3 w 768"/>
                <a:gd name="T77" fmla="*/ 3 h 339"/>
                <a:gd name="T78" fmla="*/ 3 w 768"/>
                <a:gd name="T79" fmla="*/ 2 h 339"/>
                <a:gd name="T80" fmla="*/ 3 w 768"/>
                <a:gd name="T81" fmla="*/ 2 h 339"/>
                <a:gd name="T82" fmla="*/ 2 w 768"/>
                <a:gd name="T83" fmla="*/ 2 h 339"/>
                <a:gd name="T84" fmla="*/ 2 w 768"/>
                <a:gd name="T85" fmla="*/ 2 h 339"/>
                <a:gd name="T86" fmla="*/ 1 w 768"/>
                <a:gd name="T87" fmla="*/ 2 h 339"/>
                <a:gd name="T88" fmla="*/ 1 w 768"/>
                <a:gd name="T89" fmla="*/ 2 h 339"/>
                <a:gd name="T90" fmla="*/ 1 w 768"/>
                <a:gd name="T91" fmla="*/ 3 h 339"/>
                <a:gd name="T92" fmla="*/ 1 w 768"/>
                <a:gd name="T93" fmla="*/ 3 h 339"/>
                <a:gd name="T94" fmla="*/ 1 w 768"/>
                <a:gd name="T95" fmla="*/ 2 h 339"/>
                <a:gd name="T96" fmla="*/ 1 w 768"/>
                <a:gd name="T97" fmla="*/ 2 h 339"/>
                <a:gd name="T98" fmla="*/ 1 w 768"/>
                <a:gd name="T99" fmla="*/ 2 h 339"/>
                <a:gd name="T100" fmla="*/ 1 w 768"/>
                <a:gd name="T101" fmla="*/ 2 h 339"/>
                <a:gd name="T102" fmla="*/ 1 w 768"/>
                <a:gd name="T103" fmla="*/ 2 h 339"/>
                <a:gd name="T104" fmla="*/ 1 w 768"/>
                <a:gd name="T105" fmla="*/ 2 h 339"/>
                <a:gd name="T106" fmla="*/ 1 w 768"/>
                <a:gd name="T107" fmla="*/ 1 h 33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768"/>
                <a:gd name="T163" fmla="*/ 0 h 339"/>
                <a:gd name="T164" fmla="*/ 768 w 768"/>
                <a:gd name="T165" fmla="*/ 339 h 33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768" h="339">
                  <a:moveTo>
                    <a:pt x="105" y="201"/>
                  </a:moveTo>
                  <a:lnTo>
                    <a:pt x="89" y="200"/>
                  </a:lnTo>
                  <a:lnTo>
                    <a:pt x="63" y="212"/>
                  </a:lnTo>
                  <a:lnTo>
                    <a:pt x="61" y="213"/>
                  </a:lnTo>
                  <a:lnTo>
                    <a:pt x="47" y="189"/>
                  </a:lnTo>
                  <a:lnTo>
                    <a:pt x="23" y="171"/>
                  </a:lnTo>
                  <a:lnTo>
                    <a:pt x="0" y="153"/>
                  </a:lnTo>
                  <a:lnTo>
                    <a:pt x="3" y="126"/>
                  </a:lnTo>
                  <a:lnTo>
                    <a:pt x="6" y="99"/>
                  </a:lnTo>
                  <a:lnTo>
                    <a:pt x="29" y="110"/>
                  </a:lnTo>
                  <a:lnTo>
                    <a:pt x="32" y="99"/>
                  </a:lnTo>
                  <a:lnTo>
                    <a:pt x="47" y="88"/>
                  </a:lnTo>
                  <a:lnTo>
                    <a:pt x="62" y="78"/>
                  </a:lnTo>
                  <a:lnTo>
                    <a:pt x="90" y="78"/>
                  </a:lnTo>
                  <a:lnTo>
                    <a:pt x="115" y="90"/>
                  </a:lnTo>
                  <a:lnTo>
                    <a:pt x="141" y="100"/>
                  </a:lnTo>
                  <a:lnTo>
                    <a:pt x="170" y="99"/>
                  </a:lnTo>
                  <a:lnTo>
                    <a:pt x="207" y="98"/>
                  </a:lnTo>
                  <a:lnTo>
                    <a:pt x="246" y="104"/>
                  </a:lnTo>
                  <a:lnTo>
                    <a:pt x="248" y="98"/>
                  </a:lnTo>
                  <a:lnTo>
                    <a:pt x="228" y="73"/>
                  </a:lnTo>
                  <a:lnTo>
                    <a:pt x="237" y="46"/>
                  </a:lnTo>
                  <a:lnTo>
                    <a:pt x="254" y="46"/>
                  </a:lnTo>
                  <a:lnTo>
                    <a:pt x="231" y="36"/>
                  </a:lnTo>
                  <a:lnTo>
                    <a:pt x="255" y="31"/>
                  </a:lnTo>
                  <a:lnTo>
                    <a:pt x="281" y="27"/>
                  </a:lnTo>
                  <a:lnTo>
                    <a:pt x="303" y="21"/>
                  </a:lnTo>
                  <a:lnTo>
                    <a:pt x="327" y="14"/>
                  </a:lnTo>
                  <a:lnTo>
                    <a:pt x="350" y="8"/>
                  </a:lnTo>
                  <a:lnTo>
                    <a:pt x="373" y="1"/>
                  </a:lnTo>
                  <a:lnTo>
                    <a:pt x="390" y="0"/>
                  </a:lnTo>
                  <a:lnTo>
                    <a:pt x="404" y="14"/>
                  </a:lnTo>
                  <a:lnTo>
                    <a:pt x="442" y="27"/>
                  </a:lnTo>
                  <a:lnTo>
                    <a:pt x="455" y="34"/>
                  </a:lnTo>
                  <a:lnTo>
                    <a:pt x="470" y="37"/>
                  </a:lnTo>
                  <a:lnTo>
                    <a:pt x="494" y="28"/>
                  </a:lnTo>
                  <a:lnTo>
                    <a:pt x="520" y="19"/>
                  </a:lnTo>
                  <a:lnTo>
                    <a:pt x="523" y="22"/>
                  </a:lnTo>
                  <a:lnTo>
                    <a:pt x="520" y="34"/>
                  </a:lnTo>
                  <a:lnTo>
                    <a:pt x="546" y="51"/>
                  </a:lnTo>
                  <a:lnTo>
                    <a:pt x="572" y="69"/>
                  </a:lnTo>
                  <a:lnTo>
                    <a:pt x="599" y="87"/>
                  </a:lnTo>
                  <a:lnTo>
                    <a:pt x="625" y="105"/>
                  </a:lnTo>
                  <a:lnTo>
                    <a:pt x="629" y="99"/>
                  </a:lnTo>
                  <a:lnTo>
                    <a:pt x="643" y="104"/>
                  </a:lnTo>
                  <a:lnTo>
                    <a:pt x="668" y="100"/>
                  </a:lnTo>
                  <a:lnTo>
                    <a:pt x="695" y="116"/>
                  </a:lnTo>
                  <a:lnTo>
                    <a:pt x="721" y="133"/>
                  </a:lnTo>
                  <a:lnTo>
                    <a:pt x="746" y="127"/>
                  </a:lnTo>
                  <a:lnTo>
                    <a:pt x="768" y="150"/>
                  </a:lnTo>
                  <a:lnTo>
                    <a:pt x="761" y="166"/>
                  </a:lnTo>
                  <a:lnTo>
                    <a:pt x="751" y="172"/>
                  </a:lnTo>
                  <a:lnTo>
                    <a:pt x="761" y="199"/>
                  </a:lnTo>
                  <a:lnTo>
                    <a:pt x="743" y="201"/>
                  </a:lnTo>
                  <a:lnTo>
                    <a:pt x="712" y="195"/>
                  </a:lnTo>
                  <a:lnTo>
                    <a:pt x="714" y="216"/>
                  </a:lnTo>
                  <a:lnTo>
                    <a:pt x="716" y="237"/>
                  </a:lnTo>
                  <a:lnTo>
                    <a:pt x="724" y="246"/>
                  </a:lnTo>
                  <a:lnTo>
                    <a:pt x="696" y="243"/>
                  </a:lnTo>
                  <a:lnTo>
                    <a:pt x="673" y="252"/>
                  </a:lnTo>
                  <a:lnTo>
                    <a:pt x="686" y="259"/>
                  </a:lnTo>
                  <a:lnTo>
                    <a:pt x="695" y="277"/>
                  </a:lnTo>
                  <a:lnTo>
                    <a:pt x="704" y="295"/>
                  </a:lnTo>
                  <a:lnTo>
                    <a:pt x="704" y="300"/>
                  </a:lnTo>
                  <a:lnTo>
                    <a:pt x="700" y="304"/>
                  </a:lnTo>
                  <a:lnTo>
                    <a:pt x="673" y="289"/>
                  </a:lnTo>
                  <a:lnTo>
                    <a:pt x="648" y="291"/>
                  </a:lnTo>
                  <a:lnTo>
                    <a:pt x="622" y="295"/>
                  </a:lnTo>
                  <a:lnTo>
                    <a:pt x="593" y="295"/>
                  </a:lnTo>
                  <a:lnTo>
                    <a:pt x="575" y="292"/>
                  </a:lnTo>
                  <a:lnTo>
                    <a:pt x="564" y="307"/>
                  </a:lnTo>
                  <a:lnTo>
                    <a:pt x="542" y="303"/>
                  </a:lnTo>
                  <a:lnTo>
                    <a:pt x="522" y="301"/>
                  </a:lnTo>
                  <a:lnTo>
                    <a:pt x="509" y="312"/>
                  </a:lnTo>
                  <a:lnTo>
                    <a:pt x="490" y="325"/>
                  </a:lnTo>
                  <a:lnTo>
                    <a:pt x="470" y="339"/>
                  </a:lnTo>
                  <a:lnTo>
                    <a:pt x="451" y="330"/>
                  </a:lnTo>
                  <a:lnTo>
                    <a:pt x="432" y="320"/>
                  </a:lnTo>
                  <a:lnTo>
                    <a:pt x="431" y="300"/>
                  </a:lnTo>
                  <a:lnTo>
                    <a:pt x="408" y="284"/>
                  </a:lnTo>
                  <a:lnTo>
                    <a:pt x="388" y="283"/>
                  </a:lnTo>
                  <a:lnTo>
                    <a:pt x="367" y="282"/>
                  </a:lnTo>
                  <a:lnTo>
                    <a:pt x="345" y="280"/>
                  </a:lnTo>
                  <a:lnTo>
                    <a:pt x="325" y="278"/>
                  </a:lnTo>
                  <a:lnTo>
                    <a:pt x="305" y="254"/>
                  </a:lnTo>
                  <a:lnTo>
                    <a:pt x="278" y="241"/>
                  </a:lnTo>
                  <a:lnTo>
                    <a:pt x="252" y="228"/>
                  </a:lnTo>
                  <a:lnTo>
                    <a:pt x="228" y="236"/>
                  </a:lnTo>
                  <a:lnTo>
                    <a:pt x="203" y="246"/>
                  </a:lnTo>
                  <a:lnTo>
                    <a:pt x="209" y="267"/>
                  </a:lnTo>
                  <a:lnTo>
                    <a:pt x="213" y="289"/>
                  </a:lnTo>
                  <a:lnTo>
                    <a:pt x="219" y="312"/>
                  </a:lnTo>
                  <a:lnTo>
                    <a:pt x="225" y="333"/>
                  </a:lnTo>
                  <a:lnTo>
                    <a:pt x="201" y="326"/>
                  </a:lnTo>
                  <a:lnTo>
                    <a:pt x="177" y="319"/>
                  </a:lnTo>
                  <a:lnTo>
                    <a:pt x="181" y="302"/>
                  </a:lnTo>
                  <a:lnTo>
                    <a:pt x="145" y="302"/>
                  </a:lnTo>
                  <a:lnTo>
                    <a:pt x="128" y="296"/>
                  </a:lnTo>
                  <a:lnTo>
                    <a:pt x="121" y="291"/>
                  </a:lnTo>
                  <a:lnTo>
                    <a:pt x="103" y="267"/>
                  </a:lnTo>
                  <a:lnTo>
                    <a:pt x="92" y="260"/>
                  </a:lnTo>
                  <a:lnTo>
                    <a:pt x="115" y="259"/>
                  </a:lnTo>
                  <a:lnTo>
                    <a:pt x="105" y="249"/>
                  </a:lnTo>
                  <a:lnTo>
                    <a:pt x="117" y="240"/>
                  </a:lnTo>
                  <a:lnTo>
                    <a:pt x="143" y="240"/>
                  </a:lnTo>
                  <a:lnTo>
                    <a:pt x="137" y="230"/>
                  </a:lnTo>
                  <a:lnTo>
                    <a:pt x="132" y="202"/>
                  </a:lnTo>
                  <a:lnTo>
                    <a:pt x="105" y="20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87" name="Freeform 143"/>
            <p:cNvSpPr>
              <a:spLocks/>
            </p:cNvSpPr>
            <p:nvPr/>
          </p:nvSpPr>
          <p:spPr bwMode="auto">
            <a:xfrm>
              <a:off x="3158" y="1325"/>
              <a:ext cx="117" cy="44"/>
            </a:xfrm>
            <a:custGeom>
              <a:avLst/>
              <a:gdLst>
                <a:gd name="T0" fmla="*/ 1 w 165"/>
                <a:gd name="T1" fmla="*/ 1 h 64"/>
                <a:gd name="T2" fmla="*/ 0 w 165"/>
                <a:gd name="T3" fmla="*/ 1 h 64"/>
                <a:gd name="T4" fmla="*/ 1 w 165"/>
                <a:gd name="T5" fmla="*/ 0 h 64"/>
                <a:gd name="T6" fmla="*/ 1 w 165"/>
                <a:gd name="T7" fmla="*/ 1 h 64"/>
                <a:gd name="T8" fmla="*/ 1 w 165"/>
                <a:gd name="T9" fmla="*/ 1 h 64"/>
                <a:gd name="T10" fmla="*/ 1 w 165"/>
                <a:gd name="T11" fmla="*/ 1 h 64"/>
                <a:gd name="T12" fmla="*/ 1 w 165"/>
                <a:gd name="T13" fmla="*/ 1 h 64"/>
                <a:gd name="T14" fmla="*/ 1 w 165"/>
                <a:gd name="T15" fmla="*/ 1 h 64"/>
                <a:gd name="T16" fmla="*/ 1 w 165"/>
                <a:gd name="T17" fmla="*/ 1 h 64"/>
                <a:gd name="T18" fmla="*/ 1 w 165"/>
                <a:gd name="T19" fmla="*/ 1 h 64"/>
                <a:gd name="T20" fmla="*/ 1 w 165"/>
                <a:gd name="T21" fmla="*/ 1 h 64"/>
                <a:gd name="T22" fmla="*/ 1 w 165"/>
                <a:gd name="T23" fmla="*/ 1 h 64"/>
                <a:gd name="T24" fmla="*/ 1 w 165"/>
                <a:gd name="T25" fmla="*/ 1 h 64"/>
                <a:gd name="T26" fmla="*/ 1 w 165"/>
                <a:gd name="T27" fmla="*/ 1 h 64"/>
                <a:gd name="T28" fmla="*/ 1 w 165"/>
                <a:gd name="T29" fmla="*/ 1 h 64"/>
                <a:gd name="T30" fmla="*/ 1 w 165"/>
                <a:gd name="T31" fmla="*/ 1 h 6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65"/>
                <a:gd name="T49" fmla="*/ 0 h 64"/>
                <a:gd name="T50" fmla="*/ 165 w 165"/>
                <a:gd name="T51" fmla="*/ 64 h 6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65" h="64">
                  <a:moveTo>
                    <a:pt x="32" y="23"/>
                  </a:moveTo>
                  <a:lnTo>
                    <a:pt x="0" y="3"/>
                  </a:lnTo>
                  <a:lnTo>
                    <a:pt x="1" y="0"/>
                  </a:lnTo>
                  <a:lnTo>
                    <a:pt x="24" y="3"/>
                  </a:lnTo>
                  <a:lnTo>
                    <a:pt x="45" y="4"/>
                  </a:lnTo>
                  <a:lnTo>
                    <a:pt x="75" y="16"/>
                  </a:lnTo>
                  <a:lnTo>
                    <a:pt x="105" y="28"/>
                  </a:lnTo>
                  <a:lnTo>
                    <a:pt x="135" y="40"/>
                  </a:lnTo>
                  <a:lnTo>
                    <a:pt x="165" y="52"/>
                  </a:lnTo>
                  <a:lnTo>
                    <a:pt x="158" y="64"/>
                  </a:lnTo>
                  <a:lnTo>
                    <a:pt x="139" y="60"/>
                  </a:lnTo>
                  <a:lnTo>
                    <a:pt x="110" y="60"/>
                  </a:lnTo>
                  <a:lnTo>
                    <a:pt x="80" y="60"/>
                  </a:lnTo>
                  <a:lnTo>
                    <a:pt x="54" y="61"/>
                  </a:lnTo>
                  <a:lnTo>
                    <a:pt x="53" y="43"/>
                  </a:lnTo>
                  <a:lnTo>
                    <a:pt x="32" y="2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88" name="Freeform 144"/>
            <p:cNvSpPr>
              <a:spLocks/>
            </p:cNvSpPr>
            <p:nvPr/>
          </p:nvSpPr>
          <p:spPr bwMode="auto">
            <a:xfrm>
              <a:off x="3601" y="1335"/>
              <a:ext cx="138" cy="70"/>
            </a:xfrm>
            <a:custGeom>
              <a:avLst/>
              <a:gdLst>
                <a:gd name="T0" fmla="*/ 1 w 197"/>
                <a:gd name="T1" fmla="*/ 1 h 98"/>
                <a:gd name="T2" fmla="*/ 1 w 197"/>
                <a:gd name="T3" fmla="*/ 1 h 98"/>
                <a:gd name="T4" fmla="*/ 1 w 197"/>
                <a:gd name="T5" fmla="*/ 1 h 98"/>
                <a:gd name="T6" fmla="*/ 0 w 197"/>
                <a:gd name="T7" fmla="*/ 1 h 98"/>
                <a:gd name="T8" fmla="*/ 1 w 197"/>
                <a:gd name="T9" fmla="*/ 1 h 98"/>
                <a:gd name="T10" fmla="*/ 1 w 197"/>
                <a:gd name="T11" fmla="*/ 1 h 98"/>
                <a:gd name="T12" fmla="*/ 1 w 197"/>
                <a:gd name="T13" fmla="*/ 1 h 98"/>
                <a:gd name="T14" fmla="*/ 1 w 197"/>
                <a:gd name="T15" fmla="*/ 1 h 98"/>
                <a:gd name="T16" fmla="*/ 1 w 197"/>
                <a:gd name="T17" fmla="*/ 1 h 98"/>
                <a:gd name="T18" fmla="*/ 1 w 197"/>
                <a:gd name="T19" fmla="*/ 1 h 98"/>
                <a:gd name="T20" fmla="*/ 1 w 197"/>
                <a:gd name="T21" fmla="*/ 1 h 98"/>
                <a:gd name="T22" fmla="*/ 1 w 197"/>
                <a:gd name="T23" fmla="*/ 0 h 98"/>
                <a:gd name="T24" fmla="*/ 1 w 197"/>
                <a:gd name="T25" fmla="*/ 1 h 98"/>
                <a:gd name="T26" fmla="*/ 1 w 197"/>
                <a:gd name="T27" fmla="*/ 1 h 98"/>
                <a:gd name="T28" fmla="*/ 1 w 197"/>
                <a:gd name="T29" fmla="*/ 1 h 98"/>
                <a:gd name="T30" fmla="*/ 1 w 197"/>
                <a:gd name="T31" fmla="*/ 1 h 98"/>
                <a:gd name="T32" fmla="*/ 1 w 197"/>
                <a:gd name="T33" fmla="*/ 1 h 98"/>
                <a:gd name="T34" fmla="*/ 1 w 197"/>
                <a:gd name="T35" fmla="*/ 1 h 98"/>
                <a:gd name="T36" fmla="*/ 1 w 197"/>
                <a:gd name="T37" fmla="*/ 1 h 98"/>
                <a:gd name="T38" fmla="*/ 1 w 197"/>
                <a:gd name="T39" fmla="*/ 1 h 98"/>
                <a:gd name="T40" fmla="*/ 1 w 197"/>
                <a:gd name="T41" fmla="*/ 1 h 98"/>
                <a:gd name="T42" fmla="*/ 1 w 197"/>
                <a:gd name="T43" fmla="*/ 1 h 98"/>
                <a:gd name="T44" fmla="*/ 1 w 197"/>
                <a:gd name="T45" fmla="*/ 1 h 98"/>
                <a:gd name="T46" fmla="*/ 1 w 197"/>
                <a:gd name="T47" fmla="*/ 1 h 98"/>
                <a:gd name="T48" fmla="*/ 1 w 197"/>
                <a:gd name="T49" fmla="*/ 1 h 98"/>
                <a:gd name="T50" fmla="*/ 1 w 197"/>
                <a:gd name="T51" fmla="*/ 1 h 98"/>
                <a:gd name="T52" fmla="*/ 1 w 197"/>
                <a:gd name="T53" fmla="*/ 1 h 98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97"/>
                <a:gd name="T82" fmla="*/ 0 h 98"/>
                <a:gd name="T83" fmla="*/ 197 w 197"/>
                <a:gd name="T84" fmla="*/ 98 h 98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97" h="98">
                  <a:moveTo>
                    <a:pt x="65" y="57"/>
                  </a:moveTo>
                  <a:lnTo>
                    <a:pt x="43" y="43"/>
                  </a:lnTo>
                  <a:lnTo>
                    <a:pt x="14" y="41"/>
                  </a:lnTo>
                  <a:lnTo>
                    <a:pt x="0" y="23"/>
                  </a:lnTo>
                  <a:lnTo>
                    <a:pt x="13" y="12"/>
                  </a:lnTo>
                  <a:lnTo>
                    <a:pt x="33" y="14"/>
                  </a:lnTo>
                  <a:lnTo>
                    <a:pt x="55" y="18"/>
                  </a:lnTo>
                  <a:lnTo>
                    <a:pt x="66" y="3"/>
                  </a:lnTo>
                  <a:lnTo>
                    <a:pt x="84" y="6"/>
                  </a:lnTo>
                  <a:lnTo>
                    <a:pt x="113" y="6"/>
                  </a:lnTo>
                  <a:lnTo>
                    <a:pt x="139" y="2"/>
                  </a:lnTo>
                  <a:lnTo>
                    <a:pt x="164" y="0"/>
                  </a:lnTo>
                  <a:lnTo>
                    <a:pt x="191" y="15"/>
                  </a:lnTo>
                  <a:lnTo>
                    <a:pt x="197" y="27"/>
                  </a:lnTo>
                  <a:lnTo>
                    <a:pt x="181" y="39"/>
                  </a:lnTo>
                  <a:lnTo>
                    <a:pt x="164" y="53"/>
                  </a:lnTo>
                  <a:lnTo>
                    <a:pt x="144" y="57"/>
                  </a:lnTo>
                  <a:lnTo>
                    <a:pt x="131" y="73"/>
                  </a:lnTo>
                  <a:lnTo>
                    <a:pt x="119" y="71"/>
                  </a:lnTo>
                  <a:lnTo>
                    <a:pt x="109" y="71"/>
                  </a:lnTo>
                  <a:lnTo>
                    <a:pt x="95" y="80"/>
                  </a:lnTo>
                  <a:lnTo>
                    <a:pt x="86" y="98"/>
                  </a:lnTo>
                  <a:lnTo>
                    <a:pt x="51" y="95"/>
                  </a:lnTo>
                  <a:lnTo>
                    <a:pt x="15" y="90"/>
                  </a:lnTo>
                  <a:lnTo>
                    <a:pt x="14" y="74"/>
                  </a:lnTo>
                  <a:lnTo>
                    <a:pt x="39" y="66"/>
                  </a:lnTo>
                  <a:lnTo>
                    <a:pt x="65" y="5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89" name="Freeform 145"/>
            <p:cNvSpPr>
              <a:spLocks/>
            </p:cNvSpPr>
            <p:nvPr/>
          </p:nvSpPr>
          <p:spPr bwMode="auto">
            <a:xfrm>
              <a:off x="3345" y="1345"/>
              <a:ext cx="211" cy="132"/>
            </a:xfrm>
            <a:custGeom>
              <a:avLst/>
              <a:gdLst>
                <a:gd name="T0" fmla="*/ 2 w 300"/>
                <a:gd name="T1" fmla="*/ 1 h 187"/>
                <a:gd name="T2" fmla="*/ 2 w 300"/>
                <a:gd name="T3" fmla="*/ 1 h 187"/>
                <a:gd name="T4" fmla="*/ 2 w 300"/>
                <a:gd name="T5" fmla="*/ 1 h 187"/>
                <a:gd name="T6" fmla="*/ 2 w 300"/>
                <a:gd name="T7" fmla="*/ 1 h 187"/>
                <a:gd name="T8" fmla="*/ 2 w 300"/>
                <a:gd name="T9" fmla="*/ 1 h 187"/>
                <a:gd name="T10" fmla="*/ 1 w 300"/>
                <a:gd name="T11" fmla="*/ 1 h 187"/>
                <a:gd name="T12" fmla="*/ 1 w 300"/>
                <a:gd name="T13" fmla="*/ 1 h 187"/>
                <a:gd name="T14" fmla="*/ 1 w 300"/>
                <a:gd name="T15" fmla="*/ 1 h 187"/>
                <a:gd name="T16" fmla="*/ 1 w 300"/>
                <a:gd name="T17" fmla="*/ 1 h 187"/>
                <a:gd name="T18" fmla="*/ 1 w 300"/>
                <a:gd name="T19" fmla="*/ 1 h 187"/>
                <a:gd name="T20" fmla="*/ 1 w 300"/>
                <a:gd name="T21" fmla="*/ 1 h 187"/>
                <a:gd name="T22" fmla="*/ 1 w 300"/>
                <a:gd name="T23" fmla="*/ 1 h 187"/>
                <a:gd name="T24" fmla="*/ 1 w 300"/>
                <a:gd name="T25" fmla="*/ 1 h 187"/>
                <a:gd name="T26" fmla="*/ 1 w 300"/>
                <a:gd name="T27" fmla="*/ 1 h 187"/>
                <a:gd name="T28" fmla="*/ 1 w 300"/>
                <a:gd name="T29" fmla="*/ 1 h 187"/>
                <a:gd name="T30" fmla="*/ 1 w 300"/>
                <a:gd name="T31" fmla="*/ 1 h 187"/>
                <a:gd name="T32" fmla="*/ 1 w 300"/>
                <a:gd name="T33" fmla="*/ 1 h 187"/>
                <a:gd name="T34" fmla="*/ 1 w 300"/>
                <a:gd name="T35" fmla="*/ 1 h 187"/>
                <a:gd name="T36" fmla="*/ 1 w 300"/>
                <a:gd name="T37" fmla="*/ 1 h 187"/>
                <a:gd name="T38" fmla="*/ 1 w 300"/>
                <a:gd name="T39" fmla="*/ 1 h 187"/>
                <a:gd name="T40" fmla="*/ 1 w 300"/>
                <a:gd name="T41" fmla="*/ 1 h 187"/>
                <a:gd name="T42" fmla="*/ 1 w 300"/>
                <a:gd name="T43" fmla="*/ 1 h 187"/>
                <a:gd name="T44" fmla="*/ 1 w 300"/>
                <a:gd name="T45" fmla="*/ 1 h 187"/>
                <a:gd name="T46" fmla="*/ 1 w 300"/>
                <a:gd name="T47" fmla="*/ 1 h 187"/>
                <a:gd name="T48" fmla="*/ 1 w 300"/>
                <a:gd name="T49" fmla="*/ 1 h 187"/>
                <a:gd name="T50" fmla="*/ 1 w 300"/>
                <a:gd name="T51" fmla="*/ 1 h 187"/>
                <a:gd name="T52" fmla="*/ 1 w 300"/>
                <a:gd name="T53" fmla="*/ 1 h 187"/>
                <a:gd name="T54" fmla="*/ 1 w 300"/>
                <a:gd name="T55" fmla="*/ 1 h 187"/>
                <a:gd name="T56" fmla="*/ 1 w 300"/>
                <a:gd name="T57" fmla="*/ 1 h 187"/>
                <a:gd name="T58" fmla="*/ 1 w 300"/>
                <a:gd name="T59" fmla="*/ 1 h 187"/>
                <a:gd name="T60" fmla="*/ 1 w 300"/>
                <a:gd name="T61" fmla="*/ 1 h 187"/>
                <a:gd name="T62" fmla="*/ 1 w 300"/>
                <a:gd name="T63" fmla="*/ 1 h 187"/>
                <a:gd name="T64" fmla="*/ 1 w 300"/>
                <a:gd name="T65" fmla="*/ 1 h 187"/>
                <a:gd name="T66" fmla="*/ 1 w 300"/>
                <a:gd name="T67" fmla="*/ 1 h 187"/>
                <a:gd name="T68" fmla="*/ 1 w 300"/>
                <a:gd name="T69" fmla="*/ 1 h 187"/>
                <a:gd name="T70" fmla="*/ 1 w 300"/>
                <a:gd name="T71" fmla="*/ 1 h 187"/>
                <a:gd name="T72" fmla="*/ 1 w 300"/>
                <a:gd name="T73" fmla="*/ 1 h 187"/>
                <a:gd name="T74" fmla="*/ 0 w 300"/>
                <a:gd name="T75" fmla="*/ 0 h 187"/>
                <a:gd name="T76" fmla="*/ 1 w 300"/>
                <a:gd name="T77" fmla="*/ 0 h 187"/>
                <a:gd name="T78" fmla="*/ 1 w 300"/>
                <a:gd name="T79" fmla="*/ 1 h 187"/>
                <a:gd name="T80" fmla="*/ 1 w 300"/>
                <a:gd name="T81" fmla="*/ 1 h 187"/>
                <a:gd name="T82" fmla="*/ 1 w 300"/>
                <a:gd name="T83" fmla="*/ 1 h 187"/>
                <a:gd name="T84" fmla="*/ 1 w 300"/>
                <a:gd name="T85" fmla="*/ 1 h 187"/>
                <a:gd name="T86" fmla="*/ 1 w 300"/>
                <a:gd name="T87" fmla="*/ 1 h 187"/>
                <a:gd name="T88" fmla="*/ 1 w 300"/>
                <a:gd name="T89" fmla="*/ 1 h 187"/>
                <a:gd name="T90" fmla="*/ 1 w 300"/>
                <a:gd name="T91" fmla="*/ 0 h 187"/>
                <a:gd name="T92" fmla="*/ 1 w 300"/>
                <a:gd name="T93" fmla="*/ 1 h 187"/>
                <a:gd name="T94" fmla="*/ 1 w 300"/>
                <a:gd name="T95" fmla="*/ 1 h 187"/>
                <a:gd name="T96" fmla="*/ 1 w 300"/>
                <a:gd name="T97" fmla="*/ 1 h 187"/>
                <a:gd name="T98" fmla="*/ 1 w 300"/>
                <a:gd name="T99" fmla="*/ 1 h 187"/>
                <a:gd name="T100" fmla="*/ 2 w 300"/>
                <a:gd name="T101" fmla="*/ 1 h 187"/>
                <a:gd name="T102" fmla="*/ 2 w 300"/>
                <a:gd name="T103" fmla="*/ 1 h 187"/>
                <a:gd name="T104" fmla="*/ 2 w 300"/>
                <a:gd name="T105" fmla="*/ 1 h 187"/>
                <a:gd name="T106" fmla="*/ 2 w 300"/>
                <a:gd name="T107" fmla="*/ 1 h 187"/>
                <a:gd name="T108" fmla="*/ 2 w 300"/>
                <a:gd name="T109" fmla="*/ 1 h 187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00"/>
                <a:gd name="T166" fmla="*/ 0 h 187"/>
                <a:gd name="T167" fmla="*/ 300 w 300"/>
                <a:gd name="T168" fmla="*/ 187 h 187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00" h="187">
                  <a:moveTo>
                    <a:pt x="286" y="145"/>
                  </a:moveTo>
                  <a:lnTo>
                    <a:pt x="277" y="164"/>
                  </a:lnTo>
                  <a:lnTo>
                    <a:pt x="258" y="174"/>
                  </a:lnTo>
                  <a:lnTo>
                    <a:pt x="252" y="187"/>
                  </a:lnTo>
                  <a:lnTo>
                    <a:pt x="240" y="185"/>
                  </a:lnTo>
                  <a:lnTo>
                    <a:pt x="221" y="179"/>
                  </a:lnTo>
                  <a:lnTo>
                    <a:pt x="212" y="152"/>
                  </a:lnTo>
                  <a:lnTo>
                    <a:pt x="193" y="150"/>
                  </a:lnTo>
                  <a:lnTo>
                    <a:pt x="176" y="139"/>
                  </a:lnTo>
                  <a:lnTo>
                    <a:pt x="158" y="127"/>
                  </a:lnTo>
                  <a:lnTo>
                    <a:pt x="125" y="115"/>
                  </a:lnTo>
                  <a:lnTo>
                    <a:pt x="106" y="118"/>
                  </a:lnTo>
                  <a:lnTo>
                    <a:pt x="82" y="120"/>
                  </a:lnTo>
                  <a:lnTo>
                    <a:pt x="67" y="136"/>
                  </a:lnTo>
                  <a:lnTo>
                    <a:pt x="60" y="136"/>
                  </a:lnTo>
                  <a:lnTo>
                    <a:pt x="54" y="114"/>
                  </a:lnTo>
                  <a:lnTo>
                    <a:pt x="49" y="94"/>
                  </a:lnTo>
                  <a:lnTo>
                    <a:pt x="36" y="85"/>
                  </a:lnTo>
                  <a:lnTo>
                    <a:pt x="35" y="86"/>
                  </a:lnTo>
                  <a:lnTo>
                    <a:pt x="40" y="82"/>
                  </a:lnTo>
                  <a:lnTo>
                    <a:pt x="42" y="79"/>
                  </a:lnTo>
                  <a:lnTo>
                    <a:pt x="36" y="70"/>
                  </a:lnTo>
                  <a:lnTo>
                    <a:pt x="28" y="72"/>
                  </a:lnTo>
                  <a:lnTo>
                    <a:pt x="26" y="73"/>
                  </a:lnTo>
                  <a:lnTo>
                    <a:pt x="20" y="48"/>
                  </a:lnTo>
                  <a:lnTo>
                    <a:pt x="23" y="47"/>
                  </a:lnTo>
                  <a:lnTo>
                    <a:pt x="35" y="48"/>
                  </a:lnTo>
                  <a:lnTo>
                    <a:pt x="46" y="54"/>
                  </a:lnTo>
                  <a:lnTo>
                    <a:pt x="50" y="52"/>
                  </a:lnTo>
                  <a:lnTo>
                    <a:pt x="53" y="49"/>
                  </a:lnTo>
                  <a:lnTo>
                    <a:pt x="54" y="41"/>
                  </a:lnTo>
                  <a:lnTo>
                    <a:pt x="35" y="22"/>
                  </a:lnTo>
                  <a:lnTo>
                    <a:pt x="18" y="19"/>
                  </a:lnTo>
                  <a:lnTo>
                    <a:pt x="18" y="40"/>
                  </a:lnTo>
                  <a:lnTo>
                    <a:pt x="18" y="41"/>
                  </a:lnTo>
                  <a:lnTo>
                    <a:pt x="5" y="16"/>
                  </a:lnTo>
                  <a:lnTo>
                    <a:pt x="6" y="5"/>
                  </a:lnTo>
                  <a:lnTo>
                    <a:pt x="0" y="0"/>
                  </a:lnTo>
                  <a:lnTo>
                    <a:pt x="36" y="0"/>
                  </a:lnTo>
                  <a:lnTo>
                    <a:pt x="32" y="17"/>
                  </a:lnTo>
                  <a:lnTo>
                    <a:pt x="56" y="24"/>
                  </a:lnTo>
                  <a:lnTo>
                    <a:pt x="80" y="31"/>
                  </a:lnTo>
                  <a:lnTo>
                    <a:pt x="108" y="37"/>
                  </a:lnTo>
                  <a:lnTo>
                    <a:pt x="103" y="24"/>
                  </a:lnTo>
                  <a:lnTo>
                    <a:pt x="114" y="18"/>
                  </a:lnTo>
                  <a:lnTo>
                    <a:pt x="131" y="0"/>
                  </a:lnTo>
                  <a:lnTo>
                    <a:pt x="156" y="18"/>
                  </a:lnTo>
                  <a:lnTo>
                    <a:pt x="173" y="43"/>
                  </a:lnTo>
                  <a:lnTo>
                    <a:pt x="200" y="54"/>
                  </a:lnTo>
                  <a:lnTo>
                    <a:pt x="217" y="64"/>
                  </a:lnTo>
                  <a:lnTo>
                    <a:pt x="252" y="85"/>
                  </a:lnTo>
                  <a:lnTo>
                    <a:pt x="287" y="107"/>
                  </a:lnTo>
                  <a:lnTo>
                    <a:pt x="300" y="131"/>
                  </a:lnTo>
                  <a:lnTo>
                    <a:pt x="293" y="138"/>
                  </a:lnTo>
                  <a:lnTo>
                    <a:pt x="286" y="145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90" name="Freeform 146"/>
            <p:cNvSpPr>
              <a:spLocks/>
            </p:cNvSpPr>
            <p:nvPr/>
          </p:nvSpPr>
          <p:spPr bwMode="auto">
            <a:xfrm>
              <a:off x="3495" y="1422"/>
              <a:ext cx="194" cy="156"/>
            </a:xfrm>
            <a:custGeom>
              <a:avLst/>
              <a:gdLst>
                <a:gd name="T0" fmla="*/ 1 w 276"/>
                <a:gd name="T1" fmla="*/ 1 h 223"/>
                <a:gd name="T2" fmla="*/ 0 w 276"/>
                <a:gd name="T3" fmla="*/ 1 h 223"/>
                <a:gd name="T4" fmla="*/ 0 w 276"/>
                <a:gd name="T5" fmla="*/ 1 h 223"/>
                <a:gd name="T6" fmla="*/ 1 w 276"/>
                <a:gd name="T7" fmla="*/ 1 h 223"/>
                <a:gd name="T8" fmla="*/ 1 w 276"/>
                <a:gd name="T9" fmla="*/ 1 h 223"/>
                <a:gd name="T10" fmla="*/ 1 w 276"/>
                <a:gd name="T11" fmla="*/ 1 h 223"/>
                <a:gd name="T12" fmla="*/ 1 w 276"/>
                <a:gd name="T13" fmla="*/ 1 h 223"/>
                <a:gd name="T14" fmla="*/ 1 w 276"/>
                <a:gd name="T15" fmla="*/ 1 h 223"/>
                <a:gd name="T16" fmla="*/ 1 w 276"/>
                <a:gd name="T17" fmla="*/ 1 h 223"/>
                <a:gd name="T18" fmla="*/ 1 w 276"/>
                <a:gd name="T19" fmla="*/ 1 h 223"/>
                <a:gd name="T20" fmla="*/ 1 w 276"/>
                <a:gd name="T21" fmla="*/ 1 h 223"/>
                <a:gd name="T22" fmla="*/ 1 w 276"/>
                <a:gd name="T23" fmla="*/ 1 h 223"/>
                <a:gd name="T24" fmla="*/ 1 w 276"/>
                <a:gd name="T25" fmla="*/ 1 h 223"/>
                <a:gd name="T26" fmla="*/ 1 w 276"/>
                <a:gd name="T27" fmla="*/ 1 h 223"/>
                <a:gd name="T28" fmla="*/ 1 w 276"/>
                <a:gd name="T29" fmla="*/ 1 h 223"/>
                <a:gd name="T30" fmla="*/ 1 w 276"/>
                <a:gd name="T31" fmla="*/ 1 h 223"/>
                <a:gd name="T32" fmla="*/ 1 w 276"/>
                <a:gd name="T33" fmla="*/ 1 h 223"/>
                <a:gd name="T34" fmla="*/ 1 w 276"/>
                <a:gd name="T35" fmla="*/ 1 h 223"/>
                <a:gd name="T36" fmla="*/ 1 w 276"/>
                <a:gd name="T37" fmla="*/ 1 h 223"/>
                <a:gd name="T38" fmla="*/ 1 w 276"/>
                <a:gd name="T39" fmla="*/ 1 h 223"/>
                <a:gd name="T40" fmla="*/ 1 w 276"/>
                <a:gd name="T41" fmla="*/ 1 h 223"/>
                <a:gd name="T42" fmla="*/ 1 w 276"/>
                <a:gd name="T43" fmla="*/ 1 h 223"/>
                <a:gd name="T44" fmla="*/ 1 w 276"/>
                <a:gd name="T45" fmla="*/ 1 h 223"/>
                <a:gd name="T46" fmla="*/ 1 w 276"/>
                <a:gd name="T47" fmla="*/ 1 h 223"/>
                <a:gd name="T48" fmla="*/ 1 w 276"/>
                <a:gd name="T49" fmla="*/ 1 h 223"/>
                <a:gd name="T50" fmla="*/ 1 w 276"/>
                <a:gd name="T51" fmla="*/ 1 h 223"/>
                <a:gd name="T52" fmla="*/ 1 w 276"/>
                <a:gd name="T53" fmla="*/ 1 h 223"/>
                <a:gd name="T54" fmla="*/ 1 w 276"/>
                <a:gd name="T55" fmla="*/ 1 h 223"/>
                <a:gd name="T56" fmla="*/ 2 w 276"/>
                <a:gd name="T57" fmla="*/ 1 h 223"/>
                <a:gd name="T58" fmla="*/ 2 w 276"/>
                <a:gd name="T59" fmla="*/ 1 h 223"/>
                <a:gd name="T60" fmla="*/ 2 w 276"/>
                <a:gd name="T61" fmla="*/ 1 h 223"/>
                <a:gd name="T62" fmla="*/ 2 w 276"/>
                <a:gd name="T63" fmla="*/ 1 h 223"/>
                <a:gd name="T64" fmla="*/ 2 w 276"/>
                <a:gd name="T65" fmla="*/ 1 h 223"/>
                <a:gd name="T66" fmla="*/ 2 w 276"/>
                <a:gd name="T67" fmla="*/ 1 h 223"/>
                <a:gd name="T68" fmla="*/ 2 w 276"/>
                <a:gd name="T69" fmla="*/ 1 h 223"/>
                <a:gd name="T70" fmla="*/ 2 w 276"/>
                <a:gd name="T71" fmla="*/ 1 h 223"/>
                <a:gd name="T72" fmla="*/ 1 w 276"/>
                <a:gd name="T73" fmla="*/ 1 h 223"/>
                <a:gd name="T74" fmla="*/ 1 w 276"/>
                <a:gd name="T75" fmla="*/ 1 h 223"/>
                <a:gd name="T76" fmla="*/ 1 w 276"/>
                <a:gd name="T77" fmla="*/ 1 h 223"/>
                <a:gd name="T78" fmla="*/ 1 w 276"/>
                <a:gd name="T79" fmla="*/ 0 h 223"/>
                <a:gd name="T80" fmla="*/ 1 w 276"/>
                <a:gd name="T81" fmla="*/ 1 h 223"/>
                <a:gd name="T82" fmla="*/ 1 w 276"/>
                <a:gd name="T83" fmla="*/ 1 h 223"/>
                <a:gd name="T84" fmla="*/ 1 w 276"/>
                <a:gd name="T85" fmla="*/ 1 h 223"/>
                <a:gd name="T86" fmla="*/ 1 w 276"/>
                <a:gd name="T87" fmla="*/ 1 h 223"/>
                <a:gd name="T88" fmla="*/ 1 w 276"/>
                <a:gd name="T89" fmla="*/ 1 h 223"/>
                <a:gd name="T90" fmla="*/ 1 w 276"/>
                <a:gd name="T91" fmla="*/ 1 h 223"/>
                <a:gd name="T92" fmla="*/ 1 w 276"/>
                <a:gd name="T93" fmla="*/ 1 h 223"/>
                <a:gd name="T94" fmla="*/ 1 w 276"/>
                <a:gd name="T95" fmla="*/ 1 h 223"/>
                <a:gd name="T96" fmla="*/ 1 w 276"/>
                <a:gd name="T97" fmla="*/ 1 h 223"/>
                <a:gd name="T98" fmla="*/ 1 w 276"/>
                <a:gd name="T99" fmla="*/ 1 h 223"/>
                <a:gd name="T100" fmla="*/ 1 w 276"/>
                <a:gd name="T101" fmla="*/ 1 h 223"/>
                <a:gd name="T102" fmla="*/ 1 w 276"/>
                <a:gd name="T103" fmla="*/ 1 h 223"/>
                <a:gd name="T104" fmla="*/ 1 w 276"/>
                <a:gd name="T105" fmla="*/ 1 h 223"/>
                <a:gd name="T106" fmla="*/ 1 w 276"/>
                <a:gd name="T107" fmla="*/ 1 h 223"/>
                <a:gd name="T108" fmla="*/ 1 w 276"/>
                <a:gd name="T109" fmla="*/ 1 h 223"/>
                <a:gd name="T110" fmla="*/ 1 w 276"/>
                <a:gd name="T111" fmla="*/ 1 h 223"/>
                <a:gd name="T112" fmla="*/ 1 w 276"/>
                <a:gd name="T113" fmla="*/ 1 h 22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76"/>
                <a:gd name="T172" fmla="*/ 0 h 223"/>
                <a:gd name="T173" fmla="*/ 276 w 276"/>
                <a:gd name="T174" fmla="*/ 223 h 22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76" h="223">
                  <a:moveTo>
                    <a:pt x="1" y="97"/>
                  </a:moveTo>
                  <a:lnTo>
                    <a:pt x="0" y="101"/>
                  </a:lnTo>
                  <a:lnTo>
                    <a:pt x="0" y="114"/>
                  </a:lnTo>
                  <a:lnTo>
                    <a:pt x="8" y="120"/>
                  </a:lnTo>
                  <a:lnTo>
                    <a:pt x="6" y="125"/>
                  </a:lnTo>
                  <a:lnTo>
                    <a:pt x="11" y="145"/>
                  </a:lnTo>
                  <a:lnTo>
                    <a:pt x="16" y="167"/>
                  </a:lnTo>
                  <a:lnTo>
                    <a:pt x="35" y="174"/>
                  </a:lnTo>
                  <a:lnTo>
                    <a:pt x="40" y="183"/>
                  </a:lnTo>
                  <a:lnTo>
                    <a:pt x="24" y="211"/>
                  </a:lnTo>
                  <a:lnTo>
                    <a:pt x="42" y="217"/>
                  </a:lnTo>
                  <a:lnTo>
                    <a:pt x="60" y="223"/>
                  </a:lnTo>
                  <a:lnTo>
                    <a:pt x="92" y="222"/>
                  </a:lnTo>
                  <a:lnTo>
                    <a:pt x="115" y="217"/>
                  </a:lnTo>
                  <a:lnTo>
                    <a:pt x="138" y="213"/>
                  </a:lnTo>
                  <a:lnTo>
                    <a:pt x="137" y="201"/>
                  </a:lnTo>
                  <a:lnTo>
                    <a:pt x="140" y="181"/>
                  </a:lnTo>
                  <a:lnTo>
                    <a:pt x="161" y="173"/>
                  </a:lnTo>
                  <a:lnTo>
                    <a:pt x="167" y="166"/>
                  </a:lnTo>
                  <a:lnTo>
                    <a:pt x="187" y="167"/>
                  </a:lnTo>
                  <a:lnTo>
                    <a:pt x="188" y="139"/>
                  </a:lnTo>
                  <a:lnTo>
                    <a:pt x="205" y="126"/>
                  </a:lnTo>
                  <a:lnTo>
                    <a:pt x="193" y="112"/>
                  </a:lnTo>
                  <a:lnTo>
                    <a:pt x="211" y="111"/>
                  </a:lnTo>
                  <a:lnTo>
                    <a:pt x="215" y="100"/>
                  </a:lnTo>
                  <a:lnTo>
                    <a:pt x="221" y="82"/>
                  </a:lnTo>
                  <a:lnTo>
                    <a:pt x="210" y="60"/>
                  </a:lnTo>
                  <a:lnTo>
                    <a:pt x="221" y="45"/>
                  </a:lnTo>
                  <a:lnTo>
                    <a:pt x="245" y="40"/>
                  </a:lnTo>
                  <a:lnTo>
                    <a:pt x="270" y="34"/>
                  </a:lnTo>
                  <a:lnTo>
                    <a:pt x="269" y="29"/>
                  </a:lnTo>
                  <a:lnTo>
                    <a:pt x="275" y="29"/>
                  </a:lnTo>
                  <a:lnTo>
                    <a:pt x="276" y="29"/>
                  </a:lnTo>
                  <a:lnTo>
                    <a:pt x="258" y="27"/>
                  </a:lnTo>
                  <a:lnTo>
                    <a:pt x="252" y="27"/>
                  </a:lnTo>
                  <a:lnTo>
                    <a:pt x="235" y="28"/>
                  </a:lnTo>
                  <a:lnTo>
                    <a:pt x="210" y="41"/>
                  </a:lnTo>
                  <a:lnTo>
                    <a:pt x="202" y="11"/>
                  </a:lnTo>
                  <a:lnTo>
                    <a:pt x="196" y="11"/>
                  </a:lnTo>
                  <a:lnTo>
                    <a:pt x="190" y="0"/>
                  </a:lnTo>
                  <a:lnTo>
                    <a:pt x="180" y="4"/>
                  </a:lnTo>
                  <a:lnTo>
                    <a:pt x="178" y="18"/>
                  </a:lnTo>
                  <a:lnTo>
                    <a:pt x="162" y="27"/>
                  </a:lnTo>
                  <a:lnTo>
                    <a:pt x="157" y="30"/>
                  </a:lnTo>
                  <a:lnTo>
                    <a:pt x="143" y="31"/>
                  </a:lnTo>
                  <a:lnTo>
                    <a:pt x="133" y="33"/>
                  </a:lnTo>
                  <a:lnTo>
                    <a:pt x="126" y="29"/>
                  </a:lnTo>
                  <a:lnTo>
                    <a:pt x="106" y="25"/>
                  </a:lnTo>
                  <a:lnTo>
                    <a:pt x="85" y="22"/>
                  </a:lnTo>
                  <a:lnTo>
                    <a:pt x="78" y="29"/>
                  </a:lnTo>
                  <a:lnTo>
                    <a:pt x="71" y="36"/>
                  </a:lnTo>
                  <a:lnTo>
                    <a:pt x="62" y="55"/>
                  </a:lnTo>
                  <a:lnTo>
                    <a:pt x="43" y="65"/>
                  </a:lnTo>
                  <a:lnTo>
                    <a:pt x="37" y="78"/>
                  </a:lnTo>
                  <a:lnTo>
                    <a:pt x="25" y="76"/>
                  </a:lnTo>
                  <a:lnTo>
                    <a:pt x="6" y="70"/>
                  </a:lnTo>
                  <a:lnTo>
                    <a:pt x="1" y="9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91" name="Freeform 147"/>
            <p:cNvSpPr>
              <a:spLocks/>
            </p:cNvSpPr>
            <p:nvPr/>
          </p:nvSpPr>
          <p:spPr bwMode="auto">
            <a:xfrm>
              <a:off x="3083" y="1469"/>
              <a:ext cx="30" cy="18"/>
            </a:xfrm>
            <a:custGeom>
              <a:avLst/>
              <a:gdLst>
                <a:gd name="T0" fmla="*/ 1 w 42"/>
                <a:gd name="T1" fmla="*/ 0 h 27"/>
                <a:gd name="T2" fmla="*/ 1 w 42"/>
                <a:gd name="T3" fmla="*/ 1 h 27"/>
                <a:gd name="T4" fmla="*/ 0 w 42"/>
                <a:gd name="T5" fmla="*/ 1 h 27"/>
                <a:gd name="T6" fmla="*/ 1 w 42"/>
                <a:gd name="T7" fmla="*/ 1 h 27"/>
                <a:gd name="T8" fmla="*/ 1 w 42"/>
                <a:gd name="T9" fmla="*/ 1 h 27"/>
                <a:gd name="T10" fmla="*/ 1 w 42"/>
                <a:gd name="T11" fmla="*/ 1 h 27"/>
                <a:gd name="T12" fmla="*/ 1 w 42"/>
                <a:gd name="T13" fmla="*/ 0 h 2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2"/>
                <a:gd name="T22" fmla="*/ 0 h 27"/>
                <a:gd name="T23" fmla="*/ 42 w 42"/>
                <a:gd name="T24" fmla="*/ 27 h 2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2" h="27">
                  <a:moveTo>
                    <a:pt x="42" y="0"/>
                  </a:moveTo>
                  <a:lnTo>
                    <a:pt x="16" y="9"/>
                  </a:lnTo>
                  <a:lnTo>
                    <a:pt x="0" y="16"/>
                  </a:lnTo>
                  <a:lnTo>
                    <a:pt x="6" y="27"/>
                  </a:lnTo>
                  <a:lnTo>
                    <a:pt x="30" y="18"/>
                  </a:lnTo>
                  <a:lnTo>
                    <a:pt x="30" y="14"/>
                  </a:lnTo>
                  <a:lnTo>
                    <a:pt x="42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92" name="Line 148"/>
            <p:cNvSpPr>
              <a:spLocks noChangeShapeType="1"/>
            </p:cNvSpPr>
            <p:nvPr/>
          </p:nvSpPr>
          <p:spPr bwMode="auto">
            <a:xfrm>
              <a:off x="3680" y="1448"/>
              <a:ext cx="4" cy="1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393" name="Line 149"/>
            <p:cNvSpPr>
              <a:spLocks noChangeShapeType="1"/>
            </p:cNvSpPr>
            <p:nvPr/>
          </p:nvSpPr>
          <p:spPr bwMode="auto">
            <a:xfrm flipH="1">
              <a:off x="3681" y="1449"/>
              <a:ext cx="1" cy="4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394" name="Line 150"/>
            <p:cNvSpPr>
              <a:spLocks noChangeShapeType="1"/>
            </p:cNvSpPr>
            <p:nvPr/>
          </p:nvSpPr>
          <p:spPr bwMode="auto">
            <a:xfrm flipH="1">
              <a:off x="3678" y="1452"/>
              <a:ext cx="3" cy="3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395" name="Line 151"/>
            <p:cNvSpPr>
              <a:spLocks noChangeShapeType="1"/>
            </p:cNvSpPr>
            <p:nvPr/>
          </p:nvSpPr>
          <p:spPr bwMode="auto">
            <a:xfrm flipH="1">
              <a:off x="3674" y="1453"/>
              <a:ext cx="6" cy="4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396" name="Line 152"/>
            <p:cNvSpPr>
              <a:spLocks noChangeShapeType="1"/>
            </p:cNvSpPr>
            <p:nvPr/>
          </p:nvSpPr>
          <p:spPr bwMode="auto">
            <a:xfrm flipH="1">
              <a:off x="3671" y="1457"/>
              <a:ext cx="4" cy="4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397" name="Line 153"/>
            <p:cNvSpPr>
              <a:spLocks noChangeShapeType="1"/>
            </p:cNvSpPr>
            <p:nvPr/>
          </p:nvSpPr>
          <p:spPr bwMode="auto">
            <a:xfrm flipH="1">
              <a:off x="3668" y="1459"/>
              <a:ext cx="5" cy="4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398" name="Line 154"/>
            <p:cNvSpPr>
              <a:spLocks noChangeShapeType="1"/>
            </p:cNvSpPr>
            <p:nvPr/>
          </p:nvSpPr>
          <p:spPr bwMode="auto">
            <a:xfrm flipH="1">
              <a:off x="3668" y="1462"/>
              <a:ext cx="2" cy="7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399" name="Line 155"/>
            <p:cNvSpPr>
              <a:spLocks noChangeShapeType="1"/>
            </p:cNvSpPr>
            <p:nvPr/>
          </p:nvSpPr>
          <p:spPr bwMode="auto">
            <a:xfrm>
              <a:off x="3668" y="1467"/>
              <a:ext cx="2" cy="6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400" name="Line 156"/>
            <p:cNvSpPr>
              <a:spLocks noChangeShapeType="1"/>
            </p:cNvSpPr>
            <p:nvPr/>
          </p:nvSpPr>
          <p:spPr bwMode="auto">
            <a:xfrm>
              <a:off x="3670" y="1473"/>
              <a:ext cx="3" cy="4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401" name="Line 157"/>
            <p:cNvSpPr>
              <a:spLocks noChangeShapeType="1"/>
            </p:cNvSpPr>
            <p:nvPr/>
          </p:nvSpPr>
          <p:spPr bwMode="auto">
            <a:xfrm>
              <a:off x="3678" y="1495"/>
              <a:ext cx="2" cy="1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402" name="Line 158"/>
            <p:cNvSpPr>
              <a:spLocks noChangeShapeType="1"/>
            </p:cNvSpPr>
            <p:nvPr/>
          </p:nvSpPr>
          <p:spPr bwMode="auto">
            <a:xfrm>
              <a:off x="3678" y="1494"/>
              <a:ext cx="6" cy="6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403" name="Line 159"/>
            <p:cNvSpPr>
              <a:spLocks noChangeShapeType="1"/>
            </p:cNvSpPr>
            <p:nvPr/>
          </p:nvSpPr>
          <p:spPr bwMode="auto">
            <a:xfrm>
              <a:off x="3684" y="1500"/>
              <a:ext cx="5" cy="4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404" name="Line 160"/>
            <p:cNvSpPr>
              <a:spLocks noChangeShapeType="1"/>
            </p:cNvSpPr>
            <p:nvPr/>
          </p:nvSpPr>
          <p:spPr bwMode="auto">
            <a:xfrm>
              <a:off x="3689" y="1502"/>
              <a:ext cx="2" cy="6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405" name="Line 161"/>
            <p:cNvSpPr>
              <a:spLocks noChangeShapeType="1"/>
            </p:cNvSpPr>
            <p:nvPr/>
          </p:nvSpPr>
          <p:spPr bwMode="auto">
            <a:xfrm>
              <a:off x="3689" y="1508"/>
              <a:ext cx="2" cy="4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406" name="Line 162"/>
            <p:cNvSpPr>
              <a:spLocks noChangeShapeType="1"/>
            </p:cNvSpPr>
            <p:nvPr/>
          </p:nvSpPr>
          <p:spPr bwMode="auto">
            <a:xfrm>
              <a:off x="3689" y="1512"/>
              <a:ext cx="7" cy="3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407" name="Line 163"/>
            <p:cNvSpPr>
              <a:spLocks noChangeShapeType="1"/>
            </p:cNvSpPr>
            <p:nvPr/>
          </p:nvSpPr>
          <p:spPr bwMode="auto">
            <a:xfrm>
              <a:off x="3696" y="1515"/>
              <a:ext cx="3" cy="1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408" name="Line 164"/>
            <p:cNvSpPr>
              <a:spLocks noChangeShapeType="1"/>
            </p:cNvSpPr>
            <p:nvPr/>
          </p:nvSpPr>
          <p:spPr bwMode="auto">
            <a:xfrm flipV="1">
              <a:off x="3765" y="1494"/>
              <a:ext cx="7" cy="4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409" name="Line 165"/>
            <p:cNvSpPr>
              <a:spLocks noChangeShapeType="1"/>
            </p:cNvSpPr>
            <p:nvPr/>
          </p:nvSpPr>
          <p:spPr bwMode="auto">
            <a:xfrm flipV="1">
              <a:off x="3772" y="1485"/>
              <a:ext cx="1" cy="10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410" name="Line 166"/>
            <p:cNvSpPr>
              <a:spLocks noChangeShapeType="1"/>
            </p:cNvSpPr>
            <p:nvPr/>
          </p:nvSpPr>
          <p:spPr bwMode="auto">
            <a:xfrm flipV="1">
              <a:off x="3774" y="1471"/>
              <a:ext cx="3" cy="16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411" name="Line 167"/>
            <p:cNvSpPr>
              <a:spLocks noChangeShapeType="1"/>
            </p:cNvSpPr>
            <p:nvPr/>
          </p:nvSpPr>
          <p:spPr bwMode="auto">
            <a:xfrm flipH="1" flipV="1">
              <a:off x="3767" y="1469"/>
              <a:ext cx="9" cy="4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412" name="Line 168"/>
            <p:cNvSpPr>
              <a:spLocks noChangeShapeType="1"/>
            </p:cNvSpPr>
            <p:nvPr/>
          </p:nvSpPr>
          <p:spPr bwMode="auto">
            <a:xfrm flipH="1">
              <a:off x="3740" y="1467"/>
              <a:ext cx="8" cy="6"/>
            </a:xfrm>
            <a:prstGeom prst="line">
              <a:avLst/>
            </a:prstGeom>
            <a:noFill/>
            <a:ln w="6350" cap="rnd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413" name="Freeform 169"/>
            <p:cNvSpPr>
              <a:spLocks/>
            </p:cNvSpPr>
            <p:nvPr/>
          </p:nvSpPr>
          <p:spPr bwMode="auto">
            <a:xfrm>
              <a:off x="3125" y="1487"/>
              <a:ext cx="19" cy="27"/>
            </a:xfrm>
            <a:custGeom>
              <a:avLst/>
              <a:gdLst>
                <a:gd name="T0" fmla="*/ 1 w 26"/>
                <a:gd name="T1" fmla="*/ 1 h 38"/>
                <a:gd name="T2" fmla="*/ 1 w 26"/>
                <a:gd name="T3" fmla="*/ 1 h 38"/>
                <a:gd name="T4" fmla="*/ 0 w 26"/>
                <a:gd name="T5" fmla="*/ 1 h 38"/>
                <a:gd name="T6" fmla="*/ 1 w 26"/>
                <a:gd name="T7" fmla="*/ 1 h 38"/>
                <a:gd name="T8" fmla="*/ 1 w 26"/>
                <a:gd name="T9" fmla="*/ 0 h 38"/>
                <a:gd name="T10" fmla="*/ 1 w 26"/>
                <a:gd name="T11" fmla="*/ 1 h 38"/>
                <a:gd name="T12" fmla="*/ 1 w 26"/>
                <a:gd name="T13" fmla="*/ 1 h 3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6"/>
                <a:gd name="T22" fmla="*/ 0 h 38"/>
                <a:gd name="T23" fmla="*/ 26 w 26"/>
                <a:gd name="T24" fmla="*/ 38 h 3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6" h="38">
                  <a:moveTo>
                    <a:pt x="24" y="20"/>
                  </a:moveTo>
                  <a:lnTo>
                    <a:pt x="11" y="34"/>
                  </a:lnTo>
                  <a:lnTo>
                    <a:pt x="0" y="38"/>
                  </a:lnTo>
                  <a:lnTo>
                    <a:pt x="7" y="19"/>
                  </a:lnTo>
                  <a:lnTo>
                    <a:pt x="13" y="0"/>
                  </a:lnTo>
                  <a:lnTo>
                    <a:pt x="26" y="6"/>
                  </a:lnTo>
                  <a:lnTo>
                    <a:pt x="24" y="2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14" name="Freeform 170"/>
            <p:cNvSpPr>
              <a:spLocks/>
            </p:cNvSpPr>
            <p:nvPr/>
          </p:nvSpPr>
          <p:spPr bwMode="auto">
            <a:xfrm>
              <a:off x="3131" y="1443"/>
              <a:ext cx="90" cy="85"/>
            </a:xfrm>
            <a:custGeom>
              <a:avLst/>
              <a:gdLst>
                <a:gd name="T0" fmla="*/ 1 w 129"/>
                <a:gd name="T1" fmla="*/ 1 h 121"/>
                <a:gd name="T2" fmla="*/ 1 w 129"/>
                <a:gd name="T3" fmla="*/ 1 h 121"/>
                <a:gd name="T4" fmla="*/ 1 w 129"/>
                <a:gd name="T5" fmla="*/ 1 h 121"/>
                <a:gd name="T6" fmla="*/ 1 w 129"/>
                <a:gd name="T7" fmla="*/ 1 h 121"/>
                <a:gd name="T8" fmla="*/ 1 w 129"/>
                <a:gd name="T9" fmla="*/ 1 h 121"/>
                <a:gd name="T10" fmla="*/ 1 w 129"/>
                <a:gd name="T11" fmla="*/ 1 h 121"/>
                <a:gd name="T12" fmla="*/ 0 w 129"/>
                <a:gd name="T13" fmla="*/ 1 h 121"/>
                <a:gd name="T14" fmla="*/ 1 w 129"/>
                <a:gd name="T15" fmla="*/ 1 h 121"/>
                <a:gd name="T16" fmla="*/ 1 w 129"/>
                <a:gd name="T17" fmla="*/ 1 h 121"/>
                <a:gd name="T18" fmla="*/ 1 w 129"/>
                <a:gd name="T19" fmla="*/ 1 h 121"/>
                <a:gd name="T20" fmla="*/ 1 w 129"/>
                <a:gd name="T21" fmla="*/ 1 h 121"/>
                <a:gd name="T22" fmla="*/ 1 w 129"/>
                <a:gd name="T23" fmla="*/ 1 h 121"/>
                <a:gd name="T24" fmla="*/ 1 w 129"/>
                <a:gd name="T25" fmla="*/ 1 h 121"/>
                <a:gd name="T26" fmla="*/ 1 w 129"/>
                <a:gd name="T27" fmla="*/ 1 h 121"/>
                <a:gd name="T28" fmla="*/ 1 w 129"/>
                <a:gd name="T29" fmla="*/ 1 h 121"/>
                <a:gd name="T30" fmla="*/ 1 w 129"/>
                <a:gd name="T31" fmla="*/ 1 h 121"/>
                <a:gd name="T32" fmla="*/ 1 w 129"/>
                <a:gd name="T33" fmla="*/ 1 h 121"/>
                <a:gd name="T34" fmla="*/ 1 w 129"/>
                <a:gd name="T35" fmla="*/ 1 h 121"/>
                <a:gd name="T36" fmla="*/ 1 w 129"/>
                <a:gd name="T37" fmla="*/ 1 h 121"/>
                <a:gd name="T38" fmla="*/ 1 w 129"/>
                <a:gd name="T39" fmla="*/ 1 h 121"/>
                <a:gd name="T40" fmla="*/ 1 w 129"/>
                <a:gd name="T41" fmla="*/ 0 h 121"/>
                <a:gd name="T42" fmla="*/ 1 w 129"/>
                <a:gd name="T43" fmla="*/ 1 h 121"/>
                <a:gd name="T44" fmla="*/ 1 w 129"/>
                <a:gd name="T45" fmla="*/ 1 h 12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29"/>
                <a:gd name="T70" fmla="*/ 0 h 121"/>
                <a:gd name="T71" fmla="*/ 129 w 129"/>
                <a:gd name="T72" fmla="*/ 121 h 12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29" h="121">
                  <a:moveTo>
                    <a:pt x="81" y="10"/>
                  </a:moveTo>
                  <a:lnTo>
                    <a:pt x="51" y="9"/>
                  </a:lnTo>
                  <a:lnTo>
                    <a:pt x="20" y="11"/>
                  </a:lnTo>
                  <a:lnTo>
                    <a:pt x="12" y="13"/>
                  </a:lnTo>
                  <a:lnTo>
                    <a:pt x="11" y="24"/>
                  </a:lnTo>
                  <a:lnTo>
                    <a:pt x="3" y="33"/>
                  </a:lnTo>
                  <a:lnTo>
                    <a:pt x="0" y="31"/>
                  </a:lnTo>
                  <a:lnTo>
                    <a:pt x="5" y="63"/>
                  </a:lnTo>
                  <a:lnTo>
                    <a:pt x="18" y="69"/>
                  </a:lnTo>
                  <a:lnTo>
                    <a:pt x="16" y="83"/>
                  </a:lnTo>
                  <a:lnTo>
                    <a:pt x="3" y="97"/>
                  </a:lnTo>
                  <a:lnTo>
                    <a:pt x="4" y="111"/>
                  </a:lnTo>
                  <a:lnTo>
                    <a:pt x="30" y="121"/>
                  </a:lnTo>
                  <a:lnTo>
                    <a:pt x="50" y="108"/>
                  </a:lnTo>
                  <a:lnTo>
                    <a:pt x="68" y="95"/>
                  </a:lnTo>
                  <a:lnTo>
                    <a:pt x="89" y="82"/>
                  </a:lnTo>
                  <a:lnTo>
                    <a:pt x="111" y="69"/>
                  </a:lnTo>
                  <a:lnTo>
                    <a:pt x="111" y="45"/>
                  </a:lnTo>
                  <a:lnTo>
                    <a:pt x="110" y="21"/>
                  </a:lnTo>
                  <a:lnTo>
                    <a:pt x="129" y="3"/>
                  </a:lnTo>
                  <a:lnTo>
                    <a:pt x="122" y="0"/>
                  </a:lnTo>
                  <a:lnTo>
                    <a:pt x="101" y="5"/>
                  </a:lnTo>
                  <a:lnTo>
                    <a:pt x="81" y="1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15" name="Freeform 171"/>
            <p:cNvSpPr>
              <a:spLocks/>
            </p:cNvSpPr>
            <p:nvPr/>
          </p:nvSpPr>
          <p:spPr bwMode="auto">
            <a:xfrm>
              <a:off x="3571" y="1365"/>
              <a:ext cx="121" cy="85"/>
            </a:xfrm>
            <a:custGeom>
              <a:avLst/>
              <a:gdLst>
                <a:gd name="T0" fmla="*/ 1 w 171"/>
                <a:gd name="T1" fmla="*/ 1 h 122"/>
                <a:gd name="T2" fmla="*/ 1 w 171"/>
                <a:gd name="T3" fmla="*/ 1 h 122"/>
                <a:gd name="T4" fmla="*/ 1 w 171"/>
                <a:gd name="T5" fmla="*/ 1 h 122"/>
                <a:gd name="T6" fmla="*/ 1 w 171"/>
                <a:gd name="T7" fmla="*/ 1 h 122"/>
                <a:gd name="T8" fmla="*/ 1 w 171"/>
                <a:gd name="T9" fmla="*/ 1 h 122"/>
                <a:gd name="T10" fmla="*/ 1 w 171"/>
                <a:gd name="T11" fmla="*/ 1 h 122"/>
                <a:gd name="T12" fmla="*/ 1 w 171"/>
                <a:gd name="T13" fmla="*/ 1 h 122"/>
                <a:gd name="T14" fmla="*/ 1 w 171"/>
                <a:gd name="T15" fmla="*/ 1 h 122"/>
                <a:gd name="T16" fmla="*/ 1 w 171"/>
                <a:gd name="T17" fmla="*/ 1 h 122"/>
                <a:gd name="T18" fmla="*/ 1 w 171"/>
                <a:gd name="T19" fmla="*/ 1 h 122"/>
                <a:gd name="T20" fmla="*/ 1 w 171"/>
                <a:gd name="T21" fmla="*/ 1 h 122"/>
                <a:gd name="T22" fmla="*/ 1 w 171"/>
                <a:gd name="T23" fmla="*/ 1 h 122"/>
                <a:gd name="T24" fmla="*/ 1 w 171"/>
                <a:gd name="T25" fmla="*/ 1 h 122"/>
                <a:gd name="T26" fmla="*/ 1 w 171"/>
                <a:gd name="T27" fmla="*/ 1 h 122"/>
                <a:gd name="T28" fmla="*/ 1 w 171"/>
                <a:gd name="T29" fmla="*/ 1 h 122"/>
                <a:gd name="T30" fmla="*/ 1 w 171"/>
                <a:gd name="T31" fmla="*/ 1 h 122"/>
                <a:gd name="T32" fmla="*/ 1 w 171"/>
                <a:gd name="T33" fmla="*/ 1 h 122"/>
                <a:gd name="T34" fmla="*/ 0 w 171"/>
                <a:gd name="T35" fmla="*/ 1 h 122"/>
                <a:gd name="T36" fmla="*/ 1 w 171"/>
                <a:gd name="T37" fmla="*/ 1 h 122"/>
                <a:gd name="T38" fmla="*/ 1 w 171"/>
                <a:gd name="T39" fmla="*/ 1 h 122"/>
                <a:gd name="T40" fmla="*/ 1 w 171"/>
                <a:gd name="T41" fmla="*/ 0 h 122"/>
                <a:gd name="T42" fmla="*/ 1 w 171"/>
                <a:gd name="T43" fmla="*/ 1 h 122"/>
                <a:gd name="T44" fmla="*/ 1 w 171"/>
                <a:gd name="T45" fmla="*/ 1 h 122"/>
                <a:gd name="T46" fmla="*/ 1 w 171"/>
                <a:gd name="T47" fmla="*/ 1 h 122"/>
                <a:gd name="T48" fmla="*/ 1 w 171"/>
                <a:gd name="T49" fmla="*/ 1 h 122"/>
                <a:gd name="T50" fmla="*/ 1 w 171"/>
                <a:gd name="T51" fmla="*/ 1 h 122"/>
                <a:gd name="T52" fmla="*/ 1 w 171"/>
                <a:gd name="T53" fmla="*/ 1 h 122"/>
                <a:gd name="T54" fmla="*/ 1 w 171"/>
                <a:gd name="T55" fmla="*/ 1 h 122"/>
                <a:gd name="T56" fmla="*/ 1 w 171"/>
                <a:gd name="T57" fmla="*/ 1 h 122"/>
                <a:gd name="T58" fmla="*/ 1 w 171"/>
                <a:gd name="T59" fmla="*/ 1 h 122"/>
                <a:gd name="T60" fmla="*/ 1 w 171"/>
                <a:gd name="T61" fmla="*/ 1 h 122"/>
                <a:gd name="T62" fmla="*/ 1 w 171"/>
                <a:gd name="T63" fmla="*/ 1 h 122"/>
                <a:gd name="T64" fmla="*/ 1 w 171"/>
                <a:gd name="T65" fmla="*/ 1 h 122"/>
                <a:gd name="T66" fmla="*/ 1 w 171"/>
                <a:gd name="T67" fmla="*/ 1 h 12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71"/>
                <a:gd name="T103" fmla="*/ 0 h 122"/>
                <a:gd name="T104" fmla="*/ 171 w 171"/>
                <a:gd name="T105" fmla="*/ 122 h 12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71" h="122">
                  <a:moveTo>
                    <a:pt x="145" y="108"/>
                  </a:moveTo>
                  <a:lnTo>
                    <a:pt x="128" y="109"/>
                  </a:lnTo>
                  <a:lnTo>
                    <a:pt x="103" y="122"/>
                  </a:lnTo>
                  <a:lnTo>
                    <a:pt x="95" y="92"/>
                  </a:lnTo>
                  <a:lnTo>
                    <a:pt x="89" y="92"/>
                  </a:lnTo>
                  <a:lnTo>
                    <a:pt x="83" y="81"/>
                  </a:lnTo>
                  <a:lnTo>
                    <a:pt x="73" y="85"/>
                  </a:lnTo>
                  <a:lnTo>
                    <a:pt x="71" y="99"/>
                  </a:lnTo>
                  <a:lnTo>
                    <a:pt x="55" y="108"/>
                  </a:lnTo>
                  <a:lnTo>
                    <a:pt x="50" y="111"/>
                  </a:lnTo>
                  <a:lnTo>
                    <a:pt x="36" y="112"/>
                  </a:lnTo>
                  <a:lnTo>
                    <a:pt x="26" y="114"/>
                  </a:lnTo>
                  <a:lnTo>
                    <a:pt x="19" y="110"/>
                  </a:lnTo>
                  <a:lnTo>
                    <a:pt x="24" y="94"/>
                  </a:lnTo>
                  <a:lnTo>
                    <a:pt x="29" y="78"/>
                  </a:lnTo>
                  <a:lnTo>
                    <a:pt x="23" y="68"/>
                  </a:lnTo>
                  <a:lnTo>
                    <a:pt x="8" y="60"/>
                  </a:lnTo>
                  <a:lnTo>
                    <a:pt x="0" y="50"/>
                  </a:lnTo>
                  <a:lnTo>
                    <a:pt x="20" y="31"/>
                  </a:lnTo>
                  <a:lnTo>
                    <a:pt x="42" y="13"/>
                  </a:lnTo>
                  <a:lnTo>
                    <a:pt x="56" y="0"/>
                  </a:lnTo>
                  <a:lnTo>
                    <a:pt x="85" y="2"/>
                  </a:lnTo>
                  <a:lnTo>
                    <a:pt x="107" y="16"/>
                  </a:lnTo>
                  <a:lnTo>
                    <a:pt x="81" y="25"/>
                  </a:lnTo>
                  <a:lnTo>
                    <a:pt x="56" y="33"/>
                  </a:lnTo>
                  <a:lnTo>
                    <a:pt x="57" y="49"/>
                  </a:lnTo>
                  <a:lnTo>
                    <a:pt x="93" y="54"/>
                  </a:lnTo>
                  <a:lnTo>
                    <a:pt x="128" y="57"/>
                  </a:lnTo>
                  <a:lnTo>
                    <a:pt x="140" y="78"/>
                  </a:lnTo>
                  <a:lnTo>
                    <a:pt x="158" y="80"/>
                  </a:lnTo>
                  <a:lnTo>
                    <a:pt x="171" y="108"/>
                  </a:lnTo>
                  <a:lnTo>
                    <a:pt x="169" y="110"/>
                  </a:lnTo>
                  <a:lnTo>
                    <a:pt x="151" y="108"/>
                  </a:lnTo>
                  <a:lnTo>
                    <a:pt x="145" y="10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16" name="Freeform 172"/>
            <p:cNvSpPr>
              <a:spLocks/>
            </p:cNvSpPr>
            <p:nvPr/>
          </p:nvSpPr>
          <p:spPr bwMode="auto">
            <a:xfrm>
              <a:off x="3386" y="1293"/>
              <a:ext cx="225" cy="149"/>
            </a:xfrm>
            <a:custGeom>
              <a:avLst/>
              <a:gdLst>
                <a:gd name="T0" fmla="*/ 1 w 320"/>
                <a:gd name="T1" fmla="*/ 1 h 212"/>
                <a:gd name="T2" fmla="*/ 1 w 320"/>
                <a:gd name="T3" fmla="*/ 1 h 212"/>
                <a:gd name="T4" fmla="*/ 1 w 320"/>
                <a:gd name="T5" fmla="*/ 1 h 212"/>
                <a:gd name="T6" fmla="*/ 1 w 320"/>
                <a:gd name="T7" fmla="*/ 1 h 212"/>
                <a:gd name="T8" fmla="*/ 1 w 320"/>
                <a:gd name="T9" fmla="*/ 1 h 212"/>
                <a:gd name="T10" fmla="*/ 1 w 320"/>
                <a:gd name="T11" fmla="*/ 1 h 212"/>
                <a:gd name="T12" fmla="*/ 1 w 320"/>
                <a:gd name="T13" fmla="*/ 1 h 212"/>
                <a:gd name="T14" fmla="*/ 1 w 320"/>
                <a:gd name="T15" fmla="*/ 1 h 212"/>
                <a:gd name="T16" fmla="*/ 1 w 320"/>
                <a:gd name="T17" fmla="*/ 1 h 212"/>
                <a:gd name="T18" fmla="*/ 1 w 320"/>
                <a:gd name="T19" fmla="*/ 1 h 212"/>
                <a:gd name="T20" fmla="*/ 1 w 320"/>
                <a:gd name="T21" fmla="*/ 1 h 212"/>
                <a:gd name="T22" fmla="*/ 1 w 320"/>
                <a:gd name="T23" fmla="*/ 1 h 212"/>
                <a:gd name="T24" fmla="*/ 1 w 320"/>
                <a:gd name="T25" fmla="*/ 1 h 212"/>
                <a:gd name="T26" fmla="*/ 1 w 320"/>
                <a:gd name="T27" fmla="*/ 1 h 212"/>
                <a:gd name="T28" fmla="*/ 0 w 320"/>
                <a:gd name="T29" fmla="*/ 1 h 212"/>
                <a:gd name="T30" fmla="*/ 1 w 320"/>
                <a:gd name="T31" fmla="*/ 1 h 212"/>
                <a:gd name="T32" fmla="*/ 1 w 320"/>
                <a:gd name="T33" fmla="*/ 0 h 212"/>
                <a:gd name="T34" fmla="*/ 1 w 320"/>
                <a:gd name="T35" fmla="*/ 1 h 212"/>
                <a:gd name="T36" fmla="*/ 1 w 320"/>
                <a:gd name="T37" fmla="*/ 1 h 212"/>
                <a:gd name="T38" fmla="*/ 1 w 320"/>
                <a:gd name="T39" fmla="*/ 1 h 212"/>
                <a:gd name="T40" fmla="*/ 1 w 320"/>
                <a:gd name="T41" fmla="*/ 1 h 212"/>
                <a:gd name="T42" fmla="*/ 1 w 320"/>
                <a:gd name="T43" fmla="*/ 1 h 212"/>
                <a:gd name="T44" fmla="*/ 1 w 320"/>
                <a:gd name="T45" fmla="*/ 1 h 212"/>
                <a:gd name="T46" fmla="*/ 1 w 320"/>
                <a:gd name="T47" fmla="*/ 1 h 212"/>
                <a:gd name="T48" fmla="*/ 1 w 320"/>
                <a:gd name="T49" fmla="*/ 1 h 212"/>
                <a:gd name="T50" fmla="*/ 1 w 320"/>
                <a:gd name="T51" fmla="*/ 1 h 212"/>
                <a:gd name="T52" fmla="*/ 2 w 320"/>
                <a:gd name="T53" fmla="*/ 1 h 212"/>
                <a:gd name="T54" fmla="*/ 2 w 320"/>
                <a:gd name="T55" fmla="*/ 1 h 212"/>
                <a:gd name="T56" fmla="*/ 2 w 320"/>
                <a:gd name="T57" fmla="*/ 1 h 212"/>
                <a:gd name="T58" fmla="*/ 2 w 320"/>
                <a:gd name="T59" fmla="*/ 1 h 212"/>
                <a:gd name="T60" fmla="*/ 2 w 320"/>
                <a:gd name="T61" fmla="*/ 1 h 212"/>
                <a:gd name="T62" fmla="*/ 2 w 320"/>
                <a:gd name="T63" fmla="*/ 1 h 212"/>
                <a:gd name="T64" fmla="*/ 2 w 320"/>
                <a:gd name="T65" fmla="*/ 1 h 212"/>
                <a:gd name="T66" fmla="*/ 2 w 320"/>
                <a:gd name="T67" fmla="*/ 1 h 212"/>
                <a:gd name="T68" fmla="*/ 2 w 320"/>
                <a:gd name="T69" fmla="*/ 1 h 212"/>
                <a:gd name="T70" fmla="*/ 2 w 320"/>
                <a:gd name="T71" fmla="*/ 1 h 212"/>
                <a:gd name="T72" fmla="*/ 2 w 320"/>
                <a:gd name="T73" fmla="*/ 1 h 212"/>
                <a:gd name="T74" fmla="*/ 2 w 320"/>
                <a:gd name="T75" fmla="*/ 1 h 212"/>
                <a:gd name="T76" fmla="*/ 2 w 320"/>
                <a:gd name="T77" fmla="*/ 1 h 212"/>
                <a:gd name="T78" fmla="*/ 2 w 320"/>
                <a:gd name="T79" fmla="*/ 1 h 212"/>
                <a:gd name="T80" fmla="*/ 2 w 320"/>
                <a:gd name="T81" fmla="*/ 1 h 212"/>
                <a:gd name="T82" fmla="*/ 1 w 320"/>
                <a:gd name="T83" fmla="*/ 1 h 21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320"/>
                <a:gd name="T127" fmla="*/ 0 h 212"/>
                <a:gd name="T128" fmla="*/ 320 w 320"/>
                <a:gd name="T129" fmla="*/ 212 h 212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320" h="212">
                  <a:moveTo>
                    <a:pt x="229" y="181"/>
                  </a:moveTo>
                  <a:lnTo>
                    <a:pt x="194" y="159"/>
                  </a:lnTo>
                  <a:lnTo>
                    <a:pt x="159" y="138"/>
                  </a:lnTo>
                  <a:lnTo>
                    <a:pt x="142" y="128"/>
                  </a:lnTo>
                  <a:lnTo>
                    <a:pt x="115" y="117"/>
                  </a:lnTo>
                  <a:lnTo>
                    <a:pt x="98" y="92"/>
                  </a:lnTo>
                  <a:lnTo>
                    <a:pt x="73" y="74"/>
                  </a:lnTo>
                  <a:lnTo>
                    <a:pt x="56" y="92"/>
                  </a:lnTo>
                  <a:lnTo>
                    <a:pt x="45" y="98"/>
                  </a:lnTo>
                  <a:lnTo>
                    <a:pt x="50" y="111"/>
                  </a:lnTo>
                  <a:lnTo>
                    <a:pt x="22" y="105"/>
                  </a:lnTo>
                  <a:lnTo>
                    <a:pt x="16" y="84"/>
                  </a:lnTo>
                  <a:lnTo>
                    <a:pt x="10" y="61"/>
                  </a:lnTo>
                  <a:lnTo>
                    <a:pt x="6" y="39"/>
                  </a:lnTo>
                  <a:lnTo>
                    <a:pt x="0" y="18"/>
                  </a:lnTo>
                  <a:lnTo>
                    <a:pt x="25" y="8"/>
                  </a:lnTo>
                  <a:lnTo>
                    <a:pt x="49" y="0"/>
                  </a:lnTo>
                  <a:lnTo>
                    <a:pt x="75" y="13"/>
                  </a:lnTo>
                  <a:lnTo>
                    <a:pt x="102" y="26"/>
                  </a:lnTo>
                  <a:lnTo>
                    <a:pt x="122" y="50"/>
                  </a:lnTo>
                  <a:lnTo>
                    <a:pt x="142" y="52"/>
                  </a:lnTo>
                  <a:lnTo>
                    <a:pt x="164" y="54"/>
                  </a:lnTo>
                  <a:lnTo>
                    <a:pt x="185" y="55"/>
                  </a:lnTo>
                  <a:lnTo>
                    <a:pt x="205" y="56"/>
                  </a:lnTo>
                  <a:lnTo>
                    <a:pt x="228" y="72"/>
                  </a:lnTo>
                  <a:lnTo>
                    <a:pt x="229" y="92"/>
                  </a:lnTo>
                  <a:lnTo>
                    <a:pt x="248" y="102"/>
                  </a:lnTo>
                  <a:lnTo>
                    <a:pt x="267" y="111"/>
                  </a:lnTo>
                  <a:lnTo>
                    <a:pt x="287" y="97"/>
                  </a:lnTo>
                  <a:lnTo>
                    <a:pt x="306" y="84"/>
                  </a:lnTo>
                  <a:lnTo>
                    <a:pt x="320" y="102"/>
                  </a:lnTo>
                  <a:lnTo>
                    <a:pt x="306" y="115"/>
                  </a:lnTo>
                  <a:lnTo>
                    <a:pt x="284" y="133"/>
                  </a:lnTo>
                  <a:lnTo>
                    <a:pt x="264" y="152"/>
                  </a:lnTo>
                  <a:lnTo>
                    <a:pt x="272" y="162"/>
                  </a:lnTo>
                  <a:lnTo>
                    <a:pt x="287" y="170"/>
                  </a:lnTo>
                  <a:lnTo>
                    <a:pt x="293" y="180"/>
                  </a:lnTo>
                  <a:lnTo>
                    <a:pt x="288" y="196"/>
                  </a:lnTo>
                  <a:lnTo>
                    <a:pt x="283" y="212"/>
                  </a:lnTo>
                  <a:lnTo>
                    <a:pt x="263" y="208"/>
                  </a:lnTo>
                  <a:lnTo>
                    <a:pt x="242" y="205"/>
                  </a:lnTo>
                  <a:lnTo>
                    <a:pt x="229" y="18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17" name="Freeform 173"/>
            <p:cNvSpPr>
              <a:spLocks/>
            </p:cNvSpPr>
            <p:nvPr/>
          </p:nvSpPr>
          <p:spPr bwMode="auto">
            <a:xfrm>
              <a:off x="2899" y="1353"/>
              <a:ext cx="35" cy="27"/>
            </a:xfrm>
            <a:custGeom>
              <a:avLst/>
              <a:gdLst>
                <a:gd name="T0" fmla="*/ 1 w 50"/>
                <a:gd name="T1" fmla="*/ 1 h 37"/>
                <a:gd name="T2" fmla="*/ 0 w 50"/>
                <a:gd name="T3" fmla="*/ 1 h 37"/>
                <a:gd name="T4" fmla="*/ 1 w 50"/>
                <a:gd name="T5" fmla="*/ 1 h 37"/>
                <a:gd name="T6" fmla="*/ 1 w 50"/>
                <a:gd name="T7" fmla="*/ 1 h 37"/>
                <a:gd name="T8" fmla="*/ 1 w 50"/>
                <a:gd name="T9" fmla="*/ 1 h 37"/>
                <a:gd name="T10" fmla="*/ 1 w 50"/>
                <a:gd name="T11" fmla="*/ 1 h 37"/>
                <a:gd name="T12" fmla="*/ 1 w 50"/>
                <a:gd name="T13" fmla="*/ 1 h 37"/>
                <a:gd name="T14" fmla="*/ 1 w 50"/>
                <a:gd name="T15" fmla="*/ 1 h 37"/>
                <a:gd name="T16" fmla="*/ 1 w 50"/>
                <a:gd name="T17" fmla="*/ 1 h 37"/>
                <a:gd name="T18" fmla="*/ 1 w 50"/>
                <a:gd name="T19" fmla="*/ 1 h 37"/>
                <a:gd name="T20" fmla="*/ 1 w 50"/>
                <a:gd name="T21" fmla="*/ 0 h 37"/>
                <a:gd name="T22" fmla="*/ 1 w 50"/>
                <a:gd name="T23" fmla="*/ 1 h 37"/>
                <a:gd name="T24" fmla="*/ 1 w 50"/>
                <a:gd name="T25" fmla="*/ 1 h 37"/>
                <a:gd name="T26" fmla="*/ 1 w 50"/>
                <a:gd name="T27" fmla="*/ 1 h 37"/>
                <a:gd name="T28" fmla="*/ 1 w 50"/>
                <a:gd name="T29" fmla="*/ 1 h 37"/>
                <a:gd name="T30" fmla="*/ 1 w 50"/>
                <a:gd name="T31" fmla="*/ 1 h 3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0"/>
                <a:gd name="T49" fmla="*/ 0 h 37"/>
                <a:gd name="T50" fmla="*/ 50 w 50"/>
                <a:gd name="T51" fmla="*/ 37 h 3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0" h="37">
                  <a:moveTo>
                    <a:pt x="14" y="37"/>
                  </a:moveTo>
                  <a:lnTo>
                    <a:pt x="0" y="11"/>
                  </a:lnTo>
                  <a:lnTo>
                    <a:pt x="4" y="10"/>
                  </a:lnTo>
                  <a:lnTo>
                    <a:pt x="4" y="7"/>
                  </a:lnTo>
                  <a:lnTo>
                    <a:pt x="11" y="5"/>
                  </a:lnTo>
                  <a:lnTo>
                    <a:pt x="16" y="6"/>
                  </a:lnTo>
                  <a:lnTo>
                    <a:pt x="18" y="2"/>
                  </a:lnTo>
                  <a:lnTo>
                    <a:pt x="22" y="2"/>
                  </a:lnTo>
                  <a:lnTo>
                    <a:pt x="26" y="4"/>
                  </a:lnTo>
                  <a:lnTo>
                    <a:pt x="28" y="2"/>
                  </a:lnTo>
                  <a:lnTo>
                    <a:pt x="35" y="0"/>
                  </a:lnTo>
                  <a:lnTo>
                    <a:pt x="40" y="6"/>
                  </a:lnTo>
                  <a:lnTo>
                    <a:pt x="44" y="4"/>
                  </a:lnTo>
                  <a:lnTo>
                    <a:pt x="47" y="7"/>
                  </a:lnTo>
                  <a:lnTo>
                    <a:pt x="50" y="25"/>
                  </a:lnTo>
                  <a:lnTo>
                    <a:pt x="14" y="3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18" name="Freeform 174"/>
            <p:cNvSpPr>
              <a:spLocks/>
            </p:cNvSpPr>
            <p:nvPr/>
          </p:nvSpPr>
          <p:spPr bwMode="auto">
            <a:xfrm>
              <a:off x="2926" y="1321"/>
              <a:ext cx="83" cy="51"/>
            </a:xfrm>
            <a:custGeom>
              <a:avLst/>
              <a:gdLst>
                <a:gd name="T0" fmla="*/ 1 w 118"/>
                <a:gd name="T1" fmla="*/ 1 h 72"/>
                <a:gd name="T2" fmla="*/ 1 w 118"/>
                <a:gd name="T3" fmla="*/ 0 h 72"/>
                <a:gd name="T4" fmla="*/ 0 w 118"/>
                <a:gd name="T5" fmla="*/ 1 h 72"/>
                <a:gd name="T6" fmla="*/ 1 w 118"/>
                <a:gd name="T7" fmla="*/ 1 h 72"/>
                <a:gd name="T8" fmla="*/ 0 w 118"/>
                <a:gd name="T9" fmla="*/ 1 h 72"/>
                <a:gd name="T10" fmla="*/ 1 w 118"/>
                <a:gd name="T11" fmla="*/ 1 h 72"/>
                <a:gd name="T12" fmla="*/ 1 w 118"/>
                <a:gd name="T13" fmla="*/ 1 h 72"/>
                <a:gd name="T14" fmla="*/ 1 w 118"/>
                <a:gd name="T15" fmla="*/ 1 h 72"/>
                <a:gd name="T16" fmla="*/ 1 w 118"/>
                <a:gd name="T17" fmla="*/ 1 h 72"/>
                <a:gd name="T18" fmla="*/ 1 w 118"/>
                <a:gd name="T19" fmla="*/ 1 h 72"/>
                <a:gd name="T20" fmla="*/ 1 w 118"/>
                <a:gd name="T21" fmla="*/ 1 h 72"/>
                <a:gd name="T22" fmla="*/ 1 w 118"/>
                <a:gd name="T23" fmla="*/ 1 h 72"/>
                <a:gd name="T24" fmla="*/ 1 w 118"/>
                <a:gd name="T25" fmla="*/ 1 h 72"/>
                <a:gd name="T26" fmla="*/ 1 w 118"/>
                <a:gd name="T27" fmla="*/ 1 h 72"/>
                <a:gd name="T28" fmla="*/ 1 w 118"/>
                <a:gd name="T29" fmla="*/ 1 h 72"/>
                <a:gd name="T30" fmla="*/ 1 w 118"/>
                <a:gd name="T31" fmla="*/ 1 h 72"/>
                <a:gd name="T32" fmla="*/ 1 w 118"/>
                <a:gd name="T33" fmla="*/ 1 h 72"/>
                <a:gd name="T34" fmla="*/ 1 w 118"/>
                <a:gd name="T35" fmla="*/ 1 h 72"/>
                <a:gd name="T36" fmla="*/ 1 w 118"/>
                <a:gd name="T37" fmla="*/ 1 h 72"/>
                <a:gd name="T38" fmla="*/ 1 w 118"/>
                <a:gd name="T39" fmla="*/ 1 h 72"/>
                <a:gd name="T40" fmla="*/ 1 w 118"/>
                <a:gd name="T41" fmla="*/ 1 h 72"/>
                <a:gd name="T42" fmla="*/ 1 w 118"/>
                <a:gd name="T43" fmla="*/ 1 h 7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18"/>
                <a:gd name="T67" fmla="*/ 0 h 72"/>
                <a:gd name="T68" fmla="*/ 118 w 118"/>
                <a:gd name="T69" fmla="*/ 72 h 72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18" h="72">
                  <a:moveTo>
                    <a:pt x="6" y="7"/>
                  </a:moveTo>
                  <a:lnTo>
                    <a:pt x="1" y="0"/>
                  </a:lnTo>
                  <a:lnTo>
                    <a:pt x="0" y="16"/>
                  </a:lnTo>
                  <a:lnTo>
                    <a:pt x="8" y="30"/>
                  </a:lnTo>
                  <a:lnTo>
                    <a:pt x="0" y="42"/>
                  </a:lnTo>
                  <a:lnTo>
                    <a:pt x="6" y="51"/>
                  </a:lnTo>
                  <a:lnTo>
                    <a:pt x="9" y="54"/>
                  </a:lnTo>
                  <a:lnTo>
                    <a:pt x="12" y="72"/>
                  </a:lnTo>
                  <a:lnTo>
                    <a:pt x="34" y="69"/>
                  </a:lnTo>
                  <a:lnTo>
                    <a:pt x="69" y="72"/>
                  </a:lnTo>
                  <a:lnTo>
                    <a:pt x="78" y="66"/>
                  </a:lnTo>
                  <a:lnTo>
                    <a:pt x="81" y="63"/>
                  </a:lnTo>
                  <a:lnTo>
                    <a:pt x="85" y="57"/>
                  </a:lnTo>
                  <a:lnTo>
                    <a:pt x="114" y="55"/>
                  </a:lnTo>
                  <a:lnTo>
                    <a:pt x="104" y="46"/>
                  </a:lnTo>
                  <a:lnTo>
                    <a:pt x="109" y="36"/>
                  </a:lnTo>
                  <a:lnTo>
                    <a:pt x="114" y="21"/>
                  </a:lnTo>
                  <a:lnTo>
                    <a:pt x="118" y="12"/>
                  </a:lnTo>
                  <a:lnTo>
                    <a:pt x="81" y="5"/>
                  </a:lnTo>
                  <a:lnTo>
                    <a:pt x="50" y="15"/>
                  </a:lnTo>
                  <a:lnTo>
                    <a:pt x="27" y="11"/>
                  </a:lnTo>
                  <a:lnTo>
                    <a:pt x="6" y="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19" name="Freeform 175"/>
            <p:cNvSpPr>
              <a:spLocks/>
            </p:cNvSpPr>
            <p:nvPr/>
          </p:nvSpPr>
          <p:spPr bwMode="auto">
            <a:xfrm>
              <a:off x="2884" y="1350"/>
              <a:ext cx="25" cy="50"/>
            </a:xfrm>
            <a:custGeom>
              <a:avLst/>
              <a:gdLst>
                <a:gd name="T0" fmla="*/ 0 w 35"/>
                <a:gd name="T1" fmla="*/ 1 h 71"/>
                <a:gd name="T2" fmla="*/ 1 w 35"/>
                <a:gd name="T3" fmla="*/ 1 h 71"/>
                <a:gd name="T4" fmla="*/ 1 w 35"/>
                <a:gd name="T5" fmla="*/ 1 h 71"/>
                <a:gd name="T6" fmla="*/ 1 w 35"/>
                <a:gd name="T7" fmla="*/ 1 h 71"/>
                <a:gd name="T8" fmla="*/ 1 w 35"/>
                <a:gd name="T9" fmla="*/ 1 h 71"/>
                <a:gd name="T10" fmla="*/ 1 w 35"/>
                <a:gd name="T11" fmla="*/ 1 h 71"/>
                <a:gd name="T12" fmla="*/ 1 w 35"/>
                <a:gd name="T13" fmla="*/ 1 h 71"/>
                <a:gd name="T14" fmla="*/ 1 w 35"/>
                <a:gd name="T15" fmla="*/ 1 h 71"/>
                <a:gd name="T16" fmla="*/ 1 w 35"/>
                <a:gd name="T17" fmla="*/ 0 h 71"/>
                <a:gd name="T18" fmla="*/ 0 w 35"/>
                <a:gd name="T19" fmla="*/ 1 h 7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5"/>
                <a:gd name="T31" fmla="*/ 0 h 71"/>
                <a:gd name="T32" fmla="*/ 35 w 35"/>
                <a:gd name="T33" fmla="*/ 71 h 7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5" h="71">
                  <a:moveTo>
                    <a:pt x="0" y="17"/>
                  </a:moveTo>
                  <a:lnTo>
                    <a:pt x="4" y="49"/>
                  </a:lnTo>
                  <a:lnTo>
                    <a:pt x="18" y="71"/>
                  </a:lnTo>
                  <a:lnTo>
                    <a:pt x="24" y="64"/>
                  </a:lnTo>
                  <a:lnTo>
                    <a:pt x="35" y="43"/>
                  </a:lnTo>
                  <a:lnTo>
                    <a:pt x="35" y="42"/>
                  </a:lnTo>
                  <a:lnTo>
                    <a:pt x="21" y="16"/>
                  </a:lnTo>
                  <a:lnTo>
                    <a:pt x="15" y="4"/>
                  </a:lnTo>
                  <a:lnTo>
                    <a:pt x="3" y="0"/>
                  </a:lnTo>
                  <a:lnTo>
                    <a:pt x="0" y="1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20" name="Freeform 176"/>
            <p:cNvSpPr>
              <a:spLocks/>
            </p:cNvSpPr>
            <p:nvPr/>
          </p:nvSpPr>
          <p:spPr bwMode="auto">
            <a:xfrm>
              <a:off x="3215" y="1367"/>
              <a:ext cx="65" cy="44"/>
            </a:xfrm>
            <a:custGeom>
              <a:avLst/>
              <a:gdLst>
                <a:gd name="T0" fmla="*/ 1 w 94"/>
                <a:gd name="T1" fmla="*/ 1 h 63"/>
                <a:gd name="T2" fmla="*/ 0 w 94"/>
                <a:gd name="T3" fmla="*/ 0 h 63"/>
                <a:gd name="T4" fmla="*/ 1 w 94"/>
                <a:gd name="T5" fmla="*/ 0 h 63"/>
                <a:gd name="T6" fmla="*/ 1 w 94"/>
                <a:gd name="T7" fmla="*/ 0 h 63"/>
                <a:gd name="T8" fmla="*/ 1 w 94"/>
                <a:gd name="T9" fmla="*/ 1 h 63"/>
                <a:gd name="T10" fmla="*/ 1 w 94"/>
                <a:gd name="T11" fmla="*/ 1 h 63"/>
                <a:gd name="T12" fmla="*/ 1 w 94"/>
                <a:gd name="T13" fmla="*/ 1 h 63"/>
                <a:gd name="T14" fmla="*/ 1 w 94"/>
                <a:gd name="T15" fmla="*/ 1 h 63"/>
                <a:gd name="T16" fmla="*/ 1 w 94"/>
                <a:gd name="T17" fmla="*/ 1 h 63"/>
                <a:gd name="T18" fmla="*/ 1 w 94"/>
                <a:gd name="T19" fmla="*/ 1 h 63"/>
                <a:gd name="T20" fmla="*/ 1 w 94"/>
                <a:gd name="T21" fmla="*/ 1 h 63"/>
                <a:gd name="T22" fmla="*/ 1 w 94"/>
                <a:gd name="T23" fmla="*/ 1 h 63"/>
                <a:gd name="T24" fmla="*/ 1 w 94"/>
                <a:gd name="T25" fmla="*/ 1 h 63"/>
                <a:gd name="T26" fmla="*/ 1 w 94"/>
                <a:gd name="T27" fmla="*/ 1 h 63"/>
                <a:gd name="T28" fmla="*/ 1 w 94"/>
                <a:gd name="T29" fmla="*/ 1 h 63"/>
                <a:gd name="T30" fmla="*/ 1 w 94"/>
                <a:gd name="T31" fmla="*/ 1 h 63"/>
                <a:gd name="T32" fmla="*/ 1 w 94"/>
                <a:gd name="T33" fmla="*/ 1 h 63"/>
                <a:gd name="T34" fmla="*/ 1 w 94"/>
                <a:gd name="T35" fmla="*/ 1 h 63"/>
                <a:gd name="T36" fmla="*/ 1 w 94"/>
                <a:gd name="T37" fmla="*/ 1 h 63"/>
                <a:gd name="T38" fmla="*/ 1 w 94"/>
                <a:gd name="T39" fmla="*/ 1 h 63"/>
                <a:gd name="T40" fmla="*/ 1 w 94"/>
                <a:gd name="T41" fmla="*/ 1 h 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94"/>
                <a:gd name="T64" fmla="*/ 0 h 63"/>
                <a:gd name="T65" fmla="*/ 94 w 94"/>
                <a:gd name="T66" fmla="*/ 63 h 6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94" h="63">
                  <a:moveTo>
                    <a:pt x="13" y="9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59" y="0"/>
                  </a:lnTo>
                  <a:lnTo>
                    <a:pt x="78" y="4"/>
                  </a:lnTo>
                  <a:lnTo>
                    <a:pt x="78" y="25"/>
                  </a:lnTo>
                  <a:lnTo>
                    <a:pt x="87" y="29"/>
                  </a:lnTo>
                  <a:lnTo>
                    <a:pt x="79" y="39"/>
                  </a:lnTo>
                  <a:lnTo>
                    <a:pt x="94" y="59"/>
                  </a:lnTo>
                  <a:lnTo>
                    <a:pt x="85" y="63"/>
                  </a:lnTo>
                  <a:lnTo>
                    <a:pt x="78" y="58"/>
                  </a:lnTo>
                  <a:lnTo>
                    <a:pt x="77" y="55"/>
                  </a:lnTo>
                  <a:lnTo>
                    <a:pt x="72" y="51"/>
                  </a:lnTo>
                  <a:lnTo>
                    <a:pt x="67" y="51"/>
                  </a:lnTo>
                  <a:lnTo>
                    <a:pt x="61" y="49"/>
                  </a:lnTo>
                  <a:lnTo>
                    <a:pt x="55" y="47"/>
                  </a:lnTo>
                  <a:lnTo>
                    <a:pt x="48" y="47"/>
                  </a:lnTo>
                  <a:lnTo>
                    <a:pt x="47" y="46"/>
                  </a:lnTo>
                  <a:lnTo>
                    <a:pt x="30" y="39"/>
                  </a:lnTo>
                  <a:lnTo>
                    <a:pt x="22" y="25"/>
                  </a:lnTo>
                  <a:lnTo>
                    <a:pt x="13" y="9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21" name="Freeform 177"/>
            <p:cNvSpPr>
              <a:spLocks/>
            </p:cNvSpPr>
            <p:nvPr/>
          </p:nvSpPr>
          <p:spPr bwMode="auto">
            <a:xfrm>
              <a:off x="3270" y="1360"/>
              <a:ext cx="57" cy="61"/>
            </a:xfrm>
            <a:custGeom>
              <a:avLst/>
              <a:gdLst>
                <a:gd name="T0" fmla="*/ 1 w 81"/>
                <a:gd name="T1" fmla="*/ 1 h 85"/>
                <a:gd name="T2" fmla="*/ 1 w 81"/>
                <a:gd name="T3" fmla="*/ 1 h 85"/>
                <a:gd name="T4" fmla="*/ 1 w 81"/>
                <a:gd name="T5" fmla="*/ 1 h 85"/>
                <a:gd name="T6" fmla="*/ 0 w 81"/>
                <a:gd name="T7" fmla="*/ 1 h 85"/>
                <a:gd name="T8" fmla="*/ 0 w 81"/>
                <a:gd name="T9" fmla="*/ 1 h 85"/>
                <a:gd name="T10" fmla="*/ 1 w 81"/>
                <a:gd name="T11" fmla="*/ 0 h 85"/>
                <a:gd name="T12" fmla="*/ 1 w 81"/>
                <a:gd name="T13" fmla="*/ 1 h 85"/>
                <a:gd name="T14" fmla="*/ 1 w 81"/>
                <a:gd name="T15" fmla="*/ 1 h 85"/>
                <a:gd name="T16" fmla="*/ 1 w 81"/>
                <a:gd name="T17" fmla="*/ 1 h 85"/>
                <a:gd name="T18" fmla="*/ 1 w 81"/>
                <a:gd name="T19" fmla="*/ 1 h 85"/>
                <a:gd name="T20" fmla="*/ 1 w 81"/>
                <a:gd name="T21" fmla="*/ 1 h 85"/>
                <a:gd name="T22" fmla="*/ 1 w 81"/>
                <a:gd name="T23" fmla="*/ 1 h 85"/>
                <a:gd name="T24" fmla="*/ 1 w 81"/>
                <a:gd name="T25" fmla="*/ 1 h 85"/>
                <a:gd name="T26" fmla="*/ 1 w 81"/>
                <a:gd name="T27" fmla="*/ 1 h 85"/>
                <a:gd name="T28" fmla="*/ 1 w 81"/>
                <a:gd name="T29" fmla="*/ 1 h 85"/>
                <a:gd name="T30" fmla="*/ 1 w 81"/>
                <a:gd name="T31" fmla="*/ 1 h 8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81"/>
                <a:gd name="T49" fmla="*/ 0 h 85"/>
                <a:gd name="T50" fmla="*/ 81 w 81"/>
                <a:gd name="T51" fmla="*/ 85 h 8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81" h="85">
                  <a:moveTo>
                    <a:pt x="16" y="67"/>
                  </a:moveTo>
                  <a:lnTo>
                    <a:pt x="1" y="47"/>
                  </a:lnTo>
                  <a:lnTo>
                    <a:pt x="9" y="37"/>
                  </a:lnTo>
                  <a:lnTo>
                    <a:pt x="0" y="33"/>
                  </a:lnTo>
                  <a:lnTo>
                    <a:pt x="0" y="12"/>
                  </a:lnTo>
                  <a:lnTo>
                    <a:pt x="7" y="0"/>
                  </a:lnTo>
                  <a:lnTo>
                    <a:pt x="41" y="6"/>
                  </a:lnTo>
                  <a:lnTo>
                    <a:pt x="53" y="21"/>
                  </a:lnTo>
                  <a:lnTo>
                    <a:pt x="81" y="38"/>
                  </a:lnTo>
                  <a:lnTo>
                    <a:pt x="67" y="41"/>
                  </a:lnTo>
                  <a:lnTo>
                    <a:pt x="61" y="69"/>
                  </a:lnTo>
                  <a:lnTo>
                    <a:pt x="59" y="85"/>
                  </a:lnTo>
                  <a:lnTo>
                    <a:pt x="40" y="73"/>
                  </a:lnTo>
                  <a:lnTo>
                    <a:pt x="42" y="68"/>
                  </a:lnTo>
                  <a:lnTo>
                    <a:pt x="36" y="55"/>
                  </a:lnTo>
                  <a:lnTo>
                    <a:pt x="16" y="6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22" name="Freeform 178"/>
            <p:cNvSpPr>
              <a:spLocks/>
            </p:cNvSpPr>
            <p:nvPr/>
          </p:nvSpPr>
          <p:spPr bwMode="auto">
            <a:xfrm>
              <a:off x="3249" y="1400"/>
              <a:ext cx="26" cy="14"/>
            </a:xfrm>
            <a:custGeom>
              <a:avLst/>
              <a:gdLst>
                <a:gd name="T0" fmla="*/ 1 w 37"/>
                <a:gd name="T1" fmla="*/ 1 h 19"/>
                <a:gd name="T2" fmla="*/ 1 w 37"/>
                <a:gd name="T3" fmla="*/ 1 h 19"/>
                <a:gd name="T4" fmla="*/ 1 w 37"/>
                <a:gd name="T5" fmla="*/ 1 h 19"/>
                <a:gd name="T6" fmla="*/ 1 w 37"/>
                <a:gd name="T7" fmla="*/ 1 h 19"/>
                <a:gd name="T8" fmla="*/ 0 w 37"/>
                <a:gd name="T9" fmla="*/ 0 h 19"/>
                <a:gd name="T10" fmla="*/ 1 w 37"/>
                <a:gd name="T11" fmla="*/ 0 h 19"/>
                <a:gd name="T12" fmla="*/ 1 w 37"/>
                <a:gd name="T13" fmla="*/ 1 h 19"/>
                <a:gd name="T14" fmla="*/ 1 w 37"/>
                <a:gd name="T15" fmla="*/ 1 h 19"/>
                <a:gd name="T16" fmla="*/ 1 w 37"/>
                <a:gd name="T17" fmla="*/ 1 h 19"/>
                <a:gd name="T18" fmla="*/ 1 w 37"/>
                <a:gd name="T19" fmla="*/ 1 h 19"/>
                <a:gd name="T20" fmla="*/ 1 w 37"/>
                <a:gd name="T21" fmla="*/ 1 h 19"/>
                <a:gd name="T22" fmla="*/ 1 w 37"/>
                <a:gd name="T23" fmla="*/ 1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7"/>
                <a:gd name="T37" fmla="*/ 0 h 19"/>
                <a:gd name="T38" fmla="*/ 37 w 37"/>
                <a:gd name="T39" fmla="*/ 19 h 1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7" h="19">
                  <a:moveTo>
                    <a:pt x="37" y="16"/>
                  </a:moveTo>
                  <a:lnTo>
                    <a:pt x="30" y="19"/>
                  </a:lnTo>
                  <a:lnTo>
                    <a:pt x="5" y="5"/>
                  </a:lnTo>
                  <a:lnTo>
                    <a:pt x="1" y="1"/>
                  </a:lnTo>
                  <a:lnTo>
                    <a:pt x="0" y="0"/>
                  </a:lnTo>
                  <a:lnTo>
                    <a:pt x="7" y="0"/>
                  </a:lnTo>
                  <a:lnTo>
                    <a:pt x="13" y="2"/>
                  </a:lnTo>
                  <a:lnTo>
                    <a:pt x="19" y="4"/>
                  </a:lnTo>
                  <a:lnTo>
                    <a:pt x="24" y="4"/>
                  </a:lnTo>
                  <a:lnTo>
                    <a:pt x="29" y="8"/>
                  </a:lnTo>
                  <a:lnTo>
                    <a:pt x="30" y="11"/>
                  </a:lnTo>
                  <a:lnTo>
                    <a:pt x="37" y="16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23" name="Freeform 179"/>
            <p:cNvSpPr>
              <a:spLocks/>
            </p:cNvSpPr>
            <p:nvPr/>
          </p:nvSpPr>
          <p:spPr bwMode="auto">
            <a:xfrm>
              <a:off x="2896" y="1365"/>
              <a:ext cx="90" cy="90"/>
            </a:xfrm>
            <a:custGeom>
              <a:avLst/>
              <a:gdLst>
                <a:gd name="T0" fmla="*/ 1 w 127"/>
                <a:gd name="T1" fmla="*/ 1 h 128"/>
                <a:gd name="T2" fmla="*/ 1 w 127"/>
                <a:gd name="T3" fmla="*/ 1 h 128"/>
                <a:gd name="T4" fmla="*/ 0 w 127"/>
                <a:gd name="T5" fmla="*/ 1 h 128"/>
                <a:gd name="T6" fmla="*/ 1 w 127"/>
                <a:gd name="T7" fmla="*/ 1 h 128"/>
                <a:gd name="T8" fmla="*/ 1 w 127"/>
                <a:gd name="T9" fmla="*/ 1 h 128"/>
                <a:gd name="T10" fmla="*/ 1 w 127"/>
                <a:gd name="T11" fmla="*/ 1 h 128"/>
                <a:gd name="T12" fmla="*/ 1 w 127"/>
                <a:gd name="T13" fmla="*/ 1 h 128"/>
                <a:gd name="T14" fmla="*/ 1 w 127"/>
                <a:gd name="T15" fmla="*/ 1 h 128"/>
                <a:gd name="T16" fmla="*/ 1 w 127"/>
                <a:gd name="T17" fmla="*/ 1 h 128"/>
                <a:gd name="T18" fmla="*/ 1 w 127"/>
                <a:gd name="T19" fmla="*/ 1 h 128"/>
                <a:gd name="T20" fmla="*/ 1 w 127"/>
                <a:gd name="T21" fmla="*/ 0 h 128"/>
                <a:gd name="T22" fmla="*/ 1 w 127"/>
                <a:gd name="T23" fmla="*/ 1 h 128"/>
                <a:gd name="T24" fmla="*/ 1 w 127"/>
                <a:gd name="T25" fmla="*/ 1 h 128"/>
                <a:gd name="T26" fmla="*/ 1 w 127"/>
                <a:gd name="T27" fmla="*/ 1 h 128"/>
                <a:gd name="T28" fmla="*/ 1 w 127"/>
                <a:gd name="T29" fmla="*/ 1 h 128"/>
                <a:gd name="T30" fmla="*/ 1 w 127"/>
                <a:gd name="T31" fmla="*/ 1 h 128"/>
                <a:gd name="T32" fmla="*/ 1 w 127"/>
                <a:gd name="T33" fmla="*/ 1 h 128"/>
                <a:gd name="T34" fmla="*/ 1 w 127"/>
                <a:gd name="T35" fmla="*/ 1 h 128"/>
                <a:gd name="T36" fmla="*/ 1 w 127"/>
                <a:gd name="T37" fmla="*/ 1 h 128"/>
                <a:gd name="T38" fmla="*/ 1 w 127"/>
                <a:gd name="T39" fmla="*/ 1 h 128"/>
                <a:gd name="T40" fmla="*/ 1 w 127"/>
                <a:gd name="T41" fmla="*/ 1 h 128"/>
                <a:gd name="T42" fmla="*/ 1 w 127"/>
                <a:gd name="T43" fmla="*/ 1 h 128"/>
                <a:gd name="T44" fmla="*/ 1 w 127"/>
                <a:gd name="T45" fmla="*/ 1 h 128"/>
                <a:gd name="T46" fmla="*/ 1 w 127"/>
                <a:gd name="T47" fmla="*/ 1 h 128"/>
                <a:gd name="T48" fmla="*/ 1 w 127"/>
                <a:gd name="T49" fmla="*/ 1 h 128"/>
                <a:gd name="T50" fmla="*/ 1 w 127"/>
                <a:gd name="T51" fmla="*/ 1 h 128"/>
                <a:gd name="T52" fmla="*/ 1 w 127"/>
                <a:gd name="T53" fmla="*/ 1 h 128"/>
                <a:gd name="T54" fmla="*/ 1 w 127"/>
                <a:gd name="T55" fmla="*/ 1 h 128"/>
                <a:gd name="T56" fmla="*/ 1 w 127"/>
                <a:gd name="T57" fmla="*/ 1 h 128"/>
                <a:gd name="T58" fmla="*/ 1 w 127"/>
                <a:gd name="T59" fmla="*/ 1 h 128"/>
                <a:gd name="T60" fmla="*/ 1 w 127"/>
                <a:gd name="T61" fmla="*/ 1 h 128"/>
                <a:gd name="T62" fmla="*/ 1 w 127"/>
                <a:gd name="T63" fmla="*/ 1 h 128"/>
                <a:gd name="T64" fmla="*/ 1 w 127"/>
                <a:gd name="T65" fmla="*/ 1 h 128"/>
                <a:gd name="T66" fmla="*/ 1 w 127"/>
                <a:gd name="T67" fmla="*/ 1 h 128"/>
                <a:gd name="T68" fmla="*/ 1 w 127"/>
                <a:gd name="T69" fmla="*/ 1 h 128"/>
                <a:gd name="T70" fmla="*/ 1 w 127"/>
                <a:gd name="T71" fmla="*/ 1 h 128"/>
                <a:gd name="T72" fmla="*/ 1 w 127"/>
                <a:gd name="T73" fmla="*/ 1 h 128"/>
                <a:gd name="T74" fmla="*/ 1 w 127"/>
                <a:gd name="T75" fmla="*/ 1 h 128"/>
                <a:gd name="T76" fmla="*/ 1 w 127"/>
                <a:gd name="T77" fmla="*/ 1 h 128"/>
                <a:gd name="T78" fmla="*/ 1 w 127"/>
                <a:gd name="T79" fmla="*/ 1 h 128"/>
                <a:gd name="T80" fmla="*/ 1 w 127"/>
                <a:gd name="T81" fmla="*/ 1 h 128"/>
                <a:gd name="T82" fmla="*/ 1 w 127"/>
                <a:gd name="T83" fmla="*/ 1 h 128"/>
                <a:gd name="T84" fmla="*/ 1 w 127"/>
                <a:gd name="T85" fmla="*/ 1 h 128"/>
                <a:gd name="T86" fmla="*/ 1 w 127"/>
                <a:gd name="T87" fmla="*/ 1 h 128"/>
                <a:gd name="T88" fmla="*/ 1 w 127"/>
                <a:gd name="T89" fmla="*/ 1 h 128"/>
                <a:gd name="T90" fmla="*/ 1 w 127"/>
                <a:gd name="T91" fmla="*/ 1 h 128"/>
                <a:gd name="T92" fmla="*/ 1 w 127"/>
                <a:gd name="T93" fmla="*/ 1 h 128"/>
                <a:gd name="T94" fmla="*/ 1 w 127"/>
                <a:gd name="T95" fmla="*/ 1 h 12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27"/>
                <a:gd name="T145" fmla="*/ 0 h 128"/>
                <a:gd name="T146" fmla="*/ 127 w 127"/>
                <a:gd name="T147" fmla="*/ 128 h 12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27" h="128">
                  <a:moveTo>
                    <a:pt x="24" y="67"/>
                  </a:moveTo>
                  <a:lnTo>
                    <a:pt x="9" y="61"/>
                  </a:lnTo>
                  <a:lnTo>
                    <a:pt x="0" y="50"/>
                  </a:lnTo>
                  <a:lnTo>
                    <a:pt x="6" y="43"/>
                  </a:lnTo>
                  <a:lnTo>
                    <a:pt x="17" y="22"/>
                  </a:lnTo>
                  <a:lnTo>
                    <a:pt x="17" y="21"/>
                  </a:lnTo>
                  <a:lnTo>
                    <a:pt x="53" y="9"/>
                  </a:lnTo>
                  <a:lnTo>
                    <a:pt x="75" y="6"/>
                  </a:lnTo>
                  <a:lnTo>
                    <a:pt x="110" y="9"/>
                  </a:lnTo>
                  <a:lnTo>
                    <a:pt x="119" y="3"/>
                  </a:lnTo>
                  <a:lnTo>
                    <a:pt x="122" y="0"/>
                  </a:lnTo>
                  <a:lnTo>
                    <a:pt x="127" y="8"/>
                  </a:lnTo>
                  <a:lnTo>
                    <a:pt x="119" y="24"/>
                  </a:lnTo>
                  <a:lnTo>
                    <a:pt x="95" y="19"/>
                  </a:lnTo>
                  <a:lnTo>
                    <a:pt x="73" y="26"/>
                  </a:lnTo>
                  <a:lnTo>
                    <a:pt x="83" y="37"/>
                  </a:lnTo>
                  <a:lnTo>
                    <a:pt x="74" y="37"/>
                  </a:lnTo>
                  <a:lnTo>
                    <a:pt x="75" y="42"/>
                  </a:lnTo>
                  <a:lnTo>
                    <a:pt x="67" y="38"/>
                  </a:lnTo>
                  <a:lnTo>
                    <a:pt x="72" y="44"/>
                  </a:lnTo>
                  <a:lnTo>
                    <a:pt x="57" y="28"/>
                  </a:lnTo>
                  <a:lnTo>
                    <a:pt x="51" y="33"/>
                  </a:lnTo>
                  <a:lnTo>
                    <a:pt x="60" y="54"/>
                  </a:lnTo>
                  <a:lnTo>
                    <a:pt x="65" y="64"/>
                  </a:lnTo>
                  <a:lnTo>
                    <a:pt x="57" y="60"/>
                  </a:lnTo>
                  <a:lnTo>
                    <a:pt x="60" y="68"/>
                  </a:lnTo>
                  <a:lnTo>
                    <a:pt x="55" y="70"/>
                  </a:lnTo>
                  <a:lnTo>
                    <a:pt x="83" y="88"/>
                  </a:lnTo>
                  <a:lnTo>
                    <a:pt x="83" y="97"/>
                  </a:lnTo>
                  <a:lnTo>
                    <a:pt x="72" y="92"/>
                  </a:lnTo>
                  <a:lnTo>
                    <a:pt x="66" y="94"/>
                  </a:lnTo>
                  <a:lnTo>
                    <a:pt x="72" y="105"/>
                  </a:lnTo>
                  <a:lnTo>
                    <a:pt x="60" y="105"/>
                  </a:lnTo>
                  <a:lnTo>
                    <a:pt x="67" y="128"/>
                  </a:lnTo>
                  <a:lnTo>
                    <a:pt x="56" y="123"/>
                  </a:lnTo>
                  <a:lnTo>
                    <a:pt x="53" y="128"/>
                  </a:lnTo>
                  <a:lnTo>
                    <a:pt x="44" y="116"/>
                  </a:lnTo>
                  <a:lnTo>
                    <a:pt x="41" y="121"/>
                  </a:lnTo>
                  <a:lnTo>
                    <a:pt x="30" y="99"/>
                  </a:lnTo>
                  <a:lnTo>
                    <a:pt x="29" y="91"/>
                  </a:lnTo>
                  <a:lnTo>
                    <a:pt x="45" y="85"/>
                  </a:lnTo>
                  <a:lnTo>
                    <a:pt x="65" y="90"/>
                  </a:lnTo>
                  <a:lnTo>
                    <a:pt x="63" y="86"/>
                  </a:lnTo>
                  <a:lnTo>
                    <a:pt x="51" y="81"/>
                  </a:lnTo>
                  <a:lnTo>
                    <a:pt x="29" y="80"/>
                  </a:lnTo>
                  <a:lnTo>
                    <a:pt x="24" y="80"/>
                  </a:lnTo>
                  <a:lnTo>
                    <a:pt x="19" y="68"/>
                  </a:lnTo>
                  <a:lnTo>
                    <a:pt x="24" y="6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24" name="Freeform 180"/>
            <p:cNvSpPr>
              <a:spLocks/>
            </p:cNvSpPr>
            <p:nvPr/>
          </p:nvSpPr>
          <p:spPr bwMode="auto">
            <a:xfrm>
              <a:off x="2954" y="1471"/>
              <a:ext cx="39" cy="10"/>
            </a:xfrm>
            <a:custGeom>
              <a:avLst/>
              <a:gdLst>
                <a:gd name="T0" fmla="*/ 1 w 57"/>
                <a:gd name="T1" fmla="*/ 2 h 13"/>
                <a:gd name="T2" fmla="*/ 1 w 57"/>
                <a:gd name="T3" fmla="*/ 0 h 13"/>
                <a:gd name="T4" fmla="*/ 1 w 57"/>
                <a:gd name="T5" fmla="*/ 0 h 13"/>
                <a:gd name="T6" fmla="*/ 0 w 57"/>
                <a:gd name="T7" fmla="*/ 2 h 13"/>
                <a:gd name="T8" fmla="*/ 1 w 57"/>
                <a:gd name="T9" fmla="*/ 2 h 13"/>
                <a:gd name="T10" fmla="*/ 1 w 57"/>
                <a:gd name="T11" fmla="*/ 2 h 13"/>
                <a:gd name="T12" fmla="*/ 1 w 57"/>
                <a:gd name="T13" fmla="*/ 2 h 13"/>
                <a:gd name="T14" fmla="*/ 1 w 57"/>
                <a:gd name="T15" fmla="*/ 2 h 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7"/>
                <a:gd name="T25" fmla="*/ 0 h 13"/>
                <a:gd name="T26" fmla="*/ 57 w 57"/>
                <a:gd name="T27" fmla="*/ 13 h 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7" h="13">
                  <a:moveTo>
                    <a:pt x="44" y="7"/>
                  </a:moveTo>
                  <a:lnTo>
                    <a:pt x="12" y="0"/>
                  </a:lnTo>
                  <a:lnTo>
                    <a:pt x="3" y="0"/>
                  </a:lnTo>
                  <a:lnTo>
                    <a:pt x="0" y="7"/>
                  </a:lnTo>
                  <a:lnTo>
                    <a:pt x="21" y="11"/>
                  </a:lnTo>
                  <a:lnTo>
                    <a:pt x="40" y="13"/>
                  </a:lnTo>
                  <a:lnTo>
                    <a:pt x="57" y="8"/>
                  </a:lnTo>
                  <a:lnTo>
                    <a:pt x="44" y="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25" name="Freeform 181"/>
            <p:cNvSpPr>
              <a:spLocks/>
            </p:cNvSpPr>
            <p:nvPr/>
          </p:nvSpPr>
          <p:spPr bwMode="auto">
            <a:xfrm>
              <a:off x="2941" y="1411"/>
              <a:ext cx="23" cy="17"/>
            </a:xfrm>
            <a:custGeom>
              <a:avLst/>
              <a:gdLst>
                <a:gd name="T0" fmla="*/ 1 w 33"/>
                <a:gd name="T1" fmla="*/ 1 h 23"/>
                <a:gd name="T2" fmla="*/ 1 w 33"/>
                <a:gd name="T3" fmla="*/ 1 h 23"/>
                <a:gd name="T4" fmla="*/ 0 w 33"/>
                <a:gd name="T5" fmla="*/ 0 h 23"/>
                <a:gd name="T6" fmla="*/ 1 w 33"/>
                <a:gd name="T7" fmla="*/ 1 h 23"/>
                <a:gd name="T8" fmla="*/ 1 w 33"/>
                <a:gd name="T9" fmla="*/ 1 h 23"/>
                <a:gd name="T10" fmla="*/ 1 w 33"/>
                <a:gd name="T11" fmla="*/ 1 h 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3"/>
                <a:gd name="T19" fmla="*/ 0 h 23"/>
                <a:gd name="T20" fmla="*/ 33 w 33"/>
                <a:gd name="T21" fmla="*/ 23 h 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3" h="23">
                  <a:moveTo>
                    <a:pt x="33" y="21"/>
                  </a:moveTo>
                  <a:lnTo>
                    <a:pt x="16" y="6"/>
                  </a:lnTo>
                  <a:lnTo>
                    <a:pt x="0" y="0"/>
                  </a:lnTo>
                  <a:lnTo>
                    <a:pt x="16" y="11"/>
                  </a:lnTo>
                  <a:lnTo>
                    <a:pt x="33" y="23"/>
                  </a:lnTo>
                  <a:lnTo>
                    <a:pt x="33" y="2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26" name="Freeform 182"/>
            <p:cNvSpPr>
              <a:spLocks/>
            </p:cNvSpPr>
            <p:nvPr/>
          </p:nvSpPr>
          <p:spPr bwMode="auto">
            <a:xfrm>
              <a:off x="2981" y="1405"/>
              <a:ext cx="9" cy="5"/>
            </a:xfrm>
            <a:custGeom>
              <a:avLst/>
              <a:gdLst>
                <a:gd name="T0" fmla="*/ 1 w 13"/>
                <a:gd name="T1" fmla="*/ 3 h 6"/>
                <a:gd name="T2" fmla="*/ 1 w 13"/>
                <a:gd name="T3" fmla="*/ 3 h 6"/>
                <a:gd name="T4" fmla="*/ 0 w 13"/>
                <a:gd name="T5" fmla="*/ 0 h 6"/>
                <a:gd name="T6" fmla="*/ 1 w 13"/>
                <a:gd name="T7" fmla="*/ 3 h 6"/>
                <a:gd name="T8" fmla="*/ 1 w 13"/>
                <a:gd name="T9" fmla="*/ 3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"/>
                <a:gd name="T16" fmla="*/ 0 h 6"/>
                <a:gd name="T17" fmla="*/ 13 w 1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" h="6">
                  <a:moveTo>
                    <a:pt x="13" y="6"/>
                  </a:moveTo>
                  <a:lnTo>
                    <a:pt x="5" y="4"/>
                  </a:lnTo>
                  <a:lnTo>
                    <a:pt x="0" y="0"/>
                  </a:lnTo>
                  <a:lnTo>
                    <a:pt x="12" y="3"/>
                  </a:lnTo>
                  <a:lnTo>
                    <a:pt x="13" y="6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27" name="Freeform 183"/>
            <p:cNvSpPr>
              <a:spLocks/>
            </p:cNvSpPr>
            <p:nvPr/>
          </p:nvSpPr>
          <p:spPr bwMode="auto">
            <a:xfrm>
              <a:off x="2905" y="1422"/>
              <a:ext cx="4" cy="4"/>
            </a:xfrm>
            <a:custGeom>
              <a:avLst/>
              <a:gdLst>
                <a:gd name="T0" fmla="*/ 0 w 8"/>
                <a:gd name="T1" fmla="*/ 0 h 6"/>
                <a:gd name="T2" fmla="*/ 1 w 8"/>
                <a:gd name="T3" fmla="*/ 1 h 6"/>
                <a:gd name="T4" fmla="*/ 1 w 8"/>
                <a:gd name="T5" fmla="*/ 1 h 6"/>
                <a:gd name="T6" fmla="*/ 0 w 8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6"/>
                <a:gd name="T14" fmla="*/ 8 w 8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6">
                  <a:moveTo>
                    <a:pt x="0" y="0"/>
                  </a:moveTo>
                  <a:lnTo>
                    <a:pt x="8" y="6"/>
                  </a:lnTo>
                  <a:lnTo>
                    <a:pt x="2" y="6"/>
                  </a:ln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28" name="Freeform 184"/>
            <p:cNvSpPr>
              <a:spLocks/>
            </p:cNvSpPr>
            <p:nvPr/>
          </p:nvSpPr>
          <p:spPr bwMode="auto">
            <a:xfrm>
              <a:off x="2983" y="1418"/>
              <a:ext cx="2" cy="6"/>
            </a:xfrm>
            <a:custGeom>
              <a:avLst/>
              <a:gdLst>
                <a:gd name="T0" fmla="*/ 1 w 4"/>
                <a:gd name="T1" fmla="*/ 0 h 8"/>
                <a:gd name="T2" fmla="*/ 1 w 4"/>
                <a:gd name="T3" fmla="*/ 2 h 8"/>
                <a:gd name="T4" fmla="*/ 0 w 4"/>
                <a:gd name="T5" fmla="*/ 2 h 8"/>
                <a:gd name="T6" fmla="*/ 1 w 4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8"/>
                <a:gd name="T14" fmla="*/ 4 w 4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8">
                  <a:moveTo>
                    <a:pt x="4" y="0"/>
                  </a:moveTo>
                  <a:lnTo>
                    <a:pt x="4" y="8"/>
                  </a:lnTo>
                  <a:lnTo>
                    <a:pt x="0" y="3"/>
                  </a:lnTo>
                  <a:lnTo>
                    <a:pt x="4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29" name="Freeform 185"/>
            <p:cNvSpPr>
              <a:spLocks/>
            </p:cNvSpPr>
            <p:nvPr/>
          </p:nvSpPr>
          <p:spPr bwMode="auto">
            <a:xfrm>
              <a:off x="2706" y="1275"/>
              <a:ext cx="168" cy="156"/>
            </a:xfrm>
            <a:custGeom>
              <a:avLst/>
              <a:gdLst>
                <a:gd name="T0" fmla="*/ 1 w 238"/>
                <a:gd name="T1" fmla="*/ 1 h 221"/>
                <a:gd name="T2" fmla="*/ 1 w 238"/>
                <a:gd name="T3" fmla="*/ 0 h 221"/>
                <a:gd name="T4" fmla="*/ 1 w 238"/>
                <a:gd name="T5" fmla="*/ 1 h 221"/>
                <a:gd name="T6" fmla="*/ 1 w 238"/>
                <a:gd name="T7" fmla="*/ 1 h 221"/>
                <a:gd name="T8" fmla="*/ 1 w 238"/>
                <a:gd name="T9" fmla="*/ 1 h 221"/>
                <a:gd name="T10" fmla="*/ 1 w 238"/>
                <a:gd name="T11" fmla="*/ 1 h 221"/>
                <a:gd name="T12" fmla="*/ 1 w 238"/>
                <a:gd name="T13" fmla="*/ 1 h 221"/>
                <a:gd name="T14" fmla="*/ 1 w 238"/>
                <a:gd name="T15" fmla="*/ 1 h 221"/>
                <a:gd name="T16" fmla="*/ 1 w 238"/>
                <a:gd name="T17" fmla="*/ 1 h 221"/>
                <a:gd name="T18" fmla="*/ 1 w 238"/>
                <a:gd name="T19" fmla="*/ 1 h 221"/>
                <a:gd name="T20" fmla="*/ 1 w 238"/>
                <a:gd name="T21" fmla="*/ 1 h 221"/>
                <a:gd name="T22" fmla="*/ 1 w 238"/>
                <a:gd name="T23" fmla="*/ 1 h 221"/>
                <a:gd name="T24" fmla="*/ 1 w 238"/>
                <a:gd name="T25" fmla="*/ 1 h 221"/>
                <a:gd name="T26" fmla="*/ 0 w 238"/>
                <a:gd name="T27" fmla="*/ 1 h 221"/>
                <a:gd name="T28" fmla="*/ 0 w 238"/>
                <a:gd name="T29" fmla="*/ 1 h 221"/>
                <a:gd name="T30" fmla="*/ 1 w 238"/>
                <a:gd name="T31" fmla="*/ 1 h 221"/>
                <a:gd name="T32" fmla="*/ 1 w 238"/>
                <a:gd name="T33" fmla="*/ 1 h 221"/>
                <a:gd name="T34" fmla="*/ 1 w 238"/>
                <a:gd name="T35" fmla="*/ 1 h 221"/>
                <a:gd name="T36" fmla="*/ 1 w 238"/>
                <a:gd name="T37" fmla="*/ 1 h 221"/>
                <a:gd name="T38" fmla="*/ 1 w 238"/>
                <a:gd name="T39" fmla="*/ 1 h 221"/>
                <a:gd name="T40" fmla="*/ 1 w 238"/>
                <a:gd name="T41" fmla="*/ 1 h 221"/>
                <a:gd name="T42" fmla="*/ 1 w 238"/>
                <a:gd name="T43" fmla="*/ 1 h 221"/>
                <a:gd name="T44" fmla="*/ 1 w 238"/>
                <a:gd name="T45" fmla="*/ 1 h 221"/>
                <a:gd name="T46" fmla="*/ 1 w 238"/>
                <a:gd name="T47" fmla="*/ 1 h 221"/>
                <a:gd name="T48" fmla="*/ 1 w 238"/>
                <a:gd name="T49" fmla="*/ 1 h 221"/>
                <a:gd name="T50" fmla="*/ 1 w 238"/>
                <a:gd name="T51" fmla="*/ 1 h 221"/>
                <a:gd name="T52" fmla="*/ 1 w 238"/>
                <a:gd name="T53" fmla="*/ 1 h 221"/>
                <a:gd name="T54" fmla="*/ 1 w 238"/>
                <a:gd name="T55" fmla="*/ 1 h 221"/>
                <a:gd name="T56" fmla="*/ 1 w 238"/>
                <a:gd name="T57" fmla="*/ 1 h 221"/>
                <a:gd name="T58" fmla="*/ 1 w 238"/>
                <a:gd name="T59" fmla="*/ 1 h 221"/>
                <a:gd name="T60" fmla="*/ 1 w 238"/>
                <a:gd name="T61" fmla="*/ 1 h 221"/>
                <a:gd name="T62" fmla="*/ 1 w 238"/>
                <a:gd name="T63" fmla="*/ 2 h 221"/>
                <a:gd name="T64" fmla="*/ 1 w 238"/>
                <a:gd name="T65" fmla="*/ 1 h 221"/>
                <a:gd name="T66" fmla="*/ 1 w 238"/>
                <a:gd name="T67" fmla="*/ 1 h 221"/>
                <a:gd name="T68" fmla="*/ 1 w 238"/>
                <a:gd name="T69" fmla="*/ 1 h 221"/>
                <a:gd name="T70" fmla="*/ 1 w 238"/>
                <a:gd name="T71" fmla="*/ 1 h 221"/>
                <a:gd name="T72" fmla="*/ 1 w 238"/>
                <a:gd name="T73" fmla="*/ 1 h 221"/>
                <a:gd name="T74" fmla="*/ 1 w 238"/>
                <a:gd name="T75" fmla="*/ 1 h 221"/>
                <a:gd name="T76" fmla="*/ 2 w 238"/>
                <a:gd name="T77" fmla="*/ 1 h 221"/>
                <a:gd name="T78" fmla="*/ 2 w 238"/>
                <a:gd name="T79" fmla="*/ 1 h 221"/>
                <a:gd name="T80" fmla="*/ 1 w 238"/>
                <a:gd name="T81" fmla="*/ 1 h 221"/>
                <a:gd name="T82" fmla="*/ 1 w 238"/>
                <a:gd name="T83" fmla="*/ 1 h 221"/>
                <a:gd name="T84" fmla="*/ 1 w 238"/>
                <a:gd name="T85" fmla="*/ 1 h 221"/>
                <a:gd name="T86" fmla="*/ 1 w 238"/>
                <a:gd name="T87" fmla="*/ 1 h 221"/>
                <a:gd name="T88" fmla="*/ 1 w 238"/>
                <a:gd name="T89" fmla="*/ 1 h 221"/>
                <a:gd name="T90" fmla="*/ 1 w 238"/>
                <a:gd name="T91" fmla="*/ 1 h 221"/>
                <a:gd name="T92" fmla="*/ 1 w 238"/>
                <a:gd name="T93" fmla="*/ 1 h 221"/>
                <a:gd name="T94" fmla="*/ 1 w 238"/>
                <a:gd name="T95" fmla="*/ 1 h 221"/>
                <a:gd name="T96" fmla="*/ 1 w 238"/>
                <a:gd name="T97" fmla="*/ 1 h 221"/>
                <a:gd name="T98" fmla="*/ 1 w 238"/>
                <a:gd name="T99" fmla="*/ 1 h 221"/>
                <a:gd name="T100" fmla="*/ 1 w 238"/>
                <a:gd name="T101" fmla="*/ 1 h 221"/>
                <a:gd name="T102" fmla="*/ 1 w 238"/>
                <a:gd name="T103" fmla="*/ 1 h 221"/>
                <a:gd name="T104" fmla="*/ 1 w 238"/>
                <a:gd name="T105" fmla="*/ 1 h 221"/>
                <a:gd name="T106" fmla="*/ 1 w 238"/>
                <a:gd name="T107" fmla="*/ 1 h 221"/>
                <a:gd name="T108" fmla="*/ 1 w 238"/>
                <a:gd name="T109" fmla="*/ 1 h 221"/>
                <a:gd name="T110" fmla="*/ 1 w 238"/>
                <a:gd name="T111" fmla="*/ 1 h 221"/>
                <a:gd name="T112" fmla="*/ 1 w 238"/>
                <a:gd name="T113" fmla="*/ 1 h 221"/>
                <a:gd name="T114" fmla="*/ 1 w 238"/>
                <a:gd name="T115" fmla="*/ 1 h 221"/>
                <a:gd name="T116" fmla="*/ 1 w 238"/>
                <a:gd name="T117" fmla="*/ 1 h 221"/>
                <a:gd name="T118" fmla="*/ 1 w 238"/>
                <a:gd name="T119" fmla="*/ 1 h 221"/>
                <a:gd name="T120" fmla="*/ 1 w 238"/>
                <a:gd name="T121" fmla="*/ 1 h 221"/>
                <a:gd name="T122" fmla="*/ 1 w 238"/>
                <a:gd name="T123" fmla="*/ 1 h 22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38"/>
                <a:gd name="T187" fmla="*/ 0 h 221"/>
                <a:gd name="T188" fmla="*/ 238 w 238"/>
                <a:gd name="T189" fmla="*/ 221 h 221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38" h="221">
                  <a:moveTo>
                    <a:pt x="132" y="10"/>
                  </a:moveTo>
                  <a:lnTo>
                    <a:pt x="102" y="0"/>
                  </a:lnTo>
                  <a:lnTo>
                    <a:pt x="81" y="3"/>
                  </a:lnTo>
                  <a:lnTo>
                    <a:pt x="69" y="2"/>
                  </a:lnTo>
                  <a:lnTo>
                    <a:pt x="69" y="3"/>
                  </a:lnTo>
                  <a:lnTo>
                    <a:pt x="65" y="8"/>
                  </a:lnTo>
                  <a:lnTo>
                    <a:pt x="60" y="15"/>
                  </a:lnTo>
                  <a:lnTo>
                    <a:pt x="47" y="15"/>
                  </a:lnTo>
                  <a:lnTo>
                    <a:pt x="40" y="24"/>
                  </a:lnTo>
                  <a:lnTo>
                    <a:pt x="27" y="14"/>
                  </a:lnTo>
                  <a:lnTo>
                    <a:pt x="15" y="23"/>
                  </a:lnTo>
                  <a:lnTo>
                    <a:pt x="3" y="24"/>
                  </a:lnTo>
                  <a:lnTo>
                    <a:pt x="3" y="34"/>
                  </a:lnTo>
                  <a:lnTo>
                    <a:pt x="0" y="44"/>
                  </a:lnTo>
                  <a:lnTo>
                    <a:pt x="0" y="50"/>
                  </a:lnTo>
                  <a:lnTo>
                    <a:pt x="2" y="59"/>
                  </a:lnTo>
                  <a:lnTo>
                    <a:pt x="15" y="68"/>
                  </a:lnTo>
                  <a:lnTo>
                    <a:pt x="15" y="77"/>
                  </a:lnTo>
                  <a:lnTo>
                    <a:pt x="34" y="64"/>
                  </a:lnTo>
                  <a:lnTo>
                    <a:pt x="60" y="69"/>
                  </a:lnTo>
                  <a:lnTo>
                    <a:pt x="75" y="94"/>
                  </a:lnTo>
                  <a:lnTo>
                    <a:pt x="93" y="111"/>
                  </a:lnTo>
                  <a:lnTo>
                    <a:pt x="111" y="128"/>
                  </a:lnTo>
                  <a:lnTo>
                    <a:pt x="117" y="130"/>
                  </a:lnTo>
                  <a:lnTo>
                    <a:pt x="118" y="130"/>
                  </a:lnTo>
                  <a:lnTo>
                    <a:pt x="132" y="137"/>
                  </a:lnTo>
                  <a:lnTo>
                    <a:pt x="158" y="154"/>
                  </a:lnTo>
                  <a:lnTo>
                    <a:pt x="168" y="160"/>
                  </a:lnTo>
                  <a:lnTo>
                    <a:pt x="179" y="168"/>
                  </a:lnTo>
                  <a:lnTo>
                    <a:pt x="192" y="194"/>
                  </a:lnTo>
                  <a:lnTo>
                    <a:pt x="185" y="215"/>
                  </a:lnTo>
                  <a:lnTo>
                    <a:pt x="194" y="221"/>
                  </a:lnTo>
                  <a:lnTo>
                    <a:pt x="203" y="206"/>
                  </a:lnTo>
                  <a:lnTo>
                    <a:pt x="210" y="196"/>
                  </a:lnTo>
                  <a:lnTo>
                    <a:pt x="214" y="190"/>
                  </a:lnTo>
                  <a:lnTo>
                    <a:pt x="203" y="179"/>
                  </a:lnTo>
                  <a:lnTo>
                    <a:pt x="207" y="159"/>
                  </a:lnTo>
                  <a:lnTo>
                    <a:pt x="220" y="162"/>
                  </a:lnTo>
                  <a:lnTo>
                    <a:pt x="234" y="173"/>
                  </a:lnTo>
                  <a:lnTo>
                    <a:pt x="238" y="162"/>
                  </a:lnTo>
                  <a:lnTo>
                    <a:pt x="212" y="148"/>
                  </a:lnTo>
                  <a:lnTo>
                    <a:pt x="186" y="135"/>
                  </a:lnTo>
                  <a:lnTo>
                    <a:pt x="190" y="126"/>
                  </a:lnTo>
                  <a:lnTo>
                    <a:pt x="183" y="123"/>
                  </a:lnTo>
                  <a:lnTo>
                    <a:pt x="156" y="116"/>
                  </a:lnTo>
                  <a:lnTo>
                    <a:pt x="147" y="100"/>
                  </a:lnTo>
                  <a:lnTo>
                    <a:pt x="136" y="83"/>
                  </a:lnTo>
                  <a:lnTo>
                    <a:pt x="117" y="72"/>
                  </a:lnTo>
                  <a:lnTo>
                    <a:pt x="108" y="52"/>
                  </a:lnTo>
                  <a:lnTo>
                    <a:pt x="106" y="40"/>
                  </a:lnTo>
                  <a:lnTo>
                    <a:pt x="123" y="30"/>
                  </a:lnTo>
                  <a:lnTo>
                    <a:pt x="135" y="33"/>
                  </a:lnTo>
                  <a:lnTo>
                    <a:pt x="130" y="17"/>
                  </a:lnTo>
                  <a:lnTo>
                    <a:pt x="132" y="10"/>
                  </a:lnTo>
                  <a:lnTo>
                    <a:pt x="113" y="72"/>
                  </a:lnTo>
                  <a:lnTo>
                    <a:pt x="112" y="72"/>
                  </a:lnTo>
                  <a:lnTo>
                    <a:pt x="111" y="74"/>
                  </a:lnTo>
                  <a:lnTo>
                    <a:pt x="112" y="74"/>
                  </a:lnTo>
                  <a:lnTo>
                    <a:pt x="113" y="72"/>
                  </a:lnTo>
                  <a:lnTo>
                    <a:pt x="132" y="10"/>
                  </a:lnTo>
                  <a:lnTo>
                    <a:pt x="118" y="128"/>
                  </a:lnTo>
                  <a:lnTo>
                    <a:pt x="132" y="1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30" name="Freeform 186"/>
            <p:cNvSpPr>
              <a:spLocks/>
            </p:cNvSpPr>
            <p:nvPr/>
          </p:nvSpPr>
          <p:spPr bwMode="auto">
            <a:xfrm>
              <a:off x="2706" y="1275"/>
              <a:ext cx="168" cy="156"/>
            </a:xfrm>
            <a:custGeom>
              <a:avLst/>
              <a:gdLst>
                <a:gd name="T0" fmla="*/ 1 w 238"/>
                <a:gd name="T1" fmla="*/ 1 h 221"/>
                <a:gd name="T2" fmla="*/ 1 w 238"/>
                <a:gd name="T3" fmla="*/ 0 h 221"/>
                <a:gd name="T4" fmla="*/ 1 w 238"/>
                <a:gd name="T5" fmla="*/ 1 h 221"/>
                <a:gd name="T6" fmla="*/ 1 w 238"/>
                <a:gd name="T7" fmla="*/ 1 h 221"/>
                <a:gd name="T8" fmla="*/ 1 w 238"/>
                <a:gd name="T9" fmla="*/ 1 h 221"/>
                <a:gd name="T10" fmla="*/ 1 w 238"/>
                <a:gd name="T11" fmla="*/ 1 h 221"/>
                <a:gd name="T12" fmla="*/ 1 w 238"/>
                <a:gd name="T13" fmla="*/ 1 h 221"/>
                <a:gd name="T14" fmla="*/ 1 w 238"/>
                <a:gd name="T15" fmla="*/ 1 h 221"/>
                <a:gd name="T16" fmla="*/ 1 w 238"/>
                <a:gd name="T17" fmla="*/ 1 h 221"/>
                <a:gd name="T18" fmla="*/ 1 w 238"/>
                <a:gd name="T19" fmla="*/ 1 h 221"/>
                <a:gd name="T20" fmla="*/ 1 w 238"/>
                <a:gd name="T21" fmla="*/ 1 h 221"/>
                <a:gd name="T22" fmla="*/ 1 w 238"/>
                <a:gd name="T23" fmla="*/ 1 h 221"/>
                <a:gd name="T24" fmla="*/ 1 w 238"/>
                <a:gd name="T25" fmla="*/ 1 h 221"/>
                <a:gd name="T26" fmla="*/ 0 w 238"/>
                <a:gd name="T27" fmla="*/ 1 h 221"/>
                <a:gd name="T28" fmla="*/ 0 w 238"/>
                <a:gd name="T29" fmla="*/ 1 h 221"/>
                <a:gd name="T30" fmla="*/ 1 w 238"/>
                <a:gd name="T31" fmla="*/ 1 h 221"/>
                <a:gd name="T32" fmla="*/ 1 w 238"/>
                <a:gd name="T33" fmla="*/ 1 h 221"/>
                <a:gd name="T34" fmla="*/ 1 w 238"/>
                <a:gd name="T35" fmla="*/ 1 h 221"/>
                <a:gd name="T36" fmla="*/ 1 w 238"/>
                <a:gd name="T37" fmla="*/ 1 h 221"/>
                <a:gd name="T38" fmla="*/ 1 w 238"/>
                <a:gd name="T39" fmla="*/ 1 h 221"/>
                <a:gd name="T40" fmla="*/ 1 w 238"/>
                <a:gd name="T41" fmla="*/ 1 h 221"/>
                <a:gd name="T42" fmla="*/ 1 w 238"/>
                <a:gd name="T43" fmla="*/ 1 h 221"/>
                <a:gd name="T44" fmla="*/ 1 w 238"/>
                <a:gd name="T45" fmla="*/ 1 h 221"/>
                <a:gd name="T46" fmla="*/ 1 w 238"/>
                <a:gd name="T47" fmla="*/ 1 h 221"/>
                <a:gd name="T48" fmla="*/ 1 w 238"/>
                <a:gd name="T49" fmla="*/ 1 h 221"/>
                <a:gd name="T50" fmla="*/ 1 w 238"/>
                <a:gd name="T51" fmla="*/ 1 h 221"/>
                <a:gd name="T52" fmla="*/ 1 w 238"/>
                <a:gd name="T53" fmla="*/ 1 h 221"/>
                <a:gd name="T54" fmla="*/ 1 w 238"/>
                <a:gd name="T55" fmla="*/ 1 h 221"/>
                <a:gd name="T56" fmla="*/ 1 w 238"/>
                <a:gd name="T57" fmla="*/ 1 h 221"/>
                <a:gd name="T58" fmla="*/ 1 w 238"/>
                <a:gd name="T59" fmla="*/ 1 h 221"/>
                <a:gd name="T60" fmla="*/ 1 w 238"/>
                <a:gd name="T61" fmla="*/ 1 h 221"/>
                <a:gd name="T62" fmla="*/ 1 w 238"/>
                <a:gd name="T63" fmla="*/ 2 h 221"/>
                <a:gd name="T64" fmla="*/ 1 w 238"/>
                <a:gd name="T65" fmla="*/ 1 h 221"/>
                <a:gd name="T66" fmla="*/ 1 w 238"/>
                <a:gd name="T67" fmla="*/ 1 h 221"/>
                <a:gd name="T68" fmla="*/ 1 w 238"/>
                <a:gd name="T69" fmla="*/ 1 h 221"/>
                <a:gd name="T70" fmla="*/ 1 w 238"/>
                <a:gd name="T71" fmla="*/ 1 h 221"/>
                <a:gd name="T72" fmla="*/ 1 w 238"/>
                <a:gd name="T73" fmla="*/ 1 h 221"/>
                <a:gd name="T74" fmla="*/ 1 w 238"/>
                <a:gd name="T75" fmla="*/ 1 h 221"/>
                <a:gd name="T76" fmla="*/ 2 w 238"/>
                <a:gd name="T77" fmla="*/ 1 h 221"/>
                <a:gd name="T78" fmla="*/ 2 w 238"/>
                <a:gd name="T79" fmla="*/ 1 h 221"/>
                <a:gd name="T80" fmla="*/ 1 w 238"/>
                <a:gd name="T81" fmla="*/ 1 h 221"/>
                <a:gd name="T82" fmla="*/ 1 w 238"/>
                <a:gd name="T83" fmla="*/ 1 h 221"/>
                <a:gd name="T84" fmla="*/ 1 w 238"/>
                <a:gd name="T85" fmla="*/ 1 h 221"/>
                <a:gd name="T86" fmla="*/ 1 w 238"/>
                <a:gd name="T87" fmla="*/ 1 h 221"/>
                <a:gd name="T88" fmla="*/ 1 w 238"/>
                <a:gd name="T89" fmla="*/ 1 h 221"/>
                <a:gd name="T90" fmla="*/ 1 w 238"/>
                <a:gd name="T91" fmla="*/ 1 h 221"/>
                <a:gd name="T92" fmla="*/ 1 w 238"/>
                <a:gd name="T93" fmla="*/ 1 h 221"/>
                <a:gd name="T94" fmla="*/ 1 w 238"/>
                <a:gd name="T95" fmla="*/ 1 h 221"/>
                <a:gd name="T96" fmla="*/ 1 w 238"/>
                <a:gd name="T97" fmla="*/ 1 h 221"/>
                <a:gd name="T98" fmla="*/ 1 w 238"/>
                <a:gd name="T99" fmla="*/ 1 h 221"/>
                <a:gd name="T100" fmla="*/ 1 w 238"/>
                <a:gd name="T101" fmla="*/ 1 h 221"/>
                <a:gd name="T102" fmla="*/ 1 w 238"/>
                <a:gd name="T103" fmla="*/ 1 h 221"/>
                <a:gd name="T104" fmla="*/ 1 w 238"/>
                <a:gd name="T105" fmla="*/ 1 h 221"/>
                <a:gd name="T106" fmla="*/ 1 w 238"/>
                <a:gd name="T107" fmla="*/ 1 h 22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38"/>
                <a:gd name="T163" fmla="*/ 0 h 221"/>
                <a:gd name="T164" fmla="*/ 238 w 238"/>
                <a:gd name="T165" fmla="*/ 221 h 221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38" h="221">
                  <a:moveTo>
                    <a:pt x="132" y="10"/>
                  </a:moveTo>
                  <a:lnTo>
                    <a:pt x="102" y="0"/>
                  </a:lnTo>
                  <a:lnTo>
                    <a:pt x="81" y="3"/>
                  </a:lnTo>
                  <a:lnTo>
                    <a:pt x="69" y="2"/>
                  </a:lnTo>
                  <a:lnTo>
                    <a:pt x="69" y="3"/>
                  </a:lnTo>
                  <a:lnTo>
                    <a:pt x="65" y="8"/>
                  </a:lnTo>
                  <a:lnTo>
                    <a:pt x="60" y="15"/>
                  </a:lnTo>
                  <a:lnTo>
                    <a:pt x="47" y="15"/>
                  </a:lnTo>
                  <a:lnTo>
                    <a:pt x="40" y="24"/>
                  </a:lnTo>
                  <a:lnTo>
                    <a:pt x="27" y="14"/>
                  </a:lnTo>
                  <a:lnTo>
                    <a:pt x="15" y="23"/>
                  </a:lnTo>
                  <a:lnTo>
                    <a:pt x="3" y="24"/>
                  </a:lnTo>
                  <a:lnTo>
                    <a:pt x="3" y="34"/>
                  </a:lnTo>
                  <a:lnTo>
                    <a:pt x="0" y="44"/>
                  </a:lnTo>
                  <a:lnTo>
                    <a:pt x="0" y="50"/>
                  </a:lnTo>
                  <a:lnTo>
                    <a:pt x="2" y="59"/>
                  </a:lnTo>
                  <a:lnTo>
                    <a:pt x="15" y="68"/>
                  </a:lnTo>
                  <a:lnTo>
                    <a:pt x="15" y="77"/>
                  </a:lnTo>
                  <a:lnTo>
                    <a:pt x="34" y="64"/>
                  </a:lnTo>
                  <a:lnTo>
                    <a:pt x="60" y="69"/>
                  </a:lnTo>
                  <a:lnTo>
                    <a:pt x="75" y="94"/>
                  </a:lnTo>
                  <a:lnTo>
                    <a:pt x="93" y="111"/>
                  </a:lnTo>
                  <a:lnTo>
                    <a:pt x="111" y="128"/>
                  </a:lnTo>
                  <a:lnTo>
                    <a:pt x="117" y="130"/>
                  </a:lnTo>
                  <a:lnTo>
                    <a:pt x="118" y="130"/>
                  </a:lnTo>
                  <a:lnTo>
                    <a:pt x="132" y="137"/>
                  </a:lnTo>
                  <a:lnTo>
                    <a:pt x="158" y="154"/>
                  </a:lnTo>
                  <a:lnTo>
                    <a:pt x="168" y="160"/>
                  </a:lnTo>
                  <a:lnTo>
                    <a:pt x="179" y="168"/>
                  </a:lnTo>
                  <a:lnTo>
                    <a:pt x="192" y="194"/>
                  </a:lnTo>
                  <a:lnTo>
                    <a:pt x="185" y="215"/>
                  </a:lnTo>
                  <a:lnTo>
                    <a:pt x="194" y="221"/>
                  </a:lnTo>
                  <a:lnTo>
                    <a:pt x="203" y="206"/>
                  </a:lnTo>
                  <a:lnTo>
                    <a:pt x="210" y="196"/>
                  </a:lnTo>
                  <a:lnTo>
                    <a:pt x="214" y="190"/>
                  </a:lnTo>
                  <a:lnTo>
                    <a:pt x="203" y="179"/>
                  </a:lnTo>
                  <a:lnTo>
                    <a:pt x="207" y="159"/>
                  </a:lnTo>
                  <a:lnTo>
                    <a:pt x="220" y="162"/>
                  </a:lnTo>
                  <a:lnTo>
                    <a:pt x="234" y="173"/>
                  </a:lnTo>
                  <a:lnTo>
                    <a:pt x="238" y="162"/>
                  </a:lnTo>
                  <a:lnTo>
                    <a:pt x="212" y="148"/>
                  </a:lnTo>
                  <a:lnTo>
                    <a:pt x="186" y="135"/>
                  </a:lnTo>
                  <a:lnTo>
                    <a:pt x="190" y="126"/>
                  </a:lnTo>
                  <a:lnTo>
                    <a:pt x="183" y="123"/>
                  </a:lnTo>
                  <a:lnTo>
                    <a:pt x="156" y="116"/>
                  </a:lnTo>
                  <a:lnTo>
                    <a:pt x="147" y="100"/>
                  </a:lnTo>
                  <a:lnTo>
                    <a:pt x="136" y="83"/>
                  </a:lnTo>
                  <a:lnTo>
                    <a:pt x="117" y="72"/>
                  </a:lnTo>
                  <a:lnTo>
                    <a:pt x="108" y="52"/>
                  </a:lnTo>
                  <a:lnTo>
                    <a:pt x="106" y="40"/>
                  </a:lnTo>
                  <a:lnTo>
                    <a:pt x="123" y="30"/>
                  </a:lnTo>
                  <a:lnTo>
                    <a:pt x="135" y="33"/>
                  </a:lnTo>
                  <a:lnTo>
                    <a:pt x="130" y="17"/>
                  </a:lnTo>
                  <a:lnTo>
                    <a:pt x="132" y="1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31" name="Freeform 187"/>
            <p:cNvSpPr>
              <a:spLocks/>
            </p:cNvSpPr>
            <p:nvPr/>
          </p:nvSpPr>
          <p:spPr bwMode="auto">
            <a:xfrm>
              <a:off x="2784" y="1325"/>
              <a:ext cx="1" cy="2"/>
            </a:xfrm>
            <a:custGeom>
              <a:avLst/>
              <a:gdLst>
                <a:gd name="T0" fmla="*/ 1 w 2"/>
                <a:gd name="T1" fmla="*/ 0 h 2"/>
                <a:gd name="T2" fmla="*/ 1 w 2"/>
                <a:gd name="T3" fmla="*/ 0 h 2"/>
                <a:gd name="T4" fmla="*/ 0 w 2"/>
                <a:gd name="T5" fmla="*/ 2 h 2"/>
                <a:gd name="T6" fmla="*/ 1 w 2"/>
                <a:gd name="T7" fmla="*/ 2 h 2"/>
                <a:gd name="T8" fmla="*/ 1 w 2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0"/>
                  </a:moveTo>
                  <a:lnTo>
                    <a:pt x="1" y="0"/>
                  </a:lnTo>
                  <a:lnTo>
                    <a:pt x="0" y="2"/>
                  </a:lnTo>
                  <a:lnTo>
                    <a:pt x="1" y="2"/>
                  </a:lnTo>
                  <a:lnTo>
                    <a:pt x="2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32" name="Freeform 188"/>
            <p:cNvSpPr>
              <a:spLocks/>
            </p:cNvSpPr>
            <p:nvPr/>
          </p:nvSpPr>
          <p:spPr bwMode="auto">
            <a:xfrm>
              <a:off x="2791" y="1424"/>
              <a:ext cx="45" cy="28"/>
            </a:xfrm>
            <a:custGeom>
              <a:avLst/>
              <a:gdLst>
                <a:gd name="T0" fmla="*/ 1 w 65"/>
                <a:gd name="T1" fmla="*/ 1 h 39"/>
                <a:gd name="T2" fmla="*/ 1 w 65"/>
                <a:gd name="T3" fmla="*/ 1 h 39"/>
                <a:gd name="T4" fmla="*/ 1 w 65"/>
                <a:gd name="T5" fmla="*/ 1 h 39"/>
                <a:gd name="T6" fmla="*/ 1 w 65"/>
                <a:gd name="T7" fmla="*/ 1 h 39"/>
                <a:gd name="T8" fmla="*/ 0 w 65"/>
                <a:gd name="T9" fmla="*/ 1 h 39"/>
                <a:gd name="T10" fmla="*/ 1 w 65"/>
                <a:gd name="T11" fmla="*/ 1 h 39"/>
                <a:gd name="T12" fmla="*/ 1 w 65"/>
                <a:gd name="T13" fmla="*/ 1 h 39"/>
                <a:gd name="T14" fmla="*/ 1 w 65"/>
                <a:gd name="T15" fmla="*/ 0 h 39"/>
                <a:gd name="T16" fmla="*/ 1 w 65"/>
                <a:gd name="T17" fmla="*/ 1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5"/>
                <a:gd name="T28" fmla="*/ 0 h 39"/>
                <a:gd name="T29" fmla="*/ 65 w 65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5" h="39">
                  <a:moveTo>
                    <a:pt x="57" y="24"/>
                  </a:moveTo>
                  <a:lnTo>
                    <a:pt x="57" y="39"/>
                  </a:lnTo>
                  <a:lnTo>
                    <a:pt x="32" y="27"/>
                  </a:lnTo>
                  <a:lnTo>
                    <a:pt x="6" y="17"/>
                  </a:lnTo>
                  <a:lnTo>
                    <a:pt x="0" y="6"/>
                  </a:lnTo>
                  <a:lnTo>
                    <a:pt x="18" y="3"/>
                  </a:lnTo>
                  <a:lnTo>
                    <a:pt x="42" y="1"/>
                  </a:lnTo>
                  <a:lnTo>
                    <a:pt x="65" y="0"/>
                  </a:lnTo>
                  <a:lnTo>
                    <a:pt x="57" y="2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33" name="Freeform 189"/>
            <p:cNvSpPr>
              <a:spLocks/>
            </p:cNvSpPr>
            <p:nvPr/>
          </p:nvSpPr>
          <p:spPr bwMode="auto">
            <a:xfrm>
              <a:off x="2728" y="1372"/>
              <a:ext cx="23" cy="42"/>
            </a:xfrm>
            <a:custGeom>
              <a:avLst/>
              <a:gdLst>
                <a:gd name="T0" fmla="*/ 1 w 32"/>
                <a:gd name="T1" fmla="*/ 1 h 59"/>
                <a:gd name="T2" fmla="*/ 1 w 32"/>
                <a:gd name="T3" fmla="*/ 1 h 59"/>
                <a:gd name="T4" fmla="*/ 1 w 32"/>
                <a:gd name="T5" fmla="*/ 1 h 59"/>
                <a:gd name="T6" fmla="*/ 1 w 32"/>
                <a:gd name="T7" fmla="*/ 1 h 59"/>
                <a:gd name="T8" fmla="*/ 0 w 32"/>
                <a:gd name="T9" fmla="*/ 1 h 59"/>
                <a:gd name="T10" fmla="*/ 1 w 32"/>
                <a:gd name="T11" fmla="*/ 0 h 59"/>
                <a:gd name="T12" fmla="*/ 1 w 32"/>
                <a:gd name="T13" fmla="*/ 1 h 59"/>
                <a:gd name="T14" fmla="*/ 1 w 32"/>
                <a:gd name="T15" fmla="*/ 1 h 59"/>
                <a:gd name="T16" fmla="*/ 1 w 32"/>
                <a:gd name="T17" fmla="*/ 1 h 5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2"/>
                <a:gd name="T28" fmla="*/ 0 h 59"/>
                <a:gd name="T29" fmla="*/ 32 w 32"/>
                <a:gd name="T30" fmla="*/ 59 h 5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2" h="59">
                  <a:moveTo>
                    <a:pt x="18" y="51"/>
                  </a:moveTo>
                  <a:lnTo>
                    <a:pt x="9" y="59"/>
                  </a:lnTo>
                  <a:lnTo>
                    <a:pt x="4" y="46"/>
                  </a:lnTo>
                  <a:lnTo>
                    <a:pt x="2" y="28"/>
                  </a:lnTo>
                  <a:lnTo>
                    <a:pt x="0" y="10"/>
                  </a:lnTo>
                  <a:lnTo>
                    <a:pt x="19" y="0"/>
                  </a:lnTo>
                  <a:lnTo>
                    <a:pt x="32" y="18"/>
                  </a:lnTo>
                  <a:lnTo>
                    <a:pt x="28" y="50"/>
                  </a:lnTo>
                  <a:lnTo>
                    <a:pt x="18" y="5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34" name="Freeform 190"/>
            <p:cNvSpPr>
              <a:spLocks/>
            </p:cNvSpPr>
            <p:nvPr/>
          </p:nvSpPr>
          <p:spPr bwMode="auto">
            <a:xfrm>
              <a:off x="2715" y="1329"/>
              <a:ext cx="1" cy="2"/>
            </a:xfrm>
            <a:custGeom>
              <a:avLst/>
              <a:gdLst>
                <a:gd name="T0" fmla="*/ 1 w 2"/>
                <a:gd name="T1" fmla="*/ 0 h 1"/>
                <a:gd name="T2" fmla="*/ 0 w 2"/>
                <a:gd name="T3" fmla="*/ 0 h 1"/>
                <a:gd name="T4" fmla="*/ 0 w 2"/>
                <a:gd name="T5" fmla="*/ 16384 h 1"/>
                <a:gd name="T6" fmla="*/ 1 w 2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1"/>
                <a:gd name="T14" fmla="*/ 2 w 2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1">
                  <a:moveTo>
                    <a:pt x="2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35" name="Freeform 191"/>
            <p:cNvSpPr>
              <a:spLocks/>
            </p:cNvSpPr>
            <p:nvPr/>
          </p:nvSpPr>
          <p:spPr bwMode="auto">
            <a:xfrm>
              <a:off x="2985" y="1360"/>
              <a:ext cx="271" cy="106"/>
            </a:xfrm>
            <a:custGeom>
              <a:avLst/>
              <a:gdLst>
                <a:gd name="T0" fmla="*/ 2 w 385"/>
                <a:gd name="T1" fmla="*/ 1 h 150"/>
                <a:gd name="T2" fmla="*/ 1 w 385"/>
                <a:gd name="T3" fmla="*/ 1 h 150"/>
                <a:gd name="T4" fmla="*/ 1 w 385"/>
                <a:gd name="T5" fmla="*/ 1 h 150"/>
                <a:gd name="T6" fmla="*/ 1 w 385"/>
                <a:gd name="T7" fmla="*/ 1 h 150"/>
                <a:gd name="T8" fmla="*/ 1 w 385"/>
                <a:gd name="T9" fmla="*/ 1 h 150"/>
                <a:gd name="T10" fmla="*/ 1 w 385"/>
                <a:gd name="T11" fmla="*/ 1 h 150"/>
                <a:gd name="T12" fmla="*/ 1 w 385"/>
                <a:gd name="T13" fmla="*/ 1 h 150"/>
                <a:gd name="T14" fmla="*/ 1 w 385"/>
                <a:gd name="T15" fmla="*/ 1 h 150"/>
                <a:gd name="T16" fmla="*/ 1 w 385"/>
                <a:gd name="T17" fmla="*/ 1 h 150"/>
                <a:gd name="T18" fmla="*/ 1 w 385"/>
                <a:gd name="T19" fmla="*/ 1 h 150"/>
                <a:gd name="T20" fmla="*/ 1 w 385"/>
                <a:gd name="T21" fmla="*/ 1 h 150"/>
                <a:gd name="T22" fmla="*/ 1 w 385"/>
                <a:gd name="T23" fmla="*/ 1 h 150"/>
                <a:gd name="T24" fmla="*/ 1 w 385"/>
                <a:gd name="T25" fmla="*/ 1 h 150"/>
                <a:gd name="T26" fmla="*/ 1 w 385"/>
                <a:gd name="T27" fmla="*/ 1 h 150"/>
                <a:gd name="T28" fmla="*/ 1 w 385"/>
                <a:gd name="T29" fmla="*/ 1 h 150"/>
                <a:gd name="T30" fmla="*/ 1 w 385"/>
                <a:gd name="T31" fmla="*/ 1 h 150"/>
                <a:gd name="T32" fmla="*/ 0 w 385"/>
                <a:gd name="T33" fmla="*/ 1 h 150"/>
                <a:gd name="T34" fmla="*/ 1 w 385"/>
                <a:gd name="T35" fmla="*/ 1 h 150"/>
                <a:gd name="T36" fmla="*/ 1 w 385"/>
                <a:gd name="T37" fmla="*/ 1 h 150"/>
                <a:gd name="T38" fmla="*/ 1 w 385"/>
                <a:gd name="T39" fmla="*/ 1 h 150"/>
                <a:gd name="T40" fmla="*/ 1 w 385"/>
                <a:gd name="T41" fmla="*/ 1 h 150"/>
                <a:gd name="T42" fmla="*/ 1 w 385"/>
                <a:gd name="T43" fmla="*/ 1 h 150"/>
                <a:gd name="T44" fmla="*/ 1 w 385"/>
                <a:gd name="T45" fmla="*/ 1 h 150"/>
                <a:gd name="T46" fmla="*/ 1 w 385"/>
                <a:gd name="T47" fmla="*/ 1 h 150"/>
                <a:gd name="T48" fmla="*/ 2 w 385"/>
                <a:gd name="T49" fmla="*/ 1 h 150"/>
                <a:gd name="T50" fmla="*/ 2 w 385"/>
                <a:gd name="T51" fmla="*/ 1 h 150"/>
                <a:gd name="T52" fmla="*/ 3 w 385"/>
                <a:gd name="T53" fmla="*/ 1 h 150"/>
                <a:gd name="T54" fmla="*/ 3 w 385"/>
                <a:gd name="T55" fmla="*/ 1 h 150"/>
                <a:gd name="T56" fmla="*/ 3 w 385"/>
                <a:gd name="T57" fmla="*/ 1 h 150"/>
                <a:gd name="T58" fmla="*/ 3 w 385"/>
                <a:gd name="T59" fmla="*/ 1 h 150"/>
                <a:gd name="T60" fmla="*/ 3 w 385"/>
                <a:gd name="T61" fmla="*/ 1 h 150"/>
                <a:gd name="T62" fmla="*/ 3 w 385"/>
                <a:gd name="T63" fmla="*/ 1 h 150"/>
                <a:gd name="T64" fmla="*/ 3 w 385"/>
                <a:gd name="T65" fmla="*/ 1 h 150"/>
                <a:gd name="T66" fmla="*/ 2 w 385"/>
                <a:gd name="T67" fmla="*/ 1 h 15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85"/>
                <a:gd name="T103" fmla="*/ 0 h 150"/>
                <a:gd name="T104" fmla="*/ 385 w 385"/>
                <a:gd name="T105" fmla="*/ 150 h 15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85" h="150">
                  <a:moveTo>
                    <a:pt x="288" y="127"/>
                  </a:moveTo>
                  <a:lnTo>
                    <a:pt x="258" y="126"/>
                  </a:lnTo>
                  <a:lnTo>
                    <a:pt x="227" y="128"/>
                  </a:lnTo>
                  <a:lnTo>
                    <a:pt x="219" y="130"/>
                  </a:lnTo>
                  <a:lnTo>
                    <a:pt x="218" y="141"/>
                  </a:lnTo>
                  <a:lnTo>
                    <a:pt x="210" y="150"/>
                  </a:lnTo>
                  <a:lnTo>
                    <a:pt x="207" y="148"/>
                  </a:lnTo>
                  <a:lnTo>
                    <a:pt x="207" y="144"/>
                  </a:lnTo>
                  <a:lnTo>
                    <a:pt x="209" y="126"/>
                  </a:lnTo>
                  <a:lnTo>
                    <a:pt x="200" y="130"/>
                  </a:lnTo>
                  <a:lnTo>
                    <a:pt x="186" y="129"/>
                  </a:lnTo>
                  <a:lnTo>
                    <a:pt x="170" y="135"/>
                  </a:lnTo>
                  <a:lnTo>
                    <a:pt x="149" y="145"/>
                  </a:lnTo>
                  <a:lnTo>
                    <a:pt x="132" y="140"/>
                  </a:lnTo>
                  <a:lnTo>
                    <a:pt x="98" y="126"/>
                  </a:lnTo>
                  <a:lnTo>
                    <a:pt x="95" y="136"/>
                  </a:lnTo>
                  <a:lnTo>
                    <a:pt x="85" y="141"/>
                  </a:lnTo>
                  <a:lnTo>
                    <a:pt x="66" y="135"/>
                  </a:lnTo>
                  <a:lnTo>
                    <a:pt x="55" y="128"/>
                  </a:lnTo>
                  <a:lnTo>
                    <a:pt x="44" y="130"/>
                  </a:lnTo>
                  <a:lnTo>
                    <a:pt x="33" y="129"/>
                  </a:lnTo>
                  <a:lnTo>
                    <a:pt x="47" y="123"/>
                  </a:lnTo>
                  <a:lnTo>
                    <a:pt x="30" y="121"/>
                  </a:lnTo>
                  <a:lnTo>
                    <a:pt x="32" y="115"/>
                  </a:lnTo>
                  <a:lnTo>
                    <a:pt x="23" y="106"/>
                  </a:lnTo>
                  <a:lnTo>
                    <a:pt x="25" y="102"/>
                  </a:lnTo>
                  <a:lnTo>
                    <a:pt x="8" y="93"/>
                  </a:lnTo>
                  <a:lnTo>
                    <a:pt x="5" y="85"/>
                  </a:lnTo>
                  <a:lnTo>
                    <a:pt x="11" y="86"/>
                  </a:lnTo>
                  <a:lnTo>
                    <a:pt x="18" y="87"/>
                  </a:lnTo>
                  <a:lnTo>
                    <a:pt x="14" y="79"/>
                  </a:lnTo>
                  <a:lnTo>
                    <a:pt x="13" y="74"/>
                  </a:lnTo>
                  <a:lnTo>
                    <a:pt x="12" y="62"/>
                  </a:lnTo>
                  <a:lnTo>
                    <a:pt x="0" y="61"/>
                  </a:lnTo>
                  <a:lnTo>
                    <a:pt x="1" y="43"/>
                  </a:lnTo>
                  <a:lnTo>
                    <a:pt x="21" y="40"/>
                  </a:lnTo>
                  <a:lnTo>
                    <a:pt x="29" y="36"/>
                  </a:lnTo>
                  <a:lnTo>
                    <a:pt x="53" y="36"/>
                  </a:lnTo>
                  <a:lnTo>
                    <a:pt x="68" y="30"/>
                  </a:lnTo>
                  <a:lnTo>
                    <a:pt x="62" y="28"/>
                  </a:lnTo>
                  <a:lnTo>
                    <a:pt x="53" y="20"/>
                  </a:lnTo>
                  <a:lnTo>
                    <a:pt x="90" y="21"/>
                  </a:lnTo>
                  <a:lnTo>
                    <a:pt x="117" y="4"/>
                  </a:lnTo>
                  <a:lnTo>
                    <a:pt x="138" y="2"/>
                  </a:lnTo>
                  <a:lnTo>
                    <a:pt x="157" y="0"/>
                  </a:lnTo>
                  <a:lnTo>
                    <a:pt x="170" y="1"/>
                  </a:lnTo>
                  <a:lnTo>
                    <a:pt x="185" y="7"/>
                  </a:lnTo>
                  <a:lnTo>
                    <a:pt x="193" y="12"/>
                  </a:lnTo>
                  <a:lnTo>
                    <a:pt x="218" y="18"/>
                  </a:lnTo>
                  <a:lnTo>
                    <a:pt x="245" y="24"/>
                  </a:lnTo>
                  <a:lnTo>
                    <a:pt x="270" y="25"/>
                  </a:lnTo>
                  <a:lnTo>
                    <a:pt x="300" y="10"/>
                  </a:lnTo>
                  <a:lnTo>
                    <a:pt x="326" y="9"/>
                  </a:lnTo>
                  <a:lnTo>
                    <a:pt x="339" y="18"/>
                  </a:lnTo>
                  <a:lnTo>
                    <a:pt x="348" y="34"/>
                  </a:lnTo>
                  <a:lnTo>
                    <a:pt x="356" y="48"/>
                  </a:lnTo>
                  <a:lnTo>
                    <a:pt x="373" y="55"/>
                  </a:lnTo>
                  <a:lnTo>
                    <a:pt x="365" y="62"/>
                  </a:lnTo>
                  <a:lnTo>
                    <a:pt x="367" y="75"/>
                  </a:lnTo>
                  <a:lnTo>
                    <a:pt x="372" y="100"/>
                  </a:lnTo>
                  <a:lnTo>
                    <a:pt x="385" y="117"/>
                  </a:lnTo>
                  <a:lnTo>
                    <a:pt x="373" y="120"/>
                  </a:lnTo>
                  <a:lnTo>
                    <a:pt x="368" y="115"/>
                  </a:lnTo>
                  <a:lnTo>
                    <a:pt x="341" y="115"/>
                  </a:lnTo>
                  <a:lnTo>
                    <a:pt x="336" y="120"/>
                  </a:lnTo>
                  <a:lnTo>
                    <a:pt x="329" y="117"/>
                  </a:lnTo>
                  <a:lnTo>
                    <a:pt x="308" y="122"/>
                  </a:lnTo>
                  <a:lnTo>
                    <a:pt x="288" y="12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36" name="Freeform 192"/>
            <p:cNvSpPr>
              <a:spLocks/>
            </p:cNvSpPr>
            <p:nvPr/>
          </p:nvSpPr>
          <p:spPr bwMode="auto">
            <a:xfrm>
              <a:off x="2981" y="1359"/>
              <a:ext cx="40" cy="31"/>
            </a:xfrm>
            <a:custGeom>
              <a:avLst/>
              <a:gdLst>
                <a:gd name="T0" fmla="*/ 1 w 58"/>
                <a:gd name="T1" fmla="*/ 1 h 45"/>
                <a:gd name="T2" fmla="*/ 1 w 58"/>
                <a:gd name="T3" fmla="*/ 1 h 45"/>
                <a:gd name="T4" fmla="*/ 1 w 58"/>
                <a:gd name="T5" fmla="*/ 1 h 45"/>
                <a:gd name="T6" fmla="*/ 0 w 58"/>
                <a:gd name="T7" fmla="*/ 1 h 45"/>
                <a:gd name="T8" fmla="*/ 1 w 58"/>
                <a:gd name="T9" fmla="*/ 1 h 45"/>
                <a:gd name="T10" fmla="*/ 1 w 58"/>
                <a:gd name="T11" fmla="*/ 1 h 45"/>
                <a:gd name="T12" fmla="*/ 1 w 58"/>
                <a:gd name="T13" fmla="*/ 1 h 45"/>
                <a:gd name="T14" fmla="*/ 1 w 58"/>
                <a:gd name="T15" fmla="*/ 1 h 45"/>
                <a:gd name="T16" fmla="*/ 1 w 58"/>
                <a:gd name="T17" fmla="*/ 1 h 45"/>
                <a:gd name="T18" fmla="*/ 1 w 58"/>
                <a:gd name="T19" fmla="*/ 0 h 45"/>
                <a:gd name="T20" fmla="*/ 1 w 58"/>
                <a:gd name="T21" fmla="*/ 1 h 4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8"/>
                <a:gd name="T34" fmla="*/ 0 h 45"/>
                <a:gd name="T35" fmla="*/ 58 w 58"/>
                <a:gd name="T36" fmla="*/ 45 h 4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8" h="45">
                  <a:moveTo>
                    <a:pt x="7" y="2"/>
                  </a:moveTo>
                  <a:lnTo>
                    <a:pt x="3" y="8"/>
                  </a:lnTo>
                  <a:lnTo>
                    <a:pt x="8" y="16"/>
                  </a:lnTo>
                  <a:lnTo>
                    <a:pt x="0" y="32"/>
                  </a:lnTo>
                  <a:lnTo>
                    <a:pt x="13" y="34"/>
                  </a:lnTo>
                  <a:lnTo>
                    <a:pt x="6" y="45"/>
                  </a:lnTo>
                  <a:lnTo>
                    <a:pt x="27" y="29"/>
                  </a:lnTo>
                  <a:lnTo>
                    <a:pt x="58" y="24"/>
                  </a:lnTo>
                  <a:lnTo>
                    <a:pt x="50" y="16"/>
                  </a:lnTo>
                  <a:lnTo>
                    <a:pt x="36" y="0"/>
                  </a:lnTo>
                  <a:lnTo>
                    <a:pt x="7" y="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37" name="Freeform 193"/>
            <p:cNvSpPr>
              <a:spLocks/>
            </p:cNvSpPr>
            <p:nvPr/>
          </p:nvSpPr>
          <p:spPr bwMode="auto">
            <a:xfrm>
              <a:off x="2913" y="1123"/>
              <a:ext cx="120" cy="76"/>
            </a:xfrm>
            <a:custGeom>
              <a:avLst/>
              <a:gdLst>
                <a:gd name="T0" fmla="*/ 1 w 169"/>
                <a:gd name="T1" fmla="*/ 1 h 107"/>
                <a:gd name="T2" fmla="*/ 1 w 169"/>
                <a:gd name="T3" fmla="*/ 1 h 107"/>
                <a:gd name="T4" fmla="*/ 1 w 169"/>
                <a:gd name="T5" fmla="*/ 1 h 107"/>
                <a:gd name="T6" fmla="*/ 1 w 169"/>
                <a:gd name="T7" fmla="*/ 1 h 107"/>
                <a:gd name="T8" fmla="*/ 1 w 169"/>
                <a:gd name="T9" fmla="*/ 1 h 107"/>
                <a:gd name="T10" fmla="*/ 1 w 169"/>
                <a:gd name="T11" fmla="*/ 1 h 107"/>
                <a:gd name="T12" fmla="*/ 1 w 169"/>
                <a:gd name="T13" fmla="*/ 1 h 107"/>
                <a:gd name="T14" fmla="*/ 1 w 169"/>
                <a:gd name="T15" fmla="*/ 1 h 107"/>
                <a:gd name="T16" fmla="*/ 1 w 169"/>
                <a:gd name="T17" fmla="*/ 1 h 107"/>
                <a:gd name="T18" fmla="*/ 1 w 169"/>
                <a:gd name="T19" fmla="*/ 1 h 107"/>
                <a:gd name="T20" fmla="*/ 1 w 169"/>
                <a:gd name="T21" fmla="*/ 1 h 107"/>
                <a:gd name="T22" fmla="*/ 0 w 169"/>
                <a:gd name="T23" fmla="*/ 1 h 107"/>
                <a:gd name="T24" fmla="*/ 1 w 169"/>
                <a:gd name="T25" fmla="*/ 1 h 107"/>
                <a:gd name="T26" fmla="*/ 1 w 169"/>
                <a:gd name="T27" fmla="*/ 1 h 107"/>
                <a:gd name="T28" fmla="*/ 1 w 169"/>
                <a:gd name="T29" fmla="*/ 0 h 107"/>
                <a:gd name="T30" fmla="*/ 1 w 169"/>
                <a:gd name="T31" fmla="*/ 1 h 107"/>
                <a:gd name="T32" fmla="*/ 1 w 169"/>
                <a:gd name="T33" fmla="*/ 1 h 107"/>
                <a:gd name="T34" fmla="*/ 1 w 169"/>
                <a:gd name="T35" fmla="*/ 1 h 107"/>
                <a:gd name="T36" fmla="*/ 1 w 169"/>
                <a:gd name="T37" fmla="*/ 1 h 10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69"/>
                <a:gd name="T58" fmla="*/ 0 h 107"/>
                <a:gd name="T59" fmla="*/ 169 w 169"/>
                <a:gd name="T60" fmla="*/ 107 h 10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69" h="107">
                  <a:moveTo>
                    <a:pt x="169" y="58"/>
                  </a:moveTo>
                  <a:lnTo>
                    <a:pt x="162" y="65"/>
                  </a:lnTo>
                  <a:lnTo>
                    <a:pt x="168" y="87"/>
                  </a:lnTo>
                  <a:lnTo>
                    <a:pt x="145" y="99"/>
                  </a:lnTo>
                  <a:lnTo>
                    <a:pt x="146" y="107"/>
                  </a:lnTo>
                  <a:lnTo>
                    <a:pt x="113" y="101"/>
                  </a:lnTo>
                  <a:lnTo>
                    <a:pt x="80" y="95"/>
                  </a:lnTo>
                  <a:lnTo>
                    <a:pt x="47" y="95"/>
                  </a:lnTo>
                  <a:lnTo>
                    <a:pt x="14" y="95"/>
                  </a:lnTo>
                  <a:lnTo>
                    <a:pt x="3" y="88"/>
                  </a:lnTo>
                  <a:lnTo>
                    <a:pt x="15" y="71"/>
                  </a:lnTo>
                  <a:lnTo>
                    <a:pt x="0" y="41"/>
                  </a:lnTo>
                  <a:lnTo>
                    <a:pt x="29" y="22"/>
                  </a:lnTo>
                  <a:lnTo>
                    <a:pt x="56" y="3"/>
                  </a:lnTo>
                  <a:lnTo>
                    <a:pt x="83" y="0"/>
                  </a:lnTo>
                  <a:lnTo>
                    <a:pt x="111" y="5"/>
                  </a:lnTo>
                  <a:lnTo>
                    <a:pt x="140" y="10"/>
                  </a:lnTo>
                  <a:lnTo>
                    <a:pt x="145" y="38"/>
                  </a:lnTo>
                  <a:lnTo>
                    <a:pt x="169" y="5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38" name="Freeform 194"/>
            <p:cNvSpPr>
              <a:spLocks/>
            </p:cNvSpPr>
            <p:nvPr/>
          </p:nvSpPr>
          <p:spPr bwMode="auto">
            <a:xfrm>
              <a:off x="2718" y="1107"/>
              <a:ext cx="31" cy="35"/>
            </a:xfrm>
            <a:custGeom>
              <a:avLst/>
              <a:gdLst>
                <a:gd name="T0" fmla="*/ 1 w 44"/>
                <a:gd name="T1" fmla="*/ 1 h 49"/>
                <a:gd name="T2" fmla="*/ 1 w 44"/>
                <a:gd name="T3" fmla="*/ 1 h 49"/>
                <a:gd name="T4" fmla="*/ 1 w 44"/>
                <a:gd name="T5" fmla="*/ 1 h 49"/>
                <a:gd name="T6" fmla="*/ 1 w 44"/>
                <a:gd name="T7" fmla="*/ 1 h 49"/>
                <a:gd name="T8" fmla="*/ 1 w 44"/>
                <a:gd name="T9" fmla="*/ 1 h 49"/>
                <a:gd name="T10" fmla="*/ 0 w 44"/>
                <a:gd name="T11" fmla="*/ 1 h 49"/>
                <a:gd name="T12" fmla="*/ 1 w 44"/>
                <a:gd name="T13" fmla="*/ 1 h 49"/>
                <a:gd name="T14" fmla="*/ 1 w 44"/>
                <a:gd name="T15" fmla="*/ 1 h 49"/>
                <a:gd name="T16" fmla="*/ 1 w 44"/>
                <a:gd name="T17" fmla="*/ 1 h 49"/>
                <a:gd name="T18" fmla="*/ 1 w 44"/>
                <a:gd name="T19" fmla="*/ 0 h 49"/>
                <a:gd name="T20" fmla="*/ 1 w 44"/>
                <a:gd name="T21" fmla="*/ 1 h 49"/>
                <a:gd name="T22" fmla="*/ 1 w 44"/>
                <a:gd name="T23" fmla="*/ 1 h 49"/>
                <a:gd name="T24" fmla="*/ 1 w 44"/>
                <a:gd name="T25" fmla="*/ 1 h 49"/>
                <a:gd name="T26" fmla="*/ 1 w 44"/>
                <a:gd name="T27" fmla="*/ 1 h 49"/>
                <a:gd name="T28" fmla="*/ 1 w 44"/>
                <a:gd name="T29" fmla="*/ 1 h 49"/>
                <a:gd name="T30" fmla="*/ 1 w 44"/>
                <a:gd name="T31" fmla="*/ 1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4"/>
                <a:gd name="T49" fmla="*/ 0 h 49"/>
                <a:gd name="T50" fmla="*/ 44 w 44"/>
                <a:gd name="T51" fmla="*/ 49 h 4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4" h="49">
                  <a:moveTo>
                    <a:pt x="25" y="43"/>
                  </a:moveTo>
                  <a:lnTo>
                    <a:pt x="23" y="49"/>
                  </a:lnTo>
                  <a:lnTo>
                    <a:pt x="8" y="47"/>
                  </a:lnTo>
                  <a:lnTo>
                    <a:pt x="6" y="43"/>
                  </a:lnTo>
                  <a:lnTo>
                    <a:pt x="1" y="31"/>
                  </a:lnTo>
                  <a:lnTo>
                    <a:pt x="0" y="8"/>
                  </a:lnTo>
                  <a:lnTo>
                    <a:pt x="11" y="6"/>
                  </a:lnTo>
                  <a:lnTo>
                    <a:pt x="14" y="8"/>
                  </a:lnTo>
                  <a:lnTo>
                    <a:pt x="16" y="3"/>
                  </a:lnTo>
                  <a:lnTo>
                    <a:pt x="29" y="0"/>
                  </a:lnTo>
                  <a:lnTo>
                    <a:pt x="35" y="8"/>
                  </a:lnTo>
                  <a:lnTo>
                    <a:pt x="44" y="8"/>
                  </a:lnTo>
                  <a:lnTo>
                    <a:pt x="40" y="18"/>
                  </a:lnTo>
                  <a:lnTo>
                    <a:pt x="28" y="29"/>
                  </a:lnTo>
                  <a:lnTo>
                    <a:pt x="28" y="31"/>
                  </a:lnTo>
                  <a:lnTo>
                    <a:pt x="25" y="4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39" name="Freeform 195"/>
            <p:cNvSpPr>
              <a:spLocks/>
            </p:cNvSpPr>
            <p:nvPr/>
          </p:nvSpPr>
          <p:spPr bwMode="auto">
            <a:xfrm>
              <a:off x="2753" y="1121"/>
              <a:ext cx="20" cy="18"/>
            </a:xfrm>
            <a:custGeom>
              <a:avLst/>
              <a:gdLst>
                <a:gd name="T0" fmla="*/ 1 w 27"/>
                <a:gd name="T1" fmla="*/ 1 h 25"/>
                <a:gd name="T2" fmla="*/ 1 w 27"/>
                <a:gd name="T3" fmla="*/ 1 h 25"/>
                <a:gd name="T4" fmla="*/ 1 w 27"/>
                <a:gd name="T5" fmla="*/ 0 h 25"/>
                <a:gd name="T6" fmla="*/ 1 w 27"/>
                <a:gd name="T7" fmla="*/ 1 h 25"/>
                <a:gd name="T8" fmla="*/ 1 w 27"/>
                <a:gd name="T9" fmla="*/ 1 h 25"/>
                <a:gd name="T10" fmla="*/ 1 w 27"/>
                <a:gd name="T11" fmla="*/ 1 h 25"/>
                <a:gd name="T12" fmla="*/ 1 w 27"/>
                <a:gd name="T13" fmla="*/ 1 h 25"/>
                <a:gd name="T14" fmla="*/ 0 w 27"/>
                <a:gd name="T15" fmla="*/ 1 h 25"/>
                <a:gd name="T16" fmla="*/ 1 w 27"/>
                <a:gd name="T17" fmla="*/ 1 h 25"/>
                <a:gd name="T18" fmla="*/ 1 w 27"/>
                <a:gd name="T19" fmla="*/ 1 h 25"/>
                <a:gd name="T20" fmla="*/ 1 w 27"/>
                <a:gd name="T21" fmla="*/ 1 h 25"/>
                <a:gd name="T22" fmla="*/ 1 w 27"/>
                <a:gd name="T23" fmla="*/ 1 h 2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7"/>
                <a:gd name="T37" fmla="*/ 0 h 25"/>
                <a:gd name="T38" fmla="*/ 27 w 27"/>
                <a:gd name="T39" fmla="*/ 25 h 2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7" h="25">
                  <a:moveTo>
                    <a:pt x="27" y="8"/>
                  </a:moveTo>
                  <a:lnTo>
                    <a:pt x="25" y="5"/>
                  </a:lnTo>
                  <a:lnTo>
                    <a:pt x="18" y="0"/>
                  </a:lnTo>
                  <a:lnTo>
                    <a:pt x="18" y="7"/>
                  </a:lnTo>
                  <a:lnTo>
                    <a:pt x="12" y="7"/>
                  </a:lnTo>
                  <a:lnTo>
                    <a:pt x="3" y="2"/>
                  </a:lnTo>
                  <a:lnTo>
                    <a:pt x="1" y="7"/>
                  </a:lnTo>
                  <a:lnTo>
                    <a:pt x="0" y="13"/>
                  </a:lnTo>
                  <a:lnTo>
                    <a:pt x="15" y="25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7" y="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40" name="Freeform 196"/>
            <p:cNvSpPr>
              <a:spLocks/>
            </p:cNvSpPr>
            <p:nvPr/>
          </p:nvSpPr>
          <p:spPr bwMode="auto">
            <a:xfrm>
              <a:off x="2719" y="1094"/>
              <a:ext cx="25" cy="17"/>
            </a:xfrm>
            <a:custGeom>
              <a:avLst/>
              <a:gdLst>
                <a:gd name="T0" fmla="*/ 1 w 36"/>
                <a:gd name="T1" fmla="*/ 1 h 24"/>
                <a:gd name="T2" fmla="*/ 1 w 36"/>
                <a:gd name="T3" fmla="*/ 1 h 24"/>
                <a:gd name="T4" fmla="*/ 0 w 36"/>
                <a:gd name="T5" fmla="*/ 1 h 24"/>
                <a:gd name="T6" fmla="*/ 1 w 36"/>
                <a:gd name="T7" fmla="*/ 1 h 24"/>
                <a:gd name="T8" fmla="*/ 1 w 36"/>
                <a:gd name="T9" fmla="*/ 1 h 24"/>
                <a:gd name="T10" fmla="*/ 1 w 36"/>
                <a:gd name="T11" fmla="*/ 0 h 24"/>
                <a:gd name="T12" fmla="*/ 1 w 36"/>
                <a:gd name="T13" fmla="*/ 1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6"/>
                <a:gd name="T22" fmla="*/ 0 h 24"/>
                <a:gd name="T23" fmla="*/ 36 w 36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6" h="24">
                  <a:moveTo>
                    <a:pt x="30" y="17"/>
                  </a:moveTo>
                  <a:lnTo>
                    <a:pt x="2" y="18"/>
                  </a:lnTo>
                  <a:lnTo>
                    <a:pt x="0" y="24"/>
                  </a:lnTo>
                  <a:lnTo>
                    <a:pt x="1" y="14"/>
                  </a:lnTo>
                  <a:lnTo>
                    <a:pt x="18" y="11"/>
                  </a:lnTo>
                  <a:lnTo>
                    <a:pt x="36" y="0"/>
                  </a:lnTo>
                  <a:lnTo>
                    <a:pt x="30" y="1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41" name="Freeform 197"/>
            <p:cNvSpPr>
              <a:spLocks/>
            </p:cNvSpPr>
            <p:nvPr/>
          </p:nvSpPr>
          <p:spPr bwMode="auto">
            <a:xfrm>
              <a:off x="2737" y="1131"/>
              <a:ext cx="14" cy="7"/>
            </a:xfrm>
            <a:custGeom>
              <a:avLst/>
              <a:gdLst>
                <a:gd name="T0" fmla="*/ 1 w 19"/>
                <a:gd name="T1" fmla="*/ 1 h 10"/>
                <a:gd name="T2" fmla="*/ 1 w 19"/>
                <a:gd name="T3" fmla="*/ 0 h 10"/>
                <a:gd name="T4" fmla="*/ 0 w 19"/>
                <a:gd name="T5" fmla="*/ 1 h 10"/>
                <a:gd name="T6" fmla="*/ 1 w 19"/>
                <a:gd name="T7" fmla="*/ 1 h 10"/>
                <a:gd name="T8" fmla="*/ 1 w 19"/>
                <a:gd name="T9" fmla="*/ 1 h 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0"/>
                <a:gd name="T17" fmla="*/ 19 w 19"/>
                <a:gd name="T18" fmla="*/ 10 h 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0">
                  <a:moveTo>
                    <a:pt x="19" y="4"/>
                  </a:moveTo>
                  <a:lnTo>
                    <a:pt x="13" y="0"/>
                  </a:lnTo>
                  <a:lnTo>
                    <a:pt x="0" y="2"/>
                  </a:lnTo>
                  <a:lnTo>
                    <a:pt x="13" y="10"/>
                  </a:lnTo>
                  <a:lnTo>
                    <a:pt x="19" y="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42" name="Freeform 198"/>
            <p:cNvSpPr>
              <a:spLocks/>
            </p:cNvSpPr>
            <p:nvPr/>
          </p:nvSpPr>
          <p:spPr bwMode="auto">
            <a:xfrm>
              <a:off x="2765" y="1141"/>
              <a:ext cx="3" cy="3"/>
            </a:xfrm>
            <a:custGeom>
              <a:avLst/>
              <a:gdLst>
                <a:gd name="T0" fmla="*/ 2 w 4"/>
                <a:gd name="T1" fmla="*/ 1 h 4"/>
                <a:gd name="T2" fmla="*/ 0 w 4"/>
                <a:gd name="T3" fmla="*/ 0 h 4"/>
                <a:gd name="T4" fmla="*/ 0 w 4"/>
                <a:gd name="T5" fmla="*/ 2 h 4"/>
                <a:gd name="T6" fmla="*/ 2 w 4"/>
                <a:gd name="T7" fmla="*/ 1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4"/>
                <a:gd name="T14" fmla="*/ 4 w 4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4">
                  <a:moveTo>
                    <a:pt x="4" y="1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4" y="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43" name="Freeform 199"/>
            <p:cNvSpPr>
              <a:spLocks/>
            </p:cNvSpPr>
            <p:nvPr/>
          </p:nvSpPr>
          <p:spPr bwMode="auto">
            <a:xfrm>
              <a:off x="2903" y="1065"/>
              <a:ext cx="58" cy="28"/>
            </a:xfrm>
            <a:custGeom>
              <a:avLst/>
              <a:gdLst>
                <a:gd name="T0" fmla="*/ 1 w 82"/>
                <a:gd name="T1" fmla="*/ 1 h 38"/>
                <a:gd name="T2" fmla="*/ 1 w 82"/>
                <a:gd name="T3" fmla="*/ 1 h 38"/>
                <a:gd name="T4" fmla="*/ 1 w 82"/>
                <a:gd name="T5" fmla="*/ 0 h 38"/>
                <a:gd name="T6" fmla="*/ 0 w 82"/>
                <a:gd name="T7" fmla="*/ 1 h 38"/>
                <a:gd name="T8" fmla="*/ 1 w 82"/>
                <a:gd name="T9" fmla="*/ 1 h 38"/>
                <a:gd name="T10" fmla="*/ 1 w 82"/>
                <a:gd name="T11" fmla="*/ 1 h 38"/>
                <a:gd name="T12" fmla="*/ 1 w 82"/>
                <a:gd name="T13" fmla="*/ 1 h 38"/>
                <a:gd name="T14" fmla="*/ 1 w 82"/>
                <a:gd name="T15" fmla="*/ 1 h 38"/>
                <a:gd name="T16" fmla="*/ 1 w 82"/>
                <a:gd name="T17" fmla="*/ 1 h 38"/>
                <a:gd name="T18" fmla="*/ 1 w 82"/>
                <a:gd name="T19" fmla="*/ 1 h 3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2"/>
                <a:gd name="T31" fmla="*/ 0 h 38"/>
                <a:gd name="T32" fmla="*/ 82 w 82"/>
                <a:gd name="T33" fmla="*/ 38 h 3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2" h="38">
                  <a:moveTo>
                    <a:pt x="82" y="24"/>
                  </a:moveTo>
                  <a:lnTo>
                    <a:pt x="76" y="2"/>
                  </a:lnTo>
                  <a:lnTo>
                    <a:pt x="33" y="0"/>
                  </a:lnTo>
                  <a:lnTo>
                    <a:pt x="0" y="8"/>
                  </a:lnTo>
                  <a:lnTo>
                    <a:pt x="3" y="17"/>
                  </a:lnTo>
                  <a:lnTo>
                    <a:pt x="15" y="30"/>
                  </a:lnTo>
                  <a:lnTo>
                    <a:pt x="21" y="29"/>
                  </a:lnTo>
                  <a:lnTo>
                    <a:pt x="47" y="33"/>
                  </a:lnTo>
                  <a:lnTo>
                    <a:pt x="74" y="38"/>
                  </a:lnTo>
                  <a:lnTo>
                    <a:pt x="82" y="2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44" name="Freeform 200"/>
            <p:cNvSpPr>
              <a:spLocks/>
            </p:cNvSpPr>
            <p:nvPr/>
          </p:nvSpPr>
          <p:spPr bwMode="auto">
            <a:xfrm>
              <a:off x="2879" y="1086"/>
              <a:ext cx="93" cy="38"/>
            </a:xfrm>
            <a:custGeom>
              <a:avLst/>
              <a:gdLst>
                <a:gd name="T0" fmla="*/ 1 w 133"/>
                <a:gd name="T1" fmla="*/ 1 h 55"/>
                <a:gd name="T2" fmla="*/ 1 w 133"/>
                <a:gd name="T3" fmla="*/ 1 h 55"/>
                <a:gd name="T4" fmla="*/ 1 w 133"/>
                <a:gd name="T5" fmla="*/ 1 h 55"/>
                <a:gd name="T6" fmla="*/ 0 w 133"/>
                <a:gd name="T7" fmla="*/ 1 h 55"/>
                <a:gd name="T8" fmla="*/ 1 w 133"/>
                <a:gd name="T9" fmla="*/ 1 h 55"/>
                <a:gd name="T10" fmla="*/ 1 w 133"/>
                <a:gd name="T11" fmla="*/ 1 h 55"/>
                <a:gd name="T12" fmla="*/ 1 w 133"/>
                <a:gd name="T13" fmla="*/ 1 h 55"/>
                <a:gd name="T14" fmla="*/ 1 w 133"/>
                <a:gd name="T15" fmla="*/ 1 h 55"/>
                <a:gd name="T16" fmla="*/ 1 w 133"/>
                <a:gd name="T17" fmla="*/ 0 h 55"/>
                <a:gd name="T18" fmla="*/ 1 w 133"/>
                <a:gd name="T19" fmla="*/ 1 h 55"/>
                <a:gd name="T20" fmla="*/ 1 w 133"/>
                <a:gd name="T21" fmla="*/ 1 h 55"/>
                <a:gd name="T22" fmla="*/ 1 w 133"/>
                <a:gd name="T23" fmla="*/ 1 h 55"/>
                <a:gd name="T24" fmla="*/ 1 w 133"/>
                <a:gd name="T25" fmla="*/ 1 h 55"/>
                <a:gd name="T26" fmla="*/ 1 w 133"/>
                <a:gd name="T27" fmla="*/ 1 h 55"/>
                <a:gd name="T28" fmla="*/ 1 w 133"/>
                <a:gd name="T29" fmla="*/ 1 h 5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33"/>
                <a:gd name="T46" fmla="*/ 0 h 55"/>
                <a:gd name="T47" fmla="*/ 133 w 133"/>
                <a:gd name="T48" fmla="*/ 55 h 5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33" h="55">
                  <a:moveTo>
                    <a:pt x="68" y="38"/>
                  </a:moveTo>
                  <a:lnTo>
                    <a:pt x="36" y="42"/>
                  </a:lnTo>
                  <a:lnTo>
                    <a:pt x="5" y="45"/>
                  </a:lnTo>
                  <a:lnTo>
                    <a:pt x="0" y="46"/>
                  </a:lnTo>
                  <a:lnTo>
                    <a:pt x="9" y="16"/>
                  </a:lnTo>
                  <a:lnTo>
                    <a:pt x="26" y="15"/>
                  </a:lnTo>
                  <a:lnTo>
                    <a:pt x="49" y="30"/>
                  </a:lnTo>
                  <a:lnTo>
                    <a:pt x="58" y="21"/>
                  </a:lnTo>
                  <a:lnTo>
                    <a:pt x="56" y="0"/>
                  </a:lnTo>
                  <a:lnTo>
                    <a:pt x="82" y="4"/>
                  </a:lnTo>
                  <a:lnTo>
                    <a:pt x="109" y="9"/>
                  </a:lnTo>
                  <a:lnTo>
                    <a:pt x="119" y="26"/>
                  </a:lnTo>
                  <a:lnTo>
                    <a:pt x="133" y="52"/>
                  </a:lnTo>
                  <a:lnTo>
                    <a:pt x="106" y="55"/>
                  </a:lnTo>
                  <a:lnTo>
                    <a:pt x="68" y="3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45" name="Freeform 201"/>
            <p:cNvSpPr>
              <a:spLocks/>
            </p:cNvSpPr>
            <p:nvPr/>
          </p:nvSpPr>
          <p:spPr bwMode="auto">
            <a:xfrm>
              <a:off x="2879" y="1113"/>
              <a:ext cx="75" cy="39"/>
            </a:xfrm>
            <a:custGeom>
              <a:avLst/>
              <a:gdLst>
                <a:gd name="T0" fmla="*/ 1 w 106"/>
                <a:gd name="T1" fmla="*/ 1 h 55"/>
                <a:gd name="T2" fmla="*/ 0 w 106"/>
                <a:gd name="T3" fmla="*/ 1 h 55"/>
                <a:gd name="T4" fmla="*/ 1 w 106"/>
                <a:gd name="T5" fmla="*/ 1 h 55"/>
                <a:gd name="T6" fmla="*/ 1 w 106"/>
                <a:gd name="T7" fmla="*/ 1 h 55"/>
                <a:gd name="T8" fmla="*/ 1 w 106"/>
                <a:gd name="T9" fmla="*/ 0 h 55"/>
                <a:gd name="T10" fmla="*/ 1 w 106"/>
                <a:gd name="T11" fmla="*/ 1 h 55"/>
                <a:gd name="T12" fmla="*/ 1 w 106"/>
                <a:gd name="T13" fmla="*/ 1 h 55"/>
                <a:gd name="T14" fmla="*/ 1 w 106"/>
                <a:gd name="T15" fmla="*/ 1 h 55"/>
                <a:gd name="T16" fmla="*/ 1 w 106"/>
                <a:gd name="T17" fmla="*/ 1 h 55"/>
                <a:gd name="T18" fmla="*/ 1 w 106"/>
                <a:gd name="T19" fmla="*/ 1 h 55"/>
                <a:gd name="T20" fmla="*/ 1 w 106"/>
                <a:gd name="T21" fmla="*/ 1 h 55"/>
                <a:gd name="T22" fmla="*/ 1 w 106"/>
                <a:gd name="T23" fmla="*/ 1 h 5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6"/>
                <a:gd name="T37" fmla="*/ 0 h 55"/>
                <a:gd name="T38" fmla="*/ 106 w 106"/>
                <a:gd name="T39" fmla="*/ 55 h 5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6" h="55">
                  <a:moveTo>
                    <a:pt x="4" y="40"/>
                  </a:moveTo>
                  <a:lnTo>
                    <a:pt x="0" y="8"/>
                  </a:lnTo>
                  <a:lnTo>
                    <a:pt x="5" y="7"/>
                  </a:lnTo>
                  <a:lnTo>
                    <a:pt x="36" y="4"/>
                  </a:lnTo>
                  <a:lnTo>
                    <a:pt x="68" y="0"/>
                  </a:lnTo>
                  <a:lnTo>
                    <a:pt x="106" y="17"/>
                  </a:lnTo>
                  <a:lnTo>
                    <a:pt x="79" y="36"/>
                  </a:lnTo>
                  <a:lnTo>
                    <a:pt x="50" y="55"/>
                  </a:lnTo>
                  <a:lnTo>
                    <a:pt x="33" y="54"/>
                  </a:lnTo>
                  <a:lnTo>
                    <a:pt x="33" y="44"/>
                  </a:lnTo>
                  <a:lnTo>
                    <a:pt x="16" y="42"/>
                  </a:lnTo>
                  <a:lnTo>
                    <a:pt x="4" y="4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46" name="Freeform 202"/>
            <p:cNvSpPr>
              <a:spLocks/>
            </p:cNvSpPr>
            <p:nvPr/>
          </p:nvSpPr>
          <p:spPr bwMode="auto">
            <a:xfrm>
              <a:off x="2656" y="1166"/>
              <a:ext cx="50" cy="44"/>
            </a:xfrm>
            <a:custGeom>
              <a:avLst/>
              <a:gdLst>
                <a:gd name="T0" fmla="*/ 1 w 70"/>
                <a:gd name="T1" fmla="*/ 1 h 62"/>
                <a:gd name="T2" fmla="*/ 1 w 70"/>
                <a:gd name="T3" fmla="*/ 1 h 62"/>
                <a:gd name="T4" fmla="*/ 1 w 70"/>
                <a:gd name="T5" fmla="*/ 1 h 62"/>
                <a:gd name="T6" fmla="*/ 1 w 70"/>
                <a:gd name="T7" fmla="*/ 1 h 62"/>
                <a:gd name="T8" fmla="*/ 1 w 70"/>
                <a:gd name="T9" fmla="*/ 0 h 62"/>
                <a:gd name="T10" fmla="*/ 1 w 70"/>
                <a:gd name="T11" fmla="*/ 1 h 62"/>
                <a:gd name="T12" fmla="*/ 1 w 70"/>
                <a:gd name="T13" fmla="*/ 1 h 62"/>
                <a:gd name="T14" fmla="*/ 0 w 70"/>
                <a:gd name="T15" fmla="*/ 1 h 62"/>
                <a:gd name="T16" fmla="*/ 1 w 70"/>
                <a:gd name="T17" fmla="*/ 1 h 62"/>
                <a:gd name="T18" fmla="*/ 1 w 70"/>
                <a:gd name="T19" fmla="*/ 1 h 62"/>
                <a:gd name="T20" fmla="*/ 1 w 70"/>
                <a:gd name="T21" fmla="*/ 1 h 62"/>
                <a:gd name="T22" fmla="*/ 1 w 70"/>
                <a:gd name="T23" fmla="*/ 1 h 62"/>
                <a:gd name="T24" fmla="*/ 1 w 70"/>
                <a:gd name="T25" fmla="*/ 1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70"/>
                <a:gd name="T40" fmla="*/ 0 h 62"/>
                <a:gd name="T41" fmla="*/ 70 w 70"/>
                <a:gd name="T42" fmla="*/ 62 h 6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70" h="62">
                  <a:moveTo>
                    <a:pt x="52" y="36"/>
                  </a:moveTo>
                  <a:lnTo>
                    <a:pt x="68" y="27"/>
                  </a:lnTo>
                  <a:lnTo>
                    <a:pt x="62" y="16"/>
                  </a:lnTo>
                  <a:lnTo>
                    <a:pt x="70" y="3"/>
                  </a:lnTo>
                  <a:lnTo>
                    <a:pt x="46" y="0"/>
                  </a:lnTo>
                  <a:lnTo>
                    <a:pt x="22" y="14"/>
                  </a:lnTo>
                  <a:lnTo>
                    <a:pt x="6" y="39"/>
                  </a:lnTo>
                  <a:lnTo>
                    <a:pt x="0" y="48"/>
                  </a:lnTo>
                  <a:lnTo>
                    <a:pt x="15" y="48"/>
                  </a:lnTo>
                  <a:lnTo>
                    <a:pt x="40" y="49"/>
                  </a:lnTo>
                  <a:lnTo>
                    <a:pt x="44" y="57"/>
                  </a:lnTo>
                  <a:lnTo>
                    <a:pt x="50" y="62"/>
                  </a:lnTo>
                  <a:lnTo>
                    <a:pt x="52" y="36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47" name="Freeform 203"/>
            <p:cNvSpPr>
              <a:spLocks/>
            </p:cNvSpPr>
            <p:nvPr/>
          </p:nvSpPr>
          <p:spPr bwMode="auto">
            <a:xfrm>
              <a:off x="2796" y="1144"/>
              <a:ext cx="135" cy="94"/>
            </a:xfrm>
            <a:custGeom>
              <a:avLst/>
              <a:gdLst>
                <a:gd name="T0" fmla="*/ 1 w 192"/>
                <a:gd name="T1" fmla="*/ 1 h 135"/>
                <a:gd name="T2" fmla="*/ 1 w 192"/>
                <a:gd name="T3" fmla="*/ 0 h 135"/>
                <a:gd name="T4" fmla="*/ 1 w 192"/>
                <a:gd name="T5" fmla="*/ 1 h 135"/>
                <a:gd name="T6" fmla="*/ 1 w 192"/>
                <a:gd name="T7" fmla="*/ 1 h 135"/>
                <a:gd name="T8" fmla="*/ 0 w 192"/>
                <a:gd name="T9" fmla="*/ 1 h 135"/>
                <a:gd name="T10" fmla="*/ 1 w 192"/>
                <a:gd name="T11" fmla="*/ 1 h 135"/>
                <a:gd name="T12" fmla="*/ 1 w 192"/>
                <a:gd name="T13" fmla="*/ 1 h 135"/>
                <a:gd name="T14" fmla="*/ 1 w 192"/>
                <a:gd name="T15" fmla="*/ 1 h 135"/>
                <a:gd name="T16" fmla="*/ 1 w 192"/>
                <a:gd name="T17" fmla="*/ 1 h 135"/>
                <a:gd name="T18" fmla="*/ 1 w 192"/>
                <a:gd name="T19" fmla="*/ 1 h 135"/>
                <a:gd name="T20" fmla="*/ 1 w 192"/>
                <a:gd name="T21" fmla="*/ 1 h 135"/>
                <a:gd name="T22" fmla="*/ 1 w 192"/>
                <a:gd name="T23" fmla="*/ 1 h 135"/>
                <a:gd name="T24" fmla="*/ 1 w 192"/>
                <a:gd name="T25" fmla="*/ 1 h 135"/>
                <a:gd name="T26" fmla="*/ 1 w 192"/>
                <a:gd name="T27" fmla="*/ 1 h 135"/>
                <a:gd name="T28" fmla="*/ 1 w 192"/>
                <a:gd name="T29" fmla="*/ 1 h 135"/>
                <a:gd name="T30" fmla="*/ 1 w 192"/>
                <a:gd name="T31" fmla="*/ 1 h 135"/>
                <a:gd name="T32" fmla="*/ 1 w 192"/>
                <a:gd name="T33" fmla="*/ 1 h 135"/>
                <a:gd name="T34" fmla="*/ 1 w 192"/>
                <a:gd name="T35" fmla="*/ 1 h 135"/>
                <a:gd name="T36" fmla="*/ 1 w 192"/>
                <a:gd name="T37" fmla="*/ 1 h 135"/>
                <a:gd name="T38" fmla="*/ 1 w 192"/>
                <a:gd name="T39" fmla="*/ 1 h 135"/>
                <a:gd name="T40" fmla="*/ 1 w 192"/>
                <a:gd name="T41" fmla="*/ 1 h 135"/>
                <a:gd name="T42" fmla="*/ 1 w 192"/>
                <a:gd name="T43" fmla="*/ 1 h 135"/>
                <a:gd name="T44" fmla="*/ 1 w 192"/>
                <a:gd name="T45" fmla="*/ 1 h 135"/>
                <a:gd name="T46" fmla="*/ 1 w 192"/>
                <a:gd name="T47" fmla="*/ 1 h 135"/>
                <a:gd name="T48" fmla="*/ 1 w 192"/>
                <a:gd name="T49" fmla="*/ 1 h 135"/>
                <a:gd name="T50" fmla="*/ 1 w 192"/>
                <a:gd name="T51" fmla="*/ 1 h 135"/>
                <a:gd name="T52" fmla="*/ 1 w 192"/>
                <a:gd name="T53" fmla="*/ 1 h 135"/>
                <a:gd name="T54" fmla="*/ 1 w 192"/>
                <a:gd name="T55" fmla="*/ 1 h 135"/>
                <a:gd name="T56" fmla="*/ 1 w 192"/>
                <a:gd name="T57" fmla="*/ 1 h 135"/>
                <a:gd name="T58" fmla="*/ 1 w 192"/>
                <a:gd name="T59" fmla="*/ 1 h 13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92"/>
                <a:gd name="T91" fmla="*/ 0 h 135"/>
                <a:gd name="T92" fmla="*/ 192 w 192"/>
                <a:gd name="T93" fmla="*/ 135 h 135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92" h="135">
                  <a:moveTo>
                    <a:pt x="79" y="7"/>
                  </a:moveTo>
                  <a:lnTo>
                    <a:pt x="75" y="0"/>
                  </a:lnTo>
                  <a:lnTo>
                    <a:pt x="50" y="3"/>
                  </a:lnTo>
                  <a:lnTo>
                    <a:pt x="25" y="11"/>
                  </a:lnTo>
                  <a:lnTo>
                    <a:pt x="0" y="16"/>
                  </a:lnTo>
                  <a:lnTo>
                    <a:pt x="7" y="23"/>
                  </a:lnTo>
                  <a:lnTo>
                    <a:pt x="1" y="25"/>
                  </a:lnTo>
                  <a:lnTo>
                    <a:pt x="3" y="47"/>
                  </a:lnTo>
                  <a:lnTo>
                    <a:pt x="14" y="73"/>
                  </a:lnTo>
                  <a:lnTo>
                    <a:pt x="18" y="93"/>
                  </a:lnTo>
                  <a:lnTo>
                    <a:pt x="20" y="91"/>
                  </a:lnTo>
                  <a:lnTo>
                    <a:pt x="45" y="101"/>
                  </a:lnTo>
                  <a:lnTo>
                    <a:pt x="50" y="107"/>
                  </a:lnTo>
                  <a:lnTo>
                    <a:pt x="60" y="106"/>
                  </a:lnTo>
                  <a:lnTo>
                    <a:pt x="74" y="107"/>
                  </a:lnTo>
                  <a:lnTo>
                    <a:pt x="97" y="124"/>
                  </a:lnTo>
                  <a:lnTo>
                    <a:pt x="119" y="125"/>
                  </a:lnTo>
                  <a:lnTo>
                    <a:pt x="122" y="130"/>
                  </a:lnTo>
                  <a:lnTo>
                    <a:pt x="139" y="129"/>
                  </a:lnTo>
                  <a:lnTo>
                    <a:pt x="169" y="135"/>
                  </a:lnTo>
                  <a:lnTo>
                    <a:pt x="172" y="127"/>
                  </a:lnTo>
                  <a:lnTo>
                    <a:pt x="190" y="103"/>
                  </a:lnTo>
                  <a:lnTo>
                    <a:pt x="192" y="91"/>
                  </a:lnTo>
                  <a:lnTo>
                    <a:pt x="181" y="66"/>
                  </a:lnTo>
                  <a:lnTo>
                    <a:pt x="170" y="59"/>
                  </a:lnTo>
                  <a:lnTo>
                    <a:pt x="182" y="42"/>
                  </a:lnTo>
                  <a:lnTo>
                    <a:pt x="167" y="12"/>
                  </a:lnTo>
                  <a:lnTo>
                    <a:pt x="132" y="10"/>
                  </a:lnTo>
                  <a:lnTo>
                    <a:pt x="98" y="6"/>
                  </a:lnTo>
                  <a:lnTo>
                    <a:pt x="79" y="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448" name="Freeform 204"/>
            <p:cNvSpPr>
              <a:spLocks/>
            </p:cNvSpPr>
            <p:nvPr/>
          </p:nvSpPr>
          <p:spPr bwMode="auto">
            <a:xfrm>
              <a:off x="2891" y="1252"/>
              <a:ext cx="130" cy="79"/>
            </a:xfrm>
            <a:custGeom>
              <a:avLst/>
              <a:gdLst>
                <a:gd name="T0" fmla="*/ 1 w 187"/>
                <a:gd name="T1" fmla="*/ 1 h 112"/>
                <a:gd name="T2" fmla="*/ 1 w 187"/>
                <a:gd name="T3" fmla="*/ 1 h 112"/>
                <a:gd name="T4" fmla="*/ 1 w 187"/>
                <a:gd name="T5" fmla="*/ 1 h 112"/>
                <a:gd name="T6" fmla="*/ 1 w 187"/>
                <a:gd name="T7" fmla="*/ 1 h 112"/>
                <a:gd name="T8" fmla="*/ 1 w 187"/>
                <a:gd name="T9" fmla="*/ 1 h 112"/>
                <a:gd name="T10" fmla="*/ 1 w 187"/>
                <a:gd name="T11" fmla="*/ 1 h 112"/>
                <a:gd name="T12" fmla="*/ 1 w 187"/>
                <a:gd name="T13" fmla="*/ 1 h 112"/>
                <a:gd name="T14" fmla="*/ 1 w 187"/>
                <a:gd name="T15" fmla="*/ 1 h 112"/>
                <a:gd name="T16" fmla="*/ 1 w 187"/>
                <a:gd name="T17" fmla="*/ 1 h 112"/>
                <a:gd name="T18" fmla="*/ 1 w 187"/>
                <a:gd name="T19" fmla="*/ 1 h 112"/>
                <a:gd name="T20" fmla="*/ 1 w 187"/>
                <a:gd name="T21" fmla="*/ 1 h 112"/>
                <a:gd name="T22" fmla="*/ 0 w 187"/>
                <a:gd name="T23" fmla="*/ 1 h 112"/>
                <a:gd name="T24" fmla="*/ 1 w 187"/>
                <a:gd name="T25" fmla="*/ 1 h 112"/>
                <a:gd name="T26" fmla="*/ 1 w 187"/>
                <a:gd name="T27" fmla="*/ 1 h 112"/>
                <a:gd name="T28" fmla="*/ 1 w 187"/>
                <a:gd name="T29" fmla="*/ 1 h 112"/>
                <a:gd name="T30" fmla="*/ 1 w 187"/>
                <a:gd name="T31" fmla="*/ 1 h 112"/>
                <a:gd name="T32" fmla="*/ 1 w 187"/>
                <a:gd name="T33" fmla="*/ 1 h 112"/>
                <a:gd name="T34" fmla="*/ 1 w 187"/>
                <a:gd name="T35" fmla="*/ 0 h 112"/>
                <a:gd name="T36" fmla="*/ 1 w 187"/>
                <a:gd name="T37" fmla="*/ 0 h 112"/>
                <a:gd name="T38" fmla="*/ 1 w 187"/>
                <a:gd name="T39" fmla="*/ 1 h 112"/>
                <a:gd name="T40" fmla="*/ 1 w 187"/>
                <a:gd name="T41" fmla="*/ 1 h 112"/>
                <a:gd name="T42" fmla="*/ 1 w 187"/>
                <a:gd name="T43" fmla="*/ 1 h 112"/>
                <a:gd name="T44" fmla="*/ 1 w 187"/>
                <a:gd name="T45" fmla="*/ 1 h 112"/>
                <a:gd name="T46" fmla="*/ 1 w 187"/>
                <a:gd name="T47" fmla="*/ 1 h 112"/>
                <a:gd name="T48" fmla="*/ 1 w 187"/>
                <a:gd name="T49" fmla="*/ 1 h 112"/>
                <a:gd name="T50" fmla="*/ 1 w 187"/>
                <a:gd name="T51" fmla="*/ 1 h 112"/>
                <a:gd name="T52" fmla="*/ 1 w 187"/>
                <a:gd name="T53" fmla="*/ 1 h 112"/>
                <a:gd name="T54" fmla="*/ 1 w 187"/>
                <a:gd name="T55" fmla="*/ 1 h 112"/>
                <a:gd name="T56" fmla="*/ 1 w 187"/>
                <a:gd name="T57" fmla="*/ 1 h 11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87"/>
                <a:gd name="T88" fmla="*/ 0 h 112"/>
                <a:gd name="T89" fmla="*/ 187 w 187"/>
                <a:gd name="T90" fmla="*/ 112 h 112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87" h="112">
                  <a:moveTo>
                    <a:pt x="172" y="91"/>
                  </a:moveTo>
                  <a:lnTo>
                    <a:pt x="169" y="109"/>
                  </a:lnTo>
                  <a:lnTo>
                    <a:pt x="132" y="102"/>
                  </a:lnTo>
                  <a:lnTo>
                    <a:pt x="101" y="112"/>
                  </a:lnTo>
                  <a:lnTo>
                    <a:pt x="78" y="108"/>
                  </a:lnTo>
                  <a:lnTo>
                    <a:pt x="57" y="104"/>
                  </a:lnTo>
                  <a:lnTo>
                    <a:pt x="52" y="97"/>
                  </a:lnTo>
                  <a:lnTo>
                    <a:pt x="51" y="90"/>
                  </a:lnTo>
                  <a:lnTo>
                    <a:pt x="43" y="88"/>
                  </a:lnTo>
                  <a:lnTo>
                    <a:pt x="37" y="86"/>
                  </a:lnTo>
                  <a:lnTo>
                    <a:pt x="29" y="82"/>
                  </a:lnTo>
                  <a:lnTo>
                    <a:pt x="0" y="52"/>
                  </a:lnTo>
                  <a:lnTo>
                    <a:pt x="11" y="48"/>
                  </a:lnTo>
                  <a:lnTo>
                    <a:pt x="27" y="26"/>
                  </a:lnTo>
                  <a:lnTo>
                    <a:pt x="46" y="7"/>
                  </a:lnTo>
                  <a:lnTo>
                    <a:pt x="47" y="7"/>
                  </a:lnTo>
                  <a:lnTo>
                    <a:pt x="83" y="11"/>
                  </a:lnTo>
                  <a:lnTo>
                    <a:pt x="115" y="0"/>
                  </a:lnTo>
                  <a:lnTo>
                    <a:pt x="118" y="0"/>
                  </a:lnTo>
                  <a:lnTo>
                    <a:pt x="132" y="14"/>
                  </a:lnTo>
                  <a:lnTo>
                    <a:pt x="147" y="29"/>
                  </a:lnTo>
                  <a:lnTo>
                    <a:pt x="153" y="49"/>
                  </a:lnTo>
                  <a:lnTo>
                    <a:pt x="159" y="70"/>
                  </a:lnTo>
                  <a:lnTo>
                    <a:pt x="174" y="70"/>
                  </a:lnTo>
                  <a:lnTo>
                    <a:pt x="186" y="73"/>
                  </a:lnTo>
                  <a:lnTo>
                    <a:pt x="187" y="79"/>
                  </a:lnTo>
                  <a:lnTo>
                    <a:pt x="178" y="84"/>
                  </a:lnTo>
                  <a:lnTo>
                    <a:pt x="175" y="82"/>
                  </a:lnTo>
                  <a:lnTo>
                    <a:pt x="172" y="9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49" name="Freeform 205"/>
            <p:cNvSpPr>
              <a:spLocks/>
            </p:cNvSpPr>
            <p:nvPr/>
          </p:nvSpPr>
          <p:spPr bwMode="auto">
            <a:xfrm>
              <a:off x="2775" y="1207"/>
              <a:ext cx="90" cy="39"/>
            </a:xfrm>
            <a:custGeom>
              <a:avLst/>
              <a:gdLst>
                <a:gd name="T0" fmla="*/ 1 w 127"/>
                <a:gd name="T1" fmla="*/ 1 h 58"/>
                <a:gd name="T2" fmla="*/ 1 w 127"/>
                <a:gd name="T3" fmla="*/ 1 h 58"/>
                <a:gd name="T4" fmla="*/ 1 w 127"/>
                <a:gd name="T5" fmla="*/ 1 h 58"/>
                <a:gd name="T6" fmla="*/ 1 w 127"/>
                <a:gd name="T7" fmla="*/ 1 h 58"/>
                <a:gd name="T8" fmla="*/ 1 w 127"/>
                <a:gd name="T9" fmla="*/ 1 h 58"/>
                <a:gd name="T10" fmla="*/ 1 w 127"/>
                <a:gd name="T11" fmla="*/ 1 h 58"/>
                <a:gd name="T12" fmla="*/ 1 w 127"/>
                <a:gd name="T13" fmla="*/ 1 h 58"/>
                <a:gd name="T14" fmla="*/ 1 w 127"/>
                <a:gd name="T15" fmla="*/ 1 h 58"/>
                <a:gd name="T16" fmla="*/ 1 w 127"/>
                <a:gd name="T17" fmla="*/ 1 h 58"/>
                <a:gd name="T18" fmla="*/ 1 w 127"/>
                <a:gd name="T19" fmla="*/ 1 h 58"/>
                <a:gd name="T20" fmla="*/ 1 w 127"/>
                <a:gd name="T21" fmla="*/ 1 h 58"/>
                <a:gd name="T22" fmla="*/ 1 w 127"/>
                <a:gd name="T23" fmla="*/ 1 h 58"/>
                <a:gd name="T24" fmla="*/ 1 w 127"/>
                <a:gd name="T25" fmla="*/ 1 h 58"/>
                <a:gd name="T26" fmla="*/ 1 w 127"/>
                <a:gd name="T27" fmla="*/ 1 h 58"/>
                <a:gd name="T28" fmla="*/ 0 w 127"/>
                <a:gd name="T29" fmla="*/ 1 h 58"/>
                <a:gd name="T30" fmla="*/ 1 w 127"/>
                <a:gd name="T31" fmla="*/ 0 h 58"/>
                <a:gd name="T32" fmla="*/ 1 w 127"/>
                <a:gd name="T33" fmla="*/ 1 h 58"/>
                <a:gd name="T34" fmla="*/ 1 w 127"/>
                <a:gd name="T35" fmla="*/ 1 h 58"/>
                <a:gd name="T36" fmla="*/ 1 w 127"/>
                <a:gd name="T37" fmla="*/ 1 h 58"/>
                <a:gd name="T38" fmla="*/ 1 w 127"/>
                <a:gd name="T39" fmla="*/ 1 h 58"/>
                <a:gd name="T40" fmla="*/ 1 w 127"/>
                <a:gd name="T41" fmla="*/ 1 h 58"/>
                <a:gd name="T42" fmla="*/ 1 w 127"/>
                <a:gd name="T43" fmla="*/ 1 h 5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27"/>
                <a:gd name="T67" fmla="*/ 0 h 58"/>
                <a:gd name="T68" fmla="*/ 127 w 127"/>
                <a:gd name="T69" fmla="*/ 58 h 58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27" h="58">
                  <a:moveTo>
                    <a:pt x="104" y="17"/>
                  </a:moveTo>
                  <a:lnTo>
                    <a:pt x="127" y="34"/>
                  </a:lnTo>
                  <a:lnTo>
                    <a:pt x="126" y="36"/>
                  </a:lnTo>
                  <a:lnTo>
                    <a:pt x="120" y="41"/>
                  </a:lnTo>
                  <a:lnTo>
                    <a:pt x="115" y="42"/>
                  </a:lnTo>
                  <a:lnTo>
                    <a:pt x="115" y="45"/>
                  </a:lnTo>
                  <a:lnTo>
                    <a:pt x="109" y="52"/>
                  </a:lnTo>
                  <a:lnTo>
                    <a:pt x="98" y="53"/>
                  </a:lnTo>
                  <a:lnTo>
                    <a:pt x="92" y="54"/>
                  </a:lnTo>
                  <a:lnTo>
                    <a:pt x="85" y="53"/>
                  </a:lnTo>
                  <a:lnTo>
                    <a:pt x="55" y="49"/>
                  </a:lnTo>
                  <a:lnTo>
                    <a:pt x="43" y="58"/>
                  </a:lnTo>
                  <a:lnTo>
                    <a:pt x="32" y="53"/>
                  </a:lnTo>
                  <a:lnTo>
                    <a:pt x="5" y="27"/>
                  </a:lnTo>
                  <a:lnTo>
                    <a:pt x="0" y="18"/>
                  </a:lnTo>
                  <a:lnTo>
                    <a:pt x="43" y="0"/>
                  </a:lnTo>
                  <a:lnTo>
                    <a:pt x="48" y="3"/>
                  </a:lnTo>
                  <a:lnTo>
                    <a:pt x="50" y="1"/>
                  </a:lnTo>
                  <a:lnTo>
                    <a:pt x="75" y="11"/>
                  </a:lnTo>
                  <a:lnTo>
                    <a:pt x="80" y="17"/>
                  </a:lnTo>
                  <a:lnTo>
                    <a:pt x="90" y="16"/>
                  </a:lnTo>
                  <a:lnTo>
                    <a:pt x="104" y="1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50" name="Freeform 206"/>
            <p:cNvSpPr>
              <a:spLocks/>
            </p:cNvSpPr>
            <p:nvPr/>
          </p:nvSpPr>
          <p:spPr bwMode="auto">
            <a:xfrm>
              <a:off x="2646" y="1200"/>
              <a:ext cx="48" cy="29"/>
            </a:xfrm>
            <a:custGeom>
              <a:avLst/>
              <a:gdLst>
                <a:gd name="T0" fmla="*/ 1 w 70"/>
                <a:gd name="T1" fmla="*/ 0 h 43"/>
                <a:gd name="T2" fmla="*/ 0 w 70"/>
                <a:gd name="T3" fmla="*/ 1 h 43"/>
                <a:gd name="T4" fmla="*/ 1 w 70"/>
                <a:gd name="T5" fmla="*/ 1 h 43"/>
                <a:gd name="T6" fmla="*/ 1 w 70"/>
                <a:gd name="T7" fmla="*/ 1 h 43"/>
                <a:gd name="T8" fmla="*/ 1 w 70"/>
                <a:gd name="T9" fmla="*/ 1 h 43"/>
                <a:gd name="T10" fmla="*/ 1 w 70"/>
                <a:gd name="T11" fmla="*/ 1 h 43"/>
                <a:gd name="T12" fmla="*/ 1 w 70"/>
                <a:gd name="T13" fmla="*/ 1 h 43"/>
                <a:gd name="T14" fmla="*/ 1 w 70"/>
                <a:gd name="T15" fmla="*/ 1 h 43"/>
                <a:gd name="T16" fmla="*/ 1 w 70"/>
                <a:gd name="T17" fmla="*/ 1 h 43"/>
                <a:gd name="T18" fmla="*/ 1 w 70"/>
                <a:gd name="T19" fmla="*/ 1 h 43"/>
                <a:gd name="T20" fmla="*/ 1 w 70"/>
                <a:gd name="T21" fmla="*/ 1 h 43"/>
                <a:gd name="T22" fmla="*/ 1 w 70"/>
                <a:gd name="T23" fmla="*/ 1 h 43"/>
                <a:gd name="T24" fmla="*/ 1 w 70"/>
                <a:gd name="T25" fmla="*/ 1 h 43"/>
                <a:gd name="T26" fmla="*/ 1 w 70"/>
                <a:gd name="T27" fmla="*/ 1 h 43"/>
                <a:gd name="T28" fmla="*/ 1 w 70"/>
                <a:gd name="T29" fmla="*/ 0 h 43"/>
                <a:gd name="T30" fmla="*/ 1 w 70"/>
                <a:gd name="T31" fmla="*/ 0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70"/>
                <a:gd name="T49" fmla="*/ 0 h 43"/>
                <a:gd name="T50" fmla="*/ 70 w 70"/>
                <a:gd name="T51" fmla="*/ 43 h 4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70" h="43">
                  <a:moveTo>
                    <a:pt x="16" y="0"/>
                  </a:moveTo>
                  <a:lnTo>
                    <a:pt x="0" y="6"/>
                  </a:lnTo>
                  <a:lnTo>
                    <a:pt x="7" y="14"/>
                  </a:lnTo>
                  <a:lnTo>
                    <a:pt x="32" y="31"/>
                  </a:lnTo>
                  <a:lnTo>
                    <a:pt x="41" y="30"/>
                  </a:lnTo>
                  <a:lnTo>
                    <a:pt x="43" y="32"/>
                  </a:lnTo>
                  <a:lnTo>
                    <a:pt x="62" y="43"/>
                  </a:lnTo>
                  <a:lnTo>
                    <a:pt x="64" y="43"/>
                  </a:lnTo>
                  <a:lnTo>
                    <a:pt x="64" y="39"/>
                  </a:lnTo>
                  <a:lnTo>
                    <a:pt x="68" y="28"/>
                  </a:lnTo>
                  <a:lnTo>
                    <a:pt x="70" y="16"/>
                  </a:lnTo>
                  <a:lnTo>
                    <a:pt x="66" y="14"/>
                  </a:lnTo>
                  <a:lnTo>
                    <a:pt x="60" y="9"/>
                  </a:lnTo>
                  <a:lnTo>
                    <a:pt x="56" y="1"/>
                  </a:lnTo>
                  <a:lnTo>
                    <a:pt x="31" y="0"/>
                  </a:lnTo>
                  <a:lnTo>
                    <a:pt x="16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51" name="Freeform 207"/>
            <p:cNvSpPr>
              <a:spLocks/>
            </p:cNvSpPr>
            <p:nvPr/>
          </p:nvSpPr>
          <p:spPr bwMode="auto">
            <a:xfrm>
              <a:off x="2692" y="1141"/>
              <a:ext cx="117" cy="126"/>
            </a:xfrm>
            <a:custGeom>
              <a:avLst/>
              <a:gdLst>
                <a:gd name="T0" fmla="*/ 1 w 167"/>
                <a:gd name="T1" fmla="*/ 1 h 180"/>
                <a:gd name="T2" fmla="*/ 1 w 167"/>
                <a:gd name="T3" fmla="*/ 1 h 180"/>
                <a:gd name="T4" fmla="*/ 1 w 167"/>
                <a:gd name="T5" fmla="*/ 1 h 180"/>
                <a:gd name="T6" fmla="*/ 1 w 167"/>
                <a:gd name="T7" fmla="*/ 1 h 180"/>
                <a:gd name="T8" fmla="*/ 1 w 167"/>
                <a:gd name="T9" fmla="*/ 1 h 180"/>
                <a:gd name="T10" fmla="*/ 1 w 167"/>
                <a:gd name="T11" fmla="*/ 1 h 180"/>
                <a:gd name="T12" fmla="*/ 1 w 167"/>
                <a:gd name="T13" fmla="*/ 1 h 180"/>
                <a:gd name="T14" fmla="*/ 1 w 167"/>
                <a:gd name="T15" fmla="*/ 1 h 180"/>
                <a:gd name="T16" fmla="*/ 1 w 167"/>
                <a:gd name="T17" fmla="*/ 0 h 180"/>
                <a:gd name="T18" fmla="*/ 1 w 167"/>
                <a:gd name="T19" fmla="*/ 1 h 180"/>
                <a:gd name="T20" fmla="*/ 1 w 167"/>
                <a:gd name="T21" fmla="*/ 1 h 180"/>
                <a:gd name="T22" fmla="*/ 1 w 167"/>
                <a:gd name="T23" fmla="*/ 1 h 180"/>
                <a:gd name="T24" fmla="*/ 1 w 167"/>
                <a:gd name="T25" fmla="*/ 1 h 180"/>
                <a:gd name="T26" fmla="*/ 1 w 167"/>
                <a:gd name="T27" fmla="*/ 1 h 180"/>
                <a:gd name="T28" fmla="*/ 1 w 167"/>
                <a:gd name="T29" fmla="*/ 1 h 180"/>
                <a:gd name="T30" fmla="*/ 1 w 167"/>
                <a:gd name="T31" fmla="*/ 1 h 180"/>
                <a:gd name="T32" fmla="*/ 1 w 167"/>
                <a:gd name="T33" fmla="*/ 1 h 180"/>
                <a:gd name="T34" fmla="*/ 1 w 167"/>
                <a:gd name="T35" fmla="*/ 1 h 180"/>
                <a:gd name="T36" fmla="*/ 1 w 167"/>
                <a:gd name="T37" fmla="*/ 1 h 180"/>
                <a:gd name="T38" fmla="*/ 1 w 167"/>
                <a:gd name="T39" fmla="*/ 1 h 180"/>
                <a:gd name="T40" fmla="*/ 1 w 167"/>
                <a:gd name="T41" fmla="*/ 1 h 180"/>
                <a:gd name="T42" fmla="*/ 1 w 167"/>
                <a:gd name="T43" fmla="*/ 1 h 180"/>
                <a:gd name="T44" fmla="*/ 1 w 167"/>
                <a:gd name="T45" fmla="*/ 1 h 180"/>
                <a:gd name="T46" fmla="*/ 1 w 167"/>
                <a:gd name="T47" fmla="*/ 1 h 180"/>
                <a:gd name="T48" fmla="*/ 1 w 167"/>
                <a:gd name="T49" fmla="*/ 1 h 180"/>
                <a:gd name="T50" fmla="*/ 1 w 167"/>
                <a:gd name="T51" fmla="*/ 1 h 180"/>
                <a:gd name="T52" fmla="*/ 1 w 167"/>
                <a:gd name="T53" fmla="*/ 1 h 180"/>
                <a:gd name="T54" fmla="*/ 1 w 167"/>
                <a:gd name="T55" fmla="*/ 1 h 180"/>
                <a:gd name="T56" fmla="*/ 1 w 167"/>
                <a:gd name="T57" fmla="*/ 1 h 180"/>
                <a:gd name="T58" fmla="*/ 1 w 167"/>
                <a:gd name="T59" fmla="*/ 1 h 180"/>
                <a:gd name="T60" fmla="*/ 1 w 167"/>
                <a:gd name="T61" fmla="*/ 1 h 180"/>
                <a:gd name="T62" fmla="*/ 1 w 167"/>
                <a:gd name="T63" fmla="*/ 1 h 180"/>
                <a:gd name="T64" fmla="*/ 1 w 167"/>
                <a:gd name="T65" fmla="*/ 1 h 180"/>
                <a:gd name="T66" fmla="*/ 1 w 167"/>
                <a:gd name="T67" fmla="*/ 1 h 180"/>
                <a:gd name="T68" fmla="*/ 1 w 167"/>
                <a:gd name="T69" fmla="*/ 1 h 180"/>
                <a:gd name="T70" fmla="*/ 1 w 167"/>
                <a:gd name="T71" fmla="*/ 1 h 180"/>
                <a:gd name="T72" fmla="*/ 1 w 167"/>
                <a:gd name="T73" fmla="*/ 1 h 180"/>
                <a:gd name="T74" fmla="*/ 1 w 167"/>
                <a:gd name="T75" fmla="*/ 1 h 180"/>
                <a:gd name="T76" fmla="*/ 1 w 167"/>
                <a:gd name="T77" fmla="*/ 1 h 180"/>
                <a:gd name="T78" fmla="*/ 1 w 167"/>
                <a:gd name="T79" fmla="*/ 1 h 180"/>
                <a:gd name="T80" fmla="*/ 1 w 167"/>
                <a:gd name="T81" fmla="*/ 1 h 180"/>
                <a:gd name="T82" fmla="*/ 1 w 167"/>
                <a:gd name="T83" fmla="*/ 1 h 180"/>
                <a:gd name="T84" fmla="*/ 1 w 167"/>
                <a:gd name="T85" fmla="*/ 1 h 180"/>
                <a:gd name="T86" fmla="*/ 0 w 167"/>
                <a:gd name="T87" fmla="*/ 1 h 180"/>
                <a:gd name="T88" fmla="*/ 1 w 167"/>
                <a:gd name="T89" fmla="*/ 1 h 180"/>
                <a:gd name="T90" fmla="*/ 1 w 167"/>
                <a:gd name="T91" fmla="*/ 1 h 180"/>
                <a:gd name="T92" fmla="*/ 1 w 167"/>
                <a:gd name="T93" fmla="*/ 1 h 180"/>
                <a:gd name="T94" fmla="*/ 1 w 167"/>
                <a:gd name="T95" fmla="*/ 1 h 180"/>
                <a:gd name="T96" fmla="*/ 1 w 167"/>
                <a:gd name="T97" fmla="*/ 1 h 180"/>
                <a:gd name="T98" fmla="*/ 1 w 167"/>
                <a:gd name="T99" fmla="*/ 1 h 180"/>
                <a:gd name="T100" fmla="*/ 1 w 167"/>
                <a:gd name="T101" fmla="*/ 1 h 18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67"/>
                <a:gd name="T154" fmla="*/ 0 h 180"/>
                <a:gd name="T155" fmla="*/ 167 w 167"/>
                <a:gd name="T156" fmla="*/ 180 h 18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67" h="180">
                  <a:moveTo>
                    <a:pt x="40" y="32"/>
                  </a:moveTo>
                  <a:lnTo>
                    <a:pt x="43" y="33"/>
                  </a:lnTo>
                  <a:lnTo>
                    <a:pt x="43" y="30"/>
                  </a:lnTo>
                  <a:lnTo>
                    <a:pt x="50" y="25"/>
                  </a:lnTo>
                  <a:lnTo>
                    <a:pt x="64" y="31"/>
                  </a:lnTo>
                  <a:lnTo>
                    <a:pt x="56" y="24"/>
                  </a:lnTo>
                  <a:lnTo>
                    <a:pt x="50" y="14"/>
                  </a:lnTo>
                  <a:lnTo>
                    <a:pt x="49" y="12"/>
                  </a:lnTo>
                  <a:lnTo>
                    <a:pt x="44" y="0"/>
                  </a:lnTo>
                  <a:lnTo>
                    <a:pt x="59" y="2"/>
                  </a:lnTo>
                  <a:lnTo>
                    <a:pt x="65" y="2"/>
                  </a:lnTo>
                  <a:lnTo>
                    <a:pt x="67" y="9"/>
                  </a:lnTo>
                  <a:lnTo>
                    <a:pt x="88" y="12"/>
                  </a:lnTo>
                  <a:lnTo>
                    <a:pt x="86" y="19"/>
                  </a:lnTo>
                  <a:lnTo>
                    <a:pt x="92" y="21"/>
                  </a:lnTo>
                  <a:lnTo>
                    <a:pt x="119" y="10"/>
                  </a:lnTo>
                  <a:lnTo>
                    <a:pt x="118" y="12"/>
                  </a:lnTo>
                  <a:lnTo>
                    <a:pt x="140" y="20"/>
                  </a:lnTo>
                  <a:lnTo>
                    <a:pt x="149" y="19"/>
                  </a:lnTo>
                  <a:lnTo>
                    <a:pt x="156" y="26"/>
                  </a:lnTo>
                  <a:lnTo>
                    <a:pt x="150" y="28"/>
                  </a:lnTo>
                  <a:lnTo>
                    <a:pt x="152" y="50"/>
                  </a:lnTo>
                  <a:lnTo>
                    <a:pt x="163" y="76"/>
                  </a:lnTo>
                  <a:lnTo>
                    <a:pt x="167" y="96"/>
                  </a:lnTo>
                  <a:lnTo>
                    <a:pt x="162" y="93"/>
                  </a:lnTo>
                  <a:lnTo>
                    <a:pt x="119" y="111"/>
                  </a:lnTo>
                  <a:lnTo>
                    <a:pt x="124" y="120"/>
                  </a:lnTo>
                  <a:lnTo>
                    <a:pt x="151" y="146"/>
                  </a:lnTo>
                  <a:lnTo>
                    <a:pt x="136" y="159"/>
                  </a:lnTo>
                  <a:lnTo>
                    <a:pt x="139" y="172"/>
                  </a:lnTo>
                  <a:lnTo>
                    <a:pt x="133" y="175"/>
                  </a:lnTo>
                  <a:lnTo>
                    <a:pt x="110" y="175"/>
                  </a:lnTo>
                  <a:lnTo>
                    <a:pt x="94" y="175"/>
                  </a:lnTo>
                  <a:lnTo>
                    <a:pt x="88" y="180"/>
                  </a:lnTo>
                  <a:lnTo>
                    <a:pt x="71" y="176"/>
                  </a:lnTo>
                  <a:lnTo>
                    <a:pt x="52" y="172"/>
                  </a:lnTo>
                  <a:lnTo>
                    <a:pt x="32" y="175"/>
                  </a:lnTo>
                  <a:lnTo>
                    <a:pt x="41" y="140"/>
                  </a:lnTo>
                  <a:lnTo>
                    <a:pt x="11" y="130"/>
                  </a:lnTo>
                  <a:lnTo>
                    <a:pt x="7" y="129"/>
                  </a:lnTo>
                  <a:lnTo>
                    <a:pt x="7" y="127"/>
                  </a:lnTo>
                  <a:lnTo>
                    <a:pt x="2" y="112"/>
                  </a:lnTo>
                  <a:lnTo>
                    <a:pt x="4" y="100"/>
                  </a:lnTo>
                  <a:lnTo>
                    <a:pt x="0" y="98"/>
                  </a:lnTo>
                  <a:lnTo>
                    <a:pt x="2" y="72"/>
                  </a:lnTo>
                  <a:lnTo>
                    <a:pt x="18" y="63"/>
                  </a:lnTo>
                  <a:lnTo>
                    <a:pt x="12" y="52"/>
                  </a:lnTo>
                  <a:lnTo>
                    <a:pt x="20" y="39"/>
                  </a:lnTo>
                  <a:lnTo>
                    <a:pt x="17" y="37"/>
                  </a:lnTo>
                  <a:lnTo>
                    <a:pt x="20" y="28"/>
                  </a:lnTo>
                  <a:lnTo>
                    <a:pt x="40" y="3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52" name="Freeform 208"/>
            <p:cNvSpPr>
              <a:spLocks/>
            </p:cNvSpPr>
            <p:nvPr/>
          </p:nvSpPr>
          <p:spPr bwMode="auto">
            <a:xfrm>
              <a:off x="2781" y="1147"/>
              <a:ext cx="8" cy="2"/>
            </a:xfrm>
            <a:custGeom>
              <a:avLst/>
              <a:gdLst>
                <a:gd name="T0" fmla="*/ 0 w 12"/>
                <a:gd name="T1" fmla="*/ 0 h 5"/>
                <a:gd name="T2" fmla="*/ 1 w 12"/>
                <a:gd name="T3" fmla="*/ 0 h 5"/>
                <a:gd name="T4" fmla="*/ 1 w 12"/>
                <a:gd name="T5" fmla="*/ 0 h 5"/>
                <a:gd name="T6" fmla="*/ 0 w 12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2"/>
                <a:gd name="T13" fmla="*/ 0 h 5"/>
                <a:gd name="T14" fmla="*/ 12 w 12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2" h="5">
                  <a:moveTo>
                    <a:pt x="0" y="5"/>
                  </a:moveTo>
                  <a:lnTo>
                    <a:pt x="12" y="5"/>
                  </a:lnTo>
                  <a:lnTo>
                    <a:pt x="6" y="0"/>
                  </a:lnTo>
                  <a:lnTo>
                    <a:pt x="0" y="5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53" name="Freeform 209"/>
            <p:cNvSpPr>
              <a:spLocks/>
            </p:cNvSpPr>
            <p:nvPr/>
          </p:nvSpPr>
          <p:spPr bwMode="auto">
            <a:xfrm>
              <a:off x="2690" y="1220"/>
              <a:ext cx="7" cy="12"/>
            </a:xfrm>
            <a:custGeom>
              <a:avLst/>
              <a:gdLst>
                <a:gd name="T0" fmla="*/ 1 w 11"/>
                <a:gd name="T1" fmla="*/ 0 h 17"/>
                <a:gd name="T2" fmla="*/ 1 w 11"/>
                <a:gd name="T3" fmla="*/ 1 h 17"/>
                <a:gd name="T4" fmla="*/ 1 w 11"/>
                <a:gd name="T5" fmla="*/ 1 h 17"/>
                <a:gd name="T6" fmla="*/ 0 w 11"/>
                <a:gd name="T7" fmla="*/ 1 h 17"/>
                <a:gd name="T8" fmla="*/ 1 w 11"/>
                <a:gd name="T9" fmla="*/ 1 h 17"/>
                <a:gd name="T10" fmla="*/ 1 w 11"/>
                <a:gd name="T11" fmla="*/ 1 h 17"/>
                <a:gd name="T12" fmla="*/ 1 w 11"/>
                <a:gd name="T13" fmla="*/ 0 h 1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17"/>
                <a:gd name="T23" fmla="*/ 11 w 11"/>
                <a:gd name="T24" fmla="*/ 17 h 1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17">
                  <a:moveTo>
                    <a:pt x="6" y="0"/>
                  </a:moveTo>
                  <a:lnTo>
                    <a:pt x="2" y="11"/>
                  </a:lnTo>
                  <a:lnTo>
                    <a:pt x="2" y="15"/>
                  </a:lnTo>
                  <a:lnTo>
                    <a:pt x="0" y="15"/>
                  </a:lnTo>
                  <a:lnTo>
                    <a:pt x="11" y="17"/>
                  </a:lnTo>
                  <a:lnTo>
                    <a:pt x="11" y="15"/>
                  </a:lnTo>
                  <a:lnTo>
                    <a:pt x="6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54" name="Freeform 210"/>
            <p:cNvSpPr>
              <a:spLocks/>
            </p:cNvSpPr>
            <p:nvPr/>
          </p:nvSpPr>
          <p:spPr bwMode="auto">
            <a:xfrm>
              <a:off x="2971" y="1242"/>
              <a:ext cx="60" cy="62"/>
            </a:xfrm>
            <a:custGeom>
              <a:avLst/>
              <a:gdLst>
                <a:gd name="T0" fmla="*/ 1 w 87"/>
                <a:gd name="T1" fmla="*/ 0 h 86"/>
                <a:gd name="T2" fmla="*/ 0 w 87"/>
                <a:gd name="T3" fmla="*/ 1 h 86"/>
                <a:gd name="T4" fmla="*/ 1 w 87"/>
                <a:gd name="T5" fmla="*/ 1 h 86"/>
                <a:gd name="T6" fmla="*/ 1 w 87"/>
                <a:gd name="T7" fmla="*/ 1 h 86"/>
                <a:gd name="T8" fmla="*/ 1 w 87"/>
                <a:gd name="T9" fmla="*/ 1 h 86"/>
                <a:gd name="T10" fmla="*/ 1 w 87"/>
                <a:gd name="T11" fmla="*/ 1 h 86"/>
                <a:gd name="T12" fmla="*/ 1 w 87"/>
                <a:gd name="T13" fmla="*/ 1 h 86"/>
                <a:gd name="T14" fmla="*/ 1 w 87"/>
                <a:gd name="T15" fmla="*/ 1 h 86"/>
                <a:gd name="T16" fmla="*/ 1 w 87"/>
                <a:gd name="T17" fmla="*/ 1 h 86"/>
                <a:gd name="T18" fmla="*/ 1 w 87"/>
                <a:gd name="T19" fmla="*/ 1 h 86"/>
                <a:gd name="T20" fmla="*/ 1 w 87"/>
                <a:gd name="T21" fmla="*/ 1 h 86"/>
                <a:gd name="T22" fmla="*/ 1 w 87"/>
                <a:gd name="T23" fmla="*/ 1 h 86"/>
                <a:gd name="T24" fmla="*/ 1 w 87"/>
                <a:gd name="T25" fmla="*/ 1 h 86"/>
                <a:gd name="T26" fmla="*/ 1 w 87"/>
                <a:gd name="T27" fmla="*/ 1 h 86"/>
                <a:gd name="T28" fmla="*/ 1 w 87"/>
                <a:gd name="T29" fmla="*/ 1 h 86"/>
                <a:gd name="T30" fmla="*/ 1 w 87"/>
                <a:gd name="T31" fmla="*/ 0 h 8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87"/>
                <a:gd name="T49" fmla="*/ 0 h 86"/>
                <a:gd name="T50" fmla="*/ 87 w 87"/>
                <a:gd name="T51" fmla="*/ 86 h 8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87" h="86">
                  <a:moveTo>
                    <a:pt x="18" y="0"/>
                  </a:moveTo>
                  <a:lnTo>
                    <a:pt x="0" y="13"/>
                  </a:lnTo>
                  <a:lnTo>
                    <a:pt x="3" y="13"/>
                  </a:lnTo>
                  <a:lnTo>
                    <a:pt x="17" y="27"/>
                  </a:lnTo>
                  <a:lnTo>
                    <a:pt x="32" y="42"/>
                  </a:lnTo>
                  <a:lnTo>
                    <a:pt x="38" y="62"/>
                  </a:lnTo>
                  <a:lnTo>
                    <a:pt x="44" y="83"/>
                  </a:lnTo>
                  <a:lnTo>
                    <a:pt x="59" y="83"/>
                  </a:lnTo>
                  <a:lnTo>
                    <a:pt x="71" y="86"/>
                  </a:lnTo>
                  <a:lnTo>
                    <a:pt x="70" y="75"/>
                  </a:lnTo>
                  <a:lnTo>
                    <a:pt x="87" y="60"/>
                  </a:lnTo>
                  <a:lnTo>
                    <a:pt x="71" y="45"/>
                  </a:lnTo>
                  <a:lnTo>
                    <a:pt x="56" y="31"/>
                  </a:lnTo>
                  <a:lnTo>
                    <a:pt x="40" y="17"/>
                  </a:lnTo>
                  <a:lnTo>
                    <a:pt x="24" y="2"/>
                  </a:lnTo>
                  <a:lnTo>
                    <a:pt x="18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55" name="Freeform 211"/>
            <p:cNvSpPr>
              <a:spLocks/>
            </p:cNvSpPr>
            <p:nvPr/>
          </p:nvSpPr>
          <p:spPr bwMode="auto">
            <a:xfrm>
              <a:off x="2674" y="889"/>
              <a:ext cx="281" cy="200"/>
            </a:xfrm>
            <a:custGeom>
              <a:avLst/>
              <a:gdLst>
                <a:gd name="T0" fmla="*/ 1 w 400"/>
                <a:gd name="T1" fmla="*/ 1 h 283"/>
                <a:gd name="T2" fmla="*/ 1 w 400"/>
                <a:gd name="T3" fmla="*/ 1 h 283"/>
                <a:gd name="T4" fmla="*/ 1 w 400"/>
                <a:gd name="T5" fmla="*/ 1 h 283"/>
                <a:gd name="T6" fmla="*/ 1 w 400"/>
                <a:gd name="T7" fmla="*/ 1 h 283"/>
                <a:gd name="T8" fmla="*/ 1 w 400"/>
                <a:gd name="T9" fmla="*/ 1 h 283"/>
                <a:gd name="T10" fmla="*/ 1 w 400"/>
                <a:gd name="T11" fmla="*/ 1 h 283"/>
                <a:gd name="T12" fmla="*/ 1 w 400"/>
                <a:gd name="T13" fmla="*/ 1 h 283"/>
                <a:gd name="T14" fmla="*/ 1 w 400"/>
                <a:gd name="T15" fmla="*/ 1 h 283"/>
                <a:gd name="T16" fmla="*/ 1 w 400"/>
                <a:gd name="T17" fmla="*/ 1 h 283"/>
                <a:gd name="T18" fmla="*/ 1 w 400"/>
                <a:gd name="T19" fmla="*/ 1 h 283"/>
                <a:gd name="T20" fmla="*/ 1 w 400"/>
                <a:gd name="T21" fmla="*/ 1 h 283"/>
                <a:gd name="T22" fmla="*/ 1 w 400"/>
                <a:gd name="T23" fmla="*/ 1 h 283"/>
                <a:gd name="T24" fmla="*/ 1 w 400"/>
                <a:gd name="T25" fmla="*/ 1 h 283"/>
                <a:gd name="T26" fmla="*/ 1 w 400"/>
                <a:gd name="T27" fmla="*/ 1 h 283"/>
                <a:gd name="T28" fmla="*/ 1 w 400"/>
                <a:gd name="T29" fmla="*/ 1 h 283"/>
                <a:gd name="T30" fmla="*/ 1 w 400"/>
                <a:gd name="T31" fmla="*/ 1 h 283"/>
                <a:gd name="T32" fmla="*/ 1 w 400"/>
                <a:gd name="T33" fmla="*/ 1 h 283"/>
                <a:gd name="T34" fmla="*/ 1 w 400"/>
                <a:gd name="T35" fmla="*/ 1 h 283"/>
                <a:gd name="T36" fmla="*/ 1 w 400"/>
                <a:gd name="T37" fmla="*/ 1 h 283"/>
                <a:gd name="T38" fmla="*/ 1 w 400"/>
                <a:gd name="T39" fmla="*/ 1 h 283"/>
                <a:gd name="T40" fmla="*/ 1 w 400"/>
                <a:gd name="T41" fmla="*/ 1 h 283"/>
                <a:gd name="T42" fmla="*/ 1 w 400"/>
                <a:gd name="T43" fmla="*/ 1 h 283"/>
                <a:gd name="T44" fmla="*/ 1 w 400"/>
                <a:gd name="T45" fmla="*/ 1 h 283"/>
                <a:gd name="T46" fmla="*/ 1 w 400"/>
                <a:gd name="T47" fmla="*/ 1 h 283"/>
                <a:gd name="T48" fmla="*/ 1 w 400"/>
                <a:gd name="T49" fmla="*/ 1 h 283"/>
                <a:gd name="T50" fmla="*/ 0 w 400"/>
                <a:gd name="T51" fmla="*/ 1 h 283"/>
                <a:gd name="T52" fmla="*/ 0 w 400"/>
                <a:gd name="T53" fmla="*/ 1 h 283"/>
                <a:gd name="T54" fmla="*/ 1 w 400"/>
                <a:gd name="T55" fmla="*/ 1 h 283"/>
                <a:gd name="T56" fmla="*/ 1 w 400"/>
                <a:gd name="T57" fmla="*/ 1 h 283"/>
                <a:gd name="T58" fmla="*/ 1 w 400"/>
                <a:gd name="T59" fmla="*/ 1 h 283"/>
                <a:gd name="T60" fmla="*/ 1 w 400"/>
                <a:gd name="T61" fmla="*/ 2 h 283"/>
                <a:gd name="T62" fmla="*/ 1 w 400"/>
                <a:gd name="T63" fmla="*/ 2 h 283"/>
                <a:gd name="T64" fmla="*/ 1 w 400"/>
                <a:gd name="T65" fmla="*/ 2 h 283"/>
                <a:gd name="T66" fmla="*/ 1 w 400"/>
                <a:gd name="T67" fmla="*/ 2 h 283"/>
                <a:gd name="T68" fmla="*/ 1 w 400"/>
                <a:gd name="T69" fmla="*/ 2 h 283"/>
                <a:gd name="T70" fmla="*/ 1 w 400"/>
                <a:gd name="T71" fmla="*/ 2 h 283"/>
                <a:gd name="T72" fmla="*/ 1 w 400"/>
                <a:gd name="T73" fmla="*/ 2 h 283"/>
                <a:gd name="T74" fmla="*/ 1 w 400"/>
                <a:gd name="T75" fmla="*/ 2 h 283"/>
                <a:gd name="T76" fmla="*/ 1 w 400"/>
                <a:gd name="T77" fmla="*/ 2 h 283"/>
                <a:gd name="T78" fmla="*/ 1 w 400"/>
                <a:gd name="T79" fmla="*/ 2 h 283"/>
                <a:gd name="T80" fmla="*/ 1 w 400"/>
                <a:gd name="T81" fmla="*/ 2 h 283"/>
                <a:gd name="T82" fmla="*/ 1 w 400"/>
                <a:gd name="T83" fmla="*/ 1 h 283"/>
                <a:gd name="T84" fmla="*/ 1 w 400"/>
                <a:gd name="T85" fmla="*/ 1 h 283"/>
                <a:gd name="T86" fmla="*/ 1 w 400"/>
                <a:gd name="T87" fmla="*/ 1 h 283"/>
                <a:gd name="T88" fmla="*/ 1 w 400"/>
                <a:gd name="T89" fmla="*/ 1 h 283"/>
                <a:gd name="T90" fmla="*/ 1 w 400"/>
                <a:gd name="T91" fmla="*/ 1 h 283"/>
                <a:gd name="T92" fmla="*/ 1 w 400"/>
                <a:gd name="T93" fmla="*/ 1 h 283"/>
                <a:gd name="T94" fmla="*/ 2 w 400"/>
                <a:gd name="T95" fmla="*/ 1 h 283"/>
                <a:gd name="T96" fmla="*/ 2 w 400"/>
                <a:gd name="T97" fmla="*/ 1 h 283"/>
                <a:gd name="T98" fmla="*/ 3 w 400"/>
                <a:gd name="T99" fmla="*/ 1 h 283"/>
                <a:gd name="T100" fmla="*/ 3 w 400"/>
                <a:gd name="T101" fmla="*/ 1 h 283"/>
                <a:gd name="T102" fmla="*/ 3 w 400"/>
                <a:gd name="T103" fmla="*/ 1 h 283"/>
                <a:gd name="T104" fmla="*/ 3 w 400"/>
                <a:gd name="T105" fmla="*/ 1 h 283"/>
                <a:gd name="T106" fmla="*/ 3 w 400"/>
                <a:gd name="T107" fmla="*/ 1 h 283"/>
                <a:gd name="T108" fmla="*/ 3 w 400"/>
                <a:gd name="T109" fmla="*/ 1 h 283"/>
                <a:gd name="T110" fmla="*/ 2 w 400"/>
                <a:gd name="T111" fmla="*/ 1 h 283"/>
                <a:gd name="T112" fmla="*/ 2 w 400"/>
                <a:gd name="T113" fmla="*/ 1 h 283"/>
                <a:gd name="T114" fmla="*/ 2 w 400"/>
                <a:gd name="T115" fmla="*/ 1 h 283"/>
                <a:gd name="T116" fmla="*/ 2 w 400"/>
                <a:gd name="T117" fmla="*/ 1 h 283"/>
                <a:gd name="T118" fmla="*/ 2 w 400"/>
                <a:gd name="T119" fmla="*/ 1 h 2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00"/>
                <a:gd name="T181" fmla="*/ 0 h 283"/>
                <a:gd name="T182" fmla="*/ 400 w 400"/>
                <a:gd name="T183" fmla="*/ 283 h 28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00" h="283">
                  <a:moveTo>
                    <a:pt x="235" y="30"/>
                  </a:moveTo>
                  <a:lnTo>
                    <a:pt x="229" y="36"/>
                  </a:lnTo>
                  <a:lnTo>
                    <a:pt x="229" y="24"/>
                  </a:lnTo>
                  <a:lnTo>
                    <a:pt x="227" y="30"/>
                  </a:lnTo>
                  <a:lnTo>
                    <a:pt x="222" y="32"/>
                  </a:lnTo>
                  <a:lnTo>
                    <a:pt x="221" y="26"/>
                  </a:lnTo>
                  <a:lnTo>
                    <a:pt x="216" y="31"/>
                  </a:lnTo>
                  <a:lnTo>
                    <a:pt x="217" y="36"/>
                  </a:lnTo>
                  <a:lnTo>
                    <a:pt x="205" y="34"/>
                  </a:lnTo>
                  <a:lnTo>
                    <a:pt x="207" y="37"/>
                  </a:lnTo>
                  <a:lnTo>
                    <a:pt x="199" y="35"/>
                  </a:lnTo>
                  <a:lnTo>
                    <a:pt x="195" y="41"/>
                  </a:lnTo>
                  <a:lnTo>
                    <a:pt x="195" y="48"/>
                  </a:lnTo>
                  <a:lnTo>
                    <a:pt x="193" y="49"/>
                  </a:lnTo>
                  <a:lnTo>
                    <a:pt x="175" y="54"/>
                  </a:lnTo>
                  <a:lnTo>
                    <a:pt x="193" y="55"/>
                  </a:lnTo>
                  <a:lnTo>
                    <a:pt x="189" y="59"/>
                  </a:lnTo>
                  <a:lnTo>
                    <a:pt x="177" y="59"/>
                  </a:lnTo>
                  <a:lnTo>
                    <a:pt x="176" y="60"/>
                  </a:lnTo>
                  <a:lnTo>
                    <a:pt x="174" y="65"/>
                  </a:lnTo>
                  <a:lnTo>
                    <a:pt x="173" y="67"/>
                  </a:lnTo>
                  <a:lnTo>
                    <a:pt x="167" y="61"/>
                  </a:lnTo>
                  <a:lnTo>
                    <a:pt x="162" y="64"/>
                  </a:lnTo>
                  <a:lnTo>
                    <a:pt x="151" y="72"/>
                  </a:lnTo>
                  <a:lnTo>
                    <a:pt x="167" y="70"/>
                  </a:lnTo>
                  <a:lnTo>
                    <a:pt x="161" y="72"/>
                  </a:lnTo>
                  <a:lnTo>
                    <a:pt x="164" y="76"/>
                  </a:lnTo>
                  <a:lnTo>
                    <a:pt x="163" y="77"/>
                  </a:lnTo>
                  <a:lnTo>
                    <a:pt x="152" y="77"/>
                  </a:lnTo>
                  <a:lnTo>
                    <a:pt x="151" y="80"/>
                  </a:lnTo>
                  <a:lnTo>
                    <a:pt x="163" y="84"/>
                  </a:lnTo>
                  <a:lnTo>
                    <a:pt x="149" y="85"/>
                  </a:lnTo>
                  <a:lnTo>
                    <a:pt x="137" y="90"/>
                  </a:lnTo>
                  <a:lnTo>
                    <a:pt x="128" y="96"/>
                  </a:lnTo>
                  <a:lnTo>
                    <a:pt x="129" y="96"/>
                  </a:lnTo>
                  <a:lnTo>
                    <a:pt x="125" y="100"/>
                  </a:lnTo>
                  <a:lnTo>
                    <a:pt x="128" y="101"/>
                  </a:lnTo>
                  <a:lnTo>
                    <a:pt x="139" y="102"/>
                  </a:lnTo>
                  <a:lnTo>
                    <a:pt x="123" y="107"/>
                  </a:lnTo>
                  <a:lnTo>
                    <a:pt x="119" y="113"/>
                  </a:lnTo>
                  <a:lnTo>
                    <a:pt x="120" y="118"/>
                  </a:lnTo>
                  <a:lnTo>
                    <a:pt x="120" y="122"/>
                  </a:lnTo>
                  <a:lnTo>
                    <a:pt x="123" y="124"/>
                  </a:lnTo>
                  <a:lnTo>
                    <a:pt x="104" y="131"/>
                  </a:lnTo>
                  <a:lnTo>
                    <a:pt x="104" y="132"/>
                  </a:lnTo>
                  <a:lnTo>
                    <a:pt x="111" y="130"/>
                  </a:lnTo>
                  <a:lnTo>
                    <a:pt x="107" y="137"/>
                  </a:lnTo>
                  <a:lnTo>
                    <a:pt x="98" y="139"/>
                  </a:lnTo>
                  <a:lnTo>
                    <a:pt x="92" y="142"/>
                  </a:lnTo>
                  <a:lnTo>
                    <a:pt x="81" y="151"/>
                  </a:lnTo>
                  <a:lnTo>
                    <a:pt x="78" y="157"/>
                  </a:lnTo>
                  <a:lnTo>
                    <a:pt x="84" y="161"/>
                  </a:lnTo>
                  <a:lnTo>
                    <a:pt x="93" y="154"/>
                  </a:lnTo>
                  <a:lnTo>
                    <a:pt x="101" y="151"/>
                  </a:lnTo>
                  <a:lnTo>
                    <a:pt x="99" y="157"/>
                  </a:lnTo>
                  <a:lnTo>
                    <a:pt x="86" y="163"/>
                  </a:lnTo>
                  <a:lnTo>
                    <a:pt x="80" y="163"/>
                  </a:lnTo>
                  <a:lnTo>
                    <a:pt x="67" y="161"/>
                  </a:lnTo>
                  <a:lnTo>
                    <a:pt x="66" y="163"/>
                  </a:lnTo>
                  <a:lnTo>
                    <a:pt x="57" y="168"/>
                  </a:lnTo>
                  <a:lnTo>
                    <a:pt x="53" y="173"/>
                  </a:lnTo>
                  <a:lnTo>
                    <a:pt x="54" y="175"/>
                  </a:lnTo>
                  <a:lnTo>
                    <a:pt x="49" y="174"/>
                  </a:lnTo>
                  <a:lnTo>
                    <a:pt x="55" y="179"/>
                  </a:lnTo>
                  <a:lnTo>
                    <a:pt x="32" y="173"/>
                  </a:lnTo>
                  <a:lnTo>
                    <a:pt x="30" y="179"/>
                  </a:lnTo>
                  <a:lnTo>
                    <a:pt x="37" y="179"/>
                  </a:lnTo>
                  <a:lnTo>
                    <a:pt x="44" y="179"/>
                  </a:lnTo>
                  <a:lnTo>
                    <a:pt x="37" y="181"/>
                  </a:lnTo>
                  <a:lnTo>
                    <a:pt x="23" y="184"/>
                  </a:lnTo>
                  <a:lnTo>
                    <a:pt x="33" y="190"/>
                  </a:lnTo>
                  <a:lnTo>
                    <a:pt x="31" y="191"/>
                  </a:lnTo>
                  <a:lnTo>
                    <a:pt x="21" y="186"/>
                  </a:lnTo>
                  <a:lnTo>
                    <a:pt x="21" y="190"/>
                  </a:lnTo>
                  <a:lnTo>
                    <a:pt x="13" y="191"/>
                  </a:lnTo>
                  <a:lnTo>
                    <a:pt x="14" y="193"/>
                  </a:lnTo>
                  <a:lnTo>
                    <a:pt x="6" y="193"/>
                  </a:lnTo>
                  <a:lnTo>
                    <a:pt x="0" y="193"/>
                  </a:lnTo>
                  <a:lnTo>
                    <a:pt x="0" y="197"/>
                  </a:lnTo>
                  <a:lnTo>
                    <a:pt x="24" y="199"/>
                  </a:lnTo>
                  <a:lnTo>
                    <a:pt x="0" y="200"/>
                  </a:lnTo>
                  <a:lnTo>
                    <a:pt x="7" y="208"/>
                  </a:lnTo>
                  <a:lnTo>
                    <a:pt x="2" y="209"/>
                  </a:lnTo>
                  <a:lnTo>
                    <a:pt x="3" y="209"/>
                  </a:lnTo>
                  <a:lnTo>
                    <a:pt x="1" y="214"/>
                  </a:lnTo>
                  <a:lnTo>
                    <a:pt x="25" y="211"/>
                  </a:lnTo>
                  <a:lnTo>
                    <a:pt x="36" y="211"/>
                  </a:lnTo>
                  <a:lnTo>
                    <a:pt x="38" y="209"/>
                  </a:lnTo>
                  <a:lnTo>
                    <a:pt x="39" y="215"/>
                  </a:lnTo>
                  <a:lnTo>
                    <a:pt x="36" y="218"/>
                  </a:lnTo>
                  <a:lnTo>
                    <a:pt x="21" y="216"/>
                  </a:lnTo>
                  <a:lnTo>
                    <a:pt x="0" y="218"/>
                  </a:lnTo>
                  <a:lnTo>
                    <a:pt x="3" y="222"/>
                  </a:lnTo>
                  <a:lnTo>
                    <a:pt x="3" y="223"/>
                  </a:lnTo>
                  <a:lnTo>
                    <a:pt x="0" y="224"/>
                  </a:lnTo>
                  <a:lnTo>
                    <a:pt x="11" y="226"/>
                  </a:lnTo>
                  <a:lnTo>
                    <a:pt x="7" y="230"/>
                  </a:lnTo>
                  <a:lnTo>
                    <a:pt x="2" y="235"/>
                  </a:lnTo>
                  <a:lnTo>
                    <a:pt x="11" y="234"/>
                  </a:lnTo>
                  <a:lnTo>
                    <a:pt x="14" y="239"/>
                  </a:lnTo>
                  <a:lnTo>
                    <a:pt x="23" y="230"/>
                  </a:lnTo>
                  <a:lnTo>
                    <a:pt x="30" y="229"/>
                  </a:lnTo>
                  <a:lnTo>
                    <a:pt x="25" y="238"/>
                  </a:lnTo>
                  <a:lnTo>
                    <a:pt x="24" y="232"/>
                  </a:lnTo>
                  <a:lnTo>
                    <a:pt x="15" y="245"/>
                  </a:lnTo>
                  <a:lnTo>
                    <a:pt x="18" y="246"/>
                  </a:lnTo>
                  <a:lnTo>
                    <a:pt x="7" y="248"/>
                  </a:lnTo>
                  <a:lnTo>
                    <a:pt x="7" y="256"/>
                  </a:lnTo>
                  <a:lnTo>
                    <a:pt x="14" y="253"/>
                  </a:lnTo>
                  <a:lnTo>
                    <a:pt x="20" y="251"/>
                  </a:lnTo>
                  <a:lnTo>
                    <a:pt x="21" y="256"/>
                  </a:lnTo>
                  <a:lnTo>
                    <a:pt x="20" y="263"/>
                  </a:lnTo>
                  <a:lnTo>
                    <a:pt x="12" y="264"/>
                  </a:lnTo>
                  <a:lnTo>
                    <a:pt x="13" y="275"/>
                  </a:lnTo>
                  <a:lnTo>
                    <a:pt x="29" y="282"/>
                  </a:lnTo>
                  <a:lnTo>
                    <a:pt x="53" y="283"/>
                  </a:lnTo>
                  <a:lnTo>
                    <a:pt x="81" y="260"/>
                  </a:lnTo>
                  <a:lnTo>
                    <a:pt x="93" y="260"/>
                  </a:lnTo>
                  <a:lnTo>
                    <a:pt x="93" y="247"/>
                  </a:lnTo>
                  <a:lnTo>
                    <a:pt x="99" y="244"/>
                  </a:lnTo>
                  <a:lnTo>
                    <a:pt x="104" y="258"/>
                  </a:lnTo>
                  <a:lnTo>
                    <a:pt x="113" y="263"/>
                  </a:lnTo>
                  <a:lnTo>
                    <a:pt x="123" y="242"/>
                  </a:lnTo>
                  <a:lnTo>
                    <a:pt x="126" y="222"/>
                  </a:lnTo>
                  <a:lnTo>
                    <a:pt x="126" y="216"/>
                  </a:lnTo>
                  <a:lnTo>
                    <a:pt x="133" y="209"/>
                  </a:lnTo>
                  <a:lnTo>
                    <a:pt x="120" y="200"/>
                  </a:lnTo>
                  <a:lnTo>
                    <a:pt x="119" y="180"/>
                  </a:lnTo>
                  <a:lnTo>
                    <a:pt x="119" y="158"/>
                  </a:lnTo>
                  <a:lnTo>
                    <a:pt x="133" y="149"/>
                  </a:lnTo>
                  <a:lnTo>
                    <a:pt x="149" y="146"/>
                  </a:lnTo>
                  <a:lnTo>
                    <a:pt x="140" y="138"/>
                  </a:lnTo>
                  <a:lnTo>
                    <a:pt x="152" y="110"/>
                  </a:lnTo>
                  <a:lnTo>
                    <a:pt x="150" y="104"/>
                  </a:lnTo>
                  <a:lnTo>
                    <a:pt x="165" y="101"/>
                  </a:lnTo>
                  <a:lnTo>
                    <a:pt x="173" y="88"/>
                  </a:lnTo>
                  <a:lnTo>
                    <a:pt x="181" y="66"/>
                  </a:lnTo>
                  <a:lnTo>
                    <a:pt x="203" y="61"/>
                  </a:lnTo>
                  <a:lnTo>
                    <a:pt x="205" y="53"/>
                  </a:lnTo>
                  <a:lnTo>
                    <a:pt x="233" y="54"/>
                  </a:lnTo>
                  <a:lnTo>
                    <a:pt x="231" y="42"/>
                  </a:lnTo>
                  <a:lnTo>
                    <a:pt x="239" y="42"/>
                  </a:lnTo>
                  <a:lnTo>
                    <a:pt x="249" y="36"/>
                  </a:lnTo>
                  <a:lnTo>
                    <a:pt x="267" y="46"/>
                  </a:lnTo>
                  <a:lnTo>
                    <a:pt x="287" y="49"/>
                  </a:lnTo>
                  <a:lnTo>
                    <a:pt x="307" y="50"/>
                  </a:lnTo>
                  <a:lnTo>
                    <a:pt x="317" y="46"/>
                  </a:lnTo>
                  <a:lnTo>
                    <a:pt x="323" y="30"/>
                  </a:lnTo>
                  <a:lnTo>
                    <a:pt x="344" y="20"/>
                  </a:lnTo>
                  <a:lnTo>
                    <a:pt x="371" y="28"/>
                  </a:lnTo>
                  <a:lnTo>
                    <a:pt x="372" y="42"/>
                  </a:lnTo>
                  <a:lnTo>
                    <a:pt x="389" y="32"/>
                  </a:lnTo>
                  <a:lnTo>
                    <a:pt x="400" y="31"/>
                  </a:lnTo>
                  <a:lnTo>
                    <a:pt x="398" y="26"/>
                  </a:lnTo>
                  <a:lnTo>
                    <a:pt x="389" y="25"/>
                  </a:lnTo>
                  <a:lnTo>
                    <a:pt x="380" y="26"/>
                  </a:lnTo>
                  <a:lnTo>
                    <a:pt x="367" y="19"/>
                  </a:lnTo>
                  <a:lnTo>
                    <a:pt x="398" y="16"/>
                  </a:lnTo>
                  <a:lnTo>
                    <a:pt x="383" y="8"/>
                  </a:lnTo>
                  <a:lnTo>
                    <a:pt x="368" y="6"/>
                  </a:lnTo>
                  <a:lnTo>
                    <a:pt x="356" y="8"/>
                  </a:lnTo>
                  <a:lnTo>
                    <a:pt x="354" y="19"/>
                  </a:lnTo>
                  <a:lnTo>
                    <a:pt x="353" y="12"/>
                  </a:lnTo>
                  <a:lnTo>
                    <a:pt x="350" y="8"/>
                  </a:lnTo>
                  <a:lnTo>
                    <a:pt x="349" y="7"/>
                  </a:lnTo>
                  <a:lnTo>
                    <a:pt x="347" y="0"/>
                  </a:lnTo>
                  <a:lnTo>
                    <a:pt x="338" y="5"/>
                  </a:lnTo>
                  <a:lnTo>
                    <a:pt x="327" y="14"/>
                  </a:lnTo>
                  <a:lnTo>
                    <a:pt x="321" y="5"/>
                  </a:lnTo>
                  <a:lnTo>
                    <a:pt x="303" y="19"/>
                  </a:lnTo>
                  <a:lnTo>
                    <a:pt x="311" y="7"/>
                  </a:lnTo>
                  <a:lnTo>
                    <a:pt x="306" y="5"/>
                  </a:lnTo>
                  <a:lnTo>
                    <a:pt x="295" y="5"/>
                  </a:lnTo>
                  <a:lnTo>
                    <a:pt x="294" y="8"/>
                  </a:lnTo>
                  <a:lnTo>
                    <a:pt x="276" y="20"/>
                  </a:lnTo>
                  <a:lnTo>
                    <a:pt x="265" y="20"/>
                  </a:lnTo>
                  <a:lnTo>
                    <a:pt x="266" y="17"/>
                  </a:lnTo>
                  <a:lnTo>
                    <a:pt x="248" y="19"/>
                  </a:lnTo>
                  <a:lnTo>
                    <a:pt x="258" y="22"/>
                  </a:lnTo>
                  <a:lnTo>
                    <a:pt x="257" y="25"/>
                  </a:lnTo>
                  <a:lnTo>
                    <a:pt x="246" y="25"/>
                  </a:lnTo>
                  <a:lnTo>
                    <a:pt x="235" y="3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56" name="Freeform 212"/>
            <p:cNvSpPr>
              <a:spLocks/>
            </p:cNvSpPr>
            <p:nvPr/>
          </p:nvSpPr>
          <p:spPr bwMode="auto">
            <a:xfrm>
              <a:off x="2782" y="920"/>
              <a:ext cx="16" cy="9"/>
            </a:xfrm>
            <a:custGeom>
              <a:avLst/>
              <a:gdLst>
                <a:gd name="T0" fmla="*/ 1 w 22"/>
                <a:gd name="T1" fmla="*/ 0 h 12"/>
                <a:gd name="T2" fmla="*/ 1 w 22"/>
                <a:gd name="T3" fmla="*/ 2 h 12"/>
                <a:gd name="T4" fmla="*/ 0 w 22"/>
                <a:gd name="T5" fmla="*/ 2 h 12"/>
                <a:gd name="T6" fmla="*/ 1 w 22"/>
                <a:gd name="T7" fmla="*/ 2 h 12"/>
                <a:gd name="T8" fmla="*/ 1 w 22"/>
                <a:gd name="T9" fmla="*/ 2 h 12"/>
                <a:gd name="T10" fmla="*/ 1 w 22"/>
                <a:gd name="T11" fmla="*/ 2 h 12"/>
                <a:gd name="T12" fmla="*/ 1 w 22"/>
                <a:gd name="T13" fmla="*/ 2 h 12"/>
                <a:gd name="T14" fmla="*/ 1 w 22"/>
                <a:gd name="T15" fmla="*/ 0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2"/>
                <a:gd name="T25" fmla="*/ 0 h 12"/>
                <a:gd name="T26" fmla="*/ 22 w 22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2" h="12">
                  <a:moveTo>
                    <a:pt x="11" y="0"/>
                  </a:moveTo>
                  <a:lnTo>
                    <a:pt x="4" y="11"/>
                  </a:lnTo>
                  <a:lnTo>
                    <a:pt x="0" y="12"/>
                  </a:lnTo>
                  <a:lnTo>
                    <a:pt x="9" y="10"/>
                  </a:lnTo>
                  <a:lnTo>
                    <a:pt x="12" y="12"/>
                  </a:lnTo>
                  <a:lnTo>
                    <a:pt x="22" y="4"/>
                  </a:lnTo>
                  <a:lnTo>
                    <a:pt x="14" y="6"/>
                  </a:lnTo>
                  <a:lnTo>
                    <a:pt x="11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57" name="Freeform 213"/>
            <p:cNvSpPr>
              <a:spLocks/>
            </p:cNvSpPr>
            <p:nvPr/>
          </p:nvSpPr>
          <p:spPr bwMode="auto">
            <a:xfrm>
              <a:off x="2841" y="903"/>
              <a:ext cx="148" cy="156"/>
            </a:xfrm>
            <a:custGeom>
              <a:avLst/>
              <a:gdLst>
                <a:gd name="T0" fmla="*/ 1 w 210"/>
                <a:gd name="T1" fmla="*/ 1 h 222"/>
                <a:gd name="T2" fmla="*/ 1 w 210"/>
                <a:gd name="T3" fmla="*/ 1 h 222"/>
                <a:gd name="T4" fmla="*/ 1 w 210"/>
                <a:gd name="T5" fmla="*/ 1 h 222"/>
                <a:gd name="T6" fmla="*/ 1 w 210"/>
                <a:gd name="T7" fmla="*/ 1 h 222"/>
                <a:gd name="T8" fmla="*/ 1 w 210"/>
                <a:gd name="T9" fmla="*/ 1 h 222"/>
                <a:gd name="T10" fmla="*/ 1 w 210"/>
                <a:gd name="T11" fmla="*/ 1 h 222"/>
                <a:gd name="T12" fmla="*/ 1 w 210"/>
                <a:gd name="T13" fmla="*/ 1 h 222"/>
                <a:gd name="T14" fmla="*/ 1 w 210"/>
                <a:gd name="T15" fmla="*/ 1 h 222"/>
                <a:gd name="T16" fmla="*/ 1 w 210"/>
                <a:gd name="T17" fmla="*/ 1 h 222"/>
                <a:gd name="T18" fmla="*/ 1 w 210"/>
                <a:gd name="T19" fmla="*/ 0 h 222"/>
                <a:gd name="T20" fmla="*/ 1 w 210"/>
                <a:gd name="T21" fmla="*/ 1 h 222"/>
                <a:gd name="T22" fmla="*/ 1 w 210"/>
                <a:gd name="T23" fmla="*/ 1 h 222"/>
                <a:gd name="T24" fmla="*/ 1 w 210"/>
                <a:gd name="T25" fmla="*/ 1 h 222"/>
                <a:gd name="T26" fmla="*/ 1 w 210"/>
                <a:gd name="T27" fmla="*/ 1 h 222"/>
                <a:gd name="T28" fmla="*/ 1 w 210"/>
                <a:gd name="T29" fmla="*/ 1 h 222"/>
                <a:gd name="T30" fmla="*/ 1 w 210"/>
                <a:gd name="T31" fmla="*/ 1 h 222"/>
                <a:gd name="T32" fmla="*/ 0 w 210"/>
                <a:gd name="T33" fmla="*/ 1 h 222"/>
                <a:gd name="T34" fmla="*/ 1 w 210"/>
                <a:gd name="T35" fmla="*/ 1 h 222"/>
                <a:gd name="T36" fmla="*/ 1 w 210"/>
                <a:gd name="T37" fmla="*/ 1 h 222"/>
                <a:gd name="T38" fmla="*/ 1 w 210"/>
                <a:gd name="T39" fmla="*/ 1 h 222"/>
                <a:gd name="T40" fmla="*/ 1 w 210"/>
                <a:gd name="T41" fmla="*/ 1 h 222"/>
                <a:gd name="T42" fmla="*/ 1 w 210"/>
                <a:gd name="T43" fmla="*/ 1 h 222"/>
                <a:gd name="T44" fmla="*/ 1 w 210"/>
                <a:gd name="T45" fmla="*/ 1 h 222"/>
                <a:gd name="T46" fmla="*/ 1 w 210"/>
                <a:gd name="T47" fmla="*/ 1 h 222"/>
                <a:gd name="T48" fmla="*/ 1 w 210"/>
                <a:gd name="T49" fmla="*/ 1 h 222"/>
                <a:gd name="T50" fmla="*/ 1 w 210"/>
                <a:gd name="T51" fmla="*/ 1 h 222"/>
                <a:gd name="T52" fmla="*/ 1 w 210"/>
                <a:gd name="T53" fmla="*/ 1 h 222"/>
                <a:gd name="T54" fmla="*/ 1 w 210"/>
                <a:gd name="T55" fmla="*/ 1 h 222"/>
                <a:gd name="T56" fmla="*/ 1 w 210"/>
                <a:gd name="T57" fmla="*/ 1 h 222"/>
                <a:gd name="T58" fmla="*/ 1 w 210"/>
                <a:gd name="T59" fmla="*/ 1 h 222"/>
                <a:gd name="T60" fmla="*/ 1 w 210"/>
                <a:gd name="T61" fmla="*/ 1 h 222"/>
                <a:gd name="T62" fmla="*/ 1 w 210"/>
                <a:gd name="T63" fmla="*/ 1 h 222"/>
                <a:gd name="T64" fmla="*/ 1 w 210"/>
                <a:gd name="T65" fmla="*/ 1 h 222"/>
                <a:gd name="T66" fmla="*/ 1 w 210"/>
                <a:gd name="T67" fmla="*/ 1 h 222"/>
                <a:gd name="T68" fmla="*/ 1 w 210"/>
                <a:gd name="T69" fmla="*/ 1 h 222"/>
                <a:gd name="T70" fmla="*/ 1 w 210"/>
                <a:gd name="T71" fmla="*/ 1 h 222"/>
                <a:gd name="T72" fmla="*/ 1 w 210"/>
                <a:gd name="T73" fmla="*/ 1 h 222"/>
                <a:gd name="T74" fmla="*/ 1 w 210"/>
                <a:gd name="T75" fmla="*/ 1 h 222"/>
                <a:gd name="T76" fmla="*/ 1 w 210"/>
                <a:gd name="T77" fmla="*/ 1 h 222"/>
                <a:gd name="T78" fmla="*/ 1 w 210"/>
                <a:gd name="T79" fmla="*/ 1 h 222"/>
                <a:gd name="T80" fmla="*/ 1 w 210"/>
                <a:gd name="T81" fmla="*/ 1 h 222"/>
                <a:gd name="T82" fmla="*/ 1 w 210"/>
                <a:gd name="T83" fmla="*/ 1 h 222"/>
                <a:gd name="T84" fmla="*/ 1 w 210"/>
                <a:gd name="T85" fmla="*/ 1 h 22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10"/>
                <a:gd name="T130" fmla="*/ 0 h 222"/>
                <a:gd name="T131" fmla="*/ 210 w 210"/>
                <a:gd name="T132" fmla="*/ 222 h 22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10" h="222">
                  <a:moveTo>
                    <a:pt x="176" y="120"/>
                  </a:moveTo>
                  <a:lnTo>
                    <a:pt x="170" y="112"/>
                  </a:lnTo>
                  <a:lnTo>
                    <a:pt x="169" y="94"/>
                  </a:lnTo>
                  <a:lnTo>
                    <a:pt x="147" y="69"/>
                  </a:lnTo>
                  <a:lnTo>
                    <a:pt x="158" y="53"/>
                  </a:lnTo>
                  <a:lnTo>
                    <a:pt x="134" y="40"/>
                  </a:lnTo>
                  <a:lnTo>
                    <a:pt x="132" y="26"/>
                  </a:lnTo>
                  <a:lnTo>
                    <a:pt x="133" y="22"/>
                  </a:lnTo>
                  <a:lnTo>
                    <a:pt x="132" y="8"/>
                  </a:lnTo>
                  <a:lnTo>
                    <a:pt x="105" y="0"/>
                  </a:lnTo>
                  <a:lnTo>
                    <a:pt x="84" y="10"/>
                  </a:lnTo>
                  <a:lnTo>
                    <a:pt x="78" y="26"/>
                  </a:lnTo>
                  <a:lnTo>
                    <a:pt x="68" y="30"/>
                  </a:lnTo>
                  <a:lnTo>
                    <a:pt x="48" y="29"/>
                  </a:lnTo>
                  <a:lnTo>
                    <a:pt x="28" y="26"/>
                  </a:lnTo>
                  <a:lnTo>
                    <a:pt x="10" y="16"/>
                  </a:lnTo>
                  <a:lnTo>
                    <a:pt x="0" y="22"/>
                  </a:lnTo>
                  <a:lnTo>
                    <a:pt x="46" y="41"/>
                  </a:lnTo>
                  <a:lnTo>
                    <a:pt x="63" y="70"/>
                  </a:lnTo>
                  <a:lnTo>
                    <a:pt x="72" y="90"/>
                  </a:lnTo>
                  <a:lnTo>
                    <a:pt x="79" y="89"/>
                  </a:lnTo>
                  <a:lnTo>
                    <a:pt x="87" y="95"/>
                  </a:lnTo>
                  <a:lnTo>
                    <a:pt x="91" y="111"/>
                  </a:lnTo>
                  <a:lnTo>
                    <a:pt x="62" y="134"/>
                  </a:lnTo>
                  <a:lnTo>
                    <a:pt x="51" y="144"/>
                  </a:lnTo>
                  <a:lnTo>
                    <a:pt x="37" y="152"/>
                  </a:lnTo>
                  <a:lnTo>
                    <a:pt x="39" y="177"/>
                  </a:lnTo>
                  <a:lnTo>
                    <a:pt x="45" y="204"/>
                  </a:lnTo>
                  <a:lnTo>
                    <a:pt x="64" y="210"/>
                  </a:lnTo>
                  <a:lnTo>
                    <a:pt x="64" y="214"/>
                  </a:lnTo>
                  <a:lnTo>
                    <a:pt x="72" y="213"/>
                  </a:lnTo>
                  <a:lnTo>
                    <a:pt x="78" y="222"/>
                  </a:lnTo>
                  <a:lnTo>
                    <a:pt x="84" y="219"/>
                  </a:lnTo>
                  <a:lnTo>
                    <a:pt x="126" y="212"/>
                  </a:lnTo>
                  <a:lnTo>
                    <a:pt x="135" y="207"/>
                  </a:lnTo>
                  <a:lnTo>
                    <a:pt x="157" y="207"/>
                  </a:lnTo>
                  <a:lnTo>
                    <a:pt x="171" y="194"/>
                  </a:lnTo>
                  <a:lnTo>
                    <a:pt x="183" y="180"/>
                  </a:lnTo>
                  <a:lnTo>
                    <a:pt x="197" y="167"/>
                  </a:lnTo>
                  <a:lnTo>
                    <a:pt x="210" y="154"/>
                  </a:lnTo>
                  <a:lnTo>
                    <a:pt x="179" y="136"/>
                  </a:lnTo>
                  <a:lnTo>
                    <a:pt x="186" y="130"/>
                  </a:lnTo>
                  <a:lnTo>
                    <a:pt x="176" y="12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58" name="Freeform 214"/>
            <p:cNvSpPr>
              <a:spLocks/>
            </p:cNvSpPr>
            <p:nvPr/>
          </p:nvSpPr>
          <p:spPr bwMode="auto">
            <a:xfrm>
              <a:off x="2740" y="1269"/>
              <a:ext cx="3" cy="3"/>
            </a:xfrm>
            <a:custGeom>
              <a:avLst/>
              <a:gdLst>
                <a:gd name="T0" fmla="*/ 470 w 2"/>
                <a:gd name="T1" fmla="*/ 0 h 5"/>
                <a:gd name="T2" fmla="*/ 0 w 2"/>
                <a:gd name="T3" fmla="*/ 1 h 5"/>
                <a:gd name="T4" fmla="*/ 479 w 2"/>
                <a:gd name="T5" fmla="*/ 1 h 5"/>
                <a:gd name="T6" fmla="*/ 470 w 2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5"/>
                <a:gd name="T14" fmla="*/ 2 w 2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5">
                  <a:moveTo>
                    <a:pt x="1" y="0"/>
                  </a:moveTo>
                  <a:lnTo>
                    <a:pt x="0" y="5"/>
                  </a:lnTo>
                  <a:lnTo>
                    <a:pt x="2" y="5"/>
                  </a:lnTo>
                  <a:lnTo>
                    <a:pt x="1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59" name="Freeform 215"/>
            <p:cNvSpPr>
              <a:spLocks/>
            </p:cNvSpPr>
            <p:nvPr/>
          </p:nvSpPr>
          <p:spPr bwMode="auto">
            <a:xfrm>
              <a:off x="2742" y="1241"/>
              <a:ext cx="102" cy="42"/>
            </a:xfrm>
            <a:custGeom>
              <a:avLst/>
              <a:gdLst>
                <a:gd name="T0" fmla="*/ 1 w 146"/>
                <a:gd name="T1" fmla="*/ 1 h 59"/>
                <a:gd name="T2" fmla="*/ 1 w 146"/>
                <a:gd name="T3" fmla="*/ 1 h 59"/>
                <a:gd name="T4" fmla="*/ 1 w 146"/>
                <a:gd name="T5" fmla="*/ 1 h 59"/>
                <a:gd name="T6" fmla="*/ 1 w 146"/>
                <a:gd name="T7" fmla="*/ 1 h 59"/>
                <a:gd name="T8" fmla="*/ 1 w 146"/>
                <a:gd name="T9" fmla="*/ 1 h 59"/>
                <a:gd name="T10" fmla="*/ 1 w 146"/>
                <a:gd name="T11" fmla="*/ 1 h 59"/>
                <a:gd name="T12" fmla="*/ 0 w 146"/>
                <a:gd name="T13" fmla="*/ 1 h 59"/>
                <a:gd name="T14" fmla="*/ 0 w 146"/>
                <a:gd name="T15" fmla="*/ 1 h 59"/>
                <a:gd name="T16" fmla="*/ 1 w 146"/>
                <a:gd name="T17" fmla="*/ 1 h 59"/>
                <a:gd name="T18" fmla="*/ 1 w 146"/>
                <a:gd name="T19" fmla="*/ 1 h 59"/>
                <a:gd name="T20" fmla="*/ 1 w 146"/>
                <a:gd name="T21" fmla="*/ 1 h 59"/>
                <a:gd name="T22" fmla="*/ 1 w 146"/>
                <a:gd name="T23" fmla="*/ 1 h 59"/>
                <a:gd name="T24" fmla="*/ 1 w 146"/>
                <a:gd name="T25" fmla="*/ 1 h 59"/>
                <a:gd name="T26" fmla="*/ 1 w 146"/>
                <a:gd name="T27" fmla="*/ 1 h 59"/>
                <a:gd name="T28" fmla="*/ 1 w 146"/>
                <a:gd name="T29" fmla="*/ 1 h 59"/>
                <a:gd name="T30" fmla="*/ 1 w 146"/>
                <a:gd name="T31" fmla="*/ 1 h 59"/>
                <a:gd name="T32" fmla="*/ 1 w 146"/>
                <a:gd name="T33" fmla="*/ 1 h 59"/>
                <a:gd name="T34" fmla="*/ 1 w 146"/>
                <a:gd name="T35" fmla="*/ 0 h 59"/>
                <a:gd name="T36" fmla="*/ 1 w 146"/>
                <a:gd name="T37" fmla="*/ 1 h 59"/>
                <a:gd name="T38" fmla="*/ 1 w 146"/>
                <a:gd name="T39" fmla="*/ 1 h 59"/>
                <a:gd name="T40" fmla="*/ 1 w 146"/>
                <a:gd name="T41" fmla="*/ 1 h 59"/>
                <a:gd name="T42" fmla="*/ 1 w 146"/>
                <a:gd name="T43" fmla="*/ 1 h 59"/>
                <a:gd name="T44" fmla="*/ 1 w 146"/>
                <a:gd name="T45" fmla="*/ 1 h 59"/>
                <a:gd name="T46" fmla="*/ 1 w 146"/>
                <a:gd name="T47" fmla="*/ 1 h 59"/>
                <a:gd name="T48" fmla="*/ 1 w 146"/>
                <a:gd name="T49" fmla="*/ 1 h 59"/>
                <a:gd name="T50" fmla="*/ 1 w 146"/>
                <a:gd name="T51" fmla="*/ 1 h 59"/>
                <a:gd name="T52" fmla="*/ 1 w 146"/>
                <a:gd name="T53" fmla="*/ 1 h 5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46"/>
                <a:gd name="T82" fmla="*/ 0 h 59"/>
                <a:gd name="T83" fmla="*/ 146 w 146"/>
                <a:gd name="T84" fmla="*/ 59 h 5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46" h="59">
                  <a:moveTo>
                    <a:pt x="51" y="48"/>
                  </a:moveTo>
                  <a:lnTo>
                    <a:pt x="30" y="51"/>
                  </a:lnTo>
                  <a:lnTo>
                    <a:pt x="18" y="50"/>
                  </a:lnTo>
                  <a:lnTo>
                    <a:pt x="3" y="45"/>
                  </a:lnTo>
                  <a:lnTo>
                    <a:pt x="1" y="45"/>
                  </a:lnTo>
                  <a:lnTo>
                    <a:pt x="1" y="44"/>
                  </a:lnTo>
                  <a:lnTo>
                    <a:pt x="0" y="40"/>
                  </a:lnTo>
                  <a:lnTo>
                    <a:pt x="0" y="34"/>
                  </a:lnTo>
                  <a:lnTo>
                    <a:pt x="13" y="36"/>
                  </a:lnTo>
                  <a:lnTo>
                    <a:pt x="17" y="38"/>
                  </a:lnTo>
                  <a:lnTo>
                    <a:pt x="23" y="33"/>
                  </a:lnTo>
                  <a:lnTo>
                    <a:pt x="39" y="33"/>
                  </a:lnTo>
                  <a:lnTo>
                    <a:pt x="62" y="33"/>
                  </a:lnTo>
                  <a:lnTo>
                    <a:pt x="68" y="30"/>
                  </a:lnTo>
                  <a:lnTo>
                    <a:pt x="65" y="17"/>
                  </a:lnTo>
                  <a:lnTo>
                    <a:pt x="80" y="4"/>
                  </a:lnTo>
                  <a:lnTo>
                    <a:pt x="91" y="9"/>
                  </a:lnTo>
                  <a:lnTo>
                    <a:pt x="103" y="0"/>
                  </a:lnTo>
                  <a:lnTo>
                    <a:pt x="133" y="4"/>
                  </a:lnTo>
                  <a:lnTo>
                    <a:pt x="146" y="22"/>
                  </a:lnTo>
                  <a:lnTo>
                    <a:pt x="139" y="30"/>
                  </a:lnTo>
                  <a:lnTo>
                    <a:pt x="137" y="32"/>
                  </a:lnTo>
                  <a:lnTo>
                    <a:pt x="131" y="47"/>
                  </a:lnTo>
                  <a:lnTo>
                    <a:pt x="128" y="50"/>
                  </a:lnTo>
                  <a:lnTo>
                    <a:pt x="90" y="59"/>
                  </a:lnTo>
                  <a:lnTo>
                    <a:pt x="81" y="58"/>
                  </a:lnTo>
                  <a:lnTo>
                    <a:pt x="51" y="4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60" name="Freeform 216"/>
            <p:cNvSpPr>
              <a:spLocks/>
            </p:cNvSpPr>
            <p:nvPr/>
          </p:nvSpPr>
          <p:spPr bwMode="auto">
            <a:xfrm>
              <a:off x="2829" y="1303"/>
              <a:ext cx="56" cy="46"/>
            </a:xfrm>
            <a:custGeom>
              <a:avLst/>
              <a:gdLst>
                <a:gd name="T0" fmla="*/ 1 w 79"/>
                <a:gd name="T1" fmla="*/ 1 h 66"/>
                <a:gd name="T2" fmla="*/ 1 w 79"/>
                <a:gd name="T3" fmla="*/ 1 h 66"/>
                <a:gd name="T4" fmla="*/ 1 w 79"/>
                <a:gd name="T5" fmla="*/ 1 h 66"/>
                <a:gd name="T6" fmla="*/ 1 w 79"/>
                <a:gd name="T7" fmla="*/ 1 h 66"/>
                <a:gd name="T8" fmla="*/ 1 w 79"/>
                <a:gd name="T9" fmla="*/ 1 h 66"/>
                <a:gd name="T10" fmla="*/ 1 w 79"/>
                <a:gd name="T11" fmla="*/ 1 h 66"/>
                <a:gd name="T12" fmla="*/ 1 w 79"/>
                <a:gd name="T13" fmla="*/ 1 h 66"/>
                <a:gd name="T14" fmla="*/ 1 w 79"/>
                <a:gd name="T15" fmla="*/ 1 h 66"/>
                <a:gd name="T16" fmla="*/ 1 w 79"/>
                <a:gd name="T17" fmla="*/ 1 h 66"/>
                <a:gd name="T18" fmla="*/ 1 w 79"/>
                <a:gd name="T19" fmla="*/ 1 h 66"/>
                <a:gd name="T20" fmla="*/ 1 w 79"/>
                <a:gd name="T21" fmla="*/ 1 h 66"/>
                <a:gd name="T22" fmla="*/ 1 w 79"/>
                <a:gd name="T23" fmla="*/ 1 h 66"/>
                <a:gd name="T24" fmla="*/ 1 w 79"/>
                <a:gd name="T25" fmla="*/ 1 h 66"/>
                <a:gd name="T26" fmla="*/ 1 w 79"/>
                <a:gd name="T27" fmla="*/ 1 h 66"/>
                <a:gd name="T28" fmla="*/ 1 w 79"/>
                <a:gd name="T29" fmla="*/ 1 h 66"/>
                <a:gd name="T30" fmla="*/ 1 w 79"/>
                <a:gd name="T31" fmla="*/ 1 h 66"/>
                <a:gd name="T32" fmla="*/ 1 w 79"/>
                <a:gd name="T33" fmla="*/ 1 h 66"/>
                <a:gd name="T34" fmla="*/ 1 w 79"/>
                <a:gd name="T35" fmla="*/ 1 h 66"/>
                <a:gd name="T36" fmla="*/ 1 w 79"/>
                <a:gd name="T37" fmla="*/ 1 h 66"/>
                <a:gd name="T38" fmla="*/ 1 w 79"/>
                <a:gd name="T39" fmla="*/ 1 h 66"/>
                <a:gd name="T40" fmla="*/ 1 w 79"/>
                <a:gd name="T41" fmla="*/ 1 h 66"/>
                <a:gd name="T42" fmla="*/ 1 w 79"/>
                <a:gd name="T43" fmla="*/ 1 h 66"/>
                <a:gd name="T44" fmla="*/ 1 w 79"/>
                <a:gd name="T45" fmla="*/ 1 h 66"/>
                <a:gd name="T46" fmla="*/ 1 w 79"/>
                <a:gd name="T47" fmla="*/ 1 h 66"/>
                <a:gd name="T48" fmla="*/ 1 w 79"/>
                <a:gd name="T49" fmla="*/ 1 h 66"/>
                <a:gd name="T50" fmla="*/ 1 w 79"/>
                <a:gd name="T51" fmla="*/ 1 h 66"/>
                <a:gd name="T52" fmla="*/ 1 w 79"/>
                <a:gd name="T53" fmla="*/ 1 h 66"/>
                <a:gd name="T54" fmla="*/ 1 w 79"/>
                <a:gd name="T55" fmla="*/ 1 h 66"/>
                <a:gd name="T56" fmla="*/ 1 w 79"/>
                <a:gd name="T57" fmla="*/ 1 h 66"/>
                <a:gd name="T58" fmla="*/ 1 w 79"/>
                <a:gd name="T59" fmla="*/ 1 h 66"/>
                <a:gd name="T60" fmla="*/ 0 w 79"/>
                <a:gd name="T61" fmla="*/ 1 h 66"/>
                <a:gd name="T62" fmla="*/ 1 w 79"/>
                <a:gd name="T63" fmla="*/ 1 h 66"/>
                <a:gd name="T64" fmla="*/ 1 w 79"/>
                <a:gd name="T65" fmla="*/ 1 h 66"/>
                <a:gd name="T66" fmla="*/ 1 w 79"/>
                <a:gd name="T67" fmla="*/ 1 h 66"/>
                <a:gd name="T68" fmla="*/ 1 w 79"/>
                <a:gd name="T69" fmla="*/ 0 h 66"/>
                <a:gd name="T70" fmla="*/ 1 w 79"/>
                <a:gd name="T71" fmla="*/ 1 h 66"/>
                <a:gd name="T72" fmla="*/ 1 w 79"/>
                <a:gd name="T73" fmla="*/ 1 h 66"/>
                <a:gd name="T74" fmla="*/ 1 w 79"/>
                <a:gd name="T75" fmla="*/ 1 h 66"/>
                <a:gd name="T76" fmla="*/ 1 w 79"/>
                <a:gd name="T77" fmla="*/ 1 h 66"/>
                <a:gd name="T78" fmla="*/ 1 w 79"/>
                <a:gd name="T79" fmla="*/ 1 h 66"/>
                <a:gd name="T80" fmla="*/ 1 w 79"/>
                <a:gd name="T81" fmla="*/ 1 h 66"/>
                <a:gd name="T82" fmla="*/ 1 w 79"/>
                <a:gd name="T83" fmla="*/ 1 h 66"/>
                <a:gd name="T84" fmla="*/ 1 w 79"/>
                <a:gd name="T85" fmla="*/ 1 h 66"/>
                <a:gd name="T86" fmla="*/ 1 w 79"/>
                <a:gd name="T87" fmla="*/ 1 h 66"/>
                <a:gd name="T88" fmla="*/ 1 w 79"/>
                <a:gd name="T89" fmla="*/ 1 h 6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79"/>
                <a:gd name="T136" fmla="*/ 0 h 66"/>
                <a:gd name="T137" fmla="*/ 79 w 79"/>
                <a:gd name="T138" fmla="*/ 66 h 6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79" h="66">
                  <a:moveTo>
                    <a:pt x="70" y="10"/>
                  </a:moveTo>
                  <a:lnTo>
                    <a:pt x="70" y="13"/>
                  </a:lnTo>
                  <a:lnTo>
                    <a:pt x="69" y="17"/>
                  </a:lnTo>
                  <a:lnTo>
                    <a:pt x="66" y="20"/>
                  </a:lnTo>
                  <a:lnTo>
                    <a:pt x="67" y="23"/>
                  </a:lnTo>
                  <a:lnTo>
                    <a:pt x="70" y="25"/>
                  </a:lnTo>
                  <a:lnTo>
                    <a:pt x="79" y="30"/>
                  </a:lnTo>
                  <a:lnTo>
                    <a:pt x="72" y="34"/>
                  </a:lnTo>
                  <a:lnTo>
                    <a:pt x="76" y="37"/>
                  </a:lnTo>
                  <a:lnTo>
                    <a:pt x="76" y="42"/>
                  </a:lnTo>
                  <a:lnTo>
                    <a:pt x="66" y="44"/>
                  </a:lnTo>
                  <a:lnTo>
                    <a:pt x="70" y="49"/>
                  </a:lnTo>
                  <a:lnTo>
                    <a:pt x="68" y="52"/>
                  </a:lnTo>
                  <a:lnTo>
                    <a:pt x="64" y="48"/>
                  </a:lnTo>
                  <a:lnTo>
                    <a:pt x="60" y="55"/>
                  </a:lnTo>
                  <a:lnTo>
                    <a:pt x="57" y="58"/>
                  </a:lnTo>
                  <a:lnTo>
                    <a:pt x="62" y="65"/>
                  </a:lnTo>
                  <a:lnTo>
                    <a:pt x="57" y="66"/>
                  </a:lnTo>
                  <a:lnTo>
                    <a:pt x="52" y="65"/>
                  </a:lnTo>
                  <a:lnTo>
                    <a:pt x="46" y="60"/>
                  </a:lnTo>
                  <a:lnTo>
                    <a:pt x="42" y="58"/>
                  </a:lnTo>
                  <a:lnTo>
                    <a:pt x="42" y="55"/>
                  </a:lnTo>
                  <a:lnTo>
                    <a:pt x="33" y="48"/>
                  </a:lnTo>
                  <a:lnTo>
                    <a:pt x="32" y="46"/>
                  </a:lnTo>
                  <a:lnTo>
                    <a:pt x="27" y="43"/>
                  </a:lnTo>
                  <a:lnTo>
                    <a:pt x="12" y="29"/>
                  </a:lnTo>
                  <a:lnTo>
                    <a:pt x="12" y="26"/>
                  </a:lnTo>
                  <a:lnTo>
                    <a:pt x="9" y="26"/>
                  </a:lnTo>
                  <a:lnTo>
                    <a:pt x="4" y="16"/>
                  </a:lnTo>
                  <a:lnTo>
                    <a:pt x="1" y="12"/>
                  </a:lnTo>
                  <a:lnTo>
                    <a:pt x="0" y="2"/>
                  </a:lnTo>
                  <a:lnTo>
                    <a:pt x="4" y="1"/>
                  </a:lnTo>
                  <a:lnTo>
                    <a:pt x="10" y="7"/>
                  </a:lnTo>
                  <a:lnTo>
                    <a:pt x="14" y="1"/>
                  </a:lnTo>
                  <a:lnTo>
                    <a:pt x="21" y="0"/>
                  </a:lnTo>
                  <a:lnTo>
                    <a:pt x="27" y="2"/>
                  </a:lnTo>
                  <a:lnTo>
                    <a:pt x="40" y="5"/>
                  </a:lnTo>
                  <a:lnTo>
                    <a:pt x="43" y="2"/>
                  </a:lnTo>
                  <a:lnTo>
                    <a:pt x="46" y="5"/>
                  </a:lnTo>
                  <a:lnTo>
                    <a:pt x="48" y="4"/>
                  </a:lnTo>
                  <a:lnTo>
                    <a:pt x="52" y="5"/>
                  </a:lnTo>
                  <a:lnTo>
                    <a:pt x="56" y="5"/>
                  </a:lnTo>
                  <a:lnTo>
                    <a:pt x="60" y="8"/>
                  </a:lnTo>
                  <a:lnTo>
                    <a:pt x="64" y="10"/>
                  </a:lnTo>
                  <a:lnTo>
                    <a:pt x="70" y="1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61" name="Freeform 217"/>
            <p:cNvSpPr>
              <a:spLocks/>
            </p:cNvSpPr>
            <p:nvPr/>
          </p:nvSpPr>
          <p:spPr bwMode="auto">
            <a:xfrm>
              <a:off x="2801" y="1280"/>
              <a:ext cx="78" cy="63"/>
            </a:xfrm>
            <a:custGeom>
              <a:avLst/>
              <a:gdLst>
                <a:gd name="T0" fmla="*/ 1 w 113"/>
                <a:gd name="T1" fmla="*/ 1 h 90"/>
                <a:gd name="T2" fmla="*/ 1 w 113"/>
                <a:gd name="T3" fmla="*/ 1 h 90"/>
                <a:gd name="T4" fmla="*/ 1 w 113"/>
                <a:gd name="T5" fmla="*/ 1 h 90"/>
                <a:gd name="T6" fmla="*/ 1 w 113"/>
                <a:gd name="T7" fmla="*/ 1 h 90"/>
                <a:gd name="T8" fmla="*/ 1 w 113"/>
                <a:gd name="T9" fmla="*/ 1 h 90"/>
                <a:gd name="T10" fmla="*/ 1 w 113"/>
                <a:gd name="T11" fmla="*/ 0 h 90"/>
                <a:gd name="T12" fmla="*/ 1 w 113"/>
                <a:gd name="T13" fmla="*/ 1 h 90"/>
                <a:gd name="T14" fmla="*/ 1 w 113"/>
                <a:gd name="T15" fmla="*/ 1 h 90"/>
                <a:gd name="T16" fmla="*/ 1 w 113"/>
                <a:gd name="T17" fmla="*/ 1 h 90"/>
                <a:gd name="T18" fmla="*/ 1 w 113"/>
                <a:gd name="T19" fmla="*/ 1 h 90"/>
                <a:gd name="T20" fmla="*/ 1 w 113"/>
                <a:gd name="T21" fmla="*/ 1 h 90"/>
                <a:gd name="T22" fmla="*/ 1 w 113"/>
                <a:gd name="T23" fmla="*/ 1 h 90"/>
                <a:gd name="T24" fmla="*/ 1 w 113"/>
                <a:gd name="T25" fmla="*/ 1 h 90"/>
                <a:gd name="T26" fmla="*/ 1 w 113"/>
                <a:gd name="T27" fmla="*/ 1 h 90"/>
                <a:gd name="T28" fmla="*/ 1 w 113"/>
                <a:gd name="T29" fmla="*/ 1 h 90"/>
                <a:gd name="T30" fmla="*/ 1 w 113"/>
                <a:gd name="T31" fmla="*/ 1 h 90"/>
                <a:gd name="T32" fmla="*/ 1 w 113"/>
                <a:gd name="T33" fmla="*/ 1 h 90"/>
                <a:gd name="T34" fmla="*/ 1 w 113"/>
                <a:gd name="T35" fmla="*/ 1 h 90"/>
                <a:gd name="T36" fmla="*/ 1 w 113"/>
                <a:gd name="T37" fmla="*/ 1 h 90"/>
                <a:gd name="T38" fmla="*/ 1 w 113"/>
                <a:gd name="T39" fmla="*/ 1 h 90"/>
                <a:gd name="T40" fmla="*/ 1 w 113"/>
                <a:gd name="T41" fmla="*/ 1 h 90"/>
                <a:gd name="T42" fmla="*/ 1 w 113"/>
                <a:gd name="T43" fmla="*/ 1 h 90"/>
                <a:gd name="T44" fmla="*/ 1 w 113"/>
                <a:gd name="T45" fmla="*/ 1 h 90"/>
                <a:gd name="T46" fmla="*/ 1 w 113"/>
                <a:gd name="T47" fmla="*/ 1 h 90"/>
                <a:gd name="T48" fmla="*/ 1 w 113"/>
                <a:gd name="T49" fmla="*/ 1 h 90"/>
                <a:gd name="T50" fmla="*/ 1 w 113"/>
                <a:gd name="T51" fmla="*/ 1 h 90"/>
                <a:gd name="T52" fmla="*/ 1 w 113"/>
                <a:gd name="T53" fmla="*/ 1 h 90"/>
                <a:gd name="T54" fmla="*/ 1 w 113"/>
                <a:gd name="T55" fmla="*/ 1 h 90"/>
                <a:gd name="T56" fmla="*/ 1 w 113"/>
                <a:gd name="T57" fmla="*/ 1 h 90"/>
                <a:gd name="T58" fmla="*/ 1 w 113"/>
                <a:gd name="T59" fmla="*/ 1 h 90"/>
                <a:gd name="T60" fmla="*/ 1 w 113"/>
                <a:gd name="T61" fmla="*/ 1 h 90"/>
                <a:gd name="T62" fmla="*/ 1 w 113"/>
                <a:gd name="T63" fmla="*/ 1 h 9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13"/>
                <a:gd name="T97" fmla="*/ 0 h 90"/>
                <a:gd name="T98" fmla="*/ 113 w 113"/>
                <a:gd name="T99" fmla="*/ 90 h 9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13" h="90">
                  <a:moveTo>
                    <a:pt x="101" y="40"/>
                  </a:moveTo>
                  <a:lnTo>
                    <a:pt x="105" y="42"/>
                  </a:lnTo>
                  <a:lnTo>
                    <a:pt x="107" y="36"/>
                  </a:lnTo>
                  <a:lnTo>
                    <a:pt x="113" y="34"/>
                  </a:lnTo>
                  <a:lnTo>
                    <a:pt x="113" y="33"/>
                  </a:lnTo>
                  <a:lnTo>
                    <a:pt x="107" y="31"/>
                  </a:lnTo>
                  <a:lnTo>
                    <a:pt x="104" y="30"/>
                  </a:lnTo>
                  <a:lnTo>
                    <a:pt x="107" y="27"/>
                  </a:lnTo>
                  <a:lnTo>
                    <a:pt x="103" y="26"/>
                  </a:lnTo>
                  <a:lnTo>
                    <a:pt x="98" y="18"/>
                  </a:lnTo>
                  <a:lnTo>
                    <a:pt x="69" y="15"/>
                  </a:lnTo>
                  <a:lnTo>
                    <a:pt x="51" y="0"/>
                  </a:lnTo>
                  <a:lnTo>
                    <a:pt x="51" y="2"/>
                  </a:lnTo>
                  <a:lnTo>
                    <a:pt x="49" y="2"/>
                  </a:lnTo>
                  <a:lnTo>
                    <a:pt x="49" y="4"/>
                  </a:lnTo>
                  <a:lnTo>
                    <a:pt x="43" y="4"/>
                  </a:lnTo>
                  <a:lnTo>
                    <a:pt x="42" y="7"/>
                  </a:lnTo>
                  <a:lnTo>
                    <a:pt x="35" y="8"/>
                  </a:lnTo>
                  <a:lnTo>
                    <a:pt x="36" y="13"/>
                  </a:lnTo>
                  <a:lnTo>
                    <a:pt x="37" y="15"/>
                  </a:lnTo>
                  <a:lnTo>
                    <a:pt x="39" y="19"/>
                  </a:lnTo>
                  <a:lnTo>
                    <a:pt x="36" y="19"/>
                  </a:lnTo>
                  <a:lnTo>
                    <a:pt x="30" y="21"/>
                  </a:lnTo>
                  <a:lnTo>
                    <a:pt x="30" y="24"/>
                  </a:lnTo>
                  <a:lnTo>
                    <a:pt x="31" y="27"/>
                  </a:lnTo>
                  <a:lnTo>
                    <a:pt x="26" y="28"/>
                  </a:lnTo>
                  <a:lnTo>
                    <a:pt x="21" y="25"/>
                  </a:lnTo>
                  <a:lnTo>
                    <a:pt x="20" y="26"/>
                  </a:lnTo>
                  <a:lnTo>
                    <a:pt x="19" y="26"/>
                  </a:lnTo>
                  <a:lnTo>
                    <a:pt x="17" y="24"/>
                  </a:lnTo>
                  <a:lnTo>
                    <a:pt x="13" y="27"/>
                  </a:lnTo>
                  <a:lnTo>
                    <a:pt x="3" y="27"/>
                  </a:lnTo>
                  <a:lnTo>
                    <a:pt x="0" y="25"/>
                  </a:lnTo>
                  <a:lnTo>
                    <a:pt x="3" y="32"/>
                  </a:lnTo>
                  <a:lnTo>
                    <a:pt x="8" y="40"/>
                  </a:lnTo>
                  <a:lnTo>
                    <a:pt x="13" y="34"/>
                  </a:lnTo>
                  <a:lnTo>
                    <a:pt x="27" y="58"/>
                  </a:lnTo>
                  <a:lnTo>
                    <a:pt x="33" y="64"/>
                  </a:lnTo>
                  <a:lnTo>
                    <a:pt x="53" y="76"/>
                  </a:lnTo>
                  <a:lnTo>
                    <a:pt x="77" y="88"/>
                  </a:lnTo>
                  <a:lnTo>
                    <a:pt x="81" y="90"/>
                  </a:lnTo>
                  <a:lnTo>
                    <a:pt x="83" y="90"/>
                  </a:lnTo>
                  <a:lnTo>
                    <a:pt x="83" y="87"/>
                  </a:lnTo>
                  <a:lnTo>
                    <a:pt x="74" y="80"/>
                  </a:lnTo>
                  <a:lnTo>
                    <a:pt x="73" y="78"/>
                  </a:lnTo>
                  <a:lnTo>
                    <a:pt x="68" y="75"/>
                  </a:lnTo>
                  <a:lnTo>
                    <a:pt x="53" y="61"/>
                  </a:lnTo>
                  <a:lnTo>
                    <a:pt x="53" y="58"/>
                  </a:lnTo>
                  <a:lnTo>
                    <a:pt x="50" y="58"/>
                  </a:lnTo>
                  <a:lnTo>
                    <a:pt x="45" y="48"/>
                  </a:lnTo>
                  <a:lnTo>
                    <a:pt x="42" y="44"/>
                  </a:lnTo>
                  <a:lnTo>
                    <a:pt x="41" y="34"/>
                  </a:lnTo>
                  <a:lnTo>
                    <a:pt x="45" y="33"/>
                  </a:lnTo>
                  <a:lnTo>
                    <a:pt x="51" y="39"/>
                  </a:lnTo>
                  <a:lnTo>
                    <a:pt x="55" y="33"/>
                  </a:lnTo>
                  <a:lnTo>
                    <a:pt x="62" y="32"/>
                  </a:lnTo>
                  <a:lnTo>
                    <a:pt x="68" y="34"/>
                  </a:lnTo>
                  <a:lnTo>
                    <a:pt x="81" y="37"/>
                  </a:lnTo>
                  <a:lnTo>
                    <a:pt x="84" y="34"/>
                  </a:lnTo>
                  <a:lnTo>
                    <a:pt x="87" y="37"/>
                  </a:lnTo>
                  <a:lnTo>
                    <a:pt x="89" y="36"/>
                  </a:lnTo>
                  <a:lnTo>
                    <a:pt x="93" y="37"/>
                  </a:lnTo>
                  <a:lnTo>
                    <a:pt x="97" y="37"/>
                  </a:lnTo>
                  <a:lnTo>
                    <a:pt x="101" y="4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62" name="Freeform 218"/>
            <p:cNvSpPr>
              <a:spLocks/>
            </p:cNvSpPr>
            <p:nvPr/>
          </p:nvSpPr>
          <p:spPr bwMode="auto">
            <a:xfrm>
              <a:off x="2848" y="1343"/>
              <a:ext cx="22" cy="9"/>
            </a:xfrm>
            <a:custGeom>
              <a:avLst/>
              <a:gdLst>
                <a:gd name="T0" fmla="*/ 1 w 31"/>
                <a:gd name="T1" fmla="*/ 2 h 12"/>
                <a:gd name="T2" fmla="*/ 1 w 31"/>
                <a:gd name="T3" fmla="*/ 2 h 12"/>
                <a:gd name="T4" fmla="*/ 1 w 31"/>
                <a:gd name="T5" fmla="*/ 2 h 12"/>
                <a:gd name="T6" fmla="*/ 1 w 31"/>
                <a:gd name="T7" fmla="*/ 2 h 12"/>
                <a:gd name="T8" fmla="*/ 1 w 31"/>
                <a:gd name="T9" fmla="*/ 2 h 12"/>
                <a:gd name="T10" fmla="*/ 1 w 31"/>
                <a:gd name="T11" fmla="*/ 0 h 12"/>
                <a:gd name="T12" fmla="*/ 1 w 31"/>
                <a:gd name="T13" fmla="*/ 1 h 12"/>
                <a:gd name="T14" fmla="*/ 0 w 31"/>
                <a:gd name="T15" fmla="*/ 0 h 12"/>
                <a:gd name="T16" fmla="*/ 1 w 31"/>
                <a:gd name="T17" fmla="*/ 2 h 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1"/>
                <a:gd name="T28" fmla="*/ 0 h 12"/>
                <a:gd name="T29" fmla="*/ 31 w 31"/>
                <a:gd name="T30" fmla="*/ 12 h 1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1" h="12">
                  <a:moveTo>
                    <a:pt x="30" y="12"/>
                  </a:moveTo>
                  <a:lnTo>
                    <a:pt x="31" y="9"/>
                  </a:lnTo>
                  <a:lnTo>
                    <a:pt x="31" y="8"/>
                  </a:lnTo>
                  <a:lnTo>
                    <a:pt x="26" y="7"/>
                  </a:lnTo>
                  <a:lnTo>
                    <a:pt x="20" y="2"/>
                  </a:lnTo>
                  <a:lnTo>
                    <a:pt x="16" y="0"/>
                  </a:lnTo>
                  <a:lnTo>
                    <a:pt x="14" y="1"/>
                  </a:lnTo>
                  <a:lnTo>
                    <a:pt x="0" y="0"/>
                  </a:lnTo>
                  <a:lnTo>
                    <a:pt x="30" y="1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63" name="Freeform 219"/>
            <p:cNvSpPr>
              <a:spLocks/>
            </p:cNvSpPr>
            <p:nvPr/>
          </p:nvSpPr>
          <p:spPr bwMode="auto">
            <a:xfrm>
              <a:off x="2546" y="1204"/>
              <a:ext cx="174" cy="148"/>
            </a:xfrm>
            <a:custGeom>
              <a:avLst/>
              <a:gdLst>
                <a:gd name="T0" fmla="*/ 2 w 247"/>
                <a:gd name="T1" fmla="*/ 1 h 210"/>
                <a:gd name="T2" fmla="*/ 2 w 247"/>
                <a:gd name="T3" fmla="*/ 1 h 210"/>
                <a:gd name="T4" fmla="*/ 2 w 247"/>
                <a:gd name="T5" fmla="*/ 1 h 210"/>
                <a:gd name="T6" fmla="*/ 2 w 247"/>
                <a:gd name="T7" fmla="*/ 1 h 210"/>
                <a:gd name="T8" fmla="*/ 2 w 247"/>
                <a:gd name="T9" fmla="*/ 1 h 210"/>
                <a:gd name="T10" fmla="*/ 1 w 247"/>
                <a:gd name="T11" fmla="*/ 1 h 210"/>
                <a:gd name="T12" fmla="*/ 1 w 247"/>
                <a:gd name="T13" fmla="*/ 1 h 210"/>
                <a:gd name="T14" fmla="*/ 1 w 247"/>
                <a:gd name="T15" fmla="*/ 1 h 210"/>
                <a:gd name="T16" fmla="*/ 1 w 247"/>
                <a:gd name="T17" fmla="*/ 1 h 210"/>
                <a:gd name="T18" fmla="*/ 1 w 247"/>
                <a:gd name="T19" fmla="*/ 1 h 210"/>
                <a:gd name="T20" fmla="*/ 1 w 247"/>
                <a:gd name="T21" fmla="*/ 1 h 210"/>
                <a:gd name="T22" fmla="*/ 1 w 247"/>
                <a:gd name="T23" fmla="*/ 1 h 210"/>
                <a:gd name="T24" fmla="*/ 1 w 247"/>
                <a:gd name="T25" fmla="*/ 1 h 210"/>
                <a:gd name="T26" fmla="*/ 1 w 247"/>
                <a:gd name="T27" fmla="*/ 1 h 210"/>
                <a:gd name="T28" fmla="*/ 1 w 247"/>
                <a:gd name="T29" fmla="*/ 1 h 210"/>
                <a:gd name="T30" fmla="*/ 1 w 247"/>
                <a:gd name="T31" fmla="*/ 1 h 210"/>
                <a:gd name="T32" fmla="*/ 1 w 247"/>
                <a:gd name="T33" fmla="*/ 1 h 210"/>
                <a:gd name="T34" fmla="*/ 1 w 247"/>
                <a:gd name="T35" fmla="*/ 1 h 210"/>
                <a:gd name="T36" fmla="*/ 1 w 247"/>
                <a:gd name="T37" fmla="*/ 1 h 210"/>
                <a:gd name="T38" fmla="*/ 1 w 247"/>
                <a:gd name="T39" fmla="*/ 1 h 210"/>
                <a:gd name="T40" fmla="*/ 1 w 247"/>
                <a:gd name="T41" fmla="*/ 1 h 210"/>
                <a:gd name="T42" fmla="*/ 1 w 247"/>
                <a:gd name="T43" fmla="*/ 1 h 210"/>
                <a:gd name="T44" fmla="*/ 1 w 247"/>
                <a:gd name="T45" fmla="*/ 1 h 210"/>
                <a:gd name="T46" fmla="*/ 1 w 247"/>
                <a:gd name="T47" fmla="*/ 1 h 210"/>
                <a:gd name="T48" fmla="*/ 1 w 247"/>
                <a:gd name="T49" fmla="*/ 1 h 210"/>
                <a:gd name="T50" fmla="*/ 1 w 247"/>
                <a:gd name="T51" fmla="*/ 1 h 210"/>
                <a:gd name="T52" fmla="*/ 1 w 247"/>
                <a:gd name="T53" fmla="*/ 1 h 210"/>
                <a:gd name="T54" fmla="*/ 1 w 247"/>
                <a:gd name="T55" fmla="*/ 1 h 210"/>
                <a:gd name="T56" fmla="*/ 1 w 247"/>
                <a:gd name="T57" fmla="*/ 1 h 210"/>
                <a:gd name="T58" fmla="*/ 1 w 247"/>
                <a:gd name="T59" fmla="*/ 1 h 210"/>
                <a:gd name="T60" fmla="*/ 1 w 247"/>
                <a:gd name="T61" fmla="*/ 1 h 210"/>
                <a:gd name="T62" fmla="*/ 1 w 247"/>
                <a:gd name="T63" fmla="*/ 1 h 210"/>
                <a:gd name="T64" fmla="*/ 0 w 247"/>
                <a:gd name="T65" fmla="*/ 1 h 210"/>
                <a:gd name="T66" fmla="*/ 1 w 247"/>
                <a:gd name="T67" fmla="*/ 1 h 210"/>
                <a:gd name="T68" fmla="*/ 1 w 247"/>
                <a:gd name="T69" fmla="*/ 1 h 210"/>
                <a:gd name="T70" fmla="*/ 1 w 247"/>
                <a:gd name="T71" fmla="*/ 1 h 210"/>
                <a:gd name="T72" fmla="*/ 1 w 247"/>
                <a:gd name="T73" fmla="*/ 1 h 210"/>
                <a:gd name="T74" fmla="*/ 1 w 247"/>
                <a:gd name="T75" fmla="*/ 1 h 210"/>
                <a:gd name="T76" fmla="*/ 1 w 247"/>
                <a:gd name="T77" fmla="*/ 1 h 210"/>
                <a:gd name="T78" fmla="*/ 1 w 247"/>
                <a:gd name="T79" fmla="*/ 1 h 210"/>
                <a:gd name="T80" fmla="*/ 1 w 247"/>
                <a:gd name="T81" fmla="*/ 1 h 210"/>
                <a:gd name="T82" fmla="*/ 1 w 247"/>
                <a:gd name="T83" fmla="*/ 1 h 210"/>
                <a:gd name="T84" fmla="*/ 1 w 247"/>
                <a:gd name="T85" fmla="*/ 1 h 210"/>
                <a:gd name="T86" fmla="*/ 1 w 247"/>
                <a:gd name="T87" fmla="*/ 0 h 210"/>
                <a:gd name="T88" fmla="*/ 1 w 247"/>
                <a:gd name="T89" fmla="*/ 1 h 210"/>
                <a:gd name="T90" fmla="*/ 1 w 247"/>
                <a:gd name="T91" fmla="*/ 1 h 210"/>
                <a:gd name="T92" fmla="*/ 1 w 247"/>
                <a:gd name="T93" fmla="*/ 1 h 210"/>
                <a:gd name="T94" fmla="*/ 1 w 247"/>
                <a:gd name="T95" fmla="*/ 1 h 210"/>
                <a:gd name="T96" fmla="*/ 1 w 247"/>
                <a:gd name="T97" fmla="*/ 1 h 210"/>
                <a:gd name="T98" fmla="*/ 1 w 247"/>
                <a:gd name="T99" fmla="*/ 1 h 210"/>
                <a:gd name="T100" fmla="*/ 1 w 247"/>
                <a:gd name="T101" fmla="*/ 1 h 210"/>
                <a:gd name="T102" fmla="*/ 2 w 247"/>
                <a:gd name="T103" fmla="*/ 1 h 210"/>
                <a:gd name="T104" fmla="*/ 2 w 247"/>
                <a:gd name="T105" fmla="*/ 1 h 210"/>
                <a:gd name="T106" fmla="*/ 2 w 247"/>
                <a:gd name="T107" fmla="*/ 1 h 210"/>
                <a:gd name="T108" fmla="*/ 1 w 247"/>
                <a:gd name="T109" fmla="*/ 1 h 210"/>
                <a:gd name="T110" fmla="*/ 1 w 247"/>
                <a:gd name="T111" fmla="*/ 1 h 210"/>
                <a:gd name="T112" fmla="*/ 1 w 247"/>
                <a:gd name="T113" fmla="*/ 1 h 210"/>
                <a:gd name="T114" fmla="*/ 1 w 247"/>
                <a:gd name="T115" fmla="*/ 1 h 210"/>
                <a:gd name="T116" fmla="*/ 1 w 247"/>
                <a:gd name="T117" fmla="*/ 1 h 210"/>
                <a:gd name="T118" fmla="*/ 1 w 247"/>
                <a:gd name="T119" fmla="*/ 1 h 210"/>
                <a:gd name="T120" fmla="*/ 1 w 247"/>
                <a:gd name="T121" fmla="*/ 1 h 210"/>
                <a:gd name="T122" fmla="*/ 1 w 247"/>
                <a:gd name="T123" fmla="*/ 1 h 210"/>
                <a:gd name="T124" fmla="*/ 2 w 247"/>
                <a:gd name="T125" fmla="*/ 1 h 21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7"/>
                <a:gd name="T190" fmla="*/ 0 h 210"/>
                <a:gd name="T191" fmla="*/ 247 w 247"/>
                <a:gd name="T192" fmla="*/ 210 h 21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7" h="210">
                  <a:moveTo>
                    <a:pt x="241" y="168"/>
                  </a:moveTo>
                  <a:lnTo>
                    <a:pt x="241" y="177"/>
                  </a:lnTo>
                  <a:lnTo>
                    <a:pt x="240" y="177"/>
                  </a:lnTo>
                  <a:lnTo>
                    <a:pt x="238" y="177"/>
                  </a:lnTo>
                  <a:lnTo>
                    <a:pt x="238" y="178"/>
                  </a:lnTo>
                  <a:lnTo>
                    <a:pt x="218" y="194"/>
                  </a:lnTo>
                  <a:lnTo>
                    <a:pt x="193" y="186"/>
                  </a:lnTo>
                  <a:lnTo>
                    <a:pt x="186" y="183"/>
                  </a:lnTo>
                  <a:lnTo>
                    <a:pt x="183" y="186"/>
                  </a:lnTo>
                  <a:lnTo>
                    <a:pt x="166" y="184"/>
                  </a:lnTo>
                  <a:lnTo>
                    <a:pt x="154" y="194"/>
                  </a:lnTo>
                  <a:lnTo>
                    <a:pt x="156" y="210"/>
                  </a:lnTo>
                  <a:lnTo>
                    <a:pt x="127" y="208"/>
                  </a:lnTo>
                  <a:lnTo>
                    <a:pt x="128" y="206"/>
                  </a:lnTo>
                  <a:lnTo>
                    <a:pt x="122" y="206"/>
                  </a:lnTo>
                  <a:lnTo>
                    <a:pt x="67" y="194"/>
                  </a:lnTo>
                  <a:lnTo>
                    <a:pt x="57" y="186"/>
                  </a:lnTo>
                  <a:lnTo>
                    <a:pt x="64" y="174"/>
                  </a:lnTo>
                  <a:lnTo>
                    <a:pt x="67" y="154"/>
                  </a:lnTo>
                  <a:lnTo>
                    <a:pt x="69" y="135"/>
                  </a:lnTo>
                  <a:lnTo>
                    <a:pt x="79" y="146"/>
                  </a:lnTo>
                  <a:lnTo>
                    <a:pt x="69" y="128"/>
                  </a:lnTo>
                  <a:lnTo>
                    <a:pt x="70" y="121"/>
                  </a:lnTo>
                  <a:lnTo>
                    <a:pt x="60" y="112"/>
                  </a:lnTo>
                  <a:lnTo>
                    <a:pt x="52" y="96"/>
                  </a:lnTo>
                  <a:lnTo>
                    <a:pt x="55" y="92"/>
                  </a:lnTo>
                  <a:lnTo>
                    <a:pt x="44" y="88"/>
                  </a:lnTo>
                  <a:lnTo>
                    <a:pt x="32" y="85"/>
                  </a:lnTo>
                  <a:lnTo>
                    <a:pt x="15" y="78"/>
                  </a:lnTo>
                  <a:lnTo>
                    <a:pt x="4" y="74"/>
                  </a:lnTo>
                  <a:lnTo>
                    <a:pt x="7" y="68"/>
                  </a:lnTo>
                  <a:lnTo>
                    <a:pt x="9" y="67"/>
                  </a:lnTo>
                  <a:lnTo>
                    <a:pt x="0" y="66"/>
                  </a:lnTo>
                  <a:lnTo>
                    <a:pt x="24" y="56"/>
                  </a:lnTo>
                  <a:lnTo>
                    <a:pt x="38" y="58"/>
                  </a:lnTo>
                  <a:lnTo>
                    <a:pt x="62" y="58"/>
                  </a:lnTo>
                  <a:lnTo>
                    <a:pt x="57" y="36"/>
                  </a:lnTo>
                  <a:lnTo>
                    <a:pt x="63" y="34"/>
                  </a:lnTo>
                  <a:lnTo>
                    <a:pt x="69" y="40"/>
                  </a:lnTo>
                  <a:lnTo>
                    <a:pt x="100" y="39"/>
                  </a:lnTo>
                  <a:lnTo>
                    <a:pt x="93" y="38"/>
                  </a:lnTo>
                  <a:lnTo>
                    <a:pt x="120" y="24"/>
                  </a:lnTo>
                  <a:lnTo>
                    <a:pt x="122" y="7"/>
                  </a:lnTo>
                  <a:lnTo>
                    <a:pt x="140" y="0"/>
                  </a:lnTo>
                  <a:lnTo>
                    <a:pt x="147" y="8"/>
                  </a:lnTo>
                  <a:lnTo>
                    <a:pt x="172" y="25"/>
                  </a:lnTo>
                  <a:lnTo>
                    <a:pt x="181" y="24"/>
                  </a:lnTo>
                  <a:lnTo>
                    <a:pt x="183" y="26"/>
                  </a:lnTo>
                  <a:lnTo>
                    <a:pt x="202" y="37"/>
                  </a:lnTo>
                  <a:lnTo>
                    <a:pt x="213" y="39"/>
                  </a:lnTo>
                  <a:lnTo>
                    <a:pt x="217" y="40"/>
                  </a:lnTo>
                  <a:lnTo>
                    <a:pt x="247" y="50"/>
                  </a:lnTo>
                  <a:lnTo>
                    <a:pt x="238" y="85"/>
                  </a:lnTo>
                  <a:lnTo>
                    <a:pt x="232" y="88"/>
                  </a:lnTo>
                  <a:lnTo>
                    <a:pt x="228" y="91"/>
                  </a:lnTo>
                  <a:lnTo>
                    <a:pt x="211" y="116"/>
                  </a:lnTo>
                  <a:lnTo>
                    <a:pt x="218" y="111"/>
                  </a:lnTo>
                  <a:lnTo>
                    <a:pt x="229" y="124"/>
                  </a:lnTo>
                  <a:lnTo>
                    <a:pt x="229" y="134"/>
                  </a:lnTo>
                  <a:lnTo>
                    <a:pt x="226" y="144"/>
                  </a:lnTo>
                  <a:lnTo>
                    <a:pt x="226" y="150"/>
                  </a:lnTo>
                  <a:lnTo>
                    <a:pt x="228" y="159"/>
                  </a:lnTo>
                  <a:lnTo>
                    <a:pt x="241" y="168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64" name="Freeform 220"/>
            <p:cNvSpPr>
              <a:spLocks/>
            </p:cNvSpPr>
            <p:nvPr/>
          </p:nvSpPr>
          <p:spPr bwMode="auto">
            <a:xfrm>
              <a:off x="2733" y="1343"/>
              <a:ext cx="13" cy="24"/>
            </a:xfrm>
            <a:custGeom>
              <a:avLst/>
              <a:gdLst>
                <a:gd name="T0" fmla="*/ 1 w 18"/>
                <a:gd name="T1" fmla="*/ 1 h 33"/>
                <a:gd name="T2" fmla="*/ 1 w 18"/>
                <a:gd name="T3" fmla="*/ 1 h 33"/>
                <a:gd name="T4" fmla="*/ 0 w 18"/>
                <a:gd name="T5" fmla="*/ 1 h 33"/>
                <a:gd name="T6" fmla="*/ 1 w 18"/>
                <a:gd name="T7" fmla="*/ 0 h 33"/>
                <a:gd name="T8" fmla="*/ 1 w 18"/>
                <a:gd name="T9" fmla="*/ 1 h 33"/>
                <a:gd name="T10" fmla="*/ 1 w 18"/>
                <a:gd name="T11" fmla="*/ 1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8"/>
                <a:gd name="T19" fmla="*/ 0 h 33"/>
                <a:gd name="T20" fmla="*/ 18 w 18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8" h="33">
                  <a:moveTo>
                    <a:pt x="13" y="33"/>
                  </a:moveTo>
                  <a:lnTo>
                    <a:pt x="3" y="29"/>
                  </a:lnTo>
                  <a:lnTo>
                    <a:pt x="0" y="14"/>
                  </a:lnTo>
                  <a:lnTo>
                    <a:pt x="13" y="0"/>
                  </a:lnTo>
                  <a:lnTo>
                    <a:pt x="18" y="15"/>
                  </a:lnTo>
                  <a:lnTo>
                    <a:pt x="13" y="3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65" name="Freeform 221"/>
            <p:cNvSpPr>
              <a:spLocks/>
            </p:cNvSpPr>
            <p:nvPr/>
          </p:nvSpPr>
          <p:spPr bwMode="auto">
            <a:xfrm>
              <a:off x="2832" y="1249"/>
              <a:ext cx="90" cy="44"/>
            </a:xfrm>
            <a:custGeom>
              <a:avLst/>
              <a:gdLst>
                <a:gd name="T0" fmla="*/ 1 w 129"/>
                <a:gd name="T1" fmla="*/ 1 h 63"/>
                <a:gd name="T2" fmla="*/ 1 w 129"/>
                <a:gd name="T3" fmla="*/ 1 h 63"/>
                <a:gd name="T4" fmla="*/ 1 w 129"/>
                <a:gd name="T5" fmla="*/ 1 h 63"/>
                <a:gd name="T6" fmla="*/ 1 w 129"/>
                <a:gd name="T7" fmla="*/ 1 h 63"/>
                <a:gd name="T8" fmla="*/ 0 w 129"/>
                <a:gd name="T9" fmla="*/ 1 h 63"/>
                <a:gd name="T10" fmla="*/ 1 w 129"/>
                <a:gd name="T11" fmla="*/ 1 h 63"/>
                <a:gd name="T12" fmla="*/ 1 w 129"/>
                <a:gd name="T13" fmla="*/ 1 h 63"/>
                <a:gd name="T14" fmla="*/ 1 w 129"/>
                <a:gd name="T15" fmla="*/ 1 h 63"/>
                <a:gd name="T16" fmla="*/ 1 w 129"/>
                <a:gd name="T17" fmla="*/ 1 h 63"/>
                <a:gd name="T18" fmla="*/ 1 w 129"/>
                <a:gd name="T19" fmla="*/ 1 h 63"/>
                <a:gd name="T20" fmla="*/ 1 w 129"/>
                <a:gd name="T21" fmla="*/ 1 h 63"/>
                <a:gd name="T22" fmla="*/ 1 w 129"/>
                <a:gd name="T23" fmla="*/ 0 h 63"/>
                <a:gd name="T24" fmla="*/ 1 w 129"/>
                <a:gd name="T25" fmla="*/ 1 h 63"/>
                <a:gd name="T26" fmla="*/ 1 w 129"/>
                <a:gd name="T27" fmla="*/ 1 h 63"/>
                <a:gd name="T28" fmla="*/ 1 w 129"/>
                <a:gd name="T29" fmla="*/ 1 h 63"/>
                <a:gd name="T30" fmla="*/ 1 w 129"/>
                <a:gd name="T31" fmla="*/ 1 h 63"/>
                <a:gd name="T32" fmla="*/ 1 w 129"/>
                <a:gd name="T33" fmla="*/ 1 h 63"/>
                <a:gd name="T34" fmla="*/ 1 w 129"/>
                <a:gd name="T35" fmla="*/ 1 h 6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29"/>
                <a:gd name="T55" fmla="*/ 0 h 63"/>
                <a:gd name="T56" fmla="*/ 129 w 129"/>
                <a:gd name="T57" fmla="*/ 63 h 6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29" h="63">
                  <a:moveTo>
                    <a:pt x="54" y="63"/>
                  </a:moveTo>
                  <a:lnTo>
                    <a:pt x="25" y="60"/>
                  </a:lnTo>
                  <a:lnTo>
                    <a:pt x="7" y="45"/>
                  </a:lnTo>
                  <a:lnTo>
                    <a:pt x="1" y="41"/>
                  </a:lnTo>
                  <a:lnTo>
                    <a:pt x="0" y="39"/>
                  </a:lnTo>
                  <a:lnTo>
                    <a:pt x="3" y="36"/>
                  </a:lnTo>
                  <a:lnTo>
                    <a:pt x="9" y="21"/>
                  </a:lnTo>
                  <a:lnTo>
                    <a:pt x="11" y="19"/>
                  </a:lnTo>
                  <a:lnTo>
                    <a:pt x="18" y="11"/>
                  </a:lnTo>
                  <a:lnTo>
                    <a:pt x="24" y="15"/>
                  </a:lnTo>
                  <a:lnTo>
                    <a:pt x="48" y="15"/>
                  </a:lnTo>
                  <a:lnTo>
                    <a:pt x="79" y="0"/>
                  </a:lnTo>
                  <a:lnTo>
                    <a:pt x="113" y="1"/>
                  </a:lnTo>
                  <a:lnTo>
                    <a:pt x="129" y="12"/>
                  </a:lnTo>
                  <a:lnTo>
                    <a:pt x="110" y="31"/>
                  </a:lnTo>
                  <a:lnTo>
                    <a:pt x="94" y="53"/>
                  </a:lnTo>
                  <a:lnTo>
                    <a:pt x="83" y="57"/>
                  </a:lnTo>
                  <a:lnTo>
                    <a:pt x="54" y="6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66" name="Freeform 222"/>
            <p:cNvSpPr>
              <a:spLocks/>
            </p:cNvSpPr>
            <p:nvPr/>
          </p:nvSpPr>
          <p:spPr bwMode="auto">
            <a:xfrm>
              <a:off x="2934" y="799"/>
              <a:ext cx="1833" cy="566"/>
            </a:xfrm>
            <a:custGeom>
              <a:avLst/>
              <a:gdLst>
                <a:gd name="T0" fmla="*/ 16 w 2606"/>
                <a:gd name="T1" fmla="*/ 1 h 804"/>
                <a:gd name="T2" fmla="*/ 15 w 2606"/>
                <a:gd name="T3" fmla="*/ 1 h 804"/>
                <a:gd name="T4" fmla="*/ 13 w 2606"/>
                <a:gd name="T5" fmla="*/ 1 h 804"/>
                <a:gd name="T6" fmla="*/ 13 w 2606"/>
                <a:gd name="T7" fmla="*/ 1 h 804"/>
                <a:gd name="T8" fmla="*/ 12 w 2606"/>
                <a:gd name="T9" fmla="*/ 1 h 804"/>
                <a:gd name="T10" fmla="*/ 11 w 2606"/>
                <a:gd name="T11" fmla="*/ 1 h 804"/>
                <a:gd name="T12" fmla="*/ 9 w 2606"/>
                <a:gd name="T13" fmla="*/ 1 h 804"/>
                <a:gd name="T14" fmla="*/ 9 w 2606"/>
                <a:gd name="T15" fmla="*/ 1 h 804"/>
                <a:gd name="T16" fmla="*/ 8 w 2606"/>
                <a:gd name="T17" fmla="*/ 1 h 804"/>
                <a:gd name="T18" fmla="*/ 7 w 2606"/>
                <a:gd name="T19" fmla="*/ 1 h 804"/>
                <a:gd name="T20" fmla="*/ 6 w 2606"/>
                <a:gd name="T21" fmla="*/ 1 h 804"/>
                <a:gd name="T22" fmla="*/ 6 w 2606"/>
                <a:gd name="T23" fmla="*/ 1 h 804"/>
                <a:gd name="T24" fmla="*/ 6 w 2606"/>
                <a:gd name="T25" fmla="*/ 1 h 804"/>
                <a:gd name="T26" fmla="*/ 6 w 2606"/>
                <a:gd name="T27" fmla="*/ 1 h 804"/>
                <a:gd name="T28" fmla="*/ 6 w 2606"/>
                <a:gd name="T29" fmla="*/ 1 h 804"/>
                <a:gd name="T30" fmla="*/ 6 w 2606"/>
                <a:gd name="T31" fmla="*/ 1 h 804"/>
                <a:gd name="T32" fmla="*/ 6 w 2606"/>
                <a:gd name="T33" fmla="*/ 1 h 804"/>
                <a:gd name="T34" fmla="*/ 4 w 2606"/>
                <a:gd name="T35" fmla="*/ 1 h 804"/>
                <a:gd name="T36" fmla="*/ 4 w 2606"/>
                <a:gd name="T37" fmla="*/ 1 h 804"/>
                <a:gd name="T38" fmla="*/ 4 w 2606"/>
                <a:gd name="T39" fmla="*/ 1 h 804"/>
                <a:gd name="T40" fmla="*/ 3 w 2606"/>
                <a:gd name="T41" fmla="*/ 1 h 804"/>
                <a:gd name="T42" fmla="*/ 2 w 2606"/>
                <a:gd name="T43" fmla="*/ 1 h 804"/>
                <a:gd name="T44" fmla="*/ 2 w 2606"/>
                <a:gd name="T45" fmla="*/ 1 h 804"/>
                <a:gd name="T46" fmla="*/ 1 w 2606"/>
                <a:gd name="T47" fmla="*/ 2 h 804"/>
                <a:gd name="T48" fmla="*/ 1 w 2606"/>
                <a:gd name="T49" fmla="*/ 1 h 804"/>
                <a:gd name="T50" fmla="*/ 1 w 2606"/>
                <a:gd name="T51" fmla="*/ 1 h 804"/>
                <a:gd name="T52" fmla="*/ 1 w 2606"/>
                <a:gd name="T53" fmla="*/ 1 h 804"/>
                <a:gd name="T54" fmla="*/ 1 w 2606"/>
                <a:gd name="T55" fmla="*/ 2 h 804"/>
                <a:gd name="T56" fmla="*/ 1 w 2606"/>
                <a:gd name="T57" fmla="*/ 3 h 804"/>
                <a:gd name="T58" fmla="*/ 1 w 2606"/>
                <a:gd name="T59" fmla="*/ 3 h 804"/>
                <a:gd name="T60" fmla="*/ 1 w 2606"/>
                <a:gd name="T61" fmla="*/ 4 h 804"/>
                <a:gd name="T62" fmla="*/ 2 w 2606"/>
                <a:gd name="T63" fmla="*/ 5 h 804"/>
                <a:gd name="T64" fmla="*/ 2 w 2606"/>
                <a:gd name="T65" fmla="*/ 6 h 804"/>
                <a:gd name="T66" fmla="*/ 4 w 2606"/>
                <a:gd name="T67" fmla="*/ 6 h 804"/>
                <a:gd name="T68" fmla="*/ 4 w 2606"/>
                <a:gd name="T69" fmla="*/ 6 h 804"/>
                <a:gd name="T70" fmla="*/ 4 w 2606"/>
                <a:gd name="T71" fmla="*/ 4 h 804"/>
                <a:gd name="T72" fmla="*/ 4 w 2606"/>
                <a:gd name="T73" fmla="*/ 4 h 804"/>
                <a:gd name="T74" fmla="*/ 6 w 2606"/>
                <a:gd name="T75" fmla="*/ 4 h 804"/>
                <a:gd name="T76" fmla="*/ 7 w 2606"/>
                <a:gd name="T77" fmla="*/ 4 h 804"/>
                <a:gd name="T78" fmla="*/ 8 w 2606"/>
                <a:gd name="T79" fmla="*/ 4 h 804"/>
                <a:gd name="T80" fmla="*/ 9 w 2606"/>
                <a:gd name="T81" fmla="*/ 4 h 804"/>
                <a:gd name="T82" fmla="*/ 11 w 2606"/>
                <a:gd name="T83" fmla="*/ 4 h 804"/>
                <a:gd name="T84" fmla="*/ 13 w 2606"/>
                <a:gd name="T85" fmla="*/ 4 h 804"/>
                <a:gd name="T86" fmla="*/ 13 w 2606"/>
                <a:gd name="T87" fmla="*/ 4 h 804"/>
                <a:gd name="T88" fmla="*/ 15 w 2606"/>
                <a:gd name="T89" fmla="*/ 4 h 804"/>
                <a:gd name="T90" fmla="*/ 15 w 2606"/>
                <a:gd name="T91" fmla="*/ 6 h 804"/>
                <a:gd name="T92" fmla="*/ 16 w 2606"/>
                <a:gd name="T93" fmla="*/ 6 h 804"/>
                <a:gd name="T94" fmla="*/ 16 w 2606"/>
                <a:gd name="T95" fmla="*/ 4 h 804"/>
                <a:gd name="T96" fmla="*/ 15 w 2606"/>
                <a:gd name="T97" fmla="*/ 4 h 804"/>
                <a:gd name="T98" fmla="*/ 15 w 2606"/>
                <a:gd name="T99" fmla="*/ 3 h 804"/>
                <a:gd name="T100" fmla="*/ 15 w 2606"/>
                <a:gd name="T101" fmla="*/ 3 h 804"/>
                <a:gd name="T102" fmla="*/ 16 w 2606"/>
                <a:gd name="T103" fmla="*/ 3 h 804"/>
                <a:gd name="T104" fmla="*/ 17 w 2606"/>
                <a:gd name="T105" fmla="*/ 3 h 804"/>
                <a:gd name="T106" fmla="*/ 17 w 2606"/>
                <a:gd name="T107" fmla="*/ 2 h 804"/>
                <a:gd name="T108" fmla="*/ 17 w 2606"/>
                <a:gd name="T109" fmla="*/ 3 h 804"/>
                <a:gd name="T110" fmla="*/ 18 w 2606"/>
                <a:gd name="T111" fmla="*/ 4 h 804"/>
                <a:gd name="T112" fmla="*/ 18 w 2606"/>
                <a:gd name="T113" fmla="*/ 3 h 804"/>
                <a:gd name="T114" fmla="*/ 18 w 2606"/>
                <a:gd name="T115" fmla="*/ 3 h 804"/>
                <a:gd name="T116" fmla="*/ 18 w 2606"/>
                <a:gd name="T117" fmla="*/ 3 h 804"/>
                <a:gd name="T118" fmla="*/ 19 w 2606"/>
                <a:gd name="T119" fmla="*/ 2 h 804"/>
                <a:gd name="T120" fmla="*/ 18 w 2606"/>
                <a:gd name="T121" fmla="*/ 1 h 8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606"/>
                <a:gd name="T184" fmla="*/ 0 h 804"/>
                <a:gd name="T185" fmla="*/ 2606 w 2606"/>
                <a:gd name="T186" fmla="*/ 804 h 8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606" h="804">
                  <a:moveTo>
                    <a:pt x="2409" y="170"/>
                  </a:moveTo>
                  <a:lnTo>
                    <a:pt x="2359" y="161"/>
                  </a:lnTo>
                  <a:lnTo>
                    <a:pt x="2310" y="151"/>
                  </a:lnTo>
                  <a:lnTo>
                    <a:pt x="2267" y="151"/>
                  </a:lnTo>
                  <a:lnTo>
                    <a:pt x="2226" y="147"/>
                  </a:lnTo>
                  <a:lnTo>
                    <a:pt x="2241" y="157"/>
                  </a:lnTo>
                  <a:lnTo>
                    <a:pt x="2265" y="170"/>
                  </a:lnTo>
                  <a:lnTo>
                    <a:pt x="2261" y="174"/>
                  </a:lnTo>
                  <a:lnTo>
                    <a:pt x="2247" y="174"/>
                  </a:lnTo>
                  <a:lnTo>
                    <a:pt x="2224" y="165"/>
                  </a:lnTo>
                  <a:lnTo>
                    <a:pt x="2215" y="165"/>
                  </a:lnTo>
                  <a:lnTo>
                    <a:pt x="2191" y="153"/>
                  </a:lnTo>
                  <a:lnTo>
                    <a:pt x="2173" y="159"/>
                  </a:lnTo>
                  <a:lnTo>
                    <a:pt x="2107" y="155"/>
                  </a:lnTo>
                  <a:lnTo>
                    <a:pt x="2106" y="165"/>
                  </a:lnTo>
                  <a:lnTo>
                    <a:pt x="2085" y="156"/>
                  </a:lnTo>
                  <a:lnTo>
                    <a:pt x="2059" y="151"/>
                  </a:lnTo>
                  <a:lnTo>
                    <a:pt x="2035" y="135"/>
                  </a:lnTo>
                  <a:lnTo>
                    <a:pt x="1997" y="127"/>
                  </a:lnTo>
                  <a:lnTo>
                    <a:pt x="1957" y="129"/>
                  </a:lnTo>
                  <a:lnTo>
                    <a:pt x="1919" y="132"/>
                  </a:lnTo>
                  <a:lnTo>
                    <a:pt x="1908" y="129"/>
                  </a:lnTo>
                  <a:lnTo>
                    <a:pt x="1878" y="121"/>
                  </a:lnTo>
                  <a:lnTo>
                    <a:pt x="1869" y="125"/>
                  </a:lnTo>
                  <a:lnTo>
                    <a:pt x="1870" y="119"/>
                  </a:lnTo>
                  <a:lnTo>
                    <a:pt x="1859" y="117"/>
                  </a:lnTo>
                  <a:lnTo>
                    <a:pt x="1839" y="114"/>
                  </a:lnTo>
                  <a:lnTo>
                    <a:pt x="1849" y="111"/>
                  </a:lnTo>
                  <a:lnTo>
                    <a:pt x="1812" y="103"/>
                  </a:lnTo>
                  <a:lnTo>
                    <a:pt x="1791" y="107"/>
                  </a:lnTo>
                  <a:lnTo>
                    <a:pt x="1785" y="107"/>
                  </a:lnTo>
                  <a:lnTo>
                    <a:pt x="1788" y="102"/>
                  </a:lnTo>
                  <a:lnTo>
                    <a:pt x="1786" y="102"/>
                  </a:lnTo>
                  <a:lnTo>
                    <a:pt x="1732" y="97"/>
                  </a:lnTo>
                  <a:lnTo>
                    <a:pt x="1679" y="92"/>
                  </a:lnTo>
                  <a:lnTo>
                    <a:pt x="1691" y="97"/>
                  </a:lnTo>
                  <a:lnTo>
                    <a:pt x="1669" y="102"/>
                  </a:lnTo>
                  <a:lnTo>
                    <a:pt x="1678" y="104"/>
                  </a:lnTo>
                  <a:lnTo>
                    <a:pt x="1684" y="105"/>
                  </a:lnTo>
                  <a:lnTo>
                    <a:pt x="1691" y="111"/>
                  </a:lnTo>
                  <a:lnTo>
                    <a:pt x="1701" y="120"/>
                  </a:lnTo>
                  <a:lnTo>
                    <a:pt x="1673" y="117"/>
                  </a:lnTo>
                  <a:lnTo>
                    <a:pt x="1679" y="121"/>
                  </a:lnTo>
                  <a:lnTo>
                    <a:pt x="1681" y="126"/>
                  </a:lnTo>
                  <a:lnTo>
                    <a:pt x="1637" y="116"/>
                  </a:lnTo>
                  <a:lnTo>
                    <a:pt x="1622" y="121"/>
                  </a:lnTo>
                  <a:lnTo>
                    <a:pt x="1585" y="114"/>
                  </a:lnTo>
                  <a:lnTo>
                    <a:pt x="1579" y="111"/>
                  </a:lnTo>
                  <a:lnTo>
                    <a:pt x="1588" y="123"/>
                  </a:lnTo>
                  <a:lnTo>
                    <a:pt x="1584" y="134"/>
                  </a:lnTo>
                  <a:lnTo>
                    <a:pt x="1559" y="127"/>
                  </a:lnTo>
                  <a:lnTo>
                    <a:pt x="1528" y="114"/>
                  </a:lnTo>
                  <a:lnTo>
                    <a:pt x="1493" y="102"/>
                  </a:lnTo>
                  <a:lnTo>
                    <a:pt x="1482" y="103"/>
                  </a:lnTo>
                  <a:lnTo>
                    <a:pt x="1510" y="121"/>
                  </a:lnTo>
                  <a:lnTo>
                    <a:pt x="1472" y="102"/>
                  </a:lnTo>
                  <a:lnTo>
                    <a:pt x="1415" y="95"/>
                  </a:lnTo>
                  <a:lnTo>
                    <a:pt x="1356" y="89"/>
                  </a:lnTo>
                  <a:lnTo>
                    <a:pt x="1325" y="80"/>
                  </a:lnTo>
                  <a:lnTo>
                    <a:pt x="1328" y="78"/>
                  </a:lnTo>
                  <a:lnTo>
                    <a:pt x="1304" y="77"/>
                  </a:lnTo>
                  <a:lnTo>
                    <a:pt x="1249" y="79"/>
                  </a:lnTo>
                  <a:lnTo>
                    <a:pt x="1232" y="71"/>
                  </a:lnTo>
                  <a:lnTo>
                    <a:pt x="1208" y="71"/>
                  </a:lnTo>
                  <a:lnTo>
                    <a:pt x="1208" y="68"/>
                  </a:lnTo>
                  <a:lnTo>
                    <a:pt x="1183" y="72"/>
                  </a:lnTo>
                  <a:lnTo>
                    <a:pt x="1206" y="74"/>
                  </a:lnTo>
                  <a:lnTo>
                    <a:pt x="1178" y="83"/>
                  </a:lnTo>
                  <a:lnTo>
                    <a:pt x="1148" y="86"/>
                  </a:lnTo>
                  <a:lnTo>
                    <a:pt x="1150" y="83"/>
                  </a:lnTo>
                  <a:lnTo>
                    <a:pt x="1180" y="62"/>
                  </a:lnTo>
                  <a:lnTo>
                    <a:pt x="1208" y="42"/>
                  </a:lnTo>
                  <a:lnTo>
                    <a:pt x="1195" y="38"/>
                  </a:lnTo>
                  <a:lnTo>
                    <a:pt x="1181" y="33"/>
                  </a:lnTo>
                  <a:lnTo>
                    <a:pt x="1204" y="37"/>
                  </a:lnTo>
                  <a:lnTo>
                    <a:pt x="1184" y="26"/>
                  </a:lnTo>
                  <a:lnTo>
                    <a:pt x="1181" y="27"/>
                  </a:lnTo>
                  <a:lnTo>
                    <a:pt x="1170" y="26"/>
                  </a:lnTo>
                  <a:lnTo>
                    <a:pt x="1145" y="19"/>
                  </a:lnTo>
                  <a:lnTo>
                    <a:pt x="1094" y="19"/>
                  </a:lnTo>
                  <a:lnTo>
                    <a:pt x="1076" y="20"/>
                  </a:lnTo>
                  <a:lnTo>
                    <a:pt x="1075" y="12"/>
                  </a:lnTo>
                  <a:lnTo>
                    <a:pt x="1054" y="11"/>
                  </a:lnTo>
                  <a:lnTo>
                    <a:pt x="1028" y="11"/>
                  </a:lnTo>
                  <a:lnTo>
                    <a:pt x="1046" y="5"/>
                  </a:lnTo>
                  <a:lnTo>
                    <a:pt x="1008" y="0"/>
                  </a:lnTo>
                  <a:lnTo>
                    <a:pt x="985" y="12"/>
                  </a:lnTo>
                  <a:lnTo>
                    <a:pt x="994" y="20"/>
                  </a:lnTo>
                  <a:lnTo>
                    <a:pt x="1008" y="21"/>
                  </a:lnTo>
                  <a:lnTo>
                    <a:pt x="972" y="24"/>
                  </a:lnTo>
                  <a:lnTo>
                    <a:pt x="984" y="27"/>
                  </a:lnTo>
                  <a:lnTo>
                    <a:pt x="960" y="29"/>
                  </a:lnTo>
                  <a:lnTo>
                    <a:pt x="936" y="30"/>
                  </a:lnTo>
                  <a:lnTo>
                    <a:pt x="892" y="30"/>
                  </a:lnTo>
                  <a:lnTo>
                    <a:pt x="910" y="31"/>
                  </a:lnTo>
                  <a:lnTo>
                    <a:pt x="875" y="37"/>
                  </a:lnTo>
                  <a:lnTo>
                    <a:pt x="840" y="44"/>
                  </a:lnTo>
                  <a:lnTo>
                    <a:pt x="827" y="47"/>
                  </a:lnTo>
                  <a:lnTo>
                    <a:pt x="827" y="56"/>
                  </a:lnTo>
                  <a:lnTo>
                    <a:pt x="814" y="55"/>
                  </a:lnTo>
                  <a:lnTo>
                    <a:pt x="836" y="61"/>
                  </a:lnTo>
                  <a:lnTo>
                    <a:pt x="822" y="62"/>
                  </a:lnTo>
                  <a:lnTo>
                    <a:pt x="840" y="68"/>
                  </a:lnTo>
                  <a:lnTo>
                    <a:pt x="840" y="71"/>
                  </a:lnTo>
                  <a:lnTo>
                    <a:pt x="798" y="74"/>
                  </a:lnTo>
                  <a:lnTo>
                    <a:pt x="756" y="79"/>
                  </a:lnTo>
                  <a:lnTo>
                    <a:pt x="762" y="87"/>
                  </a:lnTo>
                  <a:lnTo>
                    <a:pt x="781" y="102"/>
                  </a:lnTo>
                  <a:lnTo>
                    <a:pt x="803" y="105"/>
                  </a:lnTo>
                  <a:lnTo>
                    <a:pt x="832" y="116"/>
                  </a:lnTo>
                  <a:lnTo>
                    <a:pt x="846" y="134"/>
                  </a:lnTo>
                  <a:lnTo>
                    <a:pt x="851" y="141"/>
                  </a:lnTo>
                  <a:lnTo>
                    <a:pt x="842" y="143"/>
                  </a:lnTo>
                  <a:lnTo>
                    <a:pt x="828" y="129"/>
                  </a:lnTo>
                  <a:lnTo>
                    <a:pt x="826" y="137"/>
                  </a:lnTo>
                  <a:lnTo>
                    <a:pt x="816" y="123"/>
                  </a:lnTo>
                  <a:lnTo>
                    <a:pt x="826" y="115"/>
                  </a:lnTo>
                  <a:lnTo>
                    <a:pt x="791" y="111"/>
                  </a:lnTo>
                  <a:lnTo>
                    <a:pt x="756" y="101"/>
                  </a:lnTo>
                  <a:lnTo>
                    <a:pt x="728" y="105"/>
                  </a:lnTo>
                  <a:lnTo>
                    <a:pt x="741" y="111"/>
                  </a:lnTo>
                  <a:lnTo>
                    <a:pt x="709" y="110"/>
                  </a:lnTo>
                  <a:lnTo>
                    <a:pt x="717" y="117"/>
                  </a:lnTo>
                  <a:lnTo>
                    <a:pt x="756" y="125"/>
                  </a:lnTo>
                  <a:lnTo>
                    <a:pt x="763" y="129"/>
                  </a:lnTo>
                  <a:lnTo>
                    <a:pt x="707" y="120"/>
                  </a:lnTo>
                  <a:lnTo>
                    <a:pt x="689" y="93"/>
                  </a:lnTo>
                  <a:lnTo>
                    <a:pt x="675" y="92"/>
                  </a:lnTo>
                  <a:lnTo>
                    <a:pt x="690" y="107"/>
                  </a:lnTo>
                  <a:lnTo>
                    <a:pt x="674" y="115"/>
                  </a:lnTo>
                  <a:lnTo>
                    <a:pt x="680" y="123"/>
                  </a:lnTo>
                  <a:lnTo>
                    <a:pt x="704" y="138"/>
                  </a:lnTo>
                  <a:lnTo>
                    <a:pt x="702" y="153"/>
                  </a:lnTo>
                  <a:lnTo>
                    <a:pt x="717" y="169"/>
                  </a:lnTo>
                  <a:lnTo>
                    <a:pt x="759" y="167"/>
                  </a:lnTo>
                  <a:lnTo>
                    <a:pt x="781" y="173"/>
                  </a:lnTo>
                  <a:lnTo>
                    <a:pt x="791" y="187"/>
                  </a:lnTo>
                  <a:lnTo>
                    <a:pt x="797" y="195"/>
                  </a:lnTo>
                  <a:lnTo>
                    <a:pt x="821" y="200"/>
                  </a:lnTo>
                  <a:lnTo>
                    <a:pt x="786" y="195"/>
                  </a:lnTo>
                  <a:lnTo>
                    <a:pt x="773" y="177"/>
                  </a:lnTo>
                  <a:lnTo>
                    <a:pt x="761" y="170"/>
                  </a:lnTo>
                  <a:lnTo>
                    <a:pt x="731" y="176"/>
                  </a:lnTo>
                  <a:lnTo>
                    <a:pt x="749" y="198"/>
                  </a:lnTo>
                  <a:lnTo>
                    <a:pt x="734" y="219"/>
                  </a:lnTo>
                  <a:lnTo>
                    <a:pt x="727" y="223"/>
                  </a:lnTo>
                  <a:lnTo>
                    <a:pt x="717" y="227"/>
                  </a:lnTo>
                  <a:lnTo>
                    <a:pt x="672" y="221"/>
                  </a:lnTo>
                  <a:lnTo>
                    <a:pt x="667" y="217"/>
                  </a:lnTo>
                  <a:lnTo>
                    <a:pt x="697" y="218"/>
                  </a:lnTo>
                  <a:lnTo>
                    <a:pt x="691" y="221"/>
                  </a:lnTo>
                  <a:lnTo>
                    <a:pt x="711" y="218"/>
                  </a:lnTo>
                  <a:lnTo>
                    <a:pt x="708" y="213"/>
                  </a:lnTo>
                  <a:lnTo>
                    <a:pt x="721" y="192"/>
                  </a:lnTo>
                  <a:lnTo>
                    <a:pt x="721" y="182"/>
                  </a:lnTo>
                  <a:lnTo>
                    <a:pt x="693" y="165"/>
                  </a:lnTo>
                  <a:lnTo>
                    <a:pt x="681" y="145"/>
                  </a:lnTo>
                  <a:lnTo>
                    <a:pt x="668" y="126"/>
                  </a:lnTo>
                  <a:lnTo>
                    <a:pt x="651" y="117"/>
                  </a:lnTo>
                  <a:lnTo>
                    <a:pt x="651" y="98"/>
                  </a:lnTo>
                  <a:lnTo>
                    <a:pt x="626" y="90"/>
                  </a:lnTo>
                  <a:lnTo>
                    <a:pt x="593" y="92"/>
                  </a:lnTo>
                  <a:lnTo>
                    <a:pt x="589" y="119"/>
                  </a:lnTo>
                  <a:lnTo>
                    <a:pt x="577" y="128"/>
                  </a:lnTo>
                  <a:lnTo>
                    <a:pt x="581" y="133"/>
                  </a:lnTo>
                  <a:lnTo>
                    <a:pt x="591" y="134"/>
                  </a:lnTo>
                  <a:lnTo>
                    <a:pt x="595" y="147"/>
                  </a:lnTo>
                  <a:lnTo>
                    <a:pt x="600" y="156"/>
                  </a:lnTo>
                  <a:lnTo>
                    <a:pt x="621" y="162"/>
                  </a:lnTo>
                  <a:lnTo>
                    <a:pt x="636" y="171"/>
                  </a:lnTo>
                  <a:lnTo>
                    <a:pt x="643" y="173"/>
                  </a:lnTo>
                  <a:lnTo>
                    <a:pt x="636" y="186"/>
                  </a:lnTo>
                  <a:lnTo>
                    <a:pt x="612" y="173"/>
                  </a:lnTo>
                  <a:lnTo>
                    <a:pt x="572" y="163"/>
                  </a:lnTo>
                  <a:lnTo>
                    <a:pt x="536" y="157"/>
                  </a:lnTo>
                  <a:lnTo>
                    <a:pt x="499" y="152"/>
                  </a:lnTo>
                  <a:lnTo>
                    <a:pt x="493" y="158"/>
                  </a:lnTo>
                  <a:lnTo>
                    <a:pt x="511" y="173"/>
                  </a:lnTo>
                  <a:lnTo>
                    <a:pt x="499" y="179"/>
                  </a:lnTo>
                  <a:lnTo>
                    <a:pt x="498" y="185"/>
                  </a:lnTo>
                  <a:lnTo>
                    <a:pt x="488" y="182"/>
                  </a:lnTo>
                  <a:lnTo>
                    <a:pt x="483" y="173"/>
                  </a:lnTo>
                  <a:lnTo>
                    <a:pt x="461" y="176"/>
                  </a:lnTo>
                  <a:lnTo>
                    <a:pt x="443" y="179"/>
                  </a:lnTo>
                  <a:lnTo>
                    <a:pt x="422" y="186"/>
                  </a:lnTo>
                  <a:lnTo>
                    <a:pt x="397" y="183"/>
                  </a:lnTo>
                  <a:lnTo>
                    <a:pt x="404" y="181"/>
                  </a:lnTo>
                  <a:lnTo>
                    <a:pt x="397" y="173"/>
                  </a:lnTo>
                  <a:lnTo>
                    <a:pt x="410" y="170"/>
                  </a:lnTo>
                  <a:lnTo>
                    <a:pt x="380" y="179"/>
                  </a:lnTo>
                  <a:lnTo>
                    <a:pt x="379" y="181"/>
                  </a:lnTo>
                  <a:lnTo>
                    <a:pt x="347" y="188"/>
                  </a:lnTo>
                  <a:lnTo>
                    <a:pt x="329" y="194"/>
                  </a:lnTo>
                  <a:lnTo>
                    <a:pt x="330" y="198"/>
                  </a:lnTo>
                  <a:lnTo>
                    <a:pt x="314" y="200"/>
                  </a:lnTo>
                  <a:lnTo>
                    <a:pt x="313" y="215"/>
                  </a:lnTo>
                  <a:lnTo>
                    <a:pt x="288" y="215"/>
                  </a:lnTo>
                  <a:lnTo>
                    <a:pt x="269" y="203"/>
                  </a:lnTo>
                  <a:lnTo>
                    <a:pt x="294" y="193"/>
                  </a:lnTo>
                  <a:lnTo>
                    <a:pt x="265" y="179"/>
                  </a:lnTo>
                  <a:lnTo>
                    <a:pt x="233" y="177"/>
                  </a:lnTo>
                  <a:lnTo>
                    <a:pt x="251" y="186"/>
                  </a:lnTo>
                  <a:lnTo>
                    <a:pt x="259" y="209"/>
                  </a:lnTo>
                  <a:lnTo>
                    <a:pt x="266" y="224"/>
                  </a:lnTo>
                  <a:lnTo>
                    <a:pt x="265" y="234"/>
                  </a:lnTo>
                  <a:lnTo>
                    <a:pt x="257" y="233"/>
                  </a:lnTo>
                  <a:lnTo>
                    <a:pt x="251" y="225"/>
                  </a:lnTo>
                  <a:lnTo>
                    <a:pt x="231" y="223"/>
                  </a:lnTo>
                  <a:lnTo>
                    <a:pt x="216" y="235"/>
                  </a:lnTo>
                  <a:lnTo>
                    <a:pt x="199" y="247"/>
                  </a:lnTo>
                  <a:lnTo>
                    <a:pt x="216" y="265"/>
                  </a:lnTo>
                  <a:lnTo>
                    <a:pt x="177" y="260"/>
                  </a:lnTo>
                  <a:lnTo>
                    <a:pt x="152" y="252"/>
                  </a:lnTo>
                  <a:lnTo>
                    <a:pt x="153" y="261"/>
                  </a:lnTo>
                  <a:lnTo>
                    <a:pt x="171" y="270"/>
                  </a:lnTo>
                  <a:lnTo>
                    <a:pt x="181" y="277"/>
                  </a:lnTo>
                  <a:lnTo>
                    <a:pt x="158" y="279"/>
                  </a:lnTo>
                  <a:lnTo>
                    <a:pt x="125" y="264"/>
                  </a:lnTo>
                  <a:lnTo>
                    <a:pt x="114" y="245"/>
                  </a:lnTo>
                  <a:lnTo>
                    <a:pt x="113" y="239"/>
                  </a:lnTo>
                  <a:lnTo>
                    <a:pt x="115" y="237"/>
                  </a:lnTo>
                  <a:lnTo>
                    <a:pt x="93" y="227"/>
                  </a:lnTo>
                  <a:lnTo>
                    <a:pt x="84" y="222"/>
                  </a:lnTo>
                  <a:lnTo>
                    <a:pt x="62" y="210"/>
                  </a:lnTo>
                  <a:lnTo>
                    <a:pt x="75" y="213"/>
                  </a:lnTo>
                  <a:lnTo>
                    <a:pt x="120" y="223"/>
                  </a:lnTo>
                  <a:lnTo>
                    <a:pt x="165" y="233"/>
                  </a:lnTo>
                  <a:lnTo>
                    <a:pt x="207" y="223"/>
                  </a:lnTo>
                  <a:lnTo>
                    <a:pt x="212" y="207"/>
                  </a:lnTo>
                  <a:lnTo>
                    <a:pt x="195" y="195"/>
                  </a:lnTo>
                  <a:lnTo>
                    <a:pt x="147" y="181"/>
                  </a:lnTo>
                  <a:lnTo>
                    <a:pt x="101" y="165"/>
                  </a:lnTo>
                  <a:lnTo>
                    <a:pt x="73" y="167"/>
                  </a:lnTo>
                  <a:lnTo>
                    <a:pt x="66" y="169"/>
                  </a:lnTo>
                  <a:lnTo>
                    <a:pt x="72" y="161"/>
                  </a:lnTo>
                  <a:lnTo>
                    <a:pt x="61" y="163"/>
                  </a:lnTo>
                  <a:lnTo>
                    <a:pt x="48" y="156"/>
                  </a:lnTo>
                  <a:lnTo>
                    <a:pt x="63" y="153"/>
                  </a:lnTo>
                  <a:lnTo>
                    <a:pt x="44" y="151"/>
                  </a:lnTo>
                  <a:lnTo>
                    <a:pt x="37" y="155"/>
                  </a:lnTo>
                  <a:lnTo>
                    <a:pt x="27" y="153"/>
                  </a:lnTo>
                  <a:lnTo>
                    <a:pt x="29" y="158"/>
                  </a:lnTo>
                  <a:lnTo>
                    <a:pt x="18" y="159"/>
                  </a:lnTo>
                  <a:lnTo>
                    <a:pt x="1" y="169"/>
                  </a:lnTo>
                  <a:lnTo>
                    <a:pt x="0" y="173"/>
                  </a:lnTo>
                  <a:lnTo>
                    <a:pt x="2" y="187"/>
                  </a:lnTo>
                  <a:lnTo>
                    <a:pt x="26" y="200"/>
                  </a:lnTo>
                  <a:lnTo>
                    <a:pt x="15" y="216"/>
                  </a:lnTo>
                  <a:lnTo>
                    <a:pt x="37" y="241"/>
                  </a:lnTo>
                  <a:lnTo>
                    <a:pt x="38" y="259"/>
                  </a:lnTo>
                  <a:lnTo>
                    <a:pt x="44" y="267"/>
                  </a:lnTo>
                  <a:lnTo>
                    <a:pt x="54" y="277"/>
                  </a:lnTo>
                  <a:lnTo>
                    <a:pt x="47" y="283"/>
                  </a:lnTo>
                  <a:lnTo>
                    <a:pt x="78" y="301"/>
                  </a:lnTo>
                  <a:lnTo>
                    <a:pt x="65" y="314"/>
                  </a:lnTo>
                  <a:lnTo>
                    <a:pt x="51" y="327"/>
                  </a:lnTo>
                  <a:lnTo>
                    <a:pt x="39" y="341"/>
                  </a:lnTo>
                  <a:lnTo>
                    <a:pt x="25" y="354"/>
                  </a:lnTo>
                  <a:lnTo>
                    <a:pt x="38" y="354"/>
                  </a:lnTo>
                  <a:lnTo>
                    <a:pt x="36" y="354"/>
                  </a:lnTo>
                  <a:lnTo>
                    <a:pt x="39" y="359"/>
                  </a:lnTo>
                  <a:lnTo>
                    <a:pt x="71" y="367"/>
                  </a:lnTo>
                  <a:lnTo>
                    <a:pt x="51" y="367"/>
                  </a:lnTo>
                  <a:lnTo>
                    <a:pt x="36" y="374"/>
                  </a:lnTo>
                  <a:lnTo>
                    <a:pt x="31" y="380"/>
                  </a:lnTo>
                  <a:lnTo>
                    <a:pt x="37" y="402"/>
                  </a:lnTo>
                  <a:lnTo>
                    <a:pt x="29" y="416"/>
                  </a:lnTo>
                  <a:lnTo>
                    <a:pt x="39" y="433"/>
                  </a:lnTo>
                  <a:lnTo>
                    <a:pt x="53" y="459"/>
                  </a:lnTo>
                  <a:lnTo>
                    <a:pt x="81" y="464"/>
                  </a:lnTo>
                  <a:lnTo>
                    <a:pt x="110" y="469"/>
                  </a:lnTo>
                  <a:lnTo>
                    <a:pt x="115" y="497"/>
                  </a:lnTo>
                  <a:lnTo>
                    <a:pt x="139" y="517"/>
                  </a:lnTo>
                  <a:lnTo>
                    <a:pt x="132" y="524"/>
                  </a:lnTo>
                  <a:lnTo>
                    <a:pt x="138" y="546"/>
                  </a:lnTo>
                  <a:lnTo>
                    <a:pt x="153" y="541"/>
                  </a:lnTo>
                  <a:lnTo>
                    <a:pt x="183" y="545"/>
                  </a:lnTo>
                  <a:lnTo>
                    <a:pt x="187" y="553"/>
                  </a:lnTo>
                  <a:lnTo>
                    <a:pt x="212" y="573"/>
                  </a:lnTo>
                  <a:lnTo>
                    <a:pt x="237" y="595"/>
                  </a:lnTo>
                  <a:lnTo>
                    <a:pt x="249" y="593"/>
                  </a:lnTo>
                  <a:lnTo>
                    <a:pt x="278" y="602"/>
                  </a:lnTo>
                  <a:lnTo>
                    <a:pt x="307" y="611"/>
                  </a:lnTo>
                  <a:lnTo>
                    <a:pt x="320" y="645"/>
                  </a:lnTo>
                  <a:lnTo>
                    <a:pt x="305" y="653"/>
                  </a:lnTo>
                  <a:lnTo>
                    <a:pt x="297" y="667"/>
                  </a:lnTo>
                  <a:lnTo>
                    <a:pt x="302" y="672"/>
                  </a:lnTo>
                  <a:lnTo>
                    <a:pt x="287" y="680"/>
                  </a:lnTo>
                  <a:lnTo>
                    <a:pt x="277" y="683"/>
                  </a:lnTo>
                  <a:lnTo>
                    <a:pt x="293" y="696"/>
                  </a:lnTo>
                  <a:lnTo>
                    <a:pt x="287" y="695"/>
                  </a:lnTo>
                  <a:lnTo>
                    <a:pt x="284" y="702"/>
                  </a:lnTo>
                  <a:lnTo>
                    <a:pt x="281" y="697"/>
                  </a:lnTo>
                  <a:lnTo>
                    <a:pt x="279" y="711"/>
                  </a:lnTo>
                  <a:lnTo>
                    <a:pt x="263" y="713"/>
                  </a:lnTo>
                  <a:lnTo>
                    <a:pt x="258" y="717"/>
                  </a:lnTo>
                  <a:lnTo>
                    <a:pt x="288" y="733"/>
                  </a:lnTo>
                  <a:lnTo>
                    <a:pt x="318" y="749"/>
                  </a:lnTo>
                  <a:lnTo>
                    <a:pt x="319" y="746"/>
                  </a:lnTo>
                  <a:lnTo>
                    <a:pt x="342" y="749"/>
                  </a:lnTo>
                  <a:lnTo>
                    <a:pt x="363" y="750"/>
                  </a:lnTo>
                  <a:lnTo>
                    <a:pt x="393" y="762"/>
                  </a:lnTo>
                  <a:lnTo>
                    <a:pt x="423" y="774"/>
                  </a:lnTo>
                  <a:lnTo>
                    <a:pt x="453" y="786"/>
                  </a:lnTo>
                  <a:lnTo>
                    <a:pt x="483" y="798"/>
                  </a:lnTo>
                  <a:lnTo>
                    <a:pt x="517" y="804"/>
                  </a:lnTo>
                  <a:lnTo>
                    <a:pt x="500" y="785"/>
                  </a:lnTo>
                  <a:lnTo>
                    <a:pt x="483" y="767"/>
                  </a:lnTo>
                  <a:lnTo>
                    <a:pt x="480" y="750"/>
                  </a:lnTo>
                  <a:lnTo>
                    <a:pt x="479" y="756"/>
                  </a:lnTo>
                  <a:lnTo>
                    <a:pt x="468" y="738"/>
                  </a:lnTo>
                  <a:lnTo>
                    <a:pt x="461" y="731"/>
                  </a:lnTo>
                  <a:lnTo>
                    <a:pt x="471" y="707"/>
                  </a:lnTo>
                  <a:lnTo>
                    <a:pt x="492" y="697"/>
                  </a:lnTo>
                  <a:lnTo>
                    <a:pt x="501" y="692"/>
                  </a:lnTo>
                  <a:lnTo>
                    <a:pt x="499" y="686"/>
                  </a:lnTo>
                  <a:lnTo>
                    <a:pt x="485" y="662"/>
                  </a:lnTo>
                  <a:lnTo>
                    <a:pt x="461" y="644"/>
                  </a:lnTo>
                  <a:lnTo>
                    <a:pt x="438" y="626"/>
                  </a:lnTo>
                  <a:lnTo>
                    <a:pt x="441" y="599"/>
                  </a:lnTo>
                  <a:lnTo>
                    <a:pt x="444" y="572"/>
                  </a:lnTo>
                  <a:lnTo>
                    <a:pt x="467" y="583"/>
                  </a:lnTo>
                  <a:lnTo>
                    <a:pt x="470" y="572"/>
                  </a:lnTo>
                  <a:lnTo>
                    <a:pt x="485" y="561"/>
                  </a:lnTo>
                  <a:lnTo>
                    <a:pt x="500" y="551"/>
                  </a:lnTo>
                  <a:lnTo>
                    <a:pt x="528" y="551"/>
                  </a:lnTo>
                  <a:lnTo>
                    <a:pt x="553" y="563"/>
                  </a:lnTo>
                  <a:lnTo>
                    <a:pt x="579" y="573"/>
                  </a:lnTo>
                  <a:lnTo>
                    <a:pt x="608" y="572"/>
                  </a:lnTo>
                  <a:lnTo>
                    <a:pt x="645" y="571"/>
                  </a:lnTo>
                  <a:lnTo>
                    <a:pt x="684" y="577"/>
                  </a:lnTo>
                  <a:lnTo>
                    <a:pt x="686" y="571"/>
                  </a:lnTo>
                  <a:lnTo>
                    <a:pt x="666" y="546"/>
                  </a:lnTo>
                  <a:lnTo>
                    <a:pt x="675" y="519"/>
                  </a:lnTo>
                  <a:lnTo>
                    <a:pt x="692" y="519"/>
                  </a:lnTo>
                  <a:lnTo>
                    <a:pt x="669" y="509"/>
                  </a:lnTo>
                  <a:lnTo>
                    <a:pt x="693" y="504"/>
                  </a:lnTo>
                  <a:lnTo>
                    <a:pt x="719" y="500"/>
                  </a:lnTo>
                  <a:lnTo>
                    <a:pt x="741" y="494"/>
                  </a:lnTo>
                  <a:lnTo>
                    <a:pt x="765" y="487"/>
                  </a:lnTo>
                  <a:lnTo>
                    <a:pt x="788" y="481"/>
                  </a:lnTo>
                  <a:lnTo>
                    <a:pt x="811" y="474"/>
                  </a:lnTo>
                  <a:lnTo>
                    <a:pt x="828" y="473"/>
                  </a:lnTo>
                  <a:lnTo>
                    <a:pt x="842" y="487"/>
                  </a:lnTo>
                  <a:lnTo>
                    <a:pt x="880" y="500"/>
                  </a:lnTo>
                  <a:lnTo>
                    <a:pt x="893" y="507"/>
                  </a:lnTo>
                  <a:lnTo>
                    <a:pt x="908" y="510"/>
                  </a:lnTo>
                  <a:lnTo>
                    <a:pt x="932" y="501"/>
                  </a:lnTo>
                  <a:lnTo>
                    <a:pt x="958" y="492"/>
                  </a:lnTo>
                  <a:lnTo>
                    <a:pt x="961" y="495"/>
                  </a:lnTo>
                  <a:lnTo>
                    <a:pt x="958" y="507"/>
                  </a:lnTo>
                  <a:lnTo>
                    <a:pt x="984" y="524"/>
                  </a:lnTo>
                  <a:lnTo>
                    <a:pt x="1010" y="542"/>
                  </a:lnTo>
                  <a:lnTo>
                    <a:pt x="1037" y="560"/>
                  </a:lnTo>
                  <a:lnTo>
                    <a:pt x="1063" y="578"/>
                  </a:lnTo>
                  <a:lnTo>
                    <a:pt x="1067" y="572"/>
                  </a:lnTo>
                  <a:lnTo>
                    <a:pt x="1081" y="577"/>
                  </a:lnTo>
                  <a:lnTo>
                    <a:pt x="1106" y="573"/>
                  </a:lnTo>
                  <a:lnTo>
                    <a:pt x="1133" y="589"/>
                  </a:lnTo>
                  <a:lnTo>
                    <a:pt x="1159" y="606"/>
                  </a:lnTo>
                  <a:lnTo>
                    <a:pt x="1184" y="600"/>
                  </a:lnTo>
                  <a:lnTo>
                    <a:pt x="1206" y="623"/>
                  </a:lnTo>
                  <a:lnTo>
                    <a:pt x="1222" y="621"/>
                  </a:lnTo>
                  <a:lnTo>
                    <a:pt x="1231" y="613"/>
                  </a:lnTo>
                  <a:lnTo>
                    <a:pt x="1249" y="606"/>
                  </a:lnTo>
                  <a:lnTo>
                    <a:pt x="1268" y="594"/>
                  </a:lnTo>
                  <a:lnTo>
                    <a:pt x="1288" y="583"/>
                  </a:lnTo>
                  <a:lnTo>
                    <a:pt x="1327" y="588"/>
                  </a:lnTo>
                  <a:lnTo>
                    <a:pt x="1333" y="596"/>
                  </a:lnTo>
                  <a:lnTo>
                    <a:pt x="1363" y="601"/>
                  </a:lnTo>
                  <a:lnTo>
                    <a:pt x="1392" y="606"/>
                  </a:lnTo>
                  <a:lnTo>
                    <a:pt x="1406" y="594"/>
                  </a:lnTo>
                  <a:lnTo>
                    <a:pt x="1388" y="577"/>
                  </a:lnTo>
                  <a:lnTo>
                    <a:pt x="1393" y="553"/>
                  </a:lnTo>
                  <a:lnTo>
                    <a:pt x="1427" y="560"/>
                  </a:lnTo>
                  <a:lnTo>
                    <a:pt x="1459" y="567"/>
                  </a:lnTo>
                  <a:lnTo>
                    <a:pt x="1474" y="581"/>
                  </a:lnTo>
                  <a:lnTo>
                    <a:pt x="1504" y="596"/>
                  </a:lnTo>
                  <a:lnTo>
                    <a:pt x="1537" y="590"/>
                  </a:lnTo>
                  <a:lnTo>
                    <a:pt x="1564" y="595"/>
                  </a:lnTo>
                  <a:lnTo>
                    <a:pt x="1591" y="601"/>
                  </a:lnTo>
                  <a:lnTo>
                    <a:pt x="1602" y="611"/>
                  </a:lnTo>
                  <a:lnTo>
                    <a:pt x="1643" y="620"/>
                  </a:lnTo>
                  <a:lnTo>
                    <a:pt x="1666" y="617"/>
                  </a:lnTo>
                  <a:lnTo>
                    <a:pt x="1687" y="612"/>
                  </a:lnTo>
                  <a:lnTo>
                    <a:pt x="1710" y="595"/>
                  </a:lnTo>
                  <a:lnTo>
                    <a:pt x="1746" y="603"/>
                  </a:lnTo>
                  <a:lnTo>
                    <a:pt x="1764" y="605"/>
                  </a:lnTo>
                  <a:lnTo>
                    <a:pt x="1793" y="611"/>
                  </a:lnTo>
                  <a:lnTo>
                    <a:pt x="1807" y="595"/>
                  </a:lnTo>
                  <a:lnTo>
                    <a:pt x="1801" y="577"/>
                  </a:lnTo>
                  <a:lnTo>
                    <a:pt x="1800" y="548"/>
                  </a:lnTo>
                  <a:lnTo>
                    <a:pt x="1786" y="539"/>
                  </a:lnTo>
                  <a:lnTo>
                    <a:pt x="1777" y="535"/>
                  </a:lnTo>
                  <a:lnTo>
                    <a:pt x="1792" y="522"/>
                  </a:lnTo>
                  <a:lnTo>
                    <a:pt x="1816" y="521"/>
                  </a:lnTo>
                  <a:lnTo>
                    <a:pt x="1840" y="521"/>
                  </a:lnTo>
                  <a:lnTo>
                    <a:pt x="1890" y="536"/>
                  </a:lnTo>
                  <a:lnTo>
                    <a:pt x="1909" y="553"/>
                  </a:lnTo>
                  <a:lnTo>
                    <a:pt x="1930" y="570"/>
                  </a:lnTo>
                  <a:lnTo>
                    <a:pt x="1949" y="587"/>
                  </a:lnTo>
                  <a:lnTo>
                    <a:pt x="1969" y="603"/>
                  </a:lnTo>
                  <a:lnTo>
                    <a:pt x="1991" y="612"/>
                  </a:lnTo>
                  <a:lnTo>
                    <a:pt x="2026" y="621"/>
                  </a:lnTo>
                  <a:lnTo>
                    <a:pt x="2046" y="630"/>
                  </a:lnTo>
                  <a:lnTo>
                    <a:pt x="2071" y="656"/>
                  </a:lnTo>
                  <a:lnTo>
                    <a:pt x="2100" y="653"/>
                  </a:lnTo>
                  <a:lnTo>
                    <a:pt x="2131" y="642"/>
                  </a:lnTo>
                  <a:lnTo>
                    <a:pt x="2143" y="663"/>
                  </a:lnTo>
                  <a:lnTo>
                    <a:pt x="2147" y="692"/>
                  </a:lnTo>
                  <a:lnTo>
                    <a:pt x="2151" y="721"/>
                  </a:lnTo>
                  <a:lnTo>
                    <a:pt x="2124" y="716"/>
                  </a:lnTo>
                  <a:lnTo>
                    <a:pt x="2121" y="729"/>
                  </a:lnTo>
                  <a:lnTo>
                    <a:pt x="2134" y="751"/>
                  </a:lnTo>
                  <a:lnTo>
                    <a:pt x="2148" y="773"/>
                  </a:lnTo>
                  <a:lnTo>
                    <a:pt x="2140" y="779"/>
                  </a:lnTo>
                  <a:lnTo>
                    <a:pt x="2145" y="786"/>
                  </a:lnTo>
                  <a:lnTo>
                    <a:pt x="2148" y="788"/>
                  </a:lnTo>
                  <a:lnTo>
                    <a:pt x="2146" y="781"/>
                  </a:lnTo>
                  <a:lnTo>
                    <a:pt x="2149" y="781"/>
                  </a:lnTo>
                  <a:lnTo>
                    <a:pt x="2160" y="767"/>
                  </a:lnTo>
                  <a:lnTo>
                    <a:pt x="2166" y="764"/>
                  </a:lnTo>
                  <a:lnTo>
                    <a:pt x="2172" y="775"/>
                  </a:lnTo>
                  <a:lnTo>
                    <a:pt x="2187" y="776"/>
                  </a:lnTo>
                  <a:lnTo>
                    <a:pt x="2211" y="768"/>
                  </a:lnTo>
                  <a:lnTo>
                    <a:pt x="2218" y="751"/>
                  </a:lnTo>
                  <a:lnTo>
                    <a:pt x="2224" y="734"/>
                  </a:lnTo>
                  <a:lnTo>
                    <a:pt x="2227" y="710"/>
                  </a:lnTo>
                  <a:lnTo>
                    <a:pt x="2230" y="687"/>
                  </a:lnTo>
                  <a:lnTo>
                    <a:pt x="2232" y="665"/>
                  </a:lnTo>
                  <a:lnTo>
                    <a:pt x="2233" y="642"/>
                  </a:lnTo>
                  <a:lnTo>
                    <a:pt x="2224" y="621"/>
                  </a:lnTo>
                  <a:lnTo>
                    <a:pt x="2214" y="601"/>
                  </a:lnTo>
                  <a:lnTo>
                    <a:pt x="2202" y="588"/>
                  </a:lnTo>
                  <a:lnTo>
                    <a:pt x="2197" y="572"/>
                  </a:lnTo>
                  <a:lnTo>
                    <a:pt x="2191" y="557"/>
                  </a:lnTo>
                  <a:lnTo>
                    <a:pt x="2177" y="540"/>
                  </a:lnTo>
                  <a:lnTo>
                    <a:pt x="2155" y="527"/>
                  </a:lnTo>
                  <a:lnTo>
                    <a:pt x="2169" y="528"/>
                  </a:lnTo>
                  <a:lnTo>
                    <a:pt x="2118" y="501"/>
                  </a:lnTo>
                  <a:lnTo>
                    <a:pt x="2094" y="498"/>
                  </a:lnTo>
                  <a:lnTo>
                    <a:pt x="2101" y="509"/>
                  </a:lnTo>
                  <a:lnTo>
                    <a:pt x="2085" y="517"/>
                  </a:lnTo>
                  <a:lnTo>
                    <a:pt x="2085" y="509"/>
                  </a:lnTo>
                  <a:lnTo>
                    <a:pt x="2074" y="505"/>
                  </a:lnTo>
                  <a:lnTo>
                    <a:pt x="2071" y="510"/>
                  </a:lnTo>
                  <a:lnTo>
                    <a:pt x="2056" y="493"/>
                  </a:lnTo>
                  <a:lnTo>
                    <a:pt x="2022" y="489"/>
                  </a:lnTo>
                  <a:lnTo>
                    <a:pt x="2031" y="468"/>
                  </a:lnTo>
                  <a:lnTo>
                    <a:pt x="2037" y="447"/>
                  </a:lnTo>
                  <a:lnTo>
                    <a:pt x="2043" y="433"/>
                  </a:lnTo>
                  <a:lnTo>
                    <a:pt x="2049" y="419"/>
                  </a:lnTo>
                  <a:lnTo>
                    <a:pt x="2044" y="408"/>
                  </a:lnTo>
                  <a:lnTo>
                    <a:pt x="2052" y="387"/>
                  </a:lnTo>
                  <a:lnTo>
                    <a:pt x="2075" y="384"/>
                  </a:lnTo>
                  <a:lnTo>
                    <a:pt x="2099" y="380"/>
                  </a:lnTo>
                  <a:lnTo>
                    <a:pt x="2105" y="380"/>
                  </a:lnTo>
                  <a:lnTo>
                    <a:pt x="2115" y="385"/>
                  </a:lnTo>
                  <a:lnTo>
                    <a:pt x="2117" y="381"/>
                  </a:lnTo>
                  <a:lnTo>
                    <a:pt x="2161" y="384"/>
                  </a:lnTo>
                  <a:lnTo>
                    <a:pt x="2163" y="379"/>
                  </a:lnTo>
                  <a:lnTo>
                    <a:pt x="2159" y="375"/>
                  </a:lnTo>
                  <a:lnTo>
                    <a:pt x="2194" y="377"/>
                  </a:lnTo>
                  <a:lnTo>
                    <a:pt x="2221" y="383"/>
                  </a:lnTo>
                  <a:lnTo>
                    <a:pt x="2212" y="386"/>
                  </a:lnTo>
                  <a:lnTo>
                    <a:pt x="2219" y="393"/>
                  </a:lnTo>
                  <a:lnTo>
                    <a:pt x="2238" y="391"/>
                  </a:lnTo>
                  <a:lnTo>
                    <a:pt x="2251" y="385"/>
                  </a:lnTo>
                  <a:lnTo>
                    <a:pt x="2279" y="386"/>
                  </a:lnTo>
                  <a:lnTo>
                    <a:pt x="2274" y="381"/>
                  </a:lnTo>
                  <a:lnTo>
                    <a:pt x="2256" y="379"/>
                  </a:lnTo>
                  <a:lnTo>
                    <a:pt x="2249" y="373"/>
                  </a:lnTo>
                  <a:lnTo>
                    <a:pt x="2248" y="351"/>
                  </a:lnTo>
                  <a:lnTo>
                    <a:pt x="2247" y="329"/>
                  </a:lnTo>
                  <a:lnTo>
                    <a:pt x="2285" y="327"/>
                  </a:lnTo>
                  <a:lnTo>
                    <a:pt x="2293" y="325"/>
                  </a:lnTo>
                  <a:lnTo>
                    <a:pt x="2314" y="345"/>
                  </a:lnTo>
                  <a:lnTo>
                    <a:pt x="2317" y="343"/>
                  </a:lnTo>
                  <a:lnTo>
                    <a:pt x="2329" y="354"/>
                  </a:lnTo>
                  <a:lnTo>
                    <a:pt x="2339" y="331"/>
                  </a:lnTo>
                  <a:lnTo>
                    <a:pt x="2350" y="331"/>
                  </a:lnTo>
                  <a:lnTo>
                    <a:pt x="2329" y="312"/>
                  </a:lnTo>
                  <a:lnTo>
                    <a:pt x="2335" y="308"/>
                  </a:lnTo>
                  <a:lnTo>
                    <a:pt x="2367" y="312"/>
                  </a:lnTo>
                  <a:lnTo>
                    <a:pt x="2370" y="315"/>
                  </a:lnTo>
                  <a:lnTo>
                    <a:pt x="2353" y="314"/>
                  </a:lnTo>
                  <a:lnTo>
                    <a:pt x="2368" y="330"/>
                  </a:lnTo>
                  <a:lnTo>
                    <a:pt x="2382" y="345"/>
                  </a:lnTo>
                  <a:lnTo>
                    <a:pt x="2371" y="354"/>
                  </a:lnTo>
                  <a:lnTo>
                    <a:pt x="2368" y="371"/>
                  </a:lnTo>
                  <a:lnTo>
                    <a:pt x="2363" y="390"/>
                  </a:lnTo>
                  <a:lnTo>
                    <a:pt x="2362" y="413"/>
                  </a:lnTo>
                  <a:lnTo>
                    <a:pt x="2344" y="416"/>
                  </a:lnTo>
                  <a:lnTo>
                    <a:pt x="2352" y="423"/>
                  </a:lnTo>
                  <a:lnTo>
                    <a:pt x="2355" y="439"/>
                  </a:lnTo>
                  <a:lnTo>
                    <a:pt x="2370" y="459"/>
                  </a:lnTo>
                  <a:lnTo>
                    <a:pt x="2386" y="479"/>
                  </a:lnTo>
                  <a:lnTo>
                    <a:pt x="2415" y="504"/>
                  </a:lnTo>
                  <a:lnTo>
                    <a:pt x="2443" y="528"/>
                  </a:lnTo>
                  <a:lnTo>
                    <a:pt x="2472" y="553"/>
                  </a:lnTo>
                  <a:lnTo>
                    <a:pt x="2502" y="577"/>
                  </a:lnTo>
                  <a:lnTo>
                    <a:pt x="2510" y="563"/>
                  </a:lnTo>
                  <a:lnTo>
                    <a:pt x="2493" y="530"/>
                  </a:lnTo>
                  <a:lnTo>
                    <a:pt x="2500" y="525"/>
                  </a:lnTo>
                  <a:lnTo>
                    <a:pt x="2513" y="528"/>
                  </a:lnTo>
                  <a:lnTo>
                    <a:pt x="2510" y="523"/>
                  </a:lnTo>
                  <a:lnTo>
                    <a:pt x="2493" y="500"/>
                  </a:lnTo>
                  <a:lnTo>
                    <a:pt x="2516" y="491"/>
                  </a:lnTo>
                  <a:lnTo>
                    <a:pt x="2486" y="465"/>
                  </a:lnTo>
                  <a:lnTo>
                    <a:pt x="2484" y="453"/>
                  </a:lnTo>
                  <a:lnTo>
                    <a:pt x="2487" y="449"/>
                  </a:lnTo>
                  <a:lnTo>
                    <a:pt x="2486" y="453"/>
                  </a:lnTo>
                  <a:lnTo>
                    <a:pt x="2500" y="458"/>
                  </a:lnTo>
                  <a:lnTo>
                    <a:pt x="2484" y="443"/>
                  </a:lnTo>
                  <a:lnTo>
                    <a:pt x="2475" y="441"/>
                  </a:lnTo>
                  <a:lnTo>
                    <a:pt x="2454" y="416"/>
                  </a:lnTo>
                  <a:lnTo>
                    <a:pt x="2445" y="419"/>
                  </a:lnTo>
                  <a:lnTo>
                    <a:pt x="2427" y="411"/>
                  </a:lnTo>
                  <a:lnTo>
                    <a:pt x="2417" y="386"/>
                  </a:lnTo>
                  <a:lnTo>
                    <a:pt x="2406" y="371"/>
                  </a:lnTo>
                  <a:lnTo>
                    <a:pt x="2418" y="366"/>
                  </a:lnTo>
                  <a:lnTo>
                    <a:pt x="2433" y="372"/>
                  </a:lnTo>
                  <a:lnTo>
                    <a:pt x="2429" y="365"/>
                  </a:lnTo>
                  <a:lnTo>
                    <a:pt x="2437" y="356"/>
                  </a:lnTo>
                  <a:lnTo>
                    <a:pt x="2454" y="371"/>
                  </a:lnTo>
                  <a:lnTo>
                    <a:pt x="2455" y="360"/>
                  </a:lnTo>
                  <a:lnTo>
                    <a:pt x="2487" y="354"/>
                  </a:lnTo>
                  <a:lnTo>
                    <a:pt x="2519" y="366"/>
                  </a:lnTo>
                  <a:lnTo>
                    <a:pt x="2519" y="361"/>
                  </a:lnTo>
                  <a:lnTo>
                    <a:pt x="2528" y="345"/>
                  </a:lnTo>
                  <a:lnTo>
                    <a:pt x="2530" y="343"/>
                  </a:lnTo>
                  <a:lnTo>
                    <a:pt x="2529" y="336"/>
                  </a:lnTo>
                  <a:lnTo>
                    <a:pt x="2531" y="333"/>
                  </a:lnTo>
                  <a:lnTo>
                    <a:pt x="2549" y="321"/>
                  </a:lnTo>
                  <a:lnTo>
                    <a:pt x="2567" y="309"/>
                  </a:lnTo>
                  <a:lnTo>
                    <a:pt x="2558" y="307"/>
                  </a:lnTo>
                  <a:lnTo>
                    <a:pt x="2564" y="306"/>
                  </a:lnTo>
                  <a:lnTo>
                    <a:pt x="2603" y="314"/>
                  </a:lnTo>
                  <a:lnTo>
                    <a:pt x="2606" y="311"/>
                  </a:lnTo>
                  <a:lnTo>
                    <a:pt x="2588" y="300"/>
                  </a:lnTo>
                  <a:lnTo>
                    <a:pt x="2568" y="290"/>
                  </a:lnTo>
                  <a:lnTo>
                    <a:pt x="2558" y="287"/>
                  </a:lnTo>
                  <a:lnTo>
                    <a:pt x="2528" y="269"/>
                  </a:lnTo>
                  <a:lnTo>
                    <a:pt x="2526" y="272"/>
                  </a:lnTo>
                  <a:lnTo>
                    <a:pt x="2505" y="260"/>
                  </a:lnTo>
                  <a:lnTo>
                    <a:pt x="2517" y="263"/>
                  </a:lnTo>
                  <a:lnTo>
                    <a:pt x="2536" y="259"/>
                  </a:lnTo>
                  <a:lnTo>
                    <a:pt x="2505" y="236"/>
                  </a:lnTo>
                  <a:lnTo>
                    <a:pt x="2472" y="215"/>
                  </a:lnTo>
                  <a:lnTo>
                    <a:pt x="2441" y="192"/>
                  </a:lnTo>
                  <a:lnTo>
                    <a:pt x="2409" y="17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67" name="Freeform 223"/>
            <p:cNvSpPr>
              <a:spLocks/>
            </p:cNvSpPr>
            <p:nvPr/>
          </p:nvSpPr>
          <p:spPr bwMode="auto">
            <a:xfrm>
              <a:off x="3178" y="808"/>
              <a:ext cx="132" cy="50"/>
            </a:xfrm>
            <a:custGeom>
              <a:avLst/>
              <a:gdLst>
                <a:gd name="T0" fmla="*/ 1 w 188"/>
                <a:gd name="T1" fmla="*/ 1 h 71"/>
                <a:gd name="T2" fmla="*/ 1 w 188"/>
                <a:gd name="T3" fmla="*/ 1 h 71"/>
                <a:gd name="T4" fmla="*/ 1 w 188"/>
                <a:gd name="T5" fmla="*/ 1 h 71"/>
                <a:gd name="T6" fmla="*/ 1 w 188"/>
                <a:gd name="T7" fmla="*/ 1 h 71"/>
                <a:gd name="T8" fmla="*/ 1 w 188"/>
                <a:gd name="T9" fmla="*/ 1 h 71"/>
                <a:gd name="T10" fmla="*/ 1 w 188"/>
                <a:gd name="T11" fmla="*/ 1 h 71"/>
                <a:gd name="T12" fmla="*/ 1 w 188"/>
                <a:gd name="T13" fmla="*/ 1 h 71"/>
                <a:gd name="T14" fmla="*/ 1 w 188"/>
                <a:gd name="T15" fmla="*/ 1 h 71"/>
                <a:gd name="T16" fmla="*/ 1 w 188"/>
                <a:gd name="T17" fmla="*/ 1 h 71"/>
                <a:gd name="T18" fmla="*/ 1 w 188"/>
                <a:gd name="T19" fmla="*/ 1 h 71"/>
                <a:gd name="T20" fmla="*/ 1 w 188"/>
                <a:gd name="T21" fmla="*/ 1 h 71"/>
                <a:gd name="T22" fmla="*/ 1 w 188"/>
                <a:gd name="T23" fmla="*/ 1 h 71"/>
                <a:gd name="T24" fmla="*/ 1 w 188"/>
                <a:gd name="T25" fmla="*/ 1 h 71"/>
                <a:gd name="T26" fmla="*/ 1 w 188"/>
                <a:gd name="T27" fmla="*/ 1 h 71"/>
                <a:gd name="T28" fmla="*/ 1 w 188"/>
                <a:gd name="T29" fmla="*/ 1 h 71"/>
                <a:gd name="T30" fmla="*/ 1 w 188"/>
                <a:gd name="T31" fmla="*/ 1 h 71"/>
                <a:gd name="T32" fmla="*/ 1 w 188"/>
                <a:gd name="T33" fmla="*/ 1 h 71"/>
                <a:gd name="T34" fmla="*/ 1 w 188"/>
                <a:gd name="T35" fmla="*/ 1 h 71"/>
                <a:gd name="T36" fmla="*/ 1 w 188"/>
                <a:gd name="T37" fmla="*/ 1 h 71"/>
                <a:gd name="T38" fmla="*/ 0 w 188"/>
                <a:gd name="T39" fmla="*/ 1 h 71"/>
                <a:gd name="T40" fmla="*/ 1 w 188"/>
                <a:gd name="T41" fmla="*/ 1 h 71"/>
                <a:gd name="T42" fmla="*/ 1 w 188"/>
                <a:gd name="T43" fmla="*/ 1 h 71"/>
                <a:gd name="T44" fmla="*/ 1 w 188"/>
                <a:gd name="T45" fmla="*/ 1 h 71"/>
                <a:gd name="T46" fmla="*/ 1 w 188"/>
                <a:gd name="T47" fmla="*/ 1 h 71"/>
                <a:gd name="T48" fmla="*/ 1 w 188"/>
                <a:gd name="T49" fmla="*/ 1 h 71"/>
                <a:gd name="T50" fmla="*/ 1 w 188"/>
                <a:gd name="T51" fmla="*/ 1 h 71"/>
                <a:gd name="T52" fmla="*/ 1 w 188"/>
                <a:gd name="T53" fmla="*/ 1 h 71"/>
                <a:gd name="T54" fmla="*/ 1 w 188"/>
                <a:gd name="T55" fmla="*/ 1 h 71"/>
                <a:gd name="T56" fmla="*/ 1 w 188"/>
                <a:gd name="T57" fmla="*/ 1 h 71"/>
                <a:gd name="T58" fmla="*/ 1 w 188"/>
                <a:gd name="T59" fmla="*/ 1 h 71"/>
                <a:gd name="T60" fmla="*/ 1 w 188"/>
                <a:gd name="T61" fmla="*/ 1 h 71"/>
                <a:gd name="T62" fmla="*/ 1 w 188"/>
                <a:gd name="T63" fmla="*/ 1 h 71"/>
                <a:gd name="T64" fmla="*/ 1 w 188"/>
                <a:gd name="T65" fmla="*/ 1 h 71"/>
                <a:gd name="T66" fmla="*/ 1 w 188"/>
                <a:gd name="T67" fmla="*/ 0 h 71"/>
                <a:gd name="T68" fmla="*/ 1 w 188"/>
                <a:gd name="T69" fmla="*/ 1 h 7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88"/>
                <a:gd name="T106" fmla="*/ 0 h 71"/>
                <a:gd name="T107" fmla="*/ 188 w 188"/>
                <a:gd name="T108" fmla="*/ 71 h 71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88" h="71">
                  <a:moveTo>
                    <a:pt x="188" y="5"/>
                  </a:moveTo>
                  <a:lnTo>
                    <a:pt x="173" y="14"/>
                  </a:lnTo>
                  <a:lnTo>
                    <a:pt x="132" y="25"/>
                  </a:lnTo>
                  <a:lnTo>
                    <a:pt x="90" y="35"/>
                  </a:lnTo>
                  <a:lnTo>
                    <a:pt x="80" y="36"/>
                  </a:lnTo>
                  <a:lnTo>
                    <a:pt x="86" y="39"/>
                  </a:lnTo>
                  <a:lnTo>
                    <a:pt x="83" y="43"/>
                  </a:lnTo>
                  <a:lnTo>
                    <a:pt x="74" y="44"/>
                  </a:lnTo>
                  <a:lnTo>
                    <a:pt x="75" y="48"/>
                  </a:lnTo>
                  <a:lnTo>
                    <a:pt x="59" y="45"/>
                  </a:lnTo>
                  <a:lnTo>
                    <a:pt x="64" y="53"/>
                  </a:lnTo>
                  <a:lnTo>
                    <a:pt x="58" y="55"/>
                  </a:lnTo>
                  <a:lnTo>
                    <a:pt x="62" y="62"/>
                  </a:lnTo>
                  <a:lnTo>
                    <a:pt x="42" y="59"/>
                  </a:lnTo>
                  <a:lnTo>
                    <a:pt x="62" y="65"/>
                  </a:lnTo>
                  <a:lnTo>
                    <a:pt x="51" y="65"/>
                  </a:lnTo>
                  <a:lnTo>
                    <a:pt x="54" y="71"/>
                  </a:lnTo>
                  <a:lnTo>
                    <a:pt x="11" y="67"/>
                  </a:lnTo>
                  <a:lnTo>
                    <a:pt x="18" y="62"/>
                  </a:lnTo>
                  <a:lnTo>
                    <a:pt x="0" y="61"/>
                  </a:lnTo>
                  <a:lnTo>
                    <a:pt x="18" y="53"/>
                  </a:lnTo>
                  <a:lnTo>
                    <a:pt x="24" y="53"/>
                  </a:lnTo>
                  <a:lnTo>
                    <a:pt x="17" y="49"/>
                  </a:lnTo>
                  <a:lnTo>
                    <a:pt x="22" y="45"/>
                  </a:lnTo>
                  <a:lnTo>
                    <a:pt x="32" y="41"/>
                  </a:lnTo>
                  <a:lnTo>
                    <a:pt x="24" y="39"/>
                  </a:lnTo>
                  <a:lnTo>
                    <a:pt x="28" y="36"/>
                  </a:lnTo>
                  <a:lnTo>
                    <a:pt x="17" y="35"/>
                  </a:lnTo>
                  <a:lnTo>
                    <a:pt x="29" y="31"/>
                  </a:lnTo>
                  <a:lnTo>
                    <a:pt x="40" y="29"/>
                  </a:lnTo>
                  <a:lnTo>
                    <a:pt x="74" y="18"/>
                  </a:lnTo>
                  <a:lnTo>
                    <a:pt x="80" y="14"/>
                  </a:lnTo>
                  <a:lnTo>
                    <a:pt x="143" y="7"/>
                  </a:lnTo>
                  <a:lnTo>
                    <a:pt x="171" y="0"/>
                  </a:lnTo>
                  <a:lnTo>
                    <a:pt x="188" y="5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68" name="Freeform 224"/>
            <p:cNvSpPr>
              <a:spLocks/>
            </p:cNvSpPr>
            <p:nvPr/>
          </p:nvSpPr>
          <p:spPr bwMode="auto">
            <a:xfrm>
              <a:off x="3168" y="858"/>
              <a:ext cx="77" cy="37"/>
            </a:xfrm>
            <a:custGeom>
              <a:avLst/>
              <a:gdLst>
                <a:gd name="T0" fmla="*/ 1 w 109"/>
                <a:gd name="T1" fmla="*/ 1 h 52"/>
                <a:gd name="T2" fmla="*/ 1 w 109"/>
                <a:gd name="T3" fmla="*/ 1 h 52"/>
                <a:gd name="T4" fmla="*/ 1 w 109"/>
                <a:gd name="T5" fmla="*/ 1 h 52"/>
                <a:gd name="T6" fmla="*/ 1 w 109"/>
                <a:gd name="T7" fmla="*/ 1 h 52"/>
                <a:gd name="T8" fmla="*/ 1 w 109"/>
                <a:gd name="T9" fmla="*/ 1 h 52"/>
                <a:gd name="T10" fmla="*/ 1 w 109"/>
                <a:gd name="T11" fmla="*/ 1 h 52"/>
                <a:gd name="T12" fmla="*/ 1 w 109"/>
                <a:gd name="T13" fmla="*/ 0 h 52"/>
                <a:gd name="T14" fmla="*/ 1 w 109"/>
                <a:gd name="T15" fmla="*/ 1 h 52"/>
                <a:gd name="T16" fmla="*/ 1 w 109"/>
                <a:gd name="T17" fmla="*/ 1 h 52"/>
                <a:gd name="T18" fmla="*/ 1 w 109"/>
                <a:gd name="T19" fmla="*/ 1 h 52"/>
                <a:gd name="T20" fmla="*/ 1 w 109"/>
                <a:gd name="T21" fmla="*/ 1 h 52"/>
                <a:gd name="T22" fmla="*/ 0 w 109"/>
                <a:gd name="T23" fmla="*/ 1 h 52"/>
                <a:gd name="T24" fmla="*/ 1 w 109"/>
                <a:gd name="T25" fmla="*/ 1 h 52"/>
                <a:gd name="T26" fmla="*/ 1 w 109"/>
                <a:gd name="T27" fmla="*/ 1 h 52"/>
                <a:gd name="T28" fmla="*/ 1 w 109"/>
                <a:gd name="T29" fmla="*/ 1 h 52"/>
                <a:gd name="T30" fmla="*/ 1 w 109"/>
                <a:gd name="T31" fmla="*/ 1 h 52"/>
                <a:gd name="T32" fmla="*/ 1 w 109"/>
                <a:gd name="T33" fmla="*/ 1 h 52"/>
                <a:gd name="T34" fmla="*/ 1 w 109"/>
                <a:gd name="T35" fmla="*/ 1 h 52"/>
                <a:gd name="T36" fmla="*/ 1 w 109"/>
                <a:gd name="T37" fmla="*/ 1 h 52"/>
                <a:gd name="T38" fmla="*/ 1 w 109"/>
                <a:gd name="T39" fmla="*/ 1 h 52"/>
                <a:gd name="T40" fmla="*/ 1 w 109"/>
                <a:gd name="T41" fmla="*/ 1 h 52"/>
                <a:gd name="T42" fmla="*/ 1 w 109"/>
                <a:gd name="T43" fmla="*/ 1 h 52"/>
                <a:gd name="T44" fmla="*/ 1 w 109"/>
                <a:gd name="T45" fmla="*/ 1 h 5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09"/>
                <a:gd name="T70" fmla="*/ 0 h 52"/>
                <a:gd name="T71" fmla="*/ 109 w 109"/>
                <a:gd name="T72" fmla="*/ 52 h 52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09" h="52">
                  <a:moveTo>
                    <a:pt x="109" y="51"/>
                  </a:moveTo>
                  <a:lnTo>
                    <a:pt x="68" y="33"/>
                  </a:lnTo>
                  <a:lnTo>
                    <a:pt x="56" y="13"/>
                  </a:lnTo>
                  <a:lnTo>
                    <a:pt x="56" y="10"/>
                  </a:lnTo>
                  <a:lnTo>
                    <a:pt x="59" y="7"/>
                  </a:lnTo>
                  <a:lnTo>
                    <a:pt x="62" y="1"/>
                  </a:lnTo>
                  <a:lnTo>
                    <a:pt x="22" y="0"/>
                  </a:lnTo>
                  <a:lnTo>
                    <a:pt x="16" y="6"/>
                  </a:lnTo>
                  <a:lnTo>
                    <a:pt x="10" y="12"/>
                  </a:lnTo>
                  <a:lnTo>
                    <a:pt x="16" y="15"/>
                  </a:lnTo>
                  <a:lnTo>
                    <a:pt x="8" y="24"/>
                  </a:lnTo>
                  <a:lnTo>
                    <a:pt x="0" y="27"/>
                  </a:lnTo>
                  <a:lnTo>
                    <a:pt x="11" y="37"/>
                  </a:lnTo>
                  <a:lnTo>
                    <a:pt x="24" y="36"/>
                  </a:lnTo>
                  <a:lnTo>
                    <a:pt x="32" y="37"/>
                  </a:lnTo>
                  <a:lnTo>
                    <a:pt x="41" y="38"/>
                  </a:lnTo>
                  <a:lnTo>
                    <a:pt x="48" y="44"/>
                  </a:lnTo>
                  <a:lnTo>
                    <a:pt x="46" y="46"/>
                  </a:lnTo>
                  <a:lnTo>
                    <a:pt x="61" y="50"/>
                  </a:lnTo>
                  <a:lnTo>
                    <a:pt x="73" y="51"/>
                  </a:lnTo>
                  <a:lnTo>
                    <a:pt x="89" y="52"/>
                  </a:lnTo>
                  <a:lnTo>
                    <a:pt x="102" y="52"/>
                  </a:lnTo>
                  <a:lnTo>
                    <a:pt x="109" y="5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69" name="Freeform 225"/>
            <p:cNvSpPr>
              <a:spLocks/>
            </p:cNvSpPr>
            <p:nvPr/>
          </p:nvSpPr>
          <p:spPr bwMode="auto">
            <a:xfrm>
              <a:off x="2874" y="1141"/>
              <a:ext cx="28" cy="10"/>
            </a:xfrm>
            <a:custGeom>
              <a:avLst/>
              <a:gdLst>
                <a:gd name="T0" fmla="*/ 1 w 40"/>
                <a:gd name="T1" fmla="*/ 0 h 14"/>
                <a:gd name="T2" fmla="*/ 1 w 40"/>
                <a:gd name="T3" fmla="*/ 1 h 14"/>
                <a:gd name="T4" fmla="*/ 0 w 40"/>
                <a:gd name="T5" fmla="*/ 1 h 14"/>
                <a:gd name="T6" fmla="*/ 0 w 40"/>
                <a:gd name="T7" fmla="*/ 1 h 14"/>
                <a:gd name="T8" fmla="*/ 1 w 40"/>
                <a:gd name="T9" fmla="*/ 1 h 14"/>
                <a:gd name="T10" fmla="*/ 0 w 40"/>
                <a:gd name="T11" fmla="*/ 1 h 14"/>
                <a:gd name="T12" fmla="*/ 0 w 40"/>
                <a:gd name="T13" fmla="*/ 1 h 14"/>
                <a:gd name="T14" fmla="*/ 1 w 40"/>
                <a:gd name="T15" fmla="*/ 1 h 14"/>
                <a:gd name="T16" fmla="*/ 1 w 40"/>
                <a:gd name="T17" fmla="*/ 1 h 14"/>
                <a:gd name="T18" fmla="*/ 1 w 40"/>
                <a:gd name="T19" fmla="*/ 1 h 14"/>
                <a:gd name="T20" fmla="*/ 1 w 40"/>
                <a:gd name="T21" fmla="*/ 1 h 14"/>
                <a:gd name="T22" fmla="*/ 1 w 40"/>
                <a:gd name="T23" fmla="*/ 0 h 1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0"/>
                <a:gd name="T37" fmla="*/ 0 h 14"/>
                <a:gd name="T38" fmla="*/ 40 w 40"/>
                <a:gd name="T39" fmla="*/ 14 h 1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0" h="14">
                  <a:moveTo>
                    <a:pt x="11" y="0"/>
                  </a:moveTo>
                  <a:lnTo>
                    <a:pt x="11" y="3"/>
                  </a:lnTo>
                  <a:lnTo>
                    <a:pt x="0" y="2"/>
                  </a:lnTo>
                  <a:lnTo>
                    <a:pt x="0" y="4"/>
                  </a:lnTo>
                  <a:lnTo>
                    <a:pt x="3" y="6"/>
                  </a:lnTo>
                  <a:lnTo>
                    <a:pt x="0" y="7"/>
                  </a:lnTo>
                  <a:lnTo>
                    <a:pt x="0" y="10"/>
                  </a:lnTo>
                  <a:lnTo>
                    <a:pt x="9" y="12"/>
                  </a:lnTo>
                  <a:lnTo>
                    <a:pt x="40" y="14"/>
                  </a:lnTo>
                  <a:lnTo>
                    <a:pt x="40" y="4"/>
                  </a:lnTo>
                  <a:lnTo>
                    <a:pt x="23" y="2"/>
                  </a:lnTo>
                  <a:lnTo>
                    <a:pt x="11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70" name="Freeform 226"/>
            <p:cNvSpPr>
              <a:spLocks/>
            </p:cNvSpPr>
            <p:nvPr/>
          </p:nvSpPr>
          <p:spPr bwMode="auto">
            <a:xfrm>
              <a:off x="3152" y="912"/>
              <a:ext cx="23" cy="12"/>
            </a:xfrm>
            <a:custGeom>
              <a:avLst/>
              <a:gdLst>
                <a:gd name="T0" fmla="*/ 1 w 34"/>
                <a:gd name="T1" fmla="*/ 1 h 17"/>
                <a:gd name="T2" fmla="*/ 1 w 34"/>
                <a:gd name="T3" fmla="*/ 1 h 17"/>
                <a:gd name="T4" fmla="*/ 0 w 34"/>
                <a:gd name="T5" fmla="*/ 1 h 17"/>
                <a:gd name="T6" fmla="*/ 1 w 34"/>
                <a:gd name="T7" fmla="*/ 0 h 17"/>
                <a:gd name="T8" fmla="*/ 1 w 34"/>
                <a:gd name="T9" fmla="*/ 1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4"/>
                <a:gd name="T16" fmla="*/ 0 h 17"/>
                <a:gd name="T17" fmla="*/ 34 w 34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4" h="17">
                  <a:moveTo>
                    <a:pt x="34" y="9"/>
                  </a:moveTo>
                  <a:lnTo>
                    <a:pt x="9" y="17"/>
                  </a:lnTo>
                  <a:lnTo>
                    <a:pt x="0" y="5"/>
                  </a:lnTo>
                  <a:lnTo>
                    <a:pt x="7" y="0"/>
                  </a:lnTo>
                  <a:lnTo>
                    <a:pt x="34" y="9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71" name="Freeform 227"/>
            <p:cNvSpPr>
              <a:spLocks/>
            </p:cNvSpPr>
            <p:nvPr/>
          </p:nvSpPr>
          <p:spPr bwMode="auto">
            <a:xfrm>
              <a:off x="3258" y="899"/>
              <a:ext cx="26" cy="8"/>
            </a:xfrm>
            <a:custGeom>
              <a:avLst/>
              <a:gdLst>
                <a:gd name="T0" fmla="*/ 1 w 39"/>
                <a:gd name="T1" fmla="*/ 1 h 12"/>
                <a:gd name="T2" fmla="*/ 1 w 39"/>
                <a:gd name="T3" fmla="*/ 0 h 12"/>
                <a:gd name="T4" fmla="*/ 0 w 39"/>
                <a:gd name="T5" fmla="*/ 1 h 12"/>
                <a:gd name="T6" fmla="*/ 1 w 39"/>
                <a:gd name="T7" fmla="*/ 1 h 12"/>
                <a:gd name="T8" fmla="*/ 1 w 39"/>
                <a:gd name="T9" fmla="*/ 1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9"/>
                <a:gd name="T16" fmla="*/ 0 h 12"/>
                <a:gd name="T17" fmla="*/ 39 w 39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9" h="12">
                  <a:moveTo>
                    <a:pt x="39" y="12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24" y="12"/>
                  </a:lnTo>
                  <a:lnTo>
                    <a:pt x="39" y="1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72" name="Freeform 228"/>
            <p:cNvSpPr>
              <a:spLocks/>
            </p:cNvSpPr>
            <p:nvPr/>
          </p:nvSpPr>
          <p:spPr bwMode="auto">
            <a:xfrm>
              <a:off x="2888" y="1082"/>
              <a:ext cx="15" cy="7"/>
            </a:xfrm>
            <a:custGeom>
              <a:avLst/>
              <a:gdLst>
                <a:gd name="T0" fmla="*/ 1 w 22"/>
                <a:gd name="T1" fmla="*/ 1 h 10"/>
                <a:gd name="T2" fmla="*/ 1 w 22"/>
                <a:gd name="T3" fmla="*/ 1 h 10"/>
                <a:gd name="T4" fmla="*/ 0 w 22"/>
                <a:gd name="T5" fmla="*/ 1 h 10"/>
                <a:gd name="T6" fmla="*/ 1 w 22"/>
                <a:gd name="T7" fmla="*/ 0 h 10"/>
                <a:gd name="T8" fmla="*/ 1 w 22"/>
                <a:gd name="T9" fmla="*/ 1 h 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2"/>
                <a:gd name="T16" fmla="*/ 0 h 10"/>
                <a:gd name="T17" fmla="*/ 22 w 22"/>
                <a:gd name="T18" fmla="*/ 10 h 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2" h="10">
                  <a:moveTo>
                    <a:pt x="22" y="2"/>
                  </a:moveTo>
                  <a:lnTo>
                    <a:pt x="3" y="10"/>
                  </a:lnTo>
                  <a:lnTo>
                    <a:pt x="0" y="2"/>
                  </a:lnTo>
                  <a:lnTo>
                    <a:pt x="18" y="0"/>
                  </a:lnTo>
                  <a:lnTo>
                    <a:pt x="22" y="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73" name="Freeform 229"/>
            <p:cNvSpPr>
              <a:spLocks/>
            </p:cNvSpPr>
            <p:nvPr/>
          </p:nvSpPr>
          <p:spPr bwMode="auto">
            <a:xfrm>
              <a:off x="3356" y="855"/>
              <a:ext cx="17" cy="6"/>
            </a:xfrm>
            <a:custGeom>
              <a:avLst/>
              <a:gdLst>
                <a:gd name="T0" fmla="*/ 1 w 25"/>
                <a:gd name="T1" fmla="*/ 3 h 7"/>
                <a:gd name="T2" fmla="*/ 0 w 25"/>
                <a:gd name="T3" fmla="*/ 3 h 7"/>
                <a:gd name="T4" fmla="*/ 1 w 25"/>
                <a:gd name="T5" fmla="*/ 0 h 7"/>
                <a:gd name="T6" fmla="*/ 1 w 25"/>
                <a:gd name="T7" fmla="*/ 3 h 7"/>
                <a:gd name="T8" fmla="*/ 1 w 25"/>
                <a:gd name="T9" fmla="*/ 3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5"/>
                <a:gd name="T16" fmla="*/ 0 h 7"/>
                <a:gd name="T17" fmla="*/ 25 w 2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5" h="7">
                  <a:moveTo>
                    <a:pt x="25" y="6"/>
                  </a:moveTo>
                  <a:lnTo>
                    <a:pt x="0" y="7"/>
                  </a:lnTo>
                  <a:lnTo>
                    <a:pt x="3" y="0"/>
                  </a:lnTo>
                  <a:lnTo>
                    <a:pt x="15" y="4"/>
                  </a:lnTo>
                  <a:lnTo>
                    <a:pt x="25" y="6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74" name="Freeform 230"/>
            <p:cNvSpPr>
              <a:spLocks/>
            </p:cNvSpPr>
            <p:nvPr/>
          </p:nvSpPr>
          <p:spPr bwMode="auto">
            <a:xfrm>
              <a:off x="3779" y="841"/>
              <a:ext cx="20" cy="5"/>
            </a:xfrm>
            <a:custGeom>
              <a:avLst/>
              <a:gdLst>
                <a:gd name="T0" fmla="*/ 1 w 28"/>
                <a:gd name="T1" fmla="*/ 0 h 5"/>
                <a:gd name="T2" fmla="*/ 0 w 28"/>
                <a:gd name="T3" fmla="*/ 1 h 5"/>
                <a:gd name="T4" fmla="*/ 1 w 28"/>
                <a:gd name="T5" fmla="*/ 5 h 5"/>
                <a:gd name="T6" fmla="*/ 1 w 28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8"/>
                <a:gd name="T13" fmla="*/ 0 h 5"/>
                <a:gd name="T14" fmla="*/ 28 w 28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8" h="5">
                  <a:moveTo>
                    <a:pt x="25" y="0"/>
                  </a:moveTo>
                  <a:lnTo>
                    <a:pt x="0" y="1"/>
                  </a:lnTo>
                  <a:lnTo>
                    <a:pt x="28" y="5"/>
                  </a:lnTo>
                  <a:lnTo>
                    <a:pt x="25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75" name="Freeform 231"/>
            <p:cNvSpPr>
              <a:spLocks/>
            </p:cNvSpPr>
            <p:nvPr/>
          </p:nvSpPr>
          <p:spPr bwMode="auto">
            <a:xfrm>
              <a:off x="3440" y="869"/>
              <a:ext cx="13" cy="3"/>
            </a:xfrm>
            <a:custGeom>
              <a:avLst/>
              <a:gdLst>
                <a:gd name="T0" fmla="*/ 2 w 17"/>
                <a:gd name="T1" fmla="*/ 0 h 4"/>
                <a:gd name="T2" fmla="*/ 0 w 17"/>
                <a:gd name="T3" fmla="*/ 2 h 4"/>
                <a:gd name="T4" fmla="*/ 0 w 17"/>
                <a:gd name="T5" fmla="*/ 0 h 4"/>
                <a:gd name="T6" fmla="*/ 2 w 17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4"/>
                <a:gd name="T14" fmla="*/ 17 w 17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4">
                  <a:moveTo>
                    <a:pt x="17" y="0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17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76" name="Freeform 232"/>
            <p:cNvSpPr>
              <a:spLocks/>
            </p:cNvSpPr>
            <p:nvPr/>
          </p:nvSpPr>
          <p:spPr bwMode="auto">
            <a:xfrm>
              <a:off x="2888" y="1075"/>
              <a:ext cx="11" cy="1"/>
            </a:xfrm>
            <a:custGeom>
              <a:avLst/>
              <a:gdLst>
                <a:gd name="T0" fmla="*/ 1 w 16"/>
                <a:gd name="T1" fmla="*/ 1 h 2"/>
                <a:gd name="T2" fmla="*/ 0 w 16"/>
                <a:gd name="T3" fmla="*/ 1 h 2"/>
                <a:gd name="T4" fmla="*/ 1 w 16"/>
                <a:gd name="T5" fmla="*/ 0 h 2"/>
                <a:gd name="T6" fmla="*/ 1 w 16"/>
                <a:gd name="T7" fmla="*/ 1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6"/>
                <a:gd name="T13" fmla="*/ 0 h 2"/>
                <a:gd name="T14" fmla="*/ 16 w 16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6" h="2">
                  <a:moveTo>
                    <a:pt x="16" y="2"/>
                  </a:moveTo>
                  <a:lnTo>
                    <a:pt x="0" y="1"/>
                  </a:lnTo>
                  <a:lnTo>
                    <a:pt x="5" y="0"/>
                  </a:lnTo>
                  <a:lnTo>
                    <a:pt x="16" y="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77" name="Freeform 233"/>
            <p:cNvSpPr>
              <a:spLocks/>
            </p:cNvSpPr>
            <p:nvPr/>
          </p:nvSpPr>
          <p:spPr bwMode="auto">
            <a:xfrm>
              <a:off x="2784" y="1325"/>
              <a:ext cx="1" cy="2"/>
            </a:xfrm>
            <a:custGeom>
              <a:avLst/>
              <a:gdLst>
                <a:gd name="T0" fmla="*/ 1 w 2"/>
                <a:gd name="T1" fmla="*/ 0 h 2"/>
                <a:gd name="T2" fmla="*/ 1 w 2"/>
                <a:gd name="T3" fmla="*/ 0 h 2"/>
                <a:gd name="T4" fmla="*/ 0 w 2"/>
                <a:gd name="T5" fmla="*/ 2 h 2"/>
                <a:gd name="T6" fmla="*/ 1 w 2"/>
                <a:gd name="T7" fmla="*/ 2 h 2"/>
                <a:gd name="T8" fmla="*/ 1 w 2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0"/>
                  </a:moveTo>
                  <a:lnTo>
                    <a:pt x="1" y="0"/>
                  </a:lnTo>
                  <a:lnTo>
                    <a:pt x="0" y="2"/>
                  </a:lnTo>
                  <a:lnTo>
                    <a:pt x="1" y="2"/>
                  </a:lnTo>
                  <a:lnTo>
                    <a:pt x="2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78" name="Freeform 234"/>
            <p:cNvSpPr>
              <a:spLocks/>
            </p:cNvSpPr>
            <p:nvPr/>
          </p:nvSpPr>
          <p:spPr bwMode="auto">
            <a:xfrm>
              <a:off x="2836" y="1229"/>
              <a:ext cx="80" cy="30"/>
            </a:xfrm>
            <a:custGeom>
              <a:avLst/>
              <a:gdLst>
                <a:gd name="T0" fmla="*/ 1 w 114"/>
                <a:gd name="T1" fmla="*/ 0 h 41"/>
                <a:gd name="T2" fmla="*/ 1 w 114"/>
                <a:gd name="T3" fmla="*/ 1 h 41"/>
                <a:gd name="T4" fmla="*/ 1 w 114"/>
                <a:gd name="T5" fmla="*/ 1 h 41"/>
                <a:gd name="T6" fmla="*/ 1 w 114"/>
                <a:gd name="T7" fmla="*/ 1 h 41"/>
                <a:gd name="T8" fmla="*/ 1 w 114"/>
                <a:gd name="T9" fmla="*/ 1 h 41"/>
                <a:gd name="T10" fmla="*/ 1 w 114"/>
                <a:gd name="T11" fmla="*/ 1 h 41"/>
                <a:gd name="T12" fmla="*/ 1 w 114"/>
                <a:gd name="T13" fmla="*/ 1 h 41"/>
                <a:gd name="T14" fmla="*/ 1 w 114"/>
                <a:gd name="T15" fmla="*/ 1 h 41"/>
                <a:gd name="T16" fmla="*/ 0 w 114"/>
                <a:gd name="T17" fmla="*/ 1 h 41"/>
                <a:gd name="T18" fmla="*/ 1 w 114"/>
                <a:gd name="T19" fmla="*/ 1 h 41"/>
                <a:gd name="T20" fmla="*/ 1 w 114"/>
                <a:gd name="T21" fmla="*/ 1 h 41"/>
                <a:gd name="T22" fmla="*/ 1 w 114"/>
                <a:gd name="T23" fmla="*/ 1 h 41"/>
                <a:gd name="T24" fmla="*/ 1 w 114"/>
                <a:gd name="T25" fmla="*/ 1 h 41"/>
                <a:gd name="T26" fmla="*/ 1 w 114"/>
                <a:gd name="T27" fmla="*/ 1 h 41"/>
                <a:gd name="T28" fmla="*/ 1 w 114"/>
                <a:gd name="T29" fmla="*/ 1 h 41"/>
                <a:gd name="T30" fmla="*/ 1 w 114"/>
                <a:gd name="T31" fmla="*/ 1 h 41"/>
                <a:gd name="T32" fmla="*/ 1 w 114"/>
                <a:gd name="T33" fmla="*/ 1 h 41"/>
                <a:gd name="T34" fmla="*/ 1 w 114"/>
                <a:gd name="T35" fmla="*/ 1 h 41"/>
                <a:gd name="T36" fmla="*/ 1 w 114"/>
                <a:gd name="T37" fmla="*/ 0 h 4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14"/>
                <a:gd name="T58" fmla="*/ 0 h 41"/>
                <a:gd name="T59" fmla="*/ 114 w 114"/>
                <a:gd name="T60" fmla="*/ 41 h 41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14" h="41">
                  <a:moveTo>
                    <a:pt x="42" y="0"/>
                  </a:moveTo>
                  <a:lnTo>
                    <a:pt x="41" y="2"/>
                  </a:lnTo>
                  <a:lnTo>
                    <a:pt x="35" y="7"/>
                  </a:lnTo>
                  <a:lnTo>
                    <a:pt x="30" y="8"/>
                  </a:lnTo>
                  <a:lnTo>
                    <a:pt x="30" y="11"/>
                  </a:lnTo>
                  <a:lnTo>
                    <a:pt x="24" y="18"/>
                  </a:lnTo>
                  <a:lnTo>
                    <a:pt x="13" y="19"/>
                  </a:lnTo>
                  <a:lnTo>
                    <a:pt x="7" y="20"/>
                  </a:lnTo>
                  <a:lnTo>
                    <a:pt x="0" y="19"/>
                  </a:lnTo>
                  <a:lnTo>
                    <a:pt x="13" y="37"/>
                  </a:lnTo>
                  <a:lnTo>
                    <a:pt x="19" y="41"/>
                  </a:lnTo>
                  <a:lnTo>
                    <a:pt x="43" y="41"/>
                  </a:lnTo>
                  <a:lnTo>
                    <a:pt x="74" y="26"/>
                  </a:lnTo>
                  <a:lnTo>
                    <a:pt x="108" y="27"/>
                  </a:lnTo>
                  <a:lnTo>
                    <a:pt x="114" y="11"/>
                  </a:lnTo>
                  <a:lnTo>
                    <a:pt x="84" y="5"/>
                  </a:lnTo>
                  <a:lnTo>
                    <a:pt x="67" y="6"/>
                  </a:lnTo>
                  <a:lnTo>
                    <a:pt x="64" y="1"/>
                  </a:lnTo>
                  <a:lnTo>
                    <a:pt x="42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79" name="Freeform 235"/>
            <p:cNvSpPr>
              <a:spLocks/>
            </p:cNvSpPr>
            <p:nvPr/>
          </p:nvSpPr>
          <p:spPr bwMode="auto">
            <a:xfrm>
              <a:off x="2798" y="1276"/>
              <a:ext cx="39" cy="24"/>
            </a:xfrm>
            <a:custGeom>
              <a:avLst/>
              <a:gdLst>
                <a:gd name="T0" fmla="*/ 1 w 56"/>
                <a:gd name="T1" fmla="*/ 1 h 34"/>
                <a:gd name="T2" fmla="*/ 1 w 56"/>
                <a:gd name="T3" fmla="*/ 1 h 34"/>
                <a:gd name="T4" fmla="*/ 1 w 56"/>
                <a:gd name="T5" fmla="*/ 1 h 34"/>
                <a:gd name="T6" fmla="*/ 1 w 56"/>
                <a:gd name="T7" fmla="*/ 1 h 34"/>
                <a:gd name="T8" fmla="*/ 1 w 56"/>
                <a:gd name="T9" fmla="*/ 1 h 34"/>
                <a:gd name="T10" fmla="*/ 1 w 56"/>
                <a:gd name="T11" fmla="*/ 1 h 34"/>
                <a:gd name="T12" fmla="*/ 1 w 56"/>
                <a:gd name="T13" fmla="*/ 1 h 34"/>
                <a:gd name="T14" fmla="*/ 1 w 56"/>
                <a:gd name="T15" fmla="*/ 1 h 34"/>
                <a:gd name="T16" fmla="*/ 1 w 56"/>
                <a:gd name="T17" fmla="*/ 1 h 34"/>
                <a:gd name="T18" fmla="*/ 1 w 56"/>
                <a:gd name="T19" fmla="*/ 1 h 34"/>
                <a:gd name="T20" fmla="*/ 1 w 56"/>
                <a:gd name="T21" fmla="*/ 1 h 34"/>
                <a:gd name="T22" fmla="*/ 1 w 56"/>
                <a:gd name="T23" fmla="*/ 1 h 34"/>
                <a:gd name="T24" fmla="*/ 1 w 56"/>
                <a:gd name="T25" fmla="*/ 1 h 34"/>
                <a:gd name="T26" fmla="*/ 1 w 56"/>
                <a:gd name="T27" fmla="*/ 1 h 34"/>
                <a:gd name="T28" fmla="*/ 1 w 56"/>
                <a:gd name="T29" fmla="*/ 1 h 34"/>
                <a:gd name="T30" fmla="*/ 1 w 56"/>
                <a:gd name="T31" fmla="*/ 1 h 34"/>
                <a:gd name="T32" fmla="*/ 1 w 56"/>
                <a:gd name="T33" fmla="*/ 1 h 34"/>
                <a:gd name="T34" fmla="*/ 1 w 56"/>
                <a:gd name="T35" fmla="*/ 1 h 34"/>
                <a:gd name="T36" fmla="*/ 1 w 56"/>
                <a:gd name="T37" fmla="*/ 1 h 34"/>
                <a:gd name="T38" fmla="*/ 1 w 56"/>
                <a:gd name="T39" fmla="*/ 1 h 34"/>
                <a:gd name="T40" fmla="*/ 1 w 56"/>
                <a:gd name="T41" fmla="*/ 1 h 34"/>
                <a:gd name="T42" fmla="*/ 1 w 56"/>
                <a:gd name="T43" fmla="*/ 1 h 34"/>
                <a:gd name="T44" fmla="*/ 1 w 56"/>
                <a:gd name="T45" fmla="*/ 0 h 34"/>
                <a:gd name="T46" fmla="*/ 1 w 56"/>
                <a:gd name="T47" fmla="*/ 1 h 34"/>
                <a:gd name="T48" fmla="*/ 1 w 56"/>
                <a:gd name="T49" fmla="*/ 1 h 34"/>
                <a:gd name="T50" fmla="*/ 0 w 56"/>
                <a:gd name="T51" fmla="*/ 1 h 34"/>
                <a:gd name="T52" fmla="*/ 1 w 56"/>
                <a:gd name="T53" fmla="*/ 1 h 34"/>
                <a:gd name="T54" fmla="*/ 1 w 56"/>
                <a:gd name="T55" fmla="*/ 1 h 3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56"/>
                <a:gd name="T85" fmla="*/ 0 h 34"/>
                <a:gd name="T86" fmla="*/ 56 w 56"/>
                <a:gd name="T87" fmla="*/ 34 h 3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56" h="34">
                  <a:moveTo>
                    <a:pt x="8" y="33"/>
                  </a:moveTo>
                  <a:lnTo>
                    <a:pt x="18" y="33"/>
                  </a:lnTo>
                  <a:lnTo>
                    <a:pt x="22" y="30"/>
                  </a:lnTo>
                  <a:lnTo>
                    <a:pt x="24" y="32"/>
                  </a:lnTo>
                  <a:lnTo>
                    <a:pt x="25" y="32"/>
                  </a:lnTo>
                  <a:lnTo>
                    <a:pt x="26" y="31"/>
                  </a:lnTo>
                  <a:lnTo>
                    <a:pt x="31" y="34"/>
                  </a:lnTo>
                  <a:lnTo>
                    <a:pt x="36" y="33"/>
                  </a:lnTo>
                  <a:lnTo>
                    <a:pt x="35" y="30"/>
                  </a:lnTo>
                  <a:lnTo>
                    <a:pt x="35" y="27"/>
                  </a:lnTo>
                  <a:lnTo>
                    <a:pt x="41" y="25"/>
                  </a:lnTo>
                  <a:lnTo>
                    <a:pt x="44" y="25"/>
                  </a:lnTo>
                  <a:lnTo>
                    <a:pt x="42" y="21"/>
                  </a:lnTo>
                  <a:lnTo>
                    <a:pt x="41" y="19"/>
                  </a:lnTo>
                  <a:lnTo>
                    <a:pt x="40" y="14"/>
                  </a:lnTo>
                  <a:lnTo>
                    <a:pt x="47" y="13"/>
                  </a:lnTo>
                  <a:lnTo>
                    <a:pt x="48" y="10"/>
                  </a:lnTo>
                  <a:lnTo>
                    <a:pt x="54" y="10"/>
                  </a:lnTo>
                  <a:lnTo>
                    <a:pt x="54" y="8"/>
                  </a:lnTo>
                  <a:lnTo>
                    <a:pt x="56" y="8"/>
                  </a:lnTo>
                  <a:lnTo>
                    <a:pt x="56" y="6"/>
                  </a:lnTo>
                  <a:lnTo>
                    <a:pt x="50" y="2"/>
                  </a:lnTo>
                  <a:lnTo>
                    <a:pt x="49" y="0"/>
                  </a:lnTo>
                  <a:lnTo>
                    <a:pt x="11" y="9"/>
                  </a:lnTo>
                  <a:lnTo>
                    <a:pt x="2" y="8"/>
                  </a:lnTo>
                  <a:lnTo>
                    <a:pt x="0" y="15"/>
                  </a:lnTo>
                  <a:lnTo>
                    <a:pt x="5" y="31"/>
                  </a:lnTo>
                  <a:lnTo>
                    <a:pt x="8" y="3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80" name="Freeform 236"/>
            <p:cNvSpPr>
              <a:spLocks/>
            </p:cNvSpPr>
            <p:nvPr/>
          </p:nvSpPr>
          <p:spPr bwMode="auto">
            <a:xfrm>
              <a:off x="2751" y="919"/>
              <a:ext cx="141" cy="213"/>
            </a:xfrm>
            <a:custGeom>
              <a:avLst/>
              <a:gdLst>
                <a:gd name="T0" fmla="*/ 1 w 202"/>
                <a:gd name="T1" fmla="*/ 1 h 305"/>
                <a:gd name="T2" fmla="*/ 1 w 202"/>
                <a:gd name="T3" fmla="*/ 1 h 305"/>
                <a:gd name="T4" fmla="*/ 1 w 202"/>
                <a:gd name="T5" fmla="*/ 1 h 305"/>
                <a:gd name="T6" fmla="*/ 1 w 202"/>
                <a:gd name="T7" fmla="*/ 1 h 305"/>
                <a:gd name="T8" fmla="*/ 1 w 202"/>
                <a:gd name="T9" fmla="*/ 1 h 305"/>
                <a:gd name="T10" fmla="*/ 1 w 202"/>
                <a:gd name="T11" fmla="*/ 1 h 305"/>
                <a:gd name="T12" fmla="*/ 1 w 202"/>
                <a:gd name="T13" fmla="*/ 1 h 305"/>
                <a:gd name="T14" fmla="*/ 1 w 202"/>
                <a:gd name="T15" fmla="*/ 1 h 305"/>
                <a:gd name="T16" fmla="*/ 1 w 202"/>
                <a:gd name="T17" fmla="*/ 1 h 305"/>
                <a:gd name="T18" fmla="*/ 1 w 202"/>
                <a:gd name="T19" fmla="*/ 1 h 305"/>
                <a:gd name="T20" fmla="*/ 1 w 202"/>
                <a:gd name="T21" fmla="*/ 1 h 305"/>
                <a:gd name="T22" fmla="*/ 1 w 202"/>
                <a:gd name="T23" fmla="*/ 1 h 305"/>
                <a:gd name="T24" fmla="*/ 1 w 202"/>
                <a:gd name="T25" fmla="*/ 2 h 305"/>
                <a:gd name="T26" fmla="*/ 1 w 202"/>
                <a:gd name="T27" fmla="*/ 2 h 305"/>
                <a:gd name="T28" fmla="*/ 1 w 202"/>
                <a:gd name="T29" fmla="*/ 2 h 305"/>
                <a:gd name="T30" fmla="*/ 1 w 202"/>
                <a:gd name="T31" fmla="*/ 1 h 305"/>
                <a:gd name="T32" fmla="*/ 1 w 202"/>
                <a:gd name="T33" fmla="*/ 1 h 305"/>
                <a:gd name="T34" fmla="*/ 0 w 202"/>
                <a:gd name="T35" fmla="*/ 1 h 305"/>
                <a:gd name="T36" fmla="*/ 1 w 202"/>
                <a:gd name="T37" fmla="*/ 1 h 305"/>
                <a:gd name="T38" fmla="*/ 1 w 202"/>
                <a:gd name="T39" fmla="*/ 1 h 305"/>
                <a:gd name="T40" fmla="*/ 1 w 202"/>
                <a:gd name="T41" fmla="*/ 1 h 305"/>
                <a:gd name="T42" fmla="*/ 1 w 202"/>
                <a:gd name="T43" fmla="*/ 1 h 305"/>
                <a:gd name="T44" fmla="*/ 1 w 202"/>
                <a:gd name="T45" fmla="*/ 1 h 305"/>
                <a:gd name="T46" fmla="*/ 1 w 202"/>
                <a:gd name="T47" fmla="*/ 1 h 305"/>
                <a:gd name="T48" fmla="*/ 1 w 202"/>
                <a:gd name="T49" fmla="*/ 1 h 305"/>
                <a:gd name="T50" fmla="*/ 1 w 202"/>
                <a:gd name="T51" fmla="*/ 1 h 305"/>
                <a:gd name="T52" fmla="*/ 1 w 202"/>
                <a:gd name="T53" fmla="*/ 1 h 305"/>
                <a:gd name="T54" fmla="*/ 1 w 202"/>
                <a:gd name="T55" fmla="*/ 0 h 305"/>
                <a:gd name="T56" fmla="*/ 1 w 202"/>
                <a:gd name="T57" fmla="*/ 1 h 305"/>
                <a:gd name="T58" fmla="*/ 1 w 202"/>
                <a:gd name="T59" fmla="*/ 1 h 305"/>
                <a:gd name="T60" fmla="*/ 1 w 202"/>
                <a:gd name="T61" fmla="*/ 1 h 305"/>
                <a:gd name="T62" fmla="*/ 1 w 202"/>
                <a:gd name="T63" fmla="*/ 1 h 305"/>
                <a:gd name="T64" fmla="*/ 1 w 202"/>
                <a:gd name="T65" fmla="*/ 1 h 30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02"/>
                <a:gd name="T100" fmla="*/ 0 h 305"/>
                <a:gd name="T101" fmla="*/ 202 w 202"/>
                <a:gd name="T102" fmla="*/ 305 h 30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02" h="305">
                  <a:moveTo>
                    <a:pt x="160" y="101"/>
                  </a:moveTo>
                  <a:lnTo>
                    <a:pt x="140" y="118"/>
                  </a:lnTo>
                  <a:lnTo>
                    <a:pt x="125" y="126"/>
                  </a:lnTo>
                  <a:lnTo>
                    <a:pt x="118" y="131"/>
                  </a:lnTo>
                  <a:lnTo>
                    <a:pt x="107" y="132"/>
                  </a:lnTo>
                  <a:lnTo>
                    <a:pt x="104" y="142"/>
                  </a:lnTo>
                  <a:lnTo>
                    <a:pt x="101" y="146"/>
                  </a:lnTo>
                  <a:lnTo>
                    <a:pt x="100" y="160"/>
                  </a:lnTo>
                  <a:lnTo>
                    <a:pt x="104" y="184"/>
                  </a:lnTo>
                  <a:lnTo>
                    <a:pt x="125" y="193"/>
                  </a:lnTo>
                  <a:lnTo>
                    <a:pt x="133" y="203"/>
                  </a:lnTo>
                  <a:lnTo>
                    <a:pt x="116" y="212"/>
                  </a:lnTo>
                  <a:lnTo>
                    <a:pt x="109" y="205"/>
                  </a:lnTo>
                  <a:lnTo>
                    <a:pt x="109" y="209"/>
                  </a:lnTo>
                  <a:lnTo>
                    <a:pt x="86" y="211"/>
                  </a:lnTo>
                  <a:lnTo>
                    <a:pt x="127" y="214"/>
                  </a:lnTo>
                  <a:lnTo>
                    <a:pt x="116" y="223"/>
                  </a:lnTo>
                  <a:lnTo>
                    <a:pt x="113" y="218"/>
                  </a:lnTo>
                  <a:lnTo>
                    <a:pt x="102" y="229"/>
                  </a:lnTo>
                  <a:lnTo>
                    <a:pt x="94" y="229"/>
                  </a:lnTo>
                  <a:lnTo>
                    <a:pt x="100" y="234"/>
                  </a:lnTo>
                  <a:lnTo>
                    <a:pt x="97" y="245"/>
                  </a:lnTo>
                  <a:lnTo>
                    <a:pt x="101" y="250"/>
                  </a:lnTo>
                  <a:lnTo>
                    <a:pt x="98" y="248"/>
                  </a:lnTo>
                  <a:lnTo>
                    <a:pt x="95" y="268"/>
                  </a:lnTo>
                  <a:lnTo>
                    <a:pt x="92" y="286"/>
                  </a:lnTo>
                  <a:lnTo>
                    <a:pt x="62" y="292"/>
                  </a:lnTo>
                  <a:lnTo>
                    <a:pt x="59" y="305"/>
                  </a:lnTo>
                  <a:lnTo>
                    <a:pt x="38" y="304"/>
                  </a:lnTo>
                  <a:lnTo>
                    <a:pt x="32" y="286"/>
                  </a:lnTo>
                  <a:lnTo>
                    <a:pt x="29" y="271"/>
                  </a:lnTo>
                  <a:lnTo>
                    <a:pt x="11" y="245"/>
                  </a:lnTo>
                  <a:lnTo>
                    <a:pt x="13" y="239"/>
                  </a:lnTo>
                  <a:lnTo>
                    <a:pt x="7" y="236"/>
                  </a:lnTo>
                  <a:lnTo>
                    <a:pt x="6" y="238"/>
                  </a:lnTo>
                  <a:lnTo>
                    <a:pt x="0" y="224"/>
                  </a:lnTo>
                  <a:lnTo>
                    <a:pt x="4" y="221"/>
                  </a:lnTo>
                  <a:lnTo>
                    <a:pt x="14" y="200"/>
                  </a:lnTo>
                  <a:lnTo>
                    <a:pt x="17" y="180"/>
                  </a:lnTo>
                  <a:lnTo>
                    <a:pt x="17" y="174"/>
                  </a:lnTo>
                  <a:lnTo>
                    <a:pt x="24" y="167"/>
                  </a:lnTo>
                  <a:lnTo>
                    <a:pt x="11" y="158"/>
                  </a:lnTo>
                  <a:lnTo>
                    <a:pt x="10" y="138"/>
                  </a:lnTo>
                  <a:lnTo>
                    <a:pt x="10" y="116"/>
                  </a:lnTo>
                  <a:lnTo>
                    <a:pt x="24" y="107"/>
                  </a:lnTo>
                  <a:lnTo>
                    <a:pt x="40" y="104"/>
                  </a:lnTo>
                  <a:lnTo>
                    <a:pt x="31" y="96"/>
                  </a:lnTo>
                  <a:lnTo>
                    <a:pt x="43" y="68"/>
                  </a:lnTo>
                  <a:lnTo>
                    <a:pt x="41" y="62"/>
                  </a:lnTo>
                  <a:lnTo>
                    <a:pt x="56" y="59"/>
                  </a:lnTo>
                  <a:lnTo>
                    <a:pt x="64" y="46"/>
                  </a:lnTo>
                  <a:lnTo>
                    <a:pt x="72" y="24"/>
                  </a:lnTo>
                  <a:lnTo>
                    <a:pt x="94" y="19"/>
                  </a:lnTo>
                  <a:lnTo>
                    <a:pt x="96" y="11"/>
                  </a:lnTo>
                  <a:lnTo>
                    <a:pt x="124" y="12"/>
                  </a:lnTo>
                  <a:lnTo>
                    <a:pt x="122" y="0"/>
                  </a:lnTo>
                  <a:lnTo>
                    <a:pt x="130" y="0"/>
                  </a:lnTo>
                  <a:lnTo>
                    <a:pt x="176" y="19"/>
                  </a:lnTo>
                  <a:lnTo>
                    <a:pt x="193" y="48"/>
                  </a:lnTo>
                  <a:lnTo>
                    <a:pt x="202" y="68"/>
                  </a:lnTo>
                  <a:lnTo>
                    <a:pt x="178" y="68"/>
                  </a:lnTo>
                  <a:lnTo>
                    <a:pt x="172" y="71"/>
                  </a:lnTo>
                  <a:lnTo>
                    <a:pt x="170" y="74"/>
                  </a:lnTo>
                  <a:lnTo>
                    <a:pt x="167" y="73"/>
                  </a:lnTo>
                  <a:lnTo>
                    <a:pt x="157" y="79"/>
                  </a:lnTo>
                  <a:lnTo>
                    <a:pt x="155" y="90"/>
                  </a:lnTo>
                  <a:lnTo>
                    <a:pt x="160" y="10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81" name="Freeform 237"/>
            <p:cNvSpPr>
              <a:spLocks/>
            </p:cNvSpPr>
            <p:nvPr/>
          </p:nvSpPr>
          <p:spPr bwMode="auto">
            <a:xfrm>
              <a:off x="2841" y="1093"/>
              <a:ext cx="7" cy="13"/>
            </a:xfrm>
            <a:custGeom>
              <a:avLst/>
              <a:gdLst>
                <a:gd name="T0" fmla="*/ 1 w 10"/>
                <a:gd name="T1" fmla="*/ 0 h 18"/>
                <a:gd name="T2" fmla="*/ 1 w 10"/>
                <a:gd name="T3" fmla="*/ 1 h 18"/>
                <a:gd name="T4" fmla="*/ 1 w 10"/>
                <a:gd name="T5" fmla="*/ 1 h 18"/>
                <a:gd name="T6" fmla="*/ 1 w 10"/>
                <a:gd name="T7" fmla="*/ 1 h 18"/>
                <a:gd name="T8" fmla="*/ 0 w 10"/>
                <a:gd name="T9" fmla="*/ 1 h 18"/>
                <a:gd name="T10" fmla="*/ 1 w 10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18"/>
                <a:gd name="T20" fmla="*/ 10 w 1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18">
                  <a:moveTo>
                    <a:pt x="10" y="0"/>
                  </a:moveTo>
                  <a:lnTo>
                    <a:pt x="10" y="5"/>
                  </a:lnTo>
                  <a:lnTo>
                    <a:pt x="5" y="16"/>
                  </a:lnTo>
                  <a:lnTo>
                    <a:pt x="4" y="18"/>
                  </a:lnTo>
                  <a:lnTo>
                    <a:pt x="0" y="10"/>
                  </a:lnTo>
                  <a:lnTo>
                    <a:pt x="10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82" name="Freeform 238"/>
            <p:cNvSpPr>
              <a:spLocks/>
            </p:cNvSpPr>
            <p:nvPr/>
          </p:nvSpPr>
          <p:spPr bwMode="auto">
            <a:xfrm>
              <a:off x="2695" y="1262"/>
              <a:ext cx="59" cy="29"/>
            </a:xfrm>
            <a:custGeom>
              <a:avLst/>
              <a:gdLst>
                <a:gd name="T0" fmla="*/ 1 w 84"/>
                <a:gd name="T1" fmla="*/ 1 h 42"/>
                <a:gd name="T2" fmla="*/ 1 w 84"/>
                <a:gd name="T3" fmla="*/ 1 h 42"/>
                <a:gd name="T4" fmla="*/ 1 w 84"/>
                <a:gd name="T5" fmla="*/ 1 h 42"/>
                <a:gd name="T6" fmla="*/ 1 w 84"/>
                <a:gd name="T7" fmla="*/ 1 h 42"/>
                <a:gd name="T8" fmla="*/ 1 w 84"/>
                <a:gd name="T9" fmla="*/ 1 h 42"/>
                <a:gd name="T10" fmla="*/ 1 w 84"/>
                <a:gd name="T11" fmla="*/ 1 h 42"/>
                <a:gd name="T12" fmla="*/ 1 w 84"/>
                <a:gd name="T13" fmla="*/ 1 h 42"/>
                <a:gd name="T14" fmla="*/ 1 w 84"/>
                <a:gd name="T15" fmla="*/ 1 h 42"/>
                <a:gd name="T16" fmla="*/ 0 w 84"/>
                <a:gd name="T17" fmla="*/ 1 h 42"/>
                <a:gd name="T18" fmla="*/ 1 w 84"/>
                <a:gd name="T19" fmla="*/ 1 h 42"/>
                <a:gd name="T20" fmla="*/ 1 w 84"/>
                <a:gd name="T21" fmla="*/ 1 h 42"/>
                <a:gd name="T22" fmla="*/ 1 w 84"/>
                <a:gd name="T23" fmla="*/ 1 h 42"/>
                <a:gd name="T24" fmla="*/ 1 w 84"/>
                <a:gd name="T25" fmla="*/ 0 h 42"/>
                <a:gd name="T26" fmla="*/ 1 w 84"/>
                <a:gd name="T27" fmla="*/ 1 h 42"/>
                <a:gd name="T28" fmla="*/ 1 w 84"/>
                <a:gd name="T29" fmla="*/ 1 h 42"/>
                <a:gd name="T30" fmla="*/ 1 w 84"/>
                <a:gd name="T31" fmla="*/ 1 h 42"/>
                <a:gd name="T32" fmla="*/ 1 w 84"/>
                <a:gd name="T33" fmla="*/ 1 h 42"/>
                <a:gd name="T34" fmla="*/ 1 w 84"/>
                <a:gd name="T35" fmla="*/ 1 h 42"/>
                <a:gd name="T36" fmla="*/ 1 w 84"/>
                <a:gd name="T37" fmla="*/ 1 h 42"/>
                <a:gd name="T38" fmla="*/ 1 w 84"/>
                <a:gd name="T39" fmla="*/ 1 h 42"/>
                <a:gd name="T40" fmla="*/ 1 w 84"/>
                <a:gd name="T41" fmla="*/ 1 h 4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84"/>
                <a:gd name="T64" fmla="*/ 0 h 42"/>
                <a:gd name="T65" fmla="*/ 84 w 84"/>
                <a:gd name="T66" fmla="*/ 42 h 42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84" h="42">
                  <a:moveTo>
                    <a:pt x="80" y="26"/>
                  </a:moveTo>
                  <a:lnTo>
                    <a:pt x="75" y="33"/>
                  </a:lnTo>
                  <a:lnTo>
                    <a:pt x="62" y="33"/>
                  </a:lnTo>
                  <a:lnTo>
                    <a:pt x="55" y="42"/>
                  </a:lnTo>
                  <a:lnTo>
                    <a:pt x="42" y="32"/>
                  </a:lnTo>
                  <a:lnTo>
                    <a:pt x="30" y="41"/>
                  </a:lnTo>
                  <a:lnTo>
                    <a:pt x="18" y="42"/>
                  </a:lnTo>
                  <a:lnTo>
                    <a:pt x="7" y="29"/>
                  </a:lnTo>
                  <a:lnTo>
                    <a:pt x="0" y="34"/>
                  </a:lnTo>
                  <a:lnTo>
                    <a:pt x="17" y="9"/>
                  </a:lnTo>
                  <a:lnTo>
                    <a:pt x="21" y="6"/>
                  </a:lnTo>
                  <a:lnTo>
                    <a:pt x="27" y="3"/>
                  </a:lnTo>
                  <a:lnTo>
                    <a:pt x="47" y="0"/>
                  </a:lnTo>
                  <a:lnTo>
                    <a:pt x="66" y="4"/>
                  </a:lnTo>
                  <a:lnTo>
                    <a:pt x="66" y="10"/>
                  </a:lnTo>
                  <a:lnTo>
                    <a:pt x="65" y="12"/>
                  </a:lnTo>
                  <a:lnTo>
                    <a:pt x="65" y="15"/>
                  </a:lnTo>
                  <a:lnTo>
                    <a:pt x="69" y="15"/>
                  </a:lnTo>
                  <a:lnTo>
                    <a:pt x="84" y="20"/>
                  </a:lnTo>
                  <a:lnTo>
                    <a:pt x="84" y="21"/>
                  </a:lnTo>
                  <a:lnTo>
                    <a:pt x="80" y="26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83" name="Freeform 239"/>
            <p:cNvSpPr>
              <a:spLocks/>
            </p:cNvSpPr>
            <p:nvPr/>
          </p:nvSpPr>
          <p:spPr bwMode="auto">
            <a:xfrm>
              <a:off x="2912" y="1180"/>
              <a:ext cx="249" cy="137"/>
            </a:xfrm>
            <a:custGeom>
              <a:avLst/>
              <a:gdLst>
                <a:gd name="T0" fmla="*/ 1 w 354"/>
                <a:gd name="T1" fmla="*/ 0 h 194"/>
                <a:gd name="T2" fmla="*/ 1 w 354"/>
                <a:gd name="T3" fmla="*/ 1 h 194"/>
                <a:gd name="T4" fmla="*/ 1 w 354"/>
                <a:gd name="T5" fmla="*/ 1 h 194"/>
                <a:gd name="T6" fmla="*/ 1 w 354"/>
                <a:gd name="T7" fmla="*/ 1 h 194"/>
                <a:gd name="T8" fmla="*/ 1 w 354"/>
                <a:gd name="T9" fmla="*/ 1 h 194"/>
                <a:gd name="T10" fmla="*/ 1 w 354"/>
                <a:gd name="T11" fmla="*/ 1 h 194"/>
                <a:gd name="T12" fmla="*/ 1 w 354"/>
                <a:gd name="T13" fmla="*/ 1 h 194"/>
                <a:gd name="T14" fmla="*/ 1 w 354"/>
                <a:gd name="T15" fmla="*/ 1 h 194"/>
                <a:gd name="T16" fmla="*/ 1 w 354"/>
                <a:gd name="T17" fmla="*/ 1 h 194"/>
                <a:gd name="T18" fmla="*/ 1 w 354"/>
                <a:gd name="T19" fmla="*/ 1 h 194"/>
                <a:gd name="T20" fmla="*/ 1 w 354"/>
                <a:gd name="T21" fmla="*/ 1 h 194"/>
                <a:gd name="T22" fmla="*/ 1 w 354"/>
                <a:gd name="T23" fmla="*/ 1 h 194"/>
                <a:gd name="T24" fmla="*/ 0 w 354"/>
                <a:gd name="T25" fmla="*/ 1 h 194"/>
                <a:gd name="T26" fmla="*/ 1 w 354"/>
                <a:gd name="T27" fmla="*/ 1 h 194"/>
                <a:gd name="T28" fmla="*/ 1 w 354"/>
                <a:gd name="T29" fmla="*/ 1 h 194"/>
                <a:gd name="T30" fmla="*/ 1 w 354"/>
                <a:gd name="T31" fmla="*/ 1 h 194"/>
                <a:gd name="T32" fmla="*/ 1 w 354"/>
                <a:gd name="T33" fmla="*/ 1 h 194"/>
                <a:gd name="T34" fmla="*/ 1 w 354"/>
                <a:gd name="T35" fmla="*/ 1 h 194"/>
                <a:gd name="T36" fmla="*/ 1 w 354"/>
                <a:gd name="T37" fmla="*/ 1 h 194"/>
                <a:gd name="T38" fmla="*/ 1 w 354"/>
                <a:gd name="T39" fmla="*/ 1 h 194"/>
                <a:gd name="T40" fmla="*/ 1 w 354"/>
                <a:gd name="T41" fmla="*/ 1 h 194"/>
                <a:gd name="T42" fmla="*/ 1 w 354"/>
                <a:gd name="T43" fmla="*/ 1 h 194"/>
                <a:gd name="T44" fmla="*/ 1 w 354"/>
                <a:gd name="T45" fmla="*/ 1 h 194"/>
                <a:gd name="T46" fmla="*/ 1 w 354"/>
                <a:gd name="T47" fmla="*/ 1 h 194"/>
                <a:gd name="T48" fmla="*/ 1 w 354"/>
                <a:gd name="T49" fmla="*/ 1 h 194"/>
                <a:gd name="T50" fmla="*/ 1 w 354"/>
                <a:gd name="T51" fmla="*/ 1 h 194"/>
                <a:gd name="T52" fmla="*/ 1 w 354"/>
                <a:gd name="T53" fmla="*/ 1 h 194"/>
                <a:gd name="T54" fmla="*/ 1 w 354"/>
                <a:gd name="T55" fmla="*/ 1 h 194"/>
                <a:gd name="T56" fmla="*/ 1 w 354"/>
                <a:gd name="T57" fmla="*/ 1 h 194"/>
                <a:gd name="T58" fmla="*/ 1 w 354"/>
                <a:gd name="T59" fmla="*/ 1 h 194"/>
                <a:gd name="T60" fmla="*/ 1 w 354"/>
                <a:gd name="T61" fmla="*/ 1 h 194"/>
                <a:gd name="T62" fmla="*/ 2 w 354"/>
                <a:gd name="T63" fmla="*/ 1 h 194"/>
                <a:gd name="T64" fmla="*/ 1 w 354"/>
                <a:gd name="T65" fmla="*/ 1 h 194"/>
                <a:gd name="T66" fmla="*/ 1 w 354"/>
                <a:gd name="T67" fmla="*/ 1 h 194"/>
                <a:gd name="T68" fmla="*/ 2 w 354"/>
                <a:gd name="T69" fmla="*/ 1 h 194"/>
                <a:gd name="T70" fmla="*/ 2 w 354"/>
                <a:gd name="T71" fmla="*/ 1 h 194"/>
                <a:gd name="T72" fmla="*/ 2 w 354"/>
                <a:gd name="T73" fmla="*/ 1 h 194"/>
                <a:gd name="T74" fmla="*/ 2 w 354"/>
                <a:gd name="T75" fmla="*/ 1 h 194"/>
                <a:gd name="T76" fmla="*/ 2 w 354"/>
                <a:gd name="T77" fmla="*/ 1 h 194"/>
                <a:gd name="T78" fmla="*/ 2 w 354"/>
                <a:gd name="T79" fmla="*/ 1 h 194"/>
                <a:gd name="T80" fmla="*/ 2 w 354"/>
                <a:gd name="T81" fmla="*/ 1 h 194"/>
                <a:gd name="T82" fmla="*/ 2 w 354"/>
                <a:gd name="T83" fmla="*/ 1 h 194"/>
                <a:gd name="T84" fmla="*/ 2 w 354"/>
                <a:gd name="T85" fmla="*/ 1 h 194"/>
                <a:gd name="T86" fmla="*/ 2 w 354"/>
                <a:gd name="T87" fmla="*/ 1 h 194"/>
                <a:gd name="T88" fmla="*/ 2 w 354"/>
                <a:gd name="T89" fmla="*/ 1 h 194"/>
                <a:gd name="T90" fmla="*/ 2 w 354"/>
                <a:gd name="T91" fmla="*/ 1 h 194"/>
                <a:gd name="T92" fmla="*/ 3 w 354"/>
                <a:gd name="T93" fmla="*/ 1 h 194"/>
                <a:gd name="T94" fmla="*/ 3 w 354"/>
                <a:gd name="T95" fmla="*/ 1 h 194"/>
                <a:gd name="T96" fmla="*/ 3 w 354"/>
                <a:gd name="T97" fmla="*/ 1 h 194"/>
                <a:gd name="T98" fmla="*/ 3 w 354"/>
                <a:gd name="T99" fmla="*/ 1 h 194"/>
                <a:gd name="T100" fmla="*/ 2 w 354"/>
                <a:gd name="T101" fmla="*/ 1 h 194"/>
                <a:gd name="T102" fmla="*/ 2 w 354"/>
                <a:gd name="T103" fmla="*/ 1 h 194"/>
                <a:gd name="T104" fmla="*/ 2 w 354"/>
                <a:gd name="T105" fmla="*/ 1 h 194"/>
                <a:gd name="T106" fmla="*/ 2 w 354"/>
                <a:gd name="T107" fmla="*/ 1 h 194"/>
                <a:gd name="T108" fmla="*/ 1 w 354"/>
                <a:gd name="T109" fmla="*/ 1 h 194"/>
                <a:gd name="T110" fmla="*/ 1 w 354"/>
                <a:gd name="T111" fmla="*/ 1 h 194"/>
                <a:gd name="T112" fmla="*/ 1 w 354"/>
                <a:gd name="T113" fmla="*/ 0 h 19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54"/>
                <a:gd name="T172" fmla="*/ 0 h 194"/>
                <a:gd name="T173" fmla="*/ 354 w 354"/>
                <a:gd name="T174" fmla="*/ 194 h 19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54" h="194">
                  <a:moveTo>
                    <a:pt x="187" y="0"/>
                  </a:moveTo>
                  <a:lnTo>
                    <a:pt x="172" y="5"/>
                  </a:lnTo>
                  <a:lnTo>
                    <a:pt x="149" y="17"/>
                  </a:lnTo>
                  <a:lnTo>
                    <a:pt x="150" y="25"/>
                  </a:lnTo>
                  <a:lnTo>
                    <a:pt x="117" y="19"/>
                  </a:lnTo>
                  <a:lnTo>
                    <a:pt x="84" y="13"/>
                  </a:lnTo>
                  <a:lnTo>
                    <a:pt x="51" y="13"/>
                  </a:lnTo>
                  <a:lnTo>
                    <a:pt x="18" y="13"/>
                  </a:lnTo>
                  <a:lnTo>
                    <a:pt x="29" y="38"/>
                  </a:lnTo>
                  <a:lnTo>
                    <a:pt x="27" y="50"/>
                  </a:lnTo>
                  <a:lnTo>
                    <a:pt x="9" y="74"/>
                  </a:lnTo>
                  <a:lnTo>
                    <a:pt x="6" y="82"/>
                  </a:lnTo>
                  <a:lnTo>
                    <a:pt x="0" y="98"/>
                  </a:lnTo>
                  <a:lnTo>
                    <a:pt x="16" y="109"/>
                  </a:lnTo>
                  <a:lnTo>
                    <a:pt x="17" y="109"/>
                  </a:lnTo>
                  <a:lnTo>
                    <a:pt x="53" y="113"/>
                  </a:lnTo>
                  <a:lnTo>
                    <a:pt x="85" y="102"/>
                  </a:lnTo>
                  <a:lnTo>
                    <a:pt x="103" y="89"/>
                  </a:lnTo>
                  <a:lnTo>
                    <a:pt x="109" y="91"/>
                  </a:lnTo>
                  <a:lnTo>
                    <a:pt x="125" y="106"/>
                  </a:lnTo>
                  <a:lnTo>
                    <a:pt x="141" y="120"/>
                  </a:lnTo>
                  <a:lnTo>
                    <a:pt x="156" y="134"/>
                  </a:lnTo>
                  <a:lnTo>
                    <a:pt x="172" y="149"/>
                  </a:lnTo>
                  <a:lnTo>
                    <a:pt x="187" y="138"/>
                  </a:lnTo>
                  <a:lnTo>
                    <a:pt x="193" y="142"/>
                  </a:lnTo>
                  <a:lnTo>
                    <a:pt x="191" y="130"/>
                  </a:lnTo>
                  <a:lnTo>
                    <a:pt x="195" y="138"/>
                  </a:lnTo>
                  <a:lnTo>
                    <a:pt x="209" y="142"/>
                  </a:lnTo>
                  <a:lnTo>
                    <a:pt x="189" y="143"/>
                  </a:lnTo>
                  <a:lnTo>
                    <a:pt x="197" y="149"/>
                  </a:lnTo>
                  <a:lnTo>
                    <a:pt x="214" y="154"/>
                  </a:lnTo>
                  <a:lnTo>
                    <a:pt x="232" y="156"/>
                  </a:lnTo>
                  <a:lnTo>
                    <a:pt x="211" y="169"/>
                  </a:lnTo>
                  <a:lnTo>
                    <a:pt x="225" y="176"/>
                  </a:lnTo>
                  <a:lnTo>
                    <a:pt x="234" y="185"/>
                  </a:lnTo>
                  <a:lnTo>
                    <a:pt x="238" y="194"/>
                  </a:lnTo>
                  <a:lnTo>
                    <a:pt x="265" y="184"/>
                  </a:lnTo>
                  <a:lnTo>
                    <a:pt x="279" y="181"/>
                  </a:lnTo>
                  <a:lnTo>
                    <a:pt x="291" y="174"/>
                  </a:lnTo>
                  <a:lnTo>
                    <a:pt x="275" y="173"/>
                  </a:lnTo>
                  <a:lnTo>
                    <a:pt x="256" y="158"/>
                  </a:lnTo>
                  <a:lnTo>
                    <a:pt x="261" y="148"/>
                  </a:lnTo>
                  <a:lnTo>
                    <a:pt x="258" y="154"/>
                  </a:lnTo>
                  <a:lnTo>
                    <a:pt x="263" y="149"/>
                  </a:lnTo>
                  <a:lnTo>
                    <a:pt x="291" y="138"/>
                  </a:lnTo>
                  <a:lnTo>
                    <a:pt x="322" y="127"/>
                  </a:lnTo>
                  <a:lnTo>
                    <a:pt x="331" y="126"/>
                  </a:lnTo>
                  <a:lnTo>
                    <a:pt x="339" y="112"/>
                  </a:lnTo>
                  <a:lnTo>
                    <a:pt x="354" y="104"/>
                  </a:lnTo>
                  <a:lnTo>
                    <a:pt x="341" y="70"/>
                  </a:lnTo>
                  <a:lnTo>
                    <a:pt x="312" y="61"/>
                  </a:lnTo>
                  <a:lnTo>
                    <a:pt x="283" y="52"/>
                  </a:lnTo>
                  <a:lnTo>
                    <a:pt x="271" y="54"/>
                  </a:lnTo>
                  <a:lnTo>
                    <a:pt x="246" y="32"/>
                  </a:lnTo>
                  <a:lnTo>
                    <a:pt x="221" y="12"/>
                  </a:lnTo>
                  <a:lnTo>
                    <a:pt x="217" y="4"/>
                  </a:lnTo>
                  <a:lnTo>
                    <a:pt x="187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84" name="Freeform 240"/>
            <p:cNvSpPr>
              <a:spLocks/>
            </p:cNvSpPr>
            <p:nvPr/>
          </p:nvSpPr>
          <p:spPr bwMode="auto">
            <a:xfrm>
              <a:off x="2870" y="1289"/>
              <a:ext cx="61" cy="73"/>
            </a:xfrm>
            <a:custGeom>
              <a:avLst/>
              <a:gdLst>
                <a:gd name="T0" fmla="*/ 1 w 89"/>
                <a:gd name="T1" fmla="*/ 1 h 104"/>
                <a:gd name="T2" fmla="*/ 1 w 89"/>
                <a:gd name="T3" fmla="*/ 1 h 104"/>
                <a:gd name="T4" fmla="*/ 1 w 89"/>
                <a:gd name="T5" fmla="*/ 1 h 104"/>
                <a:gd name="T6" fmla="*/ 1 w 89"/>
                <a:gd name="T7" fmla="*/ 1 h 104"/>
                <a:gd name="T8" fmla="*/ 1 w 89"/>
                <a:gd name="T9" fmla="*/ 1 h 104"/>
                <a:gd name="T10" fmla="*/ 1 w 89"/>
                <a:gd name="T11" fmla="*/ 1 h 104"/>
                <a:gd name="T12" fmla="*/ 1 w 89"/>
                <a:gd name="T13" fmla="*/ 1 h 104"/>
                <a:gd name="T14" fmla="*/ 1 w 89"/>
                <a:gd name="T15" fmla="*/ 1 h 104"/>
                <a:gd name="T16" fmla="*/ 1 w 89"/>
                <a:gd name="T17" fmla="*/ 1 h 104"/>
                <a:gd name="T18" fmla="*/ 1 w 89"/>
                <a:gd name="T19" fmla="*/ 1 h 104"/>
                <a:gd name="T20" fmla="*/ 1 w 89"/>
                <a:gd name="T21" fmla="*/ 1 h 104"/>
                <a:gd name="T22" fmla="*/ 1 w 89"/>
                <a:gd name="T23" fmla="*/ 1 h 104"/>
                <a:gd name="T24" fmla="*/ 1 w 89"/>
                <a:gd name="T25" fmla="*/ 1 h 104"/>
                <a:gd name="T26" fmla="*/ 1 w 89"/>
                <a:gd name="T27" fmla="*/ 1 h 104"/>
                <a:gd name="T28" fmla="*/ 1 w 89"/>
                <a:gd name="T29" fmla="*/ 1 h 104"/>
                <a:gd name="T30" fmla="*/ 1 w 89"/>
                <a:gd name="T31" fmla="*/ 1 h 104"/>
                <a:gd name="T32" fmla="*/ 1 w 89"/>
                <a:gd name="T33" fmla="*/ 1 h 104"/>
                <a:gd name="T34" fmla="*/ 1 w 89"/>
                <a:gd name="T35" fmla="*/ 1 h 104"/>
                <a:gd name="T36" fmla="*/ 1 w 89"/>
                <a:gd name="T37" fmla="*/ 1 h 104"/>
                <a:gd name="T38" fmla="*/ 1 w 89"/>
                <a:gd name="T39" fmla="*/ 1 h 104"/>
                <a:gd name="T40" fmla="*/ 1 w 89"/>
                <a:gd name="T41" fmla="*/ 1 h 104"/>
                <a:gd name="T42" fmla="*/ 1 w 89"/>
                <a:gd name="T43" fmla="*/ 1 h 104"/>
                <a:gd name="T44" fmla="*/ 1 w 89"/>
                <a:gd name="T45" fmla="*/ 1 h 104"/>
                <a:gd name="T46" fmla="*/ 0 w 89"/>
                <a:gd name="T47" fmla="*/ 1 h 104"/>
                <a:gd name="T48" fmla="*/ 1 w 89"/>
                <a:gd name="T49" fmla="*/ 1 h 104"/>
                <a:gd name="T50" fmla="*/ 1 w 89"/>
                <a:gd name="T51" fmla="*/ 1 h 104"/>
                <a:gd name="T52" fmla="*/ 1 w 89"/>
                <a:gd name="T53" fmla="*/ 1 h 104"/>
                <a:gd name="T54" fmla="*/ 1 w 89"/>
                <a:gd name="T55" fmla="*/ 1 h 104"/>
                <a:gd name="T56" fmla="*/ 1 w 89"/>
                <a:gd name="T57" fmla="*/ 1 h 104"/>
                <a:gd name="T58" fmla="*/ 1 w 89"/>
                <a:gd name="T59" fmla="*/ 1 h 104"/>
                <a:gd name="T60" fmla="*/ 1 w 89"/>
                <a:gd name="T61" fmla="*/ 1 h 104"/>
                <a:gd name="T62" fmla="*/ 1 w 89"/>
                <a:gd name="T63" fmla="*/ 1 h 104"/>
                <a:gd name="T64" fmla="*/ 1 w 89"/>
                <a:gd name="T65" fmla="*/ 1 h 104"/>
                <a:gd name="T66" fmla="*/ 1 w 89"/>
                <a:gd name="T67" fmla="*/ 1 h 104"/>
                <a:gd name="T68" fmla="*/ 1 w 89"/>
                <a:gd name="T69" fmla="*/ 1 h 104"/>
                <a:gd name="T70" fmla="*/ 1 w 89"/>
                <a:gd name="T71" fmla="*/ 1 h 104"/>
                <a:gd name="T72" fmla="*/ 1 w 89"/>
                <a:gd name="T73" fmla="*/ 1 h 104"/>
                <a:gd name="T74" fmla="*/ 1 w 89"/>
                <a:gd name="T75" fmla="*/ 1 h 104"/>
                <a:gd name="T76" fmla="*/ 1 w 89"/>
                <a:gd name="T77" fmla="*/ 1 h 104"/>
                <a:gd name="T78" fmla="*/ 1 w 89"/>
                <a:gd name="T79" fmla="*/ 1 h 104"/>
                <a:gd name="T80" fmla="*/ 1 w 89"/>
                <a:gd name="T81" fmla="*/ 1 h 104"/>
                <a:gd name="T82" fmla="*/ 1 w 89"/>
                <a:gd name="T83" fmla="*/ 1 h 104"/>
                <a:gd name="T84" fmla="*/ 1 w 89"/>
                <a:gd name="T85" fmla="*/ 1 h 104"/>
                <a:gd name="T86" fmla="*/ 1 w 89"/>
                <a:gd name="T87" fmla="*/ 1 h 104"/>
                <a:gd name="T88" fmla="*/ 1 w 89"/>
                <a:gd name="T89" fmla="*/ 1 h 104"/>
                <a:gd name="T90" fmla="*/ 1 w 89"/>
                <a:gd name="T91" fmla="*/ 1 h 104"/>
                <a:gd name="T92" fmla="*/ 1 w 89"/>
                <a:gd name="T93" fmla="*/ 1 h 104"/>
                <a:gd name="T94" fmla="*/ 1 w 89"/>
                <a:gd name="T95" fmla="*/ 1 h 104"/>
                <a:gd name="T96" fmla="*/ 1 w 89"/>
                <a:gd name="T97" fmla="*/ 0 h 104"/>
                <a:gd name="T98" fmla="*/ 1 w 89"/>
                <a:gd name="T99" fmla="*/ 1 h 104"/>
                <a:gd name="T100" fmla="*/ 1 w 89"/>
                <a:gd name="T101" fmla="*/ 1 h 104"/>
                <a:gd name="T102" fmla="*/ 1 w 89"/>
                <a:gd name="T103" fmla="*/ 1 h 104"/>
                <a:gd name="T104" fmla="*/ 1 w 89"/>
                <a:gd name="T105" fmla="*/ 1 h 104"/>
                <a:gd name="T106" fmla="*/ 1 w 89"/>
                <a:gd name="T107" fmla="*/ 1 h 104"/>
                <a:gd name="T108" fmla="*/ 1 w 89"/>
                <a:gd name="T109" fmla="*/ 1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9"/>
                <a:gd name="T166" fmla="*/ 0 h 104"/>
                <a:gd name="T167" fmla="*/ 89 w 89"/>
                <a:gd name="T168" fmla="*/ 104 h 10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9" h="104">
                  <a:moveTo>
                    <a:pt x="16" y="21"/>
                  </a:moveTo>
                  <a:lnTo>
                    <a:pt x="16" y="22"/>
                  </a:lnTo>
                  <a:lnTo>
                    <a:pt x="10" y="24"/>
                  </a:lnTo>
                  <a:lnTo>
                    <a:pt x="8" y="30"/>
                  </a:lnTo>
                  <a:lnTo>
                    <a:pt x="14" y="30"/>
                  </a:lnTo>
                  <a:lnTo>
                    <a:pt x="14" y="33"/>
                  </a:lnTo>
                  <a:lnTo>
                    <a:pt x="13" y="37"/>
                  </a:lnTo>
                  <a:lnTo>
                    <a:pt x="10" y="40"/>
                  </a:lnTo>
                  <a:lnTo>
                    <a:pt x="11" y="43"/>
                  </a:lnTo>
                  <a:lnTo>
                    <a:pt x="14" y="45"/>
                  </a:lnTo>
                  <a:lnTo>
                    <a:pt x="23" y="50"/>
                  </a:lnTo>
                  <a:lnTo>
                    <a:pt x="16" y="54"/>
                  </a:lnTo>
                  <a:lnTo>
                    <a:pt x="20" y="57"/>
                  </a:lnTo>
                  <a:lnTo>
                    <a:pt x="20" y="62"/>
                  </a:lnTo>
                  <a:lnTo>
                    <a:pt x="10" y="64"/>
                  </a:lnTo>
                  <a:lnTo>
                    <a:pt x="14" y="69"/>
                  </a:lnTo>
                  <a:lnTo>
                    <a:pt x="12" y="72"/>
                  </a:lnTo>
                  <a:lnTo>
                    <a:pt x="8" y="68"/>
                  </a:lnTo>
                  <a:lnTo>
                    <a:pt x="4" y="75"/>
                  </a:lnTo>
                  <a:lnTo>
                    <a:pt x="1" y="78"/>
                  </a:lnTo>
                  <a:lnTo>
                    <a:pt x="6" y="85"/>
                  </a:lnTo>
                  <a:lnTo>
                    <a:pt x="1" y="86"/>
                  </a:lnTo>
                  <a:lnTo>
                    <a:pt x="1" y="87"/>
                  </a:lnTo>
                  <a:lnTo>
                    <a:pt x="0" y="90"/>
                  </a:lnTo>
                  <a:lnTo>
                    <a:pt x="14" y="97"/>
                  </a:lnTo>
                  <a:lnTo>
                    <a:pt x="22" y="104"/>
                  </a:lnTo>
                  <a:lnTo>
                    <a:pt x="25" y="87"/>
                  </a:lnTo>
                  <a:lnTo>
                    <a:pt x="37" y="91"/>
                  </a:lnTo>
                  <a:lnTo>
                    <a:pt x="43" y="103"/>
                  </a:lnTo>
                  <a:lnTo>
                    <a:pt x="47" y="102"/>
                  </a:lnTo>
                  <a:lnTo>
                    <a:pt x="47" y="99"/>
                  </a:lnTo>
                  <a:lnTo>
                    <a:pt x="54" y="97"/>
                  </a:lnTo>
                  <a:lnTo>
                    <a:pt x="59" y="98"/>
                  </a:lnTo>
                  <a:lnTo>
                    <a:pt x="61" y="94"/>
                  </a:lnTo>
                  <a:lnTo>
                    <a:pt x="65" y="94"/>
                  </a:lnTo>
                  <a:lnTo>
                    <a:pt x="69" y="96"/>
                  </a:lnTo>
                  <a:lnTo>
                    <a:pt x="71" y="94"/>
                  </a:lnTo>
                  <a:lnTo>
                    <a:pt x="78" y="92"/>
                  </a:lnTo>
                  <a:lnTo>
                    <a:pt x="83" y="98"/>
                  </a:lnTo>
                  <a:lnTo>
                    <a:pt x="87" y="96"/>
                  </a:lnTo>
                  <a:lnTo>
                    <a:pt x="81" y="87"/>
                  </a:lnTo>
                  <a:lnTo>
                    <a:pt x="89" y="75"/>
                  </a:lnTo>
                  <a:lnTo>
                    <a:pt x="81" y="61"/>
                  </a:lnTo>
                  <a:lnTo>
                    <a:pt x="82" y="45"/>
                  </a:lnTo>
                  <a:lnTo>
                    <a:pt x="81" y="38"/>
                  </a:lnTo>
                  <a:lnTo>
                    <a:pt x="73" y="36"/>
                  </a:lnTo>
                  <a:lnTo>
                    <a:pt x="67" y="34"/>
                  </a:lnTo>
                  <a:lnTo>
                    <a:pt x="59" y="30"/>
                  </a:lnTo>
                  <a:lnTo>
                    <a:pt x="30" y="0"/>
                  </a:lnTo>
                  <a:lnTo>
                    <a:pt x="1" y="6"/>
                  </a:lnTo>
                  <a:lnTo>
                    <a:pt x="6" y="14"/>
                  </a:lnTo>
                  <a:lnTo>
                    <a:pt x="10" y="15"/>
                  </a:lnTo>
                  <a:lnTo>
                    <a:pt x="7" y="18"/>
                  </a:lnTo>
                  <a:lnTo>
                    <a:pt x="10" y="19"/>
                  </a:lnTo>
                  <a:lnTo>
                    <a:pt x="16" y="2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85" name="Freeform 241"/>
            <p:cNvSpPr>
              <a:spLocks/>
            </p:cNvSpPr>
            <p:nvPr/>
          </p:nvSpPr>
          <p:spPr bwMode="auto">
            <a:xfrm>
              <a:off x="1042" y="876"/>
              <a:ext cx="1001" cy="489"/>
            </a:xfrm>
            <a:custGeom>
              <a:avLst/>
              <a:gdLst>
                <a:gd name="T0" fmla="*/ 8 w 1425"/>
                <a:gd name="T1" fmla="*/ 1 h 695"/>
                <a:gd name="T2" fmla="*/ 8 w 1425"/>
                <a:gd name="T3" fmla="*/ 1 h 695"/>
                <a:gd name="T4" fmla="*/ 8 w 1425"/>
                <a:gd name="T5" fmla="*/ 1 h 695"/>
                <a:gd name="T6" fmla="*/ 7 w 1425"/>
                <a:gd name="T7" fmla="*/ 1 h 695"/>
                <a:gd name="T8" fmla="*/ 7 w 1425"/>
                <a:gd name="T9" fmla="*/ 1 h 695"/>
                <a:gd name="T10" fmla="*/ 7 w 1425"/>
                <a:gd name="T11" fmla="*/ 1 h 695"/>
                <a:gd name="T12" fmla="*/ 6 w 1425"/>
                <a:gd name="T13" fmla="*/ 1 h 695"/>
                <a:gd name="T14" fmla="*/ 6 w 1425"/>
                <a:gd name="T15" fmla="*/ 1 h 695"/>
                <a:gd name="T16" fmla="*/ 6 w 1425"/>
                <a:gd name="T17" fmla="*/ 1 h 695"/>
                <a:gd name="T18" fmla="*/ 6 w 1425"/>
                <a:gd name="T19" fmla="*/ 1 h 695"/>
                <a:gd name="T20" fmla="*/ 5 w 1425"/>
                <a:gd name="T21" fmla="*/ 1 h 695"/>
                <a:gd name="T22" fmla="*/ 4 w 1425"/>
                <a:gd name="T23" fmla="*/ 1 h 695"/>
                <a:gd name="T24" fmla="*/ 4 w 1425"/>
                <a:gd name="T25" fmla="*/ 1 h 695"/>
                <a:gd name="T26" fmla="*/ 3 w 1425"/>
                <a:gd name="T27" fmla="*/ 1 h 695"/>
                <a:gd name="T28" fmla="*/ 1 w 1425"/>
                <a:gd name="T29" fmla="*/ 1 h 695"/>
                <a:gd name="T30" fmla="*/ 1 w 1425"/>
                <a:gd name="T31" fmla="*/ 2 h 695"/>
                <a:gd name="T32" fmla="*/ 1 w 1425"/>
                <a:gd name="T33" fmla="*/ 3 h 695"/>
                <a:gd name="T34" fmla="*/ 1 w 1425"/>
                <a:gd name="T35" fmla="*/ 3 h 695"/>
                <a:gd name="T36" fmla="*/ 1 w 1425"/>
                <a:gd name="T37" fmla="*/ 3 h 695"/>
                <a:gd name="T38" fmla="*/ 1 w 1425"/>
                <a:gd name="T39" fmla="*/ 3 h 695"/>
                <a:gd name="T40" fmla="*/ 1 w 1425"/>
                <a:gd name="T41" fmla="*/ 4 h 695"/>
                <a:gd name="T42" fmla="*/ 1 w 1425"/>
                <a:gd name="T43" fmla="*/ 4 h 695"/>
                <a:gd name="T44" fmla="*/ 1 w 1425"/>
                <a:gd name="T45" fmla="*/ 4 h 695"/>
                <a:gd name="T46" fmla="*/ 1 w 1425"/>
                <a:gd name="T47" fmla="*/ 4 h 695"/>
                <a:gd name="T48" fmla="*/ 3 w 1425"/>
                <a:gd name="T49" fmla="*/ 4 h 695"/>
                <a:gd name="T50" fmla="*/ 4 w 1425"/>
                <a:gd name="T51" fmla="*/ 4 h 695"/>
                <a:gd name="T52" fmla="*/ 6 w 1425"/>
                <a:gd name="T53" fmla="*/ 4 h 695"/>
                <a:gd name="T54" fmla="*/ 6 w 1425"/>
                <a:gd name="T55" fmla="*/ 5 h 695"/>
                <a:gd name="T56" fmla="*/ 7 w 1425"/>
                <a:gd name="T57" fmla="*/ 4 h 695"/>
                <a:gd name="T58" fmla="*/ 8 w 1425"/>
                <a:gd name="T59" fmla="*/ 4 h 695"/>
                <a:gd name="T60" fmla="*/ 9 w 1425"/>
                <a:gd name="T61" fmla="*/ 4 h 695"/>
                <a:gd name="T62" fmla="*/ 8 w 1425"/>
                <a:gd name="T63" fmla="*/ 4 h 695"/>
                <a:gd name="T64" fmla="*/ 9 w 1425"/>
                <a:gd name="T65" fmla="*/ 4 h 695"/>
                <a:gd name="T66" fmla="*/ 9 w 1425"/>
                <a:gd name="T67" fmla="*/ 4 h 695"/>
                <a:gd name="T68" fmla="*/ 9 w 1425"/>
                <a:gd name="T69" fmla="*/ 4 h 695"/>
                <a:gd name="T70" fmla="*/ 8 w 1425"/>
                <a:gd name="T71" fmla="*/ 4 h 695"/>
                <a:gd name="T72" fmla="*/ 9 w 1425"/>
                <a:gd name="T73" fmla="*/ 4 h 695"/>
                <a:gd name="T74" fmla="*/ 10 w 1425"/>
                <a:gd name="T75" fmla="*/ 3 h 695"/>
                <a:gd name="T76" fmla="*/ 9 w 1425"/>
                <a:gd name="T77" fmla="*/ 3 h 695"/>
                <a:gd name="T78" fmla="*/ 10 w 1425"/>
                <a:gd name="T79" fmla="*/ 3 h 695"/>
                <a:gd name="T80" fmla="*/ 10 w 1425"/>
                <a:gd name="T81" fmla="*/ 3 h 695"/>
                <a:gd name="T82" fmla="*/ 9 w 1425"/>
                <a:gd name="T83" fmla="*/ 3 h 695"/>
                <a:gd name="T84" fmla="*/ 9 w 1425"/>
                <a:gd name="T85" fmla="*/ 2 h 695"/>
                <a:gd name="T86" fmla="*/ 9 w 1425"/>
                <a:gd name="T87" fmla="*/ 2 h 695"/>
                <a:gd name="T88" fmla="*/ 9 w 1425"/>
                <a:gd name="T89" fmla="*/ 2 h 695"/>
                <a:gd name="T90" fmla="*/ 9 w 1425"/>
                <a:gd name="T91" fmla="*/ 2 h 695"/>
                <a:gd name="T92" fmla="*/ 9 w 1425"/>
                <a:gd name="T93" fmla="*/ 2 h 695"/>
                <a:gd name="T94" fmla="*/ 9 w 1425"/>
                <a:gd name="T95" fmla="*/ 1 h 695"/>
                <a:gd name="T96" fmla="*/ 8 w 1425"/>
                <a:gd name="T97" fmla="*/ 1 h 695"/>
                <a:gd name="T98" fmla="*/ 8 w 1425"/>
                <a:gd name="T99" fmla="*/ 3 h 695"/>
                <a:gd name="T100" fmla="*/ 7 w 1425"/>
                <a:gd name="T101" fmla="*/ 3 h 695"/>
                <a:gd name="T102" fmla="*/ 6 w 1425"/>
                <a:gd name="T103" fmla="*/ 3 h 695"/>
                <a:gd name="T104" fmla="*/ 6 w 1425"/>
                <a:gd name="T105" fmla="*/ 2 h 695"/>
                <a:gd name="T106" fmla="*/ 6 w 1425"/>
                <a:gd name="T107" fmla="*/ 2 h 695"/>
                <a:gd name="T108" fmla="*/ 6 w 1425"/>
                <a:gd name="T109" fmla="*/ 1 h 695"/>
                <a:gd name="T110" fmla="*/ 6 w 1425"/>
                <a:gd name="T111" fmla="*/ 1 h 695"/>
                <a:gd name="T112" fmla="*/ 7 w 1425"/>
                <a:gd name="T113" fmla="*/ 1 h 69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425"/>
                <a:gd name="T172" fmla="*/ 0 h 695"/>
                <a:gd name="T173" fmla="*/ 1425 w 1425"/>
                <a:gd name="T174" fmla="*/ 695 h 695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425" h="695">
                  <a:moveTo>
                    <a:pt x="1049" y="121"/>
                  </a:moveTo>
                  <a:lnTo>
                    <a:pt x="1041" y="114"/>
                  </a:lnTo>
                  <a:lnTo>
                    <a:pt x="1063" y="114"/>
                  </a:lnTo>
                  <a:lnTo>
                    <a:pt x="1075" y="120"/>
                  </a:lnTo>
                  <a:lnTo>
                    <a:pt x="1085" y="118"/>
                  </a:lnTo>
                  <a:lnTo>
                    <a:pt x="1078" y="106"/>
                  </a:lnTo>
                  <a:lnTo>
                    <a:pt x="1086" y="108"/>
                  </a:lnTo>
                  <a:lnTo>
                    <a:pt x="1090" y="109"/>
                  </a:lnTo>
                  <a:lnTo>
                    <a:pt x="1097" y="116"/>
                  </a:lnTo>
                  <a:lnTo>
                    <a:pt x="1137" y="102"/>
                  </a:lnTo>
                  <a:lnTo>
                    <a:pt x="1144" y="90"/>
                  </a:lnTo>
                  <a:lnTo>
                    <a:pt x="1143" y="79"/>
                  </a:lnTo>
                  <a:lnTo>
                    <a:pt x="1144" y="73"/>
                  </a:lnTo>
                  <a:lnTo>
                    <a:pt x="1164" y="66"/>
                  </a:lnTo>
                  <a:lnTo>
                    <a:pt x="1153" y="64"/>
                  </a:lnTo>
                  <a:lnTo>
                    <a:pt x="1169" y="56"/>
                  </a:lnTo>
                  <a:lnTo>
                    <a:pt x="1143" y="49"/>
                  </a:lnTo>
                  <a:lnTo>
                    <a:pt x="1161" y="48"/>
                  </a:lnTo>
                  <a:lnTo>
                    <a:pt x="1111" y="46"/>
                  </a:lnTo>
                  <a:lnTo>
                    <a:pt x="1107" y="58"/>
                  </a:lnTo>
                  <a:lnTo>
                    <a:pt x="1110" y="62"/>
                  </a:lnTo>
                  <a:lnTo>
                    <a:pt x="1107" y="67"/>
                  </a:lnTo>
                  <a:lnTo>
                    <a:pt x="1093" y="67"/>
                  </a:lnTo>
                  <a:lnTo>
                    <a:pt x="1056" y="96"/>
                  </a:lnTo>
                  <a:lnTo>
                    <a:pt x="1043" y="98"/>
                  </a:lnTo>
                  <a:lnTo>
                    <a:pt x="1039" y="82"/>
                  </a:lnTo>
                  <a:lnTo>
                    <a:pt x="1045" y="77"/>
                  </a:lnTo>
                  <a:lnTo>
                    <a:pt x="1055" y="62"/>
                  </a:lnTo>
                  <a:lnTo>
                    <a:pt x="1042" y="56"/>
                  </a:lnTo>
                  <a:lnTo>
                    <a:pt x="1012" y="77"/>
                  </a:lnTo>
                  <a:lnTo>
                    <a:pt x="1019" y="59"/>
                  </a:lnTo>
                  <a:lnTo>
                    <a:pt x="1014" y="55"/>
                  </a:lnTo>
                  <a:lnTo>
                    <a:pt x="1030" y="52"/>
                  </a:lnTo>
                  <a:lnTo>
                    <a:pt x="1019" y="48"/>
                  </a:lnTo>
                  <a:lnTo>
                    <a:pt x="1001" y="47"/>
                  </a:lnTo>
                  <a:lnTo>
                    <a:pt x="999" y="44"/>
                  </a:lnTo>
                  <a:lnTo>
                    <a:pt x="1013" y="38"/>
                  </a:lnTo>
                  <a:lnTo>
                    <a:pt x="1013" y="35"/>
                  </a:lnTo>
                  <a:lnTo>
                    <a:pt x="1021" y="36"/>
                  </a:lnTo>
                  <a:lnTo>
                    <a:pt x="1015" y="23"/>
                  </a:lnTo>
                  <a:lnTo>
                    <a:pt x="1020" y="11"/>
                  </a:lnTo>
                  <a:lnTo>
                    <a:pt x="1012" y="4"/>
                  </a:lnTo>
                  <a:lnTo>
                    <a:pt x="1006" y="4"/>
                  </a:lnTo>
                  <a:lnTo>
                    <a:pt x="1011" y="0"/>
                  </a:lnTo>
                  <a:lnTo>
                    <a:pt x="997" y="2"/>
                  </a:lnTo>
                  <a:lnTo>
                    <a:pt x="1005" y="2"/>
                  </a:lnTo>
                  <a:lnTo>
                    <a:pt x="981" y="8"/>
                  </a:lnTo>
                  <a:lnTo>
                    <a:pt x="984" y="12"/>
                  </a:lnTo>
                  <a:lnTo>
                    <a:pt x="966" y="14"/>
                  </a:lnTo>
                  <a:lnTo>
                    <a:pt x="959" y="28"/>
                  </a:lnTo>
                  <a:lnTo>
                    <a:pt x="963" y="29"/>
                  </a:lnTo>
                  <a:lnTo>
                    <a:pt x="951" y="31"/>
                  </a:lnTo>
                  <a:lnTo>
                    <a:pt x="945" y="42"/>
                  </a:lnTo>
                  <a:lnTo>
                    <a:pt x="981" y="53"/>
                  </a:lnTo>
                  <a:lnTo>
                    <a:pt x="971" y="55"/>
                  </a:lnTo>
                  <a:lnTo>
                    <a:pt x="972" y="54"/>
                  </a:lnTo>
                  <a:lnTo>
                    <a:pt x="963" y="59"/>
                  </a:lnTo>
                  <a:lnTo>
                    <a:pt x="953" y="67"/>
                  </a:lnTo>
                  <a:lnTo>
                    <a:pt x="970" y="61"/>
                  </a:lnTo>
                  <a:lnTo>
                    <a:pt x="961" y="70"/>
                  </a:lnTo>
                  <a:lnTo>
                    <a:pt x="929" y="80"/>
                  </a:lnTo>
                  <a:lnTo>
                    <a:pt x="915" y="96"/>
                  </a:lnTo>
                  <a:lnTo>
                    <a:pt x="906" y="104"/>
                  </a:lnTo>
                  <a:lnTo>
                    <a:pt x="895" y="104"/>
                  </a:lnTo>
                  <a:lnTo>
                    <a:pt x="897" y="109"/>
                  </a:lnTo>
                  <a:lnTo>
                    <a:pt x="895" y="104"/>
                  </a:lnTo>
                  <a:lnTo>
                    <a:pt x="897" y="104"/>
                  </a:lnTo>
                  <a:lnTo>
                    <a:pt x="909" y="102"/>
                  </a:lnTo>
                  <a:lnTo>
                    <a:pt x="904" y="100"/>
                  </a:lnTo>
                  <a:lnTo>
                    <a:pt x="909" y="95"/>
                  </a:lnTo>
                  <a:lnTo>
                    <a:pt x="899" y="97"/>
                  </a:lnTo>
                  <a:lnTo>
                    <a:pt x="922" y="76"/>
                  </a:lnTo>
                  <a:lnTo>
                    <a:pt x="907" y="79"/>
                  </a:lnTo>
                  <a:lnTo>
                    <a:pt x="910" y="77"/>
                  </a:lnTo>
                  <a:lnTo>
                    <a:pt x="892" y="73"/>
                  </a:lnTo>
                  <a:lnTo>
                    <a:pt x="879" y="77"/>
                  </a:lnTo>
                  <a:lnTo>
                    <a:pt x="882" y="84"/>
                  </a:lnTo>
                  <a:lnTo>
                    <a:pt x="893" y="86"/>
                  </a:lnTo>
                  <a:lnTo>
                    <a:pt x="877" y="88"/>
                  </a:lnTo>
                  <a:lnTo>
                    <a:pt x="873" y="80"/>
                  </a:lnTo>
                  <a:lnTo>
                    <a:pt x="867" y="88"/>
                  </a:lnTo>
                  <a:lnTo>
                    <a:pt x="834" y="86"/>
                  </a:lnTo>
                  <a:lnTo>
                    <a:pt x="802" y="86"/>
                  </a:lnTo>
                  <a:lnTo>
                    <a:pt x="792" y="80"/>
                  </a:lnTo>
                  <a:lnTo>
                    <a:pt x="779" y="79"/>
                  </a:lnTo>
                  <a:lnTo>
                    <a:pt x="773" y="71"/>
                  </a:lnTo>
                  <a:lnTo>
                    <a:pt x="768" y="62"/>
                  </a:lnTo>
                  <a:lnTo>
                    <a:pt x="717" y="74"/>
                  </a:lnTo>
                  <a:lnTo>
                    <a:pt x="727" y="79"/>
                  </a:lnTo>
                  <a:lnTo>
                    <a:pt x="753" y="73"/>
                  </a:lnTo>
                  <a:lnTo>
                    <a:pt x="768" y="71"/>
                  </a:lnTo>
                  <a:lnTo>
                    <a:pt x="738" y="80"/>
                  </a:lnTo>
                  <a:lnTo>
                    <a:pt x="723" y="83"/>
                  </a:lnTo>
                  <a:lnTo>
                    <a:pt x="713" y="108"/>
                  </a:lnTo>
                  <a:lnTo>
                    <a:pt x="707" y="103"/>
                  </a:lnTo>
                  <a:lnTo>
                    <a:pt x="702" y="118"/>
                  </a:lnTo>
                  <a:lnTo>
                    <a:pt x="695" y="101"/>
                  </a:lnTo>
                  <a:lnTo>
                    <a:pt x="707" y="101"/>
                  </a:lnTo>
                  <a:lnTo>
                    <a:pt x="703" y="90"/>
                  </a:lnTo>
                  <a:lnTo>
                    <a:pt x="695" y="95"/>
                  </a:lnTo>
                  <a:lnTo>
                    <a:pt x="695" y="88"/>
                  </a:lnTo>
                  <a:lnTo>
                    <a:pt x="683" y="83"/>
                  </a:lnTo>
                  <a:lnTo>
                    <a:pt x="621" y="89"/>
                  </a:lnTo>
                  <a:lnTo>
                    <a:pt x="599" y="84"/>
                  </a:lnTo>
                  <a:lnTo>
                    <a:pt x="623" y="77"/>
                  </a:lnTo>
                  <a:lnTo>
                    <a:pt x="633" y="74"/>
                  </a:lnTo>
                  <a:lnTo>
                    <a:pt x="615" y="61"/>
                  </a:lnTo>
                  <a:lnTo>
                    <a:pt x="604" y="64"/>
                  </a:lnTo>
                  <a:lnTo>
                    <a:pt x="563" y="54"/>
                  </a:lnTo>
                  <a:lnTo>
                    <a:pt x="521" y="43"/>
                  </a:lnTo>
                  <a:lnTo>
                    <a:pt x="499" y="53"/>
                  </a:lnTo>
                  <a:lnTo>
                    <a:pt x="490" y="52"/>
                  </a:lnTo>
                  <a:lnTo>
                    <a:pt x="497" y="46"/>
                  </a:lnTo>
                  <a:lnTo>
                    <a:pt x="502" y="37"/>
                  </a:lnTo>
                  <a:lnTo>
                    <a:pt x="496" y="41"/>
                  </a:lnTo>
                  <a:lnTo>
                    <a:pt x="489" y="46"/>
                  </a:lnTo>
                  <a:lnTo>
                    <a:pt x="478" y="49"/>
                  </a:lnTo>
                  <a:lnTo>
                    <a:pt x="471" y="54"/>
                  </a:lnTo>
                  <a:lnTo>
                    <a:pt x="463" y="40"/>
                  </a:lnTo>
                  <a:lnTo>
                    <a:pt x="456" y="29"/>
                  </a:lnTo>
                  <a:lnTo>
                    <a:pt x="459" y="35"/>
                  </a:lnTo>
                  <a:lnTo>
                    <a:pt x="424" y="46"/>
                  </a:lnTo>
                  <a:lnTo>
                    <a:pt x="425" y="42"/>
                  </a:lnTo>
                  <a:lnTo>
                    <a:pt x="389" y="49"/>
                  </a:lnTo>
                  <a:lnTo>
                    <a:pt x="425" y="36"/>
                  </a:lnTo>
                  <a:lnTo>
                    <a:pt x="400" y="40"/>
                  </a:lnTo>
                  <a:lnTo>
                    <a:pt x="359" y="50"/>
                  </a:lnTo>
                  <a:lnTo>
                    <a:pt x="317" y="60"/>
                  </a:lnTo>
                  <a:lnTo>
                    <a:pt x="312" y="67"/>
                  </a:lnTo>
                  <a:lnTo>
                    <a:pt x="299" y="65"/>
                  </a:lnTo>
                  <a:lnTo>
                    <a:pt x="296" y="68"/>
                  </a:lnTo>
                  <a:lnTo>
                    <a:pt x="264" y="58"/>
                  </a:lnTo>
                  <a:lnTo>
                    <a:pt x="232" y="47"/>
                  </a:lnTo>
                  <a:lnTo>
                    <a:pt x="202" y="72"/>
                  </a:lnTo>
                  <a:lnTo>
                    <a:pt x="172" y="97"/>
                  </a:lnTo>
                  <a:lnTo>
                    <a:pt x="143" y="121"/>
                  </a:lnTo>
                  <a:lnTo>
                    <a:pt x="113" y="146"/>
                  </a:lnTo>
                  <a:lnTo>
                    <a:pt x="85" y="173"/>
                  </a:lnTo>
                  <a:lnTo>
                    <a:pt x="56" y="199"/>
                  </a:lnTo>
                  <a:lnTo>
                    <a:pt x="29" y="224"/>
                  </a:lnTo>
                  <a:lnTo>
                    <a:pt x="0" y="251"/>
                  </a:lnTo>
                  <a:lnTo>
                    <a:pt x="35" y="250"/>
                  </a:lnTo>
                  <a:lnTo>
                    <a:pt x="26" y="256"/>
                  </a:lnTo>
                  <a:lnTo>
                    <a:pt x="31" y="260"/>
                  </a:lnTo>
                  <a:lnTo>
                    <a:pt x="31" y="283"/>
                  </a:lnTo>
                  <a:lnTo>
                    <a:pt x="48" y="277"/>
                  </a:lnTo>
                  <a:lnTo>
                    <a:pt x="61" y="270"/>
                  </a:lnTo>
                  <a:lnTo>
                    <a:pt x="85" y="263"/>
                  </a:lnTo>
                  <a:lnTo>
                    <a:pt x="91" y="287"/>
                  </a:lnTo>
                  <a:lnTo>
                    <a:pt x="88" y="308"/>
                  </a:lnTo>
                  <a:lnTo>
                    <a:pt x="83" y="330"/>
                  </a:lnTo>
                  <a:lnTo>
                    <a:pt x="92" y="341"/>
                  </a:lnTo>
                  <a:lnTo>
                    <a:pt x="101" y="352"/>
                  </a:lnTo>
                  <a:lnTo>
                    <a:pt x="80" y="373"/>
                  </a:lnTo>
                  <a:lnTo>
                    <a:pt x="98" y="359"/>
                  </a:lnTo>
                  <a:lnTo>
                    <a:pt x="98" y="362"/>
                  </a:lnTo>
                  <a:lnTo>
                    <a:pt x="83" y="373"/>
                  </a:lnTo>
                  <a:lnTo>
                    <a:pt x="85" y="373"/>
                  </a:lnTo>
                  <a:lnTo>
                    <a:pt x="76" y="382"/>
                  </a:lnTo>
                  <a:lnTo>
                    <a:pt x="68" y="382"/>
                  </a:lnTo>
                  <a:lnTo>
                    <a:pt x="70" y="389"/>
                  </a:lnTo>
                  <a:lnTo>
                    <a:pt x="66" y="384"/>
                  </a:lnTo>
                  <a:lnTo>
                    <a:pt x="64" y="394"/>
                  </a:lnTo>
                  <a:lnTo>
                    <a:pt x="74" y="392"/>
                  </a:lnTo>
                  <a:lnTo>
                    <a:pt x="68" y="392"/>
                  </a:lnTo>
                  <a:lnTo>
                    <a:pt x="67" y="398"/>
                  </a:lnTo>
                  <a:lnTo>
                    <a:pt x="62" y="395"/>
                  </a:lnTo>
                  <a:lnTo>
                    <a:pt x="65" y="412"/>
                  </a:lnTo>
                  <a:lnTo>
                    <a:pt x="90" y="396"/>
                  </a:lnTo>
                  <a:lnTo>
                    <a:pt x="80" y="410"/>
                  </a:lnTo>
                  <a:lnTo>
                    <a:pt x="86" y="413"/>
                  </a:lnTo>
                  <a:lnTo>
                    <a:pt x="74" y="409"/>
                  </a:lnTo>
                  <a:lnTo>
                    <a:pt x="73" y="425"/>
                  </a:lnTo>
                  <a:lnTo>
                    <a:pt x="77" y="424"/>
                  </a:lnTo>
                  <a:lnTo>
                    <a:pt x="62" y="438"/>
                  </a:lnTo>
                  <a:lnTo>
                    <a:pt x="71" y="433"/>
                  </a:lnTo>
                  <a:lnTo>
                    <a:pt x="70" y="439"/>
                  </a:lnTo>
                  <a:lnTo>
                    <a:pt x="98" y="425"/>
                  </a:lnTo>
                  <a:lnTo>
                    <a:pt x="89" y="437"/>
                  </a:lnTo>
                  <a:lnTo>
                    <a:pt x="88" y="445"/>
                  </a:lnTo>
                  <a:lnTo>
                    <a:pt x="84" y="437"/>
                  </a:lnTo>
                  <a:lnTo>
                    <a:pt x="61" y="449"/>
                  </a:lnTo>
                  <a:lnTo>
                    <a:pt x="64" y="455"/>
                  </a:lnTo>
                  <a:lnTo>
                    <a:pt x="70" y="450"/>
                  </a:lnTo>
                  <a:lnTo>
                    <a:pt x="82" y="452"/>
                  </a:lnTo>
                  <a:lnTo>
                    <a:pt x="61" y="457"/>
                  </a:lnTo>
                  <a:lnTo>
                    <a:pt x="55" y="460"/>
                  </a:lnTo>
                  <a:lnTo>
                    <a:pt x="65" y="461"/>
                  </a:lnTo>
                  <a:lnTo>
                    <a:pt x="53" y="466"/>
                  </a:lnTo>
                  <a:lnTo>
                    <a:pt x="67" y="472"/>
                  </a:lnTo>
                  <a:lnTo>
                    <a:pt x="73" y="468"/>
                  </a:lnTo>
                  <a:lnTo>
                    <a:pt x="78" y="470"/>
                  </a:lnTo>
                  <a:lnTo>
                    <a:pt x="70" y="473"/>
                  </a:lnTo>
                  <a:lnTo>
                    <a:pt x="78" y="473"/>
                  </a:lnTo>
                  <a:lnTo>
                    <a:pt x="72" y="476"/>
                  </a:lnTo>
                  <a:lnTo>
                    <a:pt x="89" y="470"/>
                  </a:lnTo>
                  <a:lnTo>
                    <a:pt x="92" y="467"/>
                  </a:lnTo>
                  <a:lnTo>
                    <a:pt x="83" y="475"/>
                  </a:lnTo>
                  <a:lnTo>
                    <a:pt x="74" y="476"/>
                  </a:lnTo>
                  <a:lnTo>
                    <a:pt x="72" y="481"/>
                  </a:lnTo>
                  <a:lnTo>
                    <a:pt x="86" y="476"/>
                  </a:lnTo>
                  <a:lnTo>
                    <a:pt x="85" y="481"/>
                  </a:lnTo>
                  <a:lnTo>
                    <a:pt x="100" y="473"/>
                  </a:lnTo>
                  <a:lnTo>
                    <a:pt x="92" y="485"/>
                  </a:lnTo>
                  <a:lnTo>
                    <a:pt x="104" y="480"/>
                  </a:lnTo>
                  <a:lnTo>
                    <a:pt x="88" y="491"/>
                  </a:lnTo>
                  <a:lnTo>
                    <a:pt x="97" y="497"/>
                  </a:lnTo>
                  <a:lnTo>
                    <a:pt x="107" y="487"/>
                  </a:lnTo>
                  <a:lnTo>
                    <a:pt x="101" y="500"/>
                  </a:lnTo>
                  <a:lnTo>
                    <a:pt x="104" y="500"/>
                  </a:lnTo>
                  <a:lnTo>
                    <a:pt x="96" y="500"/>
                  </a:lnTo>
                  <a:lnTo>
                    <a:pt x="104" y="504"/>
                  </a:lnTo>
                  <a:lnTo>
                    <a:pt x="113" y="500"/>
                  </a:lnTo>
                  <a:lnTo>
                    <a:pt x="106" y="508"/>
                  </a:lnTo>
                  <a:lnTo>
                    <a:pt x="112" y="509"/>
                  </a:lnTo>
                  <a:lnTo>
                    <a:pt x="104" y="512"/>
                  </a:lnTo>
                  <a:lnTo>
                    <a:pt x="110" y="516"/>
                  </a:lnTo>
                  <a:lnTo>
                    <a:pt x="144" y="516"/>
                  </a:lnTo>
                  <a:lnTo>
                    <a:pt x="176" y="516"/>
                  </a:lnTo>
                  <a:lnTo>
                    <a:pt x="210" y="516"/>
                  </a:lnTo>
                  <a:lnTo>
                    <a:pt x="242" y="516"/>
                  </a:lnTo>
                  <a:lnTo>
                    <a:pt x="276" y="516"/>
                  </a:lnTo>
                  <a:lnTo>
                    <a:pt x="310" y="516"/>
                  </a:lnTo>
                  <a:lnTo>
                    <a:pt x="342" y="516"/>
                  </a:lnTo>
                  <a:lnTo>
                    <a:pt x="376" y="516"/>
                  </a:lnTo>
                  <a:lnTo>
                    <a:pt x="408" y="516"/>
                  </a:lnTo>
                  <a:lnTo>
                    <a:pt x="442" y="516"/>
                  </a:lnTo>
                  <a:lnTo>
                    <a:pt x="474" y="516"/>
                  </a:lnTo>
                  <a:lnTo>
                    <a:pt x="508" y="516"/>
                  </a:lnTo>
                  <a:lnTo>
                    <a:pt x="540" y="516"/>
                  </a:lnTo>
                  <a:lnTo>
                    <a:pt x="574" y="516"/>
                  </a:lnTo>
                  <a:lnTo>
                    <a:pt x="606" y="516"/>
                  </a:lnTo>
                  <a:lnTo>
                    <a:pt x="640" y="516"/>
                  </a:lnTo>
                  <a:lnTo>
                    <a:pt x="648" y="508"/>
                  </a:lnTo>
                  <a:lnTo>
                    <a:pt x="646" y="521"/>
                  </a:lnTo>
                  <a:lnTo>
                    <a:pt x="667" y="526"/>
                  </a:lnTo>
                  <a:lnTo>
                    <a:pt x="696" y="538"/>
                  </a:lnTo>
                  <a:lnTo>
                    <a:pt x="713" y="534"/>
                  </a:lnTo>
                  <a:lnTo>
                    <a:pt x="729" y="541"/>
                  </a:lnTo>
                  <a:lnTo>
                    <a:pt x="755" y="534"/>
                  </a:lnTo>
                  <a:lnTo>
                    <a:pt x="772" y="545"/>
                  </a:lnTo>
                  <a:lnTo>
                    <a:pt x="789" y="556"/>
                  </a:lnTo>
                  <a:lnTo>
                    <a:pt x="805" y="566"/>
                  </a:lnTo>
                  <a:lnTo>
                    <a:pt x="822" y="576"/>
                  </a:lnTo>
                  <a:lnTo>
                    <a:pt x="823" y="587"/>
                  </a:lnTo>
                  <a:lnTo>
                    <a:pt x="831" y="586"/>
                  </a:lnTo>
                  <a:lnTo>
                    <a:pt x="828" y="593"/>
                  </a:lnTo>
                  <a:lnTo>
                    <a:pt x="844" y="605"/>
                  </a:lnTo>
                  <a:lnTo>
                    <a:pt x="839" y="626"/>
                  </a:lnTo>
                  <a:lnTo>
                    <a:pt x="835" y="648"/>
                  </a:lnTo>
                  <a:lnTo>
                    <a:pt x="825" y="661"/>
                  </a:lnTo>
                  <a:lnTo>
                    <a:pt x="801" y="685"/>
                  </a:lnTo>
                  <a:lnTo>
                    <a:pt x="807" y="695"/>
                  </a:lnTo>
                  <a:lnTo>
                    <a:pt x="828" y="688"/>
                  </a:lnTo>
                  <a:lnTo>
                    <a:pt x="849" y="680"/>
                  </a:lnTo>
                  <a:lnTo>
                    <a:pt x="870" y="673"/>
                  </a:lnTo>
                  <a:lnTo>
                    <a:pt x="891" y="666"/>
                  </a:lnTo>
                  <a:lnTo>
                    <a:pt x="893" y="650"/>
                  </a:lnTo>
                  <a:lnTo>
                    <a:pt x="917" y="648"/>
                  </a:lnTo>
                  <a:lnTo>
                    <a:pt x="941" y="647"/>
                  </a:lnTo>
                  <a:lnTo>
                    <a:pt x="961" y="631"/>
                  </a:lnTo>
                  <a:lnTo>
                    <a:pt x="981" y="617"/>
                  </a:lnTo>
                  <a:lnTo>
                    <a:pt x="1019" y="614"/>
                  </a:lnTo>
                  <a:lnTo>
                    <a:pt x="1057" y="612"/>
                  </a:lnTo>
                  <a:lnTo>
                    <a:pt x="1071" y="605"/>
                  </a:lnTo>
                  <a:lnTo>
                    <a:pt x="1090" y="589"/>
                  </a:lnTo>
                  <a:lnTo>
                    <a:pt x="1107" y="571"/>
                  </a:lnTo>
                  <a:lnTo>
                    <a:pt x="1123" y="553"/>
                  </a:lnTo>
                  <a:lnTo>
                    <a:pt x="1125" y="558"/>
                  </a:lnTo>
                  <a:lnTo>
                    <a:pt x="1134" y="558"/>
                  </a:lnTo>
                  <a:lnTo>
                    <a:pt x="1147" y="563"/>
                  </a:lnTo>
                  <a:lnTo>
                    <a:pt x="1138" y="593"/>
                  </a:lnTo>
                  <a:lnTo>
                    <a:pt x="1144" y="608"/>
                  </a:lnTo>
                  <a:lnTo>
                    <a:pt x="1149" y="611"/>
                  </a:lnTo>
                  <a:lnTo>
                    <a:pt x="1167" y="605"/>
                  </a:lnTo>
                  <a:lnTo>
                    <a:pt x="1165" y="606"/>
                  </a:lnTo>
                  <a:lnTo>
                    <a:pt x="1194" y="598"/>
                  </a:lnTo>
                  <a:lnTo>
                    <a:pt x="1199" y="587"/>
                  </a:lnTo>
                  <a:lnTo>
                    <a:pt x="1201" y="592"/>
                  </a:lnTo>
                  <a:lnTo>
                    <a:pt x="1205" y="592"/>
                  </a:lnTo>
                  <a:lnTo>
                    <a:pt x="1191" y="602"/>
                  </a:lnTo>
                  <a:lnTo>
                    <a:pt x="1221" y="604"/>
                  </a:lnTo>
                  <a:lnTo>
                    <a:pt x="1201" y="610"/>
                  </a:lnTo>
                  <a:lnTo>
                    <a:pt x="1200" y="606"/>
                  </a:lnTo>
                  <a:lnTo>
                    <a:pt x="1170" y="620"/>
                  </a:lnTo>
                  <a:lnTo>
                    <a:pt x="1175" y="618"/>
                  </a:lnTo>
                  <a:lnTo>
                    <a:pt x="1157" y="628"/>
                  </a:lnTo>
                  <a:lnTo>
                    <a:pt x="1163" y="623"/>
                  </a:lnTo>
                  <a:lnTo>
                    <a:pt x="1155" y="635"/>
                  </a:lnTo>
                  <a:lnTo>
                    <a:pt x="1159" y="648"/>
                  </a:lnTo>
                  <a:lnTo>
                    <a:pt x="1173" y="644"/>
                  </a:lnTo>
                  <a:lnTo>
                    <a:pt x="1201" y="622"/>
                  </a:lnTo>
                  <a:lnTo>
                    <a:pt x="1204" y="625"/>
                  </a:lnTo>
                  <a:lnTo>
                    <a:pt x="1211" y="622"/>
                  </a:lnTo>
                  <a:lnTo>
                    <a:pt x="1214" y="623"/>
                  </a:lnTo>
                  <a:lnTo>
                    <a:pt x="1239" y="614"/>
                  </a:lnTo>
                  <a:lnTo>
                    <a:pt x="1264" y="606"/>
                  </a:lnTo>
                  <a:lnTo>
                    <a:pt x="1257" y="604"/>
                  </a:lnTo>
                  <a:lnTo>
                    <a:pt x="1263" y="602"/>
                  </a:lnTo>
                  <a:lnTo>
                    <a:pt x="1253" y="592"/>
                  </a:lnTo>
                  <a:lnTo>
                    <a:pt x="1245" y="596"/>
                  </a:lnTo>
                  <a:lnTo>
                    <a:pt x="1229" y="594"/>
                  </a:lnTo>
                  <a:lnTo>
                    <a:pt x="1215" y="588"/>
                  </a:lnTo>
                  <a:lnTo>
                    <a:pt x="1205" y="583"/>
                  </a:lnTo>
                  <a:lnTo>
                    <a:pt x="1205" y="565"/>
                  </a:lnTo>
                  <a:lnTo>
                    <a:pt x="1198" y="563"/>
                  </a:lnTo>
                  <a:lnTo>
                    <a:pt x="1212" y="547"/>
                  </a:lnTo>
                  <a:lnTo>
                    <a:pt x="1195" y="548"/>
                  </a:lnTo>
                  <a:lnTo>
                    <a:pt x="1194" y="544"/>
                  </a:lnTo>
                  <a:lnTo>
                    <a:pt x="1175" y="541"/>
                  </a:lnTo>
                  <a:lnTo>
                    <a:pt x="1180" y="539"/>
                  </a:lnTo>
                  <a:lnTo>
                    <a:pt x="1200" y="539"/>
                  </a:lnTo>
                  <a:lnTo>
                    <a:pt x="1226" y="530"/>
                  </a:lnTo>
                  <a:lnTo>
                    <a:pt x="1228" y="522"/>
                  </a:lnTo>
                  <a:lnTo>
                    <a:pt x="1232" y="522"/>
                  </a:lnTo>
                  <a:lnTo>
                    <a:pt x="1230" y="517"/>
                  </a:lnTo>
                  <a:lnTo>
                    <a:pt x="1209" y="510"/>
                  </a:lnTo>
                  <a:lnTo>
                    <a:pt x="1180" y="517"/>
                  </a:lnTo>
                  <a:lnTo>
                    <a:pt x="1152" y="524"/>
                  </a:lnTo>
                  <a:lnTo>
                    <a:pt x="1132" y="539"/>
                  </a:lnTo>
                  <a:lnTo>
                    <a:pt x="1111" y="552"/>
                  </a:lnTo>
                  <a:lnTo>
                    <a:pt x="1080" y="568"/>
                  </a:lnTo>
                  <a:lnTo>
                    <a:pt x="1099" y="553"/>
                  </a:lnTo>
                  <a:lnTo>
                    <a:pt x="1119" y="538"/>
                  </a:lnTo>
                  <a:lnTo>
                    <a:pt x="1098" y="529"/>
                  </a:lnTo>
                  <a:lnTo>
                    <a:pt x="1117" y="536"/>
                  </a:lnTo>
                  <a:lnTo>
                    <a:pt x="1146" y="517"/>
                  </a:lnTo>
                  <a:lnTo>
                    <a:pt x="1175" y="508"/>
                  </a:lnTo>
                  <a:lnTo>
                    <a:pt x="1197" y="488"/>
                  </a:lnTo>
                  <a:lnTo>
                    <a:pt x="1239" y="487"/>
                  </a:lnTo>
                  <a:lnTo>
                    <a:pt x="1281" y="486"/>
                  </a:lnTo>
                  <a:lnTo>
                    <a:pt x="1318" y="486"/>
                  </a:lnTo>
                  <a:lnTo>
                    <a:pt x="1353" y="467"/>
                  </a:lnTo>
                  <a:lnTo>
                    <a:pt x="1385" y="458"/>
                  </a:lnTo>
                  <a:lnTo>
                    <a:pt x="1422" y="439"/>
                  </a:lnTo>
                  <a:lnTo>
                    <a:pt x="1413" y="434"/>
                  </a:lnTo>
                  <a:lnTo>
                    <a:pt x="1422" y="432"/>
                  </a:lnTo>
                  <a:lnTo>
                    <a:pt x="1409" y="430"/>
                  </a:lnTo>
                  <a:lnTo>
                    <a:pt x="1419" y="428"/>
                  </a:lnTo>
                  <a:lnTo>
                    <a:pt x="1420" y="425"/>
                  </a:lnTo>
                  <a:lnTo>
                    <a:pt x="1424" y="418"/>
                  </a:lnTo>
                  <a:lnTo>
                    <a:pt x="1425" y="410"/>
                  </a:lnTo>
                  <a:lnTo>
                    <a:pt x="1413" y="404"/>
                  </a:lnTo>
                  <a:lnTo>
                    <a:pt x="1415" y="403"/>
                  </a:lnTo>
                  <a:lnTo>
                    <a:pt x="1402" y="407"/>
                  </a:lnTo>
                  <a:lnTo>
                    <a:pt x="1404" y="392"/>
                  </a:lnTo>
                  <a:lnTo>
                    <a:pt x="1388" y="395"/>
                  </a:lnTo>
                  <a:lnTo>
                    <a:pt x="1397" y="395"/>
                  </a:lnTo>
                  <a:lnTo>
                    <a:pt x="1366" y="404"/>
                  </a:lnTo>
                  <a:lnTo>
                    <a:pt x="1342" y="413"/>
                  </a:lnTo>
                  <a:lnTo>
                    <a:pt x="1350" y="409"/>
                  </a:lnTo>
                  <a:lnTo>
                    <a:pt x="1341" y="403"/>
                  </a:lnTo>
                  <a:lnTo>
                    <a:pt x="1353" y="404"/>
                  </a:lnTo>
                  <a:lnTo>
                    <a:pt x="1388" y="391"/>
                  </a:lnTo>
                  <a:lnTo>
                    <a:pt x="1364" y="396"/>
                  </a:lnTo>
                  <a:lnTo>
                    <a:pt x="1408" y="383"/>
                  </a:lnTo>
                  <a:lnTo>
                    <a:pt x="1382" y="373"/>
                  </a:lnTo>
                  <a:lnTo>
                    <a:pt x="1376" y="374"/>
                  </a:lnTo>
                  <a:lnTo>
                    <a:pt x="1380" y="368"/>
                  </a:lnTo>
                  <a:lnTo>
                    <a:pt x="1365" y="377"/>
                  </a:lnTo>
                  <a:lnTo>
                    <a:pt x="1372" y="370"/>
                  </a:lnTo>
                  <a:lnTo>
                    <a:pt x="1371" y="368"/>
                  </a:lnTo>
                  <a:lnTo>
                    <a:pt x="1361" y="371"/>
                  </a:lnTo>
                  <a:lnTo>
                    <a:pt x="1364" y="366"/>
                  </a:lnTo>
                  <a:lnTo>
                    <a:pt x="1353" y="372"/>
                  </a:lnTo>
                  <a:lnTo>
                    <a:pt x="1358" y="367"/>
                  </a:lnTo>
                  <a:lnTo>
                    <a:pt x="1361" y="364"/>
                  </a:lnTo>
                  <a:lnTo>
                    <a:pt x="1362" y="355"/>
                  </a:lnTo>
                  <a:lnTo>
                    <a:pt x="1358" y="360"/>
                  </a:lnTo>
                  <a:lnTo>
                    <a:pt x="1358" y="356"/>
                  </a:lnTo>
                  <a:lnTo>
                    <a:pt x="1349" y="347"/>
                  </a:lnTo>
                  <a:lnTo>
                    <a:pt x="1338" y="343"/>
                  </a:lnTo>
                  <a:lnTo>
                    <a:pt x="1348" y="343"/>
                  </a:lnTo>
                  <a:lnTo>
                    <a:pt x="1341" y="338"/>
                  </a:lnTo>
                  <a:lnTo>
                    <a:pt x="1347" y="337"/>
                  </a:lnTo>
                  <a:lnTo>
                    <a:pt x="1340" y="336"/>
                  </a:lnTo>
                  <a:lnTo>
                    <a:pt x="1344" y="336"/>
                  </a:lnTo>
                  <a:lnTo>
                    <a:pt x="1337" y="330"/>
                  </a:lnTo>
                  <a:lnTo>
                    <a:pt x="1341" y="331"/>
                  </a:lnTo>
                  <a:lnTo>
                    <a:pt x="1347" y="334"/>
                  </a:lnTo>
                  <a:lnTo>
                    <a:pt x="1360" y="325"/>
                  </a:lnTo>
                  <a:lnTo>
                    <a:pt x="1353" y="318"/>
                  </a:lnTo>
                  <a:lnTo>
                    <a:pt x="1348" y="314"/>
                  </a:lnTo>
                  <a:lnTo>
                    <a:pt x="1355" y="310"/>
                  </a:lnTo>
                  <a:lnTo>
                    <a:pt x="1348" y="304"/>
                  </a:lnTo>
                  <a:lnTo>
                    <a:pt x="1346" y="300"/>
                  </a:lnTo>
                  <a:lnTo>
                    <a:pt x="1336" y="302"/>
                  </a:lnTo>
                  <a:lnTo>
                    <a:pt x="1349" y="296"/>
                  </a:lnTo>
                  <a:lnTo>
                    <a:pt x="1348" y="293"/>
                  </a:lnTo>
                  <a:lnTo>
                    <a:pt x="1332" y="296"/>
                  </a:lnTo>
                  <a:lnTo>
                    <a:pt x="1349" y="286"/>
                  </a:lnTo>
                  <a:lnTo>
                    <a:pt x="1343" y="281"/>
                  </a:lnTo>
                  <a:lnTo>
                    <a:pt x="1336" y="280"/>
                  </a:lnTo>
                  <a:lnTo>
                    <a:pt x="1343" y="274"/>
                  </a:lnTo>
                  <a:lnTo>
                    <a:pt x="1340" y="271"/>
                  </a:lnTo>
                  <a:lnTo>
                    <a:pt x="1335" y="259"/>
                  </a:lnTo>
                  <a:lnTo>
                    <a:pt x="1335" y="256"/>
                  </a:lnTo>
                  <a:lnTo>
                    <a:pt x="1328" y="258"/>
                  </a:lnTo>
                  <a:lnTo>
                    <a:pt x="1334" y="252"/>
                  </a:lnTo>
                  <a:lnTo>
                    <a:pt x="1323" y="257"/>
                  </a:lnTo>
                  <a:lnTo>
                    <a:pt x="1323" y="263"/>
                  </a:lnTo>
                  <a:lnTo>
                    <a:pt x="1312" y="264"/>
                  </a:lnTo>
                  <a:lnTo>
                    <a:pt x="1316" y="270"/>
                  </a:lnTo>
                  <a:lnTo>
                    <a:pt x="1311" y="274"/>
                  </a:lnTo>
                  <a:lnTo>
                    <a:pt x="1304" y="280"/>
                  </a:lnTo>
                  <a:lnTo>
                    <a:pt x="1294" y="288"/>
                  </a:lnTo>
                  <a:lnTo>
                    <a:pt x="1290" y="294"/>
                  </a:lnTo>
                  <a:lnTo>
                    <a:pt x="1287" y="286"/>
                  </a:lnTo>
                  <a:lnTo>
                    <a:pt x="1269" y="295"/>
                  </a:lnTo>
                  <a:lnTo>
                    <a:pt x="1254" y="306"/>
                  </a:lnTo>
                  <a:lnTo>
                    <a:pt x="1257" y="296"/>
                  </a:lnTo>
                  <a:lnTo>
                    <a:pt x="1250" y="301"/>
                  </a:lnTo>
                  <a:lnTo>
                    <a:pt x="1253" y="292"/>
                  </a:lnTo>
                  <a:lnTo>
                    <a:pt x="1244" y="304"/>
                  </a:lnTo>
                  <a:lnTo>
                    <a:pt x="1223" y="310"/>
                  </a:lnTo>
                  <a:lnTo>
                    <a:pt x="1250" y="296"/>
                  </a:lnTo>
                  <a:lnTo>
                    <a:pt x="1247" y="283"/>
                  </a:lnTo>
                  <a:lnTo>
                    <a:pt x="1224" y="288"/>
                  </a:lnTo>
                  <a:lnTo>
                    <a:pt x="1218" y="286"/>
                  </a:lnTo>
                  <a:lnTo>
                    <a:pt x="1227" y="282"/>
                  </a:lnTo>
                  <a:lnTo>
                    <a:pt x="1234" y="284"/>
                  </a:lnTo>
                  <a:lnTo>
                    <a:pt x="1240" y="272"/>
                  </a:lnTo>
                  <a:lnTo>
                    <a:pt x="1235" y="269"/>
                  </a:lnTo>
                  <a:lnTo>
                    <a:pt x="1241" y="258"/>
                  </a:lnTo>
                  <a:lnTo>
                    <a:pt x="1221" y="256"/>
                  </a:lnTo>
                  <a:lnTo>
                    <a:pt x="1246" y="253"/>
                  </a:lnTo>
                  <a:lnTo>
                    <a:pt x="1250" y="242"/>
                  </a:lnTo>
                  <a:lnTo>
                    <a:pt x="1253" y="236"/>
                  </a:lnTo>
                  <a:lnTo>
                    <a:pt x="1246" y="238"/>
                  </a:lnTo>
                  <a:lnTo>
                    <a:pt x="1222" y="227"/>
                  </a:lnTo>
                  <a:lnTo>
                    <a:pt x="1228" y="221"/>
                  </a:lnTo>
                  <a:lnTo>
                    <a:pt x="1221" y="222"/>
                  </a:lnTo>
                  <a:lnTo>
                    <a:pt x="1216" y="214"/>
                  </a:lnTo>
                  <a:lnTo>
                    <a:pt x="1217" y="210"/>
                  </a:lnTo>
                  <a:lnTo>
                    <a:pt x="1200" y="203"/>
                  </a:lnTo>
                  <a:lnTo>
                    <a:pt x="1181" y="210"/>
                  </a:lnTo>
                  <a:lnTo>
                    <a:pt x="1162" y="210"/>
                  </a:lnTo>
                  <a:lnTo>
                    <a:pt x="1168" y="206"/>
                  </a:lnTo>
                  <a:lnTo>
                    <a:pt x="1133" y="203"/>
                  </a:lnTo>
                  <a:lnTo>
                    <a:pt x="1120" y="220"/>
                  </a:lnTo>
                  <a:lnTo>
                    <a:pt x="1121" y="226"/>
                  </a:lnTo>
                  <a:lnTo>
                    <a:pt x="1109" y="241"/>
                  </a:lnTo>
                  <a:lnTo>
                    <a:pt x="1114" y="241"/>
                  </a:lnTo>
                  <a:lnTo>
                    <a:pt x="1109" y="257"/>
                  </a:lnTo>
                  <a:lnTo>
                    <a:pt x="1102" y="266"/>
                  </a:lnTo>
                  <a:lnTo>
                    <a:pt x="1097" y="266"/>
                  </a:lnTo>
                  <a:lnTo>
                    <a:pt x="1069" y="289"/>
                  </a:lnTo>
                  <a:lnTo>
                    <a:pt x="1089" y="312"/>
                  </a:lnTo>
                  <a:lnTo>
                    <a:pt x="1078" y="331"/>
                  </a:lnTo>
                  <a:lnTo>
                    <a:pt x="1067" y="352"/>
                  </a:lnTo>
                  <a:lnTo>
                    <a:pt x="1041" y="364"/>
                  </a:lnTo>
                  <a:lnTo>
                    <a:pt x="1014" y="377"/>
                  </a:lnTo>
                  <a:lnTo>
                    <a:pt x="1001" y="383"/>
                  </a:lnTo>
                  <a:lnTo>
                    <a:pt x="1003" y="398"/>
                  </a:lnTo>
                  <a:lnTo>
                    <a:pt x="996" y="432"/>
                  </a:lnTo>
                  <a:lnTo>
                    <a:pt x="987" y="445"/>
                  </a:lnTo>
                  <a:lnTo>
                    <a:pt x="979" y="456"/>
                  </a:lnTo>
                  <a:lnTo>
                    <a:pt x="975" y="461"/>
                  </a:lnTo>
                  <a:lnTo>
                    <a:pt x="972" y="452"/>
                  </a:lnTo>
                  <a:lnTo>
                    <a:pt x="958" y="467"/>
                  </a:lnTo>
                  <a:lnTo>
                    <a:pt x="961" y="474"/>
                  </a:lnTo>
                  <a:lnTo>
                    <a:pt x="948" y="460"/>
                  </a:lnTo>
                  <a:lnTo>
                    <a:pt x="933" y="467"/>
                  </a:lnTo>
                  <a:lnTo>
                    <a:pt x="948" y="456"/>
                  </a:lnTo>
                  <a:lnTo>
                    <a:pt x="934" y="439"/>
                  </a:lnTo>
                  <a:lnTo>
                    <a:pt x="937" y="432"/>
                  </a:lnTo>
                  <a:lnTo>
                    <a:pt x="935" y="415"/>
                  </a:lnTo>
                  <a:lnTo>
                    <a:pt x="943" y="392"/>
                  </a:lnTo>
                  <a:lnTo>
                    <a:pt x="953" y="370"/>
                  </a:lnTo>
                  <a:lnTo>
                    <a:pt x="929" y="368"/>
                  </a:lnTo>
                  <a:lnTo>
                    <a:pt x="906" y="367"/>
                  </a:lnTo>
                  <a:lnTo>
                    <a:pt x="900" y="371"/>
                  </a:lnTo>
                  <a:lnTo>
                    <a:pt x="909" y="365"/>
                  </a:lnTo>
                  <a:lnTo>
                    <a:pt x="891" y="356"/>
                  </a:lnTo>
                  <a:lnTo>
                    <a:pt x="874" y="348"/>
                  </a:lnTo>
                  <a:lnTo>
                    <a:pt x="853" y="329"/>
                  </a:lnTo>
                  <a:lnTo>
                    <a:pt x="829" y="320"/>
                  </a:lnTo>
                  <a:lnTo>
                    <a:pt x="798" y="329"/>
                  </a:lnTo>
                  <a:lnTo>
                    <a:pt x="799" y="326"/>
                  </a:lnTo>
                  <a:lnTo>
                    <a:pt x="793" y="328"/>
                  </a:lnTo>
                  <a:lnTo>
                    <a:pt x="809" y="300"/>
                  </a:lnTo>
                  <a:lnTo>
                    <a:pt x="808" y="288"/>
                  </a:lnTo>
                  <a:lnTo>
                    <a:pt x="791" y="290"/>
                  </a:lnTo>
                  <a:lnTo>
                    <a:pt x="783" y="299"/>
                  </a:lnTo>
                  <a:lnTo>
                    <a:pt x="790" y="287"/>
                  </a:lnTo>
                  <a:lnTo>
                    <a:pt x="789" y="278"/>
                  </a:lnTo>
                  <a:lnTo>
                    <a:pt x="815" y="246"/>
                  </a:lnTo>
                  <a:lnTo>
                    <a:pt x="852" y="220"/>
                  </a:lnTo>
                  <a:lnTo>
                    <a:pt x="855" y="214"/>
                  </a:lnTo>
                  <a:lnTo>
                    <a:pt x="873" y="208"/>
                  </a:lnTo>
                  <a:lnTo>
                    <a:pt x="868" y="205"/>
                  </a:lnTo>
                  <a:lnTo>
                    <a:pt x="876" y="208"/>
                  </a:lnTo>
                  <a:lnTo>
                    <a:pt x="883" y="200"/>
                  </a:lnTo>
                  <a:lnTo>
                    <a:pt x="894" y="198"/>
                  </a:lnTo>
                  <a:lnTo>
                    <a:pt x="894" y="194"/>
                  </a:lnTo>
                  <a:lnTo>
                    <a:pt x="923" y="190"/>
                  </a:lnTo>
                  <a:lnTo>
                    <a:pt x="925" y="182"/>
                  </a:lnTo>
                  <a:lnTo>
                    <a:pt x="905" y="176"/>
                  </a:lnTo>
                  <a:lnTo>
                    <a:pt x="907" y="175"/>
                  </a:lnTo>
                  <a:lnTo>
                    <a:pt x="888" y="172"/>
                  </a:lnTo>
                  <a:lnTo>
                    <a:pt x="888" y="167"/>
                  </a:lnTo>
                  <a:lnTo>
                    <a:pt x="915" y="172"/>
                  </a:lnTo>
                  <a:lnTo>
                    <a:pt x="940" y="176"/>
                  </a:lnTo>
                  <a:lnTo>
                    <a:pt x="947" y="169"/>
                  </a:lnTo>
                  <a:lnTo>
                    <a:pt x="953" y="166"/>
                  </a:lnTo>
                  <a:lnTo>
                    <a:pt x="963" y="169"/>
                  </a:lnTo>
                  <a:lnTo>
                    <a:pt x="963" y="164"/>
                  </a:lnTo>
                  <a:lnTo>
                    <a:pt x="973" y="167"/>
                  </a:lnTo>
                  <a:lnTo>
                    <a:pt x="1012" y="146"/>
                  </a:lnTo>
                  <a:lnTo>
                    <a:pt x="1017" y="142"/>
                  </a:lnTo>
                  <a:lnTo>
                    <a:pt x="982" y="136"/>
                  </a:lnTo>
                  <a:lnTo>
                    <a:pt x="960" y="126"/>
                  </a:lnTo>
                  <a:lnTo>
                    <a:pt x="1000" y="133"/>
                  </a:lnTo>
                  <a:lnTo>
                    <a:pt x="1012" y="139"/>
                  </a:lnTo>
                  <a:lnTo>
                    <a:pt x="1049" y="121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86" name="Freeform 242"/>
            <p:cNvSpPr>
              <a:spLocks/>
            </p:cNvSpPr>
            <p:nvPr/>
          </p:nvSpPr>
          <p:spPr bwMode="auto">
            <a:xfrm>
              <a:off x="1967" y="1197"/>
              <a:ext cx="91" cy="83"/>
            </a:xfrm>
            <a:custGeom>
              <a:avLst/>
              <a:gdLst>
                <a:gd name="T0" fmla="*/ 1 w 128"/>
                <a:gd name="T1" fmla="*/ 1 h 118"/>
                <a:gd name="T2" fmla="*/ 1 w 128"/>
                <a:gd name="T3" fmla="*/ 1 h 118"/>
                <a:gd name="T4" fmla="*/ 1 w 128"/>
                <a:gd name="T5" fmla="*/ 1 h 118"/>
                <a:gd name="T6" fmla="*/ 0 w 128"/>
                <a:gd name="T7" fmla="*/ 1 h 118"/>
                <a:gd name="T8" fmla="*/ 1 w 128"/>
                <a:gd name="T9" fmla="*/ 1 h 118"/>
                <a:gd name="T10" fmla="*/ 1 w 128"/>
                <a:gd name="T11" fmla="*/ 1 h 118"/>
                <a:gd name="T12" fmla="*/ 1 w 128"/>
                <a:gd name="T13" fmla="*/ 1 h 118"/>
                <a:gd name="T14" fmla="*/ 1 w 128"/>
                <a:gd name="T15" fmla="*/ 1 h 118"/>
                <a:gd name="T16" fmla="*/ 1 w 128"/>
                <a:gd name="T17" fmla="*/ 1 h 118"/>
                <a:gd name="T18" fmla="*/ 1 w 128"/>
                <a:gd name="T19" fmla="*/ 1 h 118"/>
                <a:gd name="T20" fmla="*/ 1 w 128"/>
                <a:gd name="T21" fmla="*/ 1 h 118"/>
                <a:gd name="T22" fmla="*/ 1 w 128"/>
                <a:gd name="T23" fmla="*/ 1 h 118"/>
                <a:gd name="T24" fmla="*/ 1 w 128"/>
                <a:gd name="T25" fmla="*/ 1 h 118"/>
                <a:gd name="T26" fmla="*/ 1 w 128"/>
                <a:gd name="T27" fmla="*/ 1 h 118"/>
                <a:gd name="T28" fmla="*/ 1 w 128"/>
                <a:gd name="T29" fmla="*/ 1 h 118"/>
                <a:gd name="T30" fmla="*/ 1 w 128"/>
                <a:gd name="T31" fmla="*/ 0 h 118"/>
                <a:gd name="T32" fmla="*/ 1 w 128"/>
                <a:gd name="T33" fmla="*/ 0 h 118"/>
                <a:gd name="T34" fmla="*/ 1 w 128"/>
                <a:gd name="T35" fmla="*/ 1 h 118"/>
                <a:gd name="T36" fmla="*/ 1 w 128"/>
                <a:gd name="T37" fmla="*/ 1 h 118"/>
                <a:gd name="T38" fmla="*/ 1 w 128"/>
                <a:gd name="T39" fmla="*/ 1 h 118"/>
                <a:gd name="T40" fmla="*/ 1 w 128"/>
                <a:gd name="T41" fmla="*/ 1 h 118"/>
                <a:gd name="T42" fmla="*/ 1 w 128"/>
                <a:gd name="T43" fmla="*/ 1 h 118"/>
                <a:gd name="T44" fmla="*/ 1 w 128"/>
                <a:gd name="T45" fmla="*/ 1 h 118"/>
                <a:gd name="T46" fmla="*/ 1 w 128"/>
                <a:gd name="T47" fmla="*/ 1 h 118"/>
                <a:gd name="T48" fmla="*/ 1 w 128"/>
                <a:gd name="T49" fmla="*/ 1 h 118"/>
                <a:gd name="T50" fmla="*/ 1 w 128"/>
                <a:gd name="T51" fmla="*/ 1 h 118"/>
                <a:gd name="T52" fmla="*/ 1 w 128"/>
                <a:gd name="T53" fmla="*/ 1 h 118"/>
                <a:gd name="T54" fmla="*/ 1 w 128"/>
                <a:gd name="T55" fmla="*/ 1 h 118"/>
                <a:gd name="T56" fmla="*/ 1 w 128"/>
                <a:gd name="T57" fmla="*/ 1 h 118"/>
                <a:gd name="T58" fmla="*/ 1 w 128"/>
                <a:gd name="T59" fmla="*/ 1 h 118"/>
                <a:gd name="T60" fmla="*/ 1 w 128"/>
                <a:gd name="T61" fmla="*/ 1 h 118"/>
                <a:gd name="T62" fmla="*/ 1 w 128"/>
                <a:gd name="T63" fmla="*/ 1 h 118"/>
                <a:gd name="T64" fmla="*/ 1 w 128"/>
                <a:gd name="T65" fmla="*/ 1 h 118"/>
                <a:gd name="T66" fmla="*/ 1 w 128"/>
                <a:gd name="T67" fmla="*/ 1 h 118"/>
                <a:gd name="T68" fmla="*/ 1 w 128"/>
                <a:gd name="T69" fmla="*/ 1 h 118"/>
                <a:gd name="T70" fmla="*/ 1 w 128"/>
                <a:gd name="T71" fmla="*/ 1 h 118"/>
                <a:gd name="T72" fmla="*/ 1 w 128"/>
                <a:gd name="T73" fmla="*/ 1 h 118"/>
                <a:gd name="T74" fmla="*/ 1 w 128"/>
                <a:gd name="T75" fmla="*/ 1 h 118"/>
                <a:gd name="T76" fmla="*/ 1 w 128"/>
                <a:gd name="T77" fmla="*/ 1 h 118"/>
                <a:gd name="T78" fmla="*/ 1 w 128"/>
                <a:gd name="T79" fmla="*/ 1 h 118"/>
                <a:gd name="T80" fmla="*/ 1 w 128"/>
                <a:gd name="T81" fmla="*/ 1 h 118"/>
                <a:gd name="T82" fmla="*/ 1 w 128"/>
                <a:gd name="T83" fmla="*/ 1 h 118"/>
                <a:gd name="T84" fmla="*/ 1 w 128"/>
                <a:gd name="T85" fmla="*/ 1 h 118"/>
                <a:gd name="T86" fmla="*/ 1 w 128"/>
                <a:gd name="T87" fmla="*/ 1 h 118"/>
                <a:gd name="T88" fmla="*/ 1 w 128"/>
                <a:gd name="T89" fmla="*/ 1 h 118"/>
                <a:gd name="T90" fmla="*/ 1 w 128"/>
                <a:gd name="T91" fmla="*/ 1 h 118"/>
                <a:gd name="T92" fmla="*/ 1 w 128"/>
                <a:gd name="T93" fmla="*/ 1 h 118"/>
                <a:gd name="T94" fmla="*/ 1 w 128"/>
                <a:gd name="T95" fmla="*/ 1 h 118"/>
                <a:gd name="T96" fmla="*/ 1 w 128"/>
                <a:gd name="T97" fmla="*/ 1 h 118"/>
                <a:gd name="T98" fmla="*/ 1 w 128"/>
                <a:gd name="T99" fmla="*/ 1 h 118"/>
                <a:gd name="T100" fmla="*/ 1 w 128"/>
                <a:gd name="T101" fmla="*/ 1 h 118"/>
                <a:gd name="T102" fmla="*/ 1 w 128"/>
                <a:gd name="T103" fmla="*/ 1 h 118"/>
                <a:gd name="T104" fmla="*/ 1 w 128"/>
                <a:gd name="T105" fmla="*/ 1 h 118"/>
                <a:gd name="T106" fmla="*/ 1 w 128"/>
                <a:gd name="T107" fmla="*/ 1 h 118"/>
                <a:gd name="T108" fmla="*/ 1 w 128"/>
                <a:gd name="T109" fmla="*/ 1 h 118"/>
                <a:gd name="T110" fmla="*/ 1 w 128"/>
                <a:gd name="T111" fmla="*/ 1 h 118"/>
                <a:gd name="T112" fmla="*/ 1 w 128"/>
                <a:gd name="T113" fmla="*/ 1 h 118"/>
                <a:gd name="T114" fmla="*/ 1 w 128"/>
                <a:gd name="T115" fmla="*/ 1 h 118"/>
                <a:gd name="T116" fmla="*/ 1 w 128"/>
                <a:gd name="T117" fmla="*/ 1 h 118"/>
                <a:gd name="T118" fmla="*/ 1 w 128"/>
                <a:gd name="T119" fmla="*/ 1 h 1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28"/>
                <a:gd name="T181" fmla="*/ 0 h 118"/>
                <a:gd name="T182" fmla="*/ 128 w 128"/>
                <a:gd name="T183" fmla="*/ 118 h 11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28" h="118">
                  <a:moveTo>
                    <a:pt x="67" y="94"/>
                  </a:moveTo>
                  <a:lnTo>
                    <a:pt x="67" y="89"/>
                  </a:lnTo>
                  <a:lnTo>
                    <a:pt x="31" y="94"/>
                  </a:lnTo>
                  <a:lnTo>
                    <a:pt x="0" y="91"/>
                  </a:lnTo>
                  <a:lnTo>
                    <a:pt x="8" y="82"/>
                  </a:lnTo>
                  <a:lnTo>
                    <a:pt x="23" y="72"/>
                  </a:lnTo>
                  <a:lnTo>
                    <a:pt x="7" y="72"/>
                  </a:lnTo>
                  <a:lnTo>
                    <a:pt x="14" y="68"/>
                  </a:lnTo>
                  <a:lnTo>
                    <a:pt x="32" y="59"/>
                  </a:lnTo>
                  <a:lnTo>
                    <a:pt x="33" y="60"/>
                  </a:lnTo>
                  <a:lnTo>
                    <a:pt x="38" y="54"/>
                  </a:lnTo>
                  <a:lnTo>
                    <a:pt x="33" y="50"/>
                  </a:lnTo>
                  <a:lnTo>
                    <a:pt x="42" y="47"/>
                  </a:lnTo>
                  <a:lnTo>
                    <a:pt x="62" y="20"/>
                  </a:lnTo>
                  <a:lnTo>
                    <a:pt x="84" y="2"/>
                  </a:lnTo>
                  <a:lnTo>
                    <a:pt x="95" y="0"/>
                  </a:lnTo>
                  <a:lnTo>
                    <a:pt x="102" y="0"/>
                  </a:lnTo>
                  <a:lnTo>
                    <a:pt x="89" y="6"/>
                  </a:lnTo>
                  <a:lnTo>
                    <a:pt x="92" y="11"/>
                  </a:lnTo>
                  <a:lnTo>
                    <a:pt x="84" y="18"/>
                  </a:lnTo>
                  <a:lnTo>
                    <a:pt x="61" y="47"/>
                  </a:lnTo>
                  <a:lnTo>
                    <a:pt x="79" y="34"/>
                  </a:lnTo>
                  <a:lnTo>
                    <a:pt x="75" y="38"/>
                  </a:lnTo>
                  <a:lnTo>
                    <a:pt x="90" y="37"/>
                  </a:lnTo>
                  <a:lnTo>
                    <a:pt x="77" y="44"/>
                  </a:lnTo>
                  <a:lnTo>
                    <a:pt x="77" y="48"/>
                  </a:lnTo>
                  <a:lnTo>
                    <a:pt x="90" y="50"/>
                  </a:lnTo>
                  <a:lnTo>
                    <a:pt x="87" y="56"/>
                  </a:lnTo>
                  <a:lnTo>
                    <a:pt x="105" y="49"/>
                  </a:lnTo>
                  <a:lnTo>
                    <a:pt x="104" y="53"/>
                  </a:lnTo>
                  <a:lnTo>
                    <a:pt x="121" y="52"/>
                  </a:lnTo>
                  <a:lnTo>
                    <a:pt x="109" y="64"/>
                  </a:lnTo>
                  <a:lnTo>
                    <a:pt x="113" y="70"/>
                  </a:lnTo>
                  <a:lnTo>
                    <a:pt x="105" y="74"/>
                  </a:lnTo>
                  <a:lnTo>
                    <a:pt x="128" y="70"/>
                  </a:lnTo>
                  <a:lnTo>
                    <a:pt x="107" y="83"/>
                  </a:lnTo>
                  <a:lnTo>
                    <a:pt x="110" y="86"/>
                  </a:lnTo>
                  <a:lnTo>
                    <a:pt x="108" y="86"/>
                  </a:lnTo>
                  <a:lnTo>
                    <a:pt x="108" y="94"/>
                  </a:lnTo>
                  <a:lnTo>
                    <a:pt x="127" y="80"/>
                  </a:lnTo>
                  <a:lnTo>
                    <a:pt x="119" y="94"/>
                  </a:lnTo>
                  <a:lnTo>
                    <a:pt x="127" y="89"/>
                  </a:lnTo>
                  <a:lnTo>
                    <a:pt x="128" y="96"/>
                  </a:lnTo>
                  <a:lnTo>
                    <a:pt x="111" y="118"/>
                  </a:lnTo>
                  <a:lnTo>
                    <a:pt x="104" y="114"/>
                  </a:lnTo>
                  <a:lnTo>
                    <a:pt x="104" y="107"/>
                  </a:lnTo>
                  <a:lnTo>
                    <a:pt x="93" y="112"/>
                  </a:lnTo>
                  <a:lnTo>
                    <a:pt x="103" y="94"/>
                  </a:lnTo>
                  <a:lnTo>
                    <a:pt x="99" y="88"/>
                  </a:lnTo>
                  <a:lnTo>
                    <a:pt x="89" y="100"/>
                  </a:lnTo>
                  <a:lnTo>
                    <a:pt x="93" y="95"/>
                  </a:lnTo>
                  <a:lnTo>
                    <a:pt x="63" y="112"/>
                  </a:lnTo>
                  <a:lnTo>
                    <a:pt x="62" y="107"/>
                  </a:lnTo>
                  <a:lnTo>
                    <a:pt x="87" y="92"/>
                  </a:lnTo>
                  <a:lnTo>
                    <a:pt x="81" y="95"/>
                  </a:lnTo>
                  <a:lnTo>
                    <a:pt x="85" y="90"/>
                  </a:lnTo>
                  <a:lnTo>
                    <a:pt x="75" y="92"/>
                  </a:lnTo>
                  <a:lnTo>
                    <a:pt x="67" y="97"/>
                  </a:lnTo>
                  <a:lnTo>
                    <a:pt x="60" y="96"/>
                  </a:lnTo>
                  <a:lnTo>
                    <a:pt x="67" y="9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87" name="Freeform 243"/>
            <p:cNvSpPr>
              <a:spLocks/>
            </p:cNvSpPr>
            <p:nvPr/>
          </p:nvSpPr>
          <p:spPr bwMode="auto">
            <a:xfrm>
              <a:off x="2476" y="1134"/>
              <a:ext cx="55" cy="62"/>
            </a:xfrm>
            <a:custGeom>
              <a:avLst/>
              <a:gdLst>
                <a:gd name="T0" fmla="*/ 1 w 78"/>
                <a:gd name="T1" fmla="*/ 1 h 89"/>
                <a:gd name="T2" fmla="*/ 1 w 78"/>
                <a:gd name="T3" fmla="*/ 1 h 89"/>
                <a:gd name="T4" fmla="*/ 1 w 78"/>
                <a:gd name="T5" fmla="*/ 1 h 89"/>
                <a:gd name="T6" fmla="*/ 1 w 78"/>
                <a:gd name="T7" fmla="*/ 1 h 89"/>
                <a:gd name="T8" fmla="*/ 1 w 78"/>
                <a:gd name="T9" fmla="*/ 1 h 89"/>
                <a:gd name="T10" fmla="*/ 1 w 78"/>
                <a:gd name="T11" fmla="*/ 1 h 89"/>
                <a:gd name="T12" fmla="*/ 1 w 78"/>
                <a:gd name="T13" fmla="*/ 1 h 89"/>
                <a:gd name="T14" fmla="*/ 1 w 78"/>
                <a:gd name="T15" fmla="*/ 0 h 89"/>
                <a:gd name="T16" fmla="*/ 1 w 78"/>
                <a:gd name="T17" fmla="*/ 1 h 89"/>
                <a:gd name="T18" fmla="*/ 1 w 78"/>
                <a:gd name="T19" fmla="*/ 1 h 89"/>
                <a:gd name="T20" fmla="*/ 1 w 78"/>
                <a:gd name="T21" fmla="*/ 1 h 89"/>
                <a:gd name="T22" fmla="*/ 1 w 78"/>
                <a:gd name="T23" fmla="*/ 1 h 89"/>
                <a:gd name="T24" fmla="*/ 1 w 78"/>
                <a:gd name="T25" fmla="*/ 1 h 89"/>
                <a:gd name="T26" fmla="*/ 1 w 78"/>
                <a:gd name="T27" fmla="*/ 1 h 89"/>
                <a:gd name="T28" fmla="*/ 1 w 78"/>
                <a:gd name="T29" fmla="*/ 1 h 89"/>
                <a:gd name="T30" fmla="*/ 1 w 78"/>
                <a:gd name="T31" fmla="*/ 1 h 89"/>
                <a:gd name="T32" fmla="*/ 1 w 78"/>
                <a:gd name="T33" fmla="*/ 1 h 89"/>
                <a:gd name="T34" fmla="*/ 1 w 78"/>
                <a:gd name="T35" fmla="*/ 1 h 89"/>
                <a:gd name="T36" fmla="*/ 1 w 78"/>
                <a:gd name="T37" fmla="*/ 1 h 89"/>
                <a:gd name="T38" fmla="*/ 1 w 78"/>
                <a:gd name="T39" fmla="*/ 1 h 89"/>
                <a:gd name="T40" fmla="*/ 0 w 78"/>
                <a:gd name="T41" fmla="*/ 1 h 89"/>
                <a:gd name="T42" fmla="*/ 1 w 78"/>
                <a:gd name="T43" fmla="*/ 1 h 89"/>
                <a:gd name="T44" fmla="*/ 0 w 78"/>
                <a:gd name="T45" fmla="*/ 1 h 89"/>
                <a:gd name="T46" fmla="*/ 1 w 78"/>
                <a:gd name="T47" fmla="*/ 1 h 89"/>
                <a:gd name="T48" fmla="*/ 1 w 78"/>
                <a:gd name="T49" fmla="*/ 1 h 89"/>
                <a:gd name="T50" fmla="*/ 1 w 78"/>
                <a:gd name="T51" fmla="*/ 1 h 89"/>
                <a:gd name="T52" fmla="*/ 1 w 78"/>
                <a:gd name="T53" fmla="*/ 1 h 89"/>
                <a:gd name="T54" fmla="*/ 1 w 78"/>
                <a:gd name="T55" fmla="*/ 1 h 89"/>
                <a:gd name="T56" fmla="*/ 1 w 78"/>
                <a:gd name="T57" fmla="*/ 1 h 89"/>
                <a:gd name="T58" fmla="*/ 1 w 78"/>
                <a:gd name="T59" fmla="*/ 1 h 89"/>
                <a:gd name="T60" fmla="*/ 1 w 78"/>
                <a:gd name="T61" fmla="*/ 1 h 8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78"/>
                <a:gd name="T94" fmla="*/ 0 h 89"/>
                <a:gd name="T95" fmla="*/ 78 w 78"/>
                <a:gd name="T96" fmla="*/ 89 h 89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78" h="89">
                  <a:moveTo>
                    <a:pt x="78" y="65"/>
                  </a:moveTo>
                  <a:lnTo>
                    <a:pt x="78" y="47"/>
                  </a:lnTo>
                  <a:lnTo>
                    <a:pt x="78" y="29"/>
                  </a:lnTo>
                  <a:lnTo>
                    <a:pt x="66" y="23"/>
                  </a:lnTo>
                  <a:lnTo>
                    <a:pt x="61" y="25"/>
                  </a:lnTo>
                  <a:lnTo>
                    <a:pt x="47" y="23"/>
                  </a:lnTo>
                  <a:lnTo>
                    <a:pt x="60" y="6"/>
                  </a:lnTo>
                  <a:lnTo>
                    <a:pt x="62" y="0"/>
                  </a:lnTo>
                  <a:lnTo>
                    <a:pt x="55" y="5"/>
                  </a:lnTo>
                  <a:lnTo>
                    <a:pt x="49" y="4"/>
                  </a:lnTo>
                  <a:lnTo>
                    <a:pt x="35" y="13"/>
                  </a:lnTo>
                  <a:lnTo>
                    <a:pt x="39" y="17"/>
                  </a:lnTo>
                  <a:lnTo>
                    <a:pt x="33" y="23"/>
                  </a:lnTo>
                  <a:lnTo>
                    <a:pt x="11" y="26"/>
                  </a:lnTo>
                  <a:lnTo>
                    <a:pt x="13" y="34"/>
                  </a:lnTo>
                  <a:lnTo>
                    <a:pt x="5" y="42"/>
                  </a:lnTo>
                  <a:lnTo>
                    <a:pt x="25" y="48"/>
                  </a:lnTo>
                  <a:lnTo>
                    <a:pt x="9" y="64"/>
                  </a:lnTo>
                  <a:lnTo>
                    <a:pt x="26" y="60"/>
                  </a:lnTo>
                  <a:lnTo>
                    <a:pt x="9" y="70"/>
                  </a:lnTo>
                  <a:lnTo>
                    <a:pt x="0" y="73"/>
                  </a:lnTo>
                  <a:lnTo>
                    <a:pt x="6" y="76"/>
                  </a:lnTo>
                  <a:lnTo>
                    <a:pt x="0" y="79"/>
                  </a:lnTo>
                  <a:lnTo>
                    <a:pt x="8" y="83"/>
                  </a:lnTo>
                  <a:lnTo>
                    <a:pt x="6" y="86"/>
                  </a:lnTo>
                  <a:lnTo>
                    <a:pt x="13" y="86"/>
                  </a:lnTo>
                  <a:lnTo>
                    <a:pt x="12" y="89"/>
                  </a:lnTo>
                  <a:lnTo>
                    <a:pt x="32" y="86"/>
                  </a:lnTo>
                  <a:lnTo>
                    <a:pt x="51" y="78"/>
                  </a:lnTo>
                  <a:lnTo>
                    <a:pt x="69" y="74"/>
                  </a:lnTo>
                  <a:lnTo>
                    <a:pt x="78" y="65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88" name="Freeform 244"/>
            <p:cNvSpPr>
              <a:spLocks/>
            </p:cNvSpPr>
            <p:nvPr/>
          </p:nvSpPr>
          <p:spPr bwMode="auto">
            <a:xfrm>
              <a:off x="2535" y="1080"/>
              <a:ext cx="100" cy="141"/>
            </a:xfrm>
            <a:custGeom>
              <a:avLst/>
              <a:gdLst>
                <a:gd name="T0" fmla="*/ 1 w 140"/>
                <a:gd name="T1" fmla="*/ 1 h 200"/>
                <a:gd name="T2" fmla="*/ 1 w 140"/>
                <a:gd name="T3" fmla="*/ 1 h 200"/>
                <a:gd name="T4" fmla="*/ 1 w 140"/>
                <a:gd name="T5" fmla="*/ 1 h 200"/>
                <a:gd name="T6" fmla="*/ 1 w 140"/>
                <a:gd name="T7" fmla="*/ 1 h 200"/>
                <a:gd name="T8" fmla="*/ 1 w 140"/>
                <a:gd name="T9" fmla="*/ 1 h 200"/>
                <a:gd name="T10" fmla="*/ 1 w 140"/>
                <a:gd name="T11" fmla="*/ 1 h 200"/>
                <a:gd name="T12" fmla="*/ 1 w 140"/>
                <a:gd name="T13" fmla="*/ 1 h 200"/>
                <a:gd name="T14" fmla="*/ 1 w 140"/>
                <a:gd name="T15" fmla="*/ 1 h 200"/>
                <a:gd name="T16" fmla="*/ 1 w 140"/>
                <a:gd name="T17" fmla="*/ 1 h 200"/>
                <a:gd name="T18" fmla="*/ 1 w 140"/>
                <a:gd name="T19" fmla="*/ 1 h 200"/>
                <a:gd name="T20" fmla="*/ 1 w 140"/>
                <a:gd name="T21" fmla="*/ 1 h 200"/>
                <a:gd name="T22" fmla="*/ 1 w 140"/>
                <a:gd name="T23" fmla="*/ 1 h 200"/>
                <a:gd name="T24" fmla="*/ 1 w 140"/>
                <a:gd name="T25" fmla="*/ 1 h 200"/>
                <a:gd name="T26" fmla="*/ 1 w 140"/>
                <a:gd name="T27" fmla="*/ 1 h 200"/>
                <a:gd name="T28" fmla="*/ 1 w 140"/>
                <a:gd name="T29" fmla="*/ 1 h 200"/>
                <a:gd name="T30" fmla="*/ 1 w 140"/>
                <a:gd name="T31" fmla="*/ 1 h 200"/>
                <a:gd name="T32" fmla="*/ 1 w 140"/>
                <a:gd name="T33" fmla="*/ 1 h 200"/>
                <a:gd name="T34" fmla="*/ 1 w 140"/>
                <a:gd name="T35" fmla="*/ 1 h 200"/>
                <a:gd name="T36" fmla="*/ 1 w 140"/>
                <a:gd name="T37" fmla="*/ 1 h 200"/>
                <a:gd name="T38" fmla="*/ 1 w 140"/>
                <a:gd name="T39" fmla="*/ 1 h 200"/>
                <a:gd name="T40" fmla="*/ 1 w 140"/>
                <a:gd name="T41" fmla="*/ 1 h 200"/>
                <a:gd name="T42" fmla="*/ 1 w 140"/>
                <a:gd name="T43" fmla="*/ 1 h 200"/>
                <a:gd name="T44" fmla="*/ 1 w 140"/>
                <a:gd name="T45" fmla="*/ 1 h 200"/>
                <a:gd name="T46" fmla="*/ 1 w 140"/>
                <a:gd name="T47" fmla="*/ 1 h 200"/>
                <a:gd name="T48" fmla="*/ 1 w 140"/>
                <a:gd name="T49" fmla="*/ 1 h 200"/>
                <a:gd name="T50" fmla="*/ 1 w 140"/>
                <a:gd name="T51" fmla="*/ 1 h 200"/>
                <a:gd name="T52" fmla="*/ 1 w 140"/>
                <a:gd name="T53" fmla="*/ 0 h 200"/>
                <a:gd name="T54" fmla="*/ 1 w 140"/>
                <a:gd name="T55" fmla="*/ 1 h 200"/>
                <a:gd name="T56" fmla="*/ 1 w 140"/>
                <a:gd name="T57" fmla="*/ 1 h 200"/>
                <a:gd name="T58" fmla="*/ 1 w 140"/>
                <a:gd name="T59" fmla="*/ 1 h 200"/>
                <a:gd name="T60" fmla="*/ 1 w 140"/>
                <a:gd name="T61" fmla="*/ 1 h 200"/>
                <a:gd name="T62" fmla="*/ 1 w 140"/>
                <a:gd name="T63" fmla="*/ 1 h 200"/>
                <a:gd name="T64" fmla="*/ 1 w 140"/>
                <a:gd name="T65" fmla="*/ 1 h 20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40"/>
                <a:gd name="T100" fmla="*/ 0 h 200"/>
                <a:gd name="T101" fmla="*/ 140 w 140"/>
                <a:gd name="T102" fmla="*/ 200 h 20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40" h="200">
                  <a:moveTo>
                    <a:pt x="1" y="76"/>
                  </a:moveTo>
                  <a:lnTo>
                    <a:pt x="12" y="60"/>
                  </a:lnTo>
                  <a:lnTo>
                    <a:pt x="18" y="60"/>
                  </a:lnTo>
                  <a:lnTo>
                    <a:pt x="23" y="62"/>
                  </a:lnTo>
                  <a:lnTo>
                    <a:pt x="20" y="68"/>
                  </a:lnTo>
                  <a:lnTo>
                    <a:pt x="17" y="80"/>
                  </a:lnTo>
                  <a:lnTo>
                    <a:pt x="19" y="90"/>
                  </a:lnTo>
                  <a:lnTo>
                    <a:pt x="28" y="88"/>
                  </a:lnTo>
                  <a:lnTo>
                    <a:pt x="48" y="84"/>
                  </a:lnTo>
                  <a:lnTo>
                    <a:pt x="42" y="92"/>
                  </a:lnTo>
                  <a:lnTo>
                    <a:pt x="52" y="102"/>
                  </a:lnTo>
                  <a:lnTo>
                    <a:pt x="53" y="122"/>
                  </a:lnTo>
                  <a:lnTo>
                    <a:pt x="47" y="123"/>
                  </a:lnTo>
                  <a:lnTo>
                    <a:pt x="22" y="132"/>
                  </a:lnTo>
                  <a:lnTo>
                    <a:pt x="26" y="134"/>
                  </a:lnTo>
                  <a:lnTo>
                    <a:pt x="32" y="141"/>
                  </a:lnTo>
                  <a:lnTo>
                    <a:pt x="14" y="154"/>
                  </a:lnTo>
                  <a:lnTo>
                    <a:pt x="12" y="160"/>
                  </a:lnTo>
                  <a:lnTo>
                    <a:pt x="31" y="162"/>
                  </a:lnTo>
                  <a:lnTo>
                    <a:pt x="40" y="167"/>
                  </a:lnTo>
                  <a:lnTo>
                    <a:pt x="61" y="161"/>
                  </a:lnTo>
                  <a:lnTo>
                    <a:pt x="53" y="168"/>
                  </a:lnTo>
                  <a:lnTo>
                    <a:pt x="37" y="172"/>
                  </a:lnTo>
                  <a:lnTo>
                    <a:pt x="18" y="185"/>
                  </a:lnTo>
                  <a:lnTo>
                    <a:pt x="0" y="198"/>
                  </a:lnTo>
                  <a:lnTo>
                    <a:pt x="6" y="200"/>
                  </a:lnTo>
                  <a:lnTo>
                    <a:pt x="11" y="198"/>
                  </a:lnTo>
                  <a:lnTo>
                    <a:pt x="35" y="196"/>
                  </a:lnTo>
                  <a:lnTo>
                    <a:pt x="42" y="190"/>
                  </a:lnTo>
                  <a:lnTo>
                    <a:pt x="59" y="186"/>
                  </a:lnTo>
                  <a:lnTo>
                    <a:pt x="80" y="184"/>
                  </a:lnTo>
                  <a:lnTo>
                    <a:pt x="113" y="184"/>
                  </a:lnTo>
                  <a:lnTo>
                    <a:pt x="134" y="171"/>
                  </a:lnTo>
                  <a:lnTo>
                    <a:pt x="119" y="166"/>
                  </a:lnTo>
                  <a:lnTo>
                    <a:pt x="124" y="160"/>
                  </a:lnTo>
                  <a:lnTo>
                    <a:pt x="140" y="143"/>
                  </a:lnTo>
                  <a:lnTo>
                    <a:pt x="134" y="134"/>
                  </a:lnTo>
                  <a:lnTo>
                    <a:pt x="113" y="135"/>
                  </a:lnTo>
                  <a:lnTo>
                    <a:pt x="114" y="129"/>
                  </a:lnTo>
                  <a:lnTo>
                    <a:pt x="100" y="114"/>
                  </a:lnTo>
                  <a:lnTo>
                    <a:pt x="106" y="116"/>
                  </a:lnTo>
                  <a:lnTo>
                    <a:pt x="104" y="106"/>
                  </a:lnTo>
                  <a:lnTo>
                    <a:pt x="90" y="93"/>
                  </a:lnTo>
                  <a:lnTo>
                    <a:pt x="70" y="63"/>
                  </a:lnTo>
                  <a:lnTo>
                    <a:pt x="44" y="60"/>
                  </a:lnTo>
                  <a:lnTo>
                    <a:pt x="59" y="56"/>
                  </a:lnTo>
                  <a:lnTo>
                    <a:pt x="50" y="52"/>
                  </a:lnTo>
                  <a:lnTo>
                    <a:pt x="56" y="50"/>
                  </a:lnTo>
                  <a:lnTo>
                    <a:pt x="76" y="24"/>
                  </a:lnTo>
                  <a:lnTo>
                    <a:pt x="40" y="23"/>
                  </a:lnTo>
                  <a:lnTo>
                    <a:pt x="32" y="22"/>
                  </a:lnTo>
                  <a:lnTo>
                    <a:pt x="37" y="18"/>
                  </a:lnTo>
                  <a:lnTo>
                    <a:pt x="53" y="3"/>
                  </a:lnTo>
                  <a:lnTo>
                    <a:pt x="23" y="0"/>
                  </a:lnTo>
                  <a:lnTo>
                    <a:pt x="17" y="8"/>
                  </a:lnTo>
                  <a:lnTo>
                    <a:pt x="16" y="15"/>
                  </a:lnTo>
                  <a:lnTo>
                    <a:pt x="8" y="17"/>
                  </a:lnTo>
                  <a:lnTo>
                    <a:pt x="7" y="24"/>
                  </a:lnTo>
                  <a:lnTo>
                    <a:pt x="7" y="28"/>
                  </a:lnTo>
                  <a:lnTo>
                    <a:pt x="7" y="32"/>
                  </a:lnTo>
                  <a:lnTo>
                    <a:pt x="0" y="42"/>
                  </a:lnTo>
                  <a:lnTo>
                    <a:pt x="2" y="45"/>
                  </a:lnTo>
                  <a:lnTo>
                    <a:pt x="0" y="46"/>
                  </a:lnTo>
                  <a:lnTo>
                    <a:pt x="13" y="44"/>
                  </a:lnTo>
                  <a:lnTo>
                    <a:pt x="12" y="45"/>
                  </a:lnTo>
                  <a:lnTo>
                    <a:pt x="1" y="76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89" name="Freeform 245"/>
            <p:cNvSpPr>
              <a:spLocks/>
            </p:cNvSpPr>
            <p:nvPr/>
          </p:nvSpPr>
          <p:spPr bwMode="auto">
            <a:xfrm>
              <a:off x="2508" y="1135"/>
              <a:ext cx="31" cy="19"/>
            </a:xfrm>
            <a:custGeom>
              <a:avLst/>
              <a:gdLst>
                <a:gd name="T0" fmla="*/ 1 w 43"/>
                <a:gd name="T1" fmla="*/ 1 h 28"/>
                <a:gd name="T2" fmla="*/ 1 w 43"/>
                <a:gd name="T3" fmla="*/ 1 h 28"/>
                <a:gd name="T4" fmla="*/ 1 w 43"/>
                <a:gd name="T5" fmla="*/ 0 h 28"/>
                <a:gd name="T6" fmla="*/ 1 w 43"/>
                <a:gd name="T7" fmla="*/ 1 h 28"/>
                <a:gd name="T8" fmla="*/ 0 w 43"/>
                <a:gd name="T9" fmla="*/ 1 h 28"/>
                <a:gd name="T10" fmla="*/ 1 w 43"/>
                <a:gd name="T11" fmla="*/ 1 h 28"/>
                <a:gd name="T12" fmla="*/ 1 w 43"/>
                <a:gd name="T13" fmla="*/ 1 h 28"/>
                <a:gd name="T14" fmla="*/ 1 w 43"/>
                <a:gd name="T15" fmla="*/ 1 h 28"/>
                <a:gd name="T16" fmla="*/ 1 w 43"/>
                <a:gd name="T17" fmla="*/ 1 h 2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3"/>
                <a:gd name="T28" fmla="*/ 0 h 28"/>
                <a:gd name="T29" fmla="*/ 43 w 43"/>
                <a:gd name="T30" fmla="*/ 28 h 2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3" h="28">
                  <a:moveTo>
                    <a:pt x="43" y="19"/>
                  </a:moveTo>
                  <a:lnTo>
                    <a:pt x="40" y="13"/>
                  </a:lnTo>
                  <a:lnTo>
                    <a:pt x="28" y="0"/>
                  </a:lnTo>
                  <a:lnTo>
                    <a:pt x="13" y="5"/>
                  </a:lnTo>
                  <a:lnTo>
                    <a:pt x="0" y="22"/>
                  </a:lnTo>
                  <a:lnTo>
                    <a:pt x="14" y="24"/>
                  </a:lnTo>
                  <a:lnTo>
                    <a:pt x="19" y="22"/>
                  </a:lnTo>
                  <a:lnTo>
                    <a:pt x="31" y="28"/>
                  </a:lnTo>
                  <a:lnTo>
                    <a:pt x="43" y="19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90" name="Freeform 246"/>
            <p:cNvSpPr>
              <a:spLocks/>
            </p:cNvSpPr>
            <p:nvPr/>
          </p:nvSpPr>
          <p:spPr bwMode="auto">
            <a:xfrm>
              <a:off x="2526" y="1097"/>
              <a:ext cx="13" cy="7"/>
            </a:xfrm>
            <a:custGeom>
              <a:avLst/>
              <a:gdLst>
                <a:gd name="T0" fmla="*/ 1 w 18"/>
                <a:gd name="T1" fmla="*/ 1 h 10"/>
                <a:gd name="T2" fmla="*/ 1 w 18"/>
                <a:gd name="T3" fmla="*/ 0 h 10"/>
                <a:gd name="T4" fmla="*/ 0 w 18"/>
                <a:gd name="T5" fmla="*/ 1 h 10"/>
                <a:gd name="T6" fmla="*/ 1 w 18"/>
                <a:gd name="T7" fmla="*/ 1 h 10"/>
                <a:gd name="T8" fmla="*/ 1 w 18"/>
                <a:gd name="T9" fmla="*/ 1 h 10"/>
                <a:gd name="T10" fmla="*/ 1 w 18"/>
                <a:gd name="T11" fmla="*/ 1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8"/>
                <a:gd name="T19" fmla="*/ 0 h 10"/>
                <a:gd name="T20" fmla="*/ 18 w 18"/>
                <a:gd name="T21" fmla="*/ 10 h 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8" h="10">
                  <a:moveTo>
                    <a:pt x="11" y="2"/>
                  </a:moveTo>
                  <a:lnTo>
                    <a:pt x="6" y="0"/>
                  </a:lnTo>
                  <a:lnTo>
                    <a:pt x="0" y="5"/>
                  </a:lnTo>
                  <a:lnTo>
                    <a:pt x="16" y="10"/>
                  </a:lnTo>
                  <a:lnTo>
                    <a:pt x="18" y="8"/>
                  </a:lnTo>
                  <a:lnTo>
                    <a:pt x="11" y="2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91" name="Freeform 247"/>
            <p:cNvSpPr>
              <a:spLocks/>
            </p:cNvSpPr>
            <p:nvPr/>
          </p:nvSpPr>
          <p:spPr bwMode="auto">
            <a:xfrm>
              <a:off x="2524" y="1085"/>
              <a:ext cx="11" cy="7"/>
            </a:xfrm>
            <a:custGeom>
              <a:avLst/>
              <a:gdLst>
                <a:gd name="T0" fmla="*/ 1 w 16"/>
                <a:gd name="T1" fmla="*/ 1 h 11"/>
                <a:gd name="T2" fmla="*/ 1 w 16"/>
                <a:gd name="T3" fmla="*/ 0 h 11"/>
                <a:gd name="T4" fmla="*/ 1 w 16"/>
                <a:gd name="T5" fmla="*/ 1 h 11"/>
                <a:gd name="T6" fmla="*/ 0 w 16"/>
                <a:gd name="T7" fmla="*/ 1 h 11"/>
                <a:gd name="T8" fmla="*/ 1 w 16"/>
                <a:gd name="T9" fmla="*/ 1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11"/>
                <a:gd name="T17" fmla="*/ 16 w 16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11">
                  <a:moveTo>
                    <a:pt x="16" y="4"/>
                  </a:moveTo>
                  <a:lnTo>
                    <a:pt x="15" y="0"/>
                  </a:lnTo>
                  <a:lnTo>
                    <a:pt x="4" y="5"/>
                  </a:lnTo>
                  <a:lnTo>
                    <a:pt x="0" y="11"/>
                  </a:lnTo>
                  <a:lnTo>
                    <a:pt x="16" y="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92" name="Freeform 248"/>
            <p:cNvSpPr>
              <a:spLocks/>
            </p:cNvSpPr>
            <p:nvPr/>
          </p:nvSpPr>
          <p:spPr bwMode="auto">
            <a:xfrm>
              <a:off x="2594" y="1051"/>
              <a:ext cx="4" cy="7"/>
            </a:xfrm>
            <a:custGeom>
              <a:avLst/>
              <a:gdLst>
                <a:gd name="T0" fmla="*/ 1 w 7"/>
                <a:gd name="T1" fmla="*/ 0 h 11"/>
                <a:gd name="T2" fmla="*/ 1 w 7"/>
                <a:gd name="T3" fmla="*/ 1 h 11"/>
                <a:gd name="T4" fmla="*/ 0 w 7"/>
                <a:gd name="T5" fmla="*/ 1 h 11"/>
                <a:gd name="T6" fmla="*/ 1 w 7"/>
                <a:gd name="T7" fmla="*/ 1 h 11"/>
                <a:gd name="T8" fmla="*/ 1 w 7"/>
                <a:gd name="T9" fmla="*/ 0 h 11"/>
                <a:gd name="T10" fmla="*/ 1 w 7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11"/>
                <a:gd name="T20" fmla="*/ 7 w 7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11">
                  <a:moveTo>
                    <a:pt x="2" y="0"/>
                  </a:moveTo>
                  <a:lnTo>
                    <a:pt x="1" y="4"/>
                  </a:lnTo>
                  <a:lnTo>
                    <a:pt x="0" y="7"/>
                  </a:lnTo>
                  <a:lnTo>
                    <a:pt x="2" y="11"/>
                  </a:lnTo>
                  <a:lnTo>
                    <a:pt x="7" y="0"/>
                  </a:lnTo>
                  <a:lnTo>
                    <a:pt x="2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93" name="Freeform 249"/>
            <p:cNvSpPr>
              <a:spLocks/>
            </p:cNvSpPr>
            <p:nvPr/>
          </p:nvSpPr>
          <p:spPr bwMode="auto">
            <a:xfrm>
              <a:off x="2533" y="1114"/>
              <a:ext cx="6" cy="4"/>
            </a:xfrm>
            <a:custGeom>
              <a:avLst/>
              <a:gdLst>
                <a:gd name="T0" fmla="*/ 1 w 10"/>
                <a:gd name="T1" fmla="*/ 2 h 5"/>
                <a:gd name="T2" fmla="*/ 1 w 10"/>
                <a:gd name="T3" fmla="*/ 2 h 5"/>
                <a:gd name="T4" fmla="*/ 0 w 10"/>
                <a:gd name="T5" fmla="*/ 0 h 5"/>
                <a:gd name="T6" fmla="*/ 1 w 10"/>
                <a:gd name="T7" fmla="*/ 2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"/>
                <a:gd name="T13" fmla="*/ 0 h 5"/>
                <a:gd name="T14" fmla="*/ 10 w 10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" h="5">
                  <a:moveTo>
                    <a:pt x="2" y="5"/>
                  </a:moveTo>
                  <a:lnTo>
                    <a:pt x="10" y="2"/>
                  </a:lnTo>
                  <a:lnTo>
                    <a:pt x="0" y="0"/>
                  </a:lnTo>
                  <a:lnTo>
                    <a:pt x="2" y="5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94" name="Freeform 250"/>
            <p:cNvSpPr>
              <a:spLocks/>
            </p:cNvSpPr>
            <p:nvPr/>
          </p:nvSpPr>
          <p:spPr bwMode="auto">
            <a:xfrm>
              <a:off x="2553" y="1165"/>
              <a:ext cx="6" cy="4"/>
            </a:xfrm>
            <a:custGeom>
              <a:avLst/>
              <a:gdLst>
                <a:gd name="T0" fmla="*/ 3 w 7"/>
                <a:gd name="T1" fmla="*/ 1 h 6"/>
                <a:gd name="T2" fmla="*/ 1 w 7"/>
                <a:gd name="T3" fmla="*/ 0 h 6"/>
                <a:gd name="T4" fmla="*/ 0 w 7"/>
                <a:gd name="T5" fmla="*/ 1 h 6"/>
                <a:gd name="T6" fmla="*/ 3 w 7"/>
                <a:gd name="T7" fmla="*/ 1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6"/>
                <a:gd name="T14" fmla="*/ 7 w 7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6">
                  <a:moveTo>
                    <a:pt x="7" y="5"/>
                  </a:moveTo>
                  <a:lnTo>
                    <a:pt x="1" y="0"/>
                  </a:lnTo>
                  <a:lnTo>
                    <a:pt x="0" y="6"/>
                  </a:lnTo>
                  <a:lnTo>
                    <a:pt x="7" y="5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95" name="Freeform 251"/>
            <p:cNvSpPr>
              <a:spLocks/>
            </p:cNvSpPr>
            <p:nvPr/>
          </p:nvSpPr>
          <p:spPr bwMode="auto">
            <a:xfrm>
              <a:off x="2633" y="1349"/>
              <a:ext cx="4" cy="1"/>
            </a:xfrm>
            <a:custGeom>
              <a:avLst/>
              <a:gdLst>
                <a:gd name="T0" fmla="*/ 1 w 6"/>
                <a:gd name="T1" fmla="*/ 0 h 2"/>
                <a:gd name="T2" fmla="*/ 0 w 6"/>
                <a:gd name="T3" fmla="*/ 0 h 2"/>
                <a:gd name="T4" fmla="*/ 0 w 6"/>
                <a:gd name="T5" fmla="*/ 1 h 2"/>
                <a:gd name="T6" fmla="*/ 1 w 6"/>
                <a:gd name="T7" fmla="*/ 1 h 2"/>
                <a:gd name="T8" fmla="*/ 1 w 6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"/>
                <a:gd name="T17" fmla="*/ 6 w 6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">
                  <a:moveTo>
                    <a:pt x="6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5" y="2"/>
                  </a:lnTo>
                  <a:lnTo>
                    <a:pt x="6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96" name="Freeform 252"/>
            <p:cNvSpPr>
              <a:spLocks/>
            </p:cNvSpPr>
            <p:nvPr/>
          </p:nvSpPr>
          <p:spPr bwMode="auto">
            <a:xfrm>
              <a:off x="2476" y="1359"/>
              <a:ext cx="46" cy="86"/>
            </a:xfrm>
            <a:custGeom>
              <a:avLst/>
              <a:gdLst>
                <a:gd name="T0" fmla="*/ 1 w 66"/>
                <a:gd name="T1" fmla="*/ 0 h 123"/>
                <a:gd name="T2" fmla="*/ 1 w 66"/>
                <a:gd name="T3" fmla="*/ 1 h 123"/>
                <a:gd name="T4" fmla="*/ 1 w 66"/>
                <a:gd name="T5" fmla="*/ 1 h 123"/>
                <a:gd name="T6" fmla="*/ 1 w 66"/>
                <a:gd name="T7" fmla="*/ 1 h 123"/>
                <a:gd name="T8" fmla="*/ 1 w 66"/>
                <a:gd name="T9" fmla="*/ 1 h 123"/>
                <a:gd name="T10" fmla="*/ 0 w 66"/>
                <a:gd name="T11" fmla="*/ 1 h 123"/>
                <a:gd name="T12" fmla="*/ 1 w 66"/>
                <a:gd name="T13" fmla="*/ 1 h 123"/>
                <a:gd name="T14" fmla="*/ 1 w 66"/>
                <a:gd name="T15" fmla="*/ 1 h 123"/>
                <a:gd name="T16" fmla="*/ 1 w 66"/>
                <a:gd name="T17" fmla="*/ 1 h 123"/>
                <a:gd name="T18" fmla="*/ 1 w 66"/>
                <a:gd name="T19" fmla="*/ 1 h 123"/>
                <a:gd name="T20" fmla="*/ 1 w 66"/>
                <a:gd name="T21" fmla="*/ 1 h 123"/>
                <a:gd name="T22" fmla="*/ 1 w 66"/>
                <a:gd name="T23" fmla="*/ 1 h 123"/>
                <a:gd name="T24" fmla="*/ 1 w 66"/>
                <a:gd name="T25" fmla="*/ 1 h 123"/>
                <a:gd name="T26" fmla="*/ 1 w 66"/>
                <a:gd name="T27" fmla="*/ 1 h 123"/>
                <a:gd name="T28" fmla="*/ 1 w 66"/>
                <a:gd name="T29" fmla="*/ 1 h 123"/>
                <a:gd name="T30" fmla="*/ 1 w 66"/>
                <a:gd name="T31" fmla="*/ 1 h 123"/>
                <a:gd name="T32" fmla="*/ 1 w 66"/>
                <a:gd name="T33" fmla="*/ 1 h 123"/>
                <a:gd name="T34" fmla="*/ 1 w 66"/>
                <a:gd name="T35" fmla="*/ 1 h 123"/>
                <a:gd name="T36" fmla="*/ 1 w 66"/>
                <a:gd name="T37" fmla="*/ 1 h 123"/>
                <a:gd name="T38" fmla="*/ 1 w 66"/>
                <a:gd name="T39" fmla="*/ 1 h 123"/>
                <a:gd name="T40" fmla="*/ 1 w 66"/>
                <a:gd name="T41" fmla="*/ 0 h 12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6"/>
                <a:gd name="T64" fmla="*/ 0 h 123"/>
                <a:gd name="T65" fmla="*/ 66 w 66"/>
                <a:gd name="T66" fmla="*/ 123 h 12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6" h="123">
                  <a:moveTo>
                    <a:pt x="30" y="0"/>
                  </a:moveTo>
                  <a:lnTo>
                    <a:pt x="18" y="2"/>
                  </a:lnTo>
                  <a:lnTo>
                    <a:pt x="19" y="30"/>
                  </a:lnTo>
                  <a:lnTo>
                    <a:pt x="12" y="47"/>
                  </a:lnTo>
                  <a:lnTo>
                    <a:pt x="3" y="65"/>
                  </a:lnTo>
                  <a:lnTo>
                    <a:pt x="0" y="81"/>
                  </a:lnTo>
                  <a:lnTo>
                    <a:pt x="9" y="88"/>
                  </a:lnTo>
                  <a:lnTo>
                    <a:pt x="14" y="88"/>
                  </a:lnTo>
                  <a:lnTo>
                    <a:pt x="12" y="123"/>
                  </a:lnTo>
                  <a:lnTo>
                    <a:pt x="41" y="119"/>
                  </a:lnTo>
                  <a:lnTo>
                    <a:pt x="41" y="112"/>
                  </a:lnTo>
                  <a:lnTo>
                    <a:pt x="48" y="98"/>
                  </a:lnTo>
                  <a:lnTo>
                    <a:pt x="47" y="92"/>
                  </a:lnTo>
                  <a:lnTo>
                    <a:pt x="49" y="78"/>
                  </a:lnTo>
                  <a:lnTo>
                    <a:pt x="41" y="59"/>
                  </a:lnTo>
                  <a:lnTo>
                    <a:pt x="48" y="58"/>
                  </a:lnTo>
                  <a:lnTo>
                    <a:pt x="55" y="28"/>
                  </a:lnTo>
                  <a:lnTo>
                    <a:pt x="66" y="15"/>
                  </a:lnTo>
                  <a:lnTo>
                    <a:pt x="62" y="4"/>
                  </a:lnTo>
                  <a:lnTo>
                    <a:pt x="36" y="3"/>
                  </a:lnTo>
                  <a:lnTo>
                    <a:pt x="30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97" name="Freeform 253"/>
            <p:cNvSpPr>
              <a:spLocks/>
            </p:cNvSpPr>
            <p:nvPr/>
          </p:nvSpPr>
          <p:spPr bwMode="auto">
            <a:xfrm>
              <a:off x="2484" y="1329"/>
              <a:ext cx="172" cy="131"/>
            </a:xfrm>
            <a:custGeom>
              <a:avLst/>
              <a:gdLst>
                <a:gd name="T0" fmla="*/ 1 w 244"/>
                <a:gd name="T1" fmla="*/ 1 h 186"/>
                <a:gd name="T2" fmla="*/ 1 w 244"/>
                <a:gd name="T3" fmla="*/ 1 h 186"/>
                <a:gd name="T4" fmla="*/ 1 w 244"/>
                <a:gd name="T5" fmla="*/ 1 h 186"/>
                <a:gd name="T6" fmla="*/ 1 w 244"/>
                <a:gd name="T7" fmla="*/ 1 h 186"/>
                <a:gd name="T8" fmla="*/ 1 w 244"/>
                <a:gd name="T9" fmla="*/ 1 h 186"/>
                <a:gd name="T10" fmla="*/ 1 w 244"/>
                <a:gd name="T11" fmla="*/ 1 h 186"/>
                <a:gd name="T12" fmla="*/ 1 w 244"/>
                <a:gd name="T13" fmla="*/ 1 h 186"/>
                <a:gd name="T14" fmla="*/ 0 w 244"/>
                <a:gd name="T15" fmla="*/ 1 h 186"/>
                <a:gd name="T16" fmla="*/ 0 w 244"/>
                <a:gd name="T17" fmla="*/ 1 h 186"/>
                <a:gd name="T18" fmla="*/ 1 w 244"/>
                <a:gd name="T19" fmla="*/ 0 h 186"/>
                <a:gd name="T20" fmla="*/ 1 w 244"/>
                <a:gd name="T21" fmla="*/ 1 h 186"/>
                <a:gd name="T22" fmla="*/ 1 w 244"/>
                <a:gd name="T23" fmla="*/ 1 h 186"/>
                <a:gd name="T24" fmla="*/ 1 w 244"/>
                <a:gd name="T25" fmla="*/ 1 h 186"/>
                <a:gd name="T26" fmla="*/ 1 w 244"/>
                <a:gd name="T27" fmla="*/ 1 h 186"/>
                <a:gd name="T28" fmla="*/ 1 w 244"/>
                <a:gd name="T29" fmla="*/ 1 h 186"/>
                <a:gd name="T30" fmla="*/ 1 w 244"/>
                <a:gd name="T31" fmla="*/ 1 h 186"/>
                <a:gd name="T32" fmla="*/ 1 w 244"/>
                <a:gd name="T33" fmla="*/ 1 h 186"/>
                <a:gd name="T34" fmla="*/ 1 w 244"/>
                <a:gd name="T35" fmla="*/ 1 h 186"/>
                <a:gd name="T36" fmla="*/ 1 w 244"/>
                <a:gd name="T37" fmla="*/ 1 h 186"/>
                <a:gd name="T38" fmla="*/ 2 w 244"/>
                <a:gd name="T39" fmla="*/ 1 h 186"/>
                <a:gd name="T40" fmla="*/ 2 w 244"/>
                <a:gd name="T41" fmla="*/ 1 h 186"/>
                <a:gd name="T42" fmla="*/ 1 w 244"/>
                <a:gd name="T43" fmla="*/ 1 h 186"/>
                <a:gd name="T44" fmla="*/ 1 w 244"/>
                <a:gd name="T45" fmla="*/ 1 h 186"/>
                <a:gd name="T46" fmla="*/ 1 w 244"/>
                <a:gd name="T47" fmla="*/ 1 h 186"/>
                <a:gd name="T48" fmla="*/ 1 w 244"/>
                <a:gd name="T49" fmla="*/ 1 h 186"/>
                <a:gd name="T50" fmla="*/ 1 w 244"/>
                <a:gd name="T51" fmla="*/ 1 h 186"/>
                <a:gd name="T52" fmla="*/ 1 w 244"/>
                <a:gd name="T53" fmla="*/ 1 h 186"/>
                <a:gd name="T54" fmla="*/ 1 w 244"/>
                <a:gd name="T55" fmla="*/ 1 h 186"/>
                <a:gd name="T56" fmla="*/ 1 w 244"/>
                <a:gd name="T57" fmla="*/ 1 h 186"/>
                <a:gd name="T58" fmla="*/ 1 w 244"/>
                <a:gd name="T59" fmla="*/ 1 h 186"/>
                <a:gd name="T60" fmla="*/ 1 w 244"/>
                <a:gd name="T61" fmla="*/ 1 h 186"/>
                <a:gd name="T62" fmla="*/ 1 w 244"/>
                <a:gd name="T63" fmla="*/ 1 h 186"/>
                <a:gd name="T64" fmla="*/ 1 w 244"/>
                <a:gd name="T65" fmla="*/ 1 h 186"/>
                <a:gd name="T66" fmla="*/ 1 w 244"/>
                <a:gd name="T67" fmla="*/ 1 h 186"/>
                <a:gd name="T68" fmla="*/ 1 w 244"/>
                <a:gd name="T69" fmla="*/ 1 h 186"/>
                <a:gd name="T70" fmla="*/ 1 w 244"/>
                <a:gd name="T71" fmla="*/ 1 h 186"/>
                <a:gd name="T72" fmla="*/ 1 w 244"/>
                <a:gd name="T73" fmla="*/ 1 h 186"/>
                <a:gd name="T74" fmla="*/ 1 w 244"/>
                <a:gd name="T75" fmla="*/ 1 h 186"/>
                <a:gd name="T76" fmla="*/ 1 w 244"/>
                <a:gd name="T77" fmla="*/ 1 h 186"/>
                <a:gd name="T78" fmla="*/ 1 w 244"/>
                <a:gd name="T79" fmla="*/ 1 h 186"/>
                <a:gd name="T80" fmla="*/ 1 w 244"/>
                <a:gd name="T81" fmla="*/ 1 h 186"/>
                <a:gd name="T82" fmla="*/ 1 w 244"/>
                <a:gd name="T83" fmla="*/ 1 h 186"/>
                <a:gd name="T84" fmla="*/ 1 w 244"/>
                <a:gd name="T85" fmla="*/ 1 h 186"/>
                <a:gd name="T86" fmla="*/ 1 w 244"/>
                <a:gd name="T87" fmla="*/ 1 h 186"/>
                <a:gd name="T88" fmla="*/ 1 w 244"/>
                <a:gd name="T89" fmla="*/ 1 h 186"/>
                <a:gd name="T90" fmla="*/ 1 w 244"/>
                <a:gd name="T91" fmla="*/ 1 h 18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44"/>
                <a:gd name="T139" fmla="*/ 0 h 186"/>
                <a:gd name="T140" fmla="*/ 244 w 244"/>
                <a:gd name="T141" fmla="*/ 186 h 18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44" h="186">
                  <a:moveTo>
                    <a:pt x="49" y="46"/>
                  </a:moveTo>
                  <a:lnTo>
                    <a:pt x="23" y="45"/>
                  </a:lnTo>
                  <a:lnTo>
                    <a:pt x="17" y="42"/>
                  </a:lnTo>
                  <a:lnTo>
                    <a:pt x="5" y="44"/>
                  </a:lnTo>
                  <a:lnTo>
                    <a:pt x="5" y="36"/>
                  </a:lnTo>
                  <a:lnTo>
                    <a:pt x="2" y="30"/>
                  </a:lnTo>
                  <a:lnTo>
                    <a:pt x="2" y="28"/>
                  </a:lnTo>
                  <a:lnTo>
                    <a:pt x="0" y="23"/>
                  </a:lnTo>
                  <a:lnTo>
                    <a:pt x="0" y="12"/>
                  </a:lnTo>
                  <a:lnTo>
                    <a:pt x="30" y="0"/>
                  </a:lnTo>
                  <a:lnTo>
                    <a:pt x="55" y="4"/>
                  </a:lnTo>
                  <a:lnTo>
                    <a:pt x="78" y="5"/>
                  </a:lnTo>
                  <a:lnTo>
                    <a:pt x="100" y="5"/>
                  </a:lnTo>
                  <a:lnTo>
                    <a:pt x="122" y="6"/>
                  </a:lnTo>
                  <a:lnTo>
                    <a:pt x="145" y="8"/>
                  </a:lnTo>
                  <a:lnTo>
                    <a:pt x="155" y="16"/>
                  </a:lnTo>
                  <a:lnTo>
                    <a:pt x="210" y="28"/>
                  </a:lnTo>
                  <a:lnTo>
                    <a:pt x="210" y="30"/>
                  </a:lnTo>
                  <a:lnTo>
                    <a:pt x="215" y="30"/>
                  </a:lnTo>
                  <a:lnTo>
                    <a:pt x="244" y="32"/>
                  </a:lnTo>
                  <a:lnTo>
                    <a:pt x="240" y="48"/>
                  </a:lnTo>
                  <a:lnTo>
                    <a:pt x="218" y="60"/>
                  </a:lnTo>
                  <a:lnTo>
                    <a:pt x="196" y="72"/>
                  </a:lnTo>
                  <a:lnTo>
                    <a:pt x="185" y="89"/>
                  </a:lnTo>
                  <a:lnTo>
                    <a:pt x="173" y="107"/>
                  </a:lnTo>
                  <a:lnTo>
                    <a:pt x="181" y="125"/>
                  </a:lnTo>
                  <a:lnTo>
                    <a:pt x="164" y="146"/>
                  </a:lnTo>
                  <a:lnTo>
                    <a:pt x="160" y="152"/>
                  </a:lnTo>
                  <a:lnTo>
                    <a:pt x="143" y="161"/>
                  </a:lnTo>
                  <a:lnTo>
                    <a:pt x="133" y="171"/>
                  </a:lnTo>
                  <a:lnTo>
                    <a:pt x="109" y="173"/>
                  </a:lnTo>
                  <a:lnTo>
                    <a:pt x="85" y="177"/>
                  </a:lnTo>
                  <a:lnTo>
                    <a:pt x="70" y="186"/>
                  </a:lnTo>
                  <a:lnTo>
                    <a:pt x="55" y="186"/>
                  </a:lnTo>
                  <a:lnTo>
                    <a:pt x="50" y="168"/>
                  </a:lnTo>
                  <a:lnTo>
                    <a:pt x="35" y="161"/>
                  </a:lnTo>
                  <a:lnTo>
                    <a:pt x="28" y="161"/>
                  </a:lnTo>
                  <a:lnTo>
                    <a:pt x="28" y="154"/>
                  </a:lnTo>
                  <a:lnTo>
                    <a:pt x="35" y="140"/>
                  </a:lnTo>
                  <a:lnTo>
                    <a:pt x="34" y="134"/>
                  </a:lnTo>
                  <a:lnTo>
                    <a:pt x="36" y="120"/>
                  </a:lnTo>
                  <a:lnTo>
                    <a:pt x="28" y="101"/>
                  </a:lnTo>
                  <a:lnTo>
                    <a:pt x="35" y="100"/>
                  </a:lnTo>
                  <a:lnTo>
                    <a:pt x="43" y="70"/>
                  </a:lnTo>
                  <a:lnTo>
                    <a:pt x="53" y="57"/>
                  </a:lnTo>
                  <a:lnTo>
                    <a:pt x="49" y="46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98" name="Freeform 254"/>
            <p:cNvSpPr>
              <a:spLocks/>
            </p:cNvSpPr>
            <p:nvPr/>
          </p:nvSpPr>
          <p:spPr bwMode="auto">
            <a:xfrm>
              <a:off x="2647" y="1397"/>
              <a:ext cx="14" cy="8"/>
            </a:xfrm>
            <a:custGeom>
              <a:avLst/>
              <a:gdLst>
                <a:gd name="T0" fmla="*/ 1 w 21"/>
                <a:gd name="T1" fmla="*/ 1 h 12"/>
                <a:gd name="T2" fmla="*/ 1 w 21"/>
                <a:gd name="T3" fmla="*/ 1 h 12"/>
                <a:gd name="T4" fmla="*/ 0 w 21"/>
                <a:gd name="T5" fmla="*/ 1 h 12"/>
                <a:gd name="T6" fmla="*/ 1 w 21"/>
                <a:gd name="T7" fmla="*/ 0 h 12"/>
                <a:gd name="T8" fmla="*/ 1 w 21"/>
                <a:gd name="T9" fmla="*/ 1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"/>
                <a:gd name="T16" fmla="*/ 0 h 12"/>
                <a:gd name="T17" fmla="*/ 21 w 21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" h="12">
                  <a:moveTo>
                    <a:pt x="21" y="4"/>
                  </a:moveTo>
                  <a:lnTo>
                    <a:pt x="10" y="12"/>
                  </a:lnTo>
                  <a:lnTo>
                    <a:pt x="0" y="5"/>
                  </a:lnTo>
                  <a:lnTo>
                    <a:pt x="14" y="0"/>
                  </a:lnTo>
                  <a:lnTo>
                    <a:pt x="21" y="4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99" name="Freeform 255"/>
            <p:cNvSpPr>
              <a:spLocks/>
            </p:cNvSpPr>
            <p:nvPr/>
          </p:nvSpPr>
          <p:spPr bwMode="auto">
            <a:xfrm>
              <a:off x="1009" y="1234"/>
              <a:ext cx="840" cy="417"/>
            </a:xfrm>
            <a:custGeom>
              <a:avLst/>
              <a:gdLst>
                <a:gd name="T0" fmla="*/ 9 w 1194"/>
                <a:gd name="T1" fmla="*/ 1 h 594"/>
                <a:gd name="T2" fmla="*/ 8 w 1194"/>
                <a:gd name="T3" fmla="*/ 1 h 594"/>
                <a:gd name="T4" fmla="*/ 8 w 1194"/>
                <a:gd name="T5" fmla="*/ 1 h 594"/>
                <a:gd name="T6" fmla="*/ 6 w 1194"/>
                <a:gd name="T7" fmla="*/ 1 h 594"/>
                <a:gd name="T8" fmla="*/ 6 w 1194"/>
                <a:gd name="T9" fmla="*/ 1 h 594"/>
                <a:gd name="T10" fmla="*/ 6 w 1194"/>
                <a:gd name="T11" fmla="*/ 1 h 594"/>
                <a:gd name="T12" fmla="*/ 6 w 1194"/>
                <a:gd name="T13" fmla="*/ 1 h 594"/>
                <a:gd name="T14" fmla="*/ 6 w 1194"/>
                <a:gd name="T15" fmla="*/ 1 h 594"/>
                <a:gd name="T16" fmla="*/ 4 w 1194"/>
                <a:gd name="T17" fmla="*/ 1 h 594"/>
                <a:gd name="T18" fmla="*/ 3 w 1194"/>
                <a:gd name="T19" fmla="*/ 1 h 594"/>
                <a:gd name="T20" fmla="*/ 2 w 1194"/>
                <a:gd name="T21" fmla="*/ 1 h 594"/>
                <a:gd name="T22" fmla="*/ 1 w 1194"/>
                <a:gd name="T23" fmla="*/ 1 h 594"/>
                <a:gd name="T24" fmla="*/ 1 w 1194"/>
                <a:gd name="T25" fmla="*/ 1 h 594"/>
                <a:gd name="T26" fmla="*/ 1 w 1194"/>
                <a:gd name="T27" fmla="*/ 1 h 594"/>
                <a:gd name="T28" fmla="*/ 1 w 1194"/>
                <a:gd name="T29" fmla="*/ 1 h 594"/>
                <a:gd name="T30" fmla="*/ 1 w 1194"/>
                <a:gd name="T31" fmla="*/ 1 h 594"/>
                <a:gd name="T32" fmla="*/ 0 w 1194"/>
                <a:gd name="T33" fmla="*/ 2 h 594"/>
                <a:gd name="T34" fmla="*/ 1 w 1194"/>
                <a:gd name="T35" fmla="*/ 2 h 594"/>
                <a:gd name="T36" fmla="*/ 1 w 1194"/>
                <a:gd name="T37" fmla="*/ 2 h 594"/>
                <a:gd name="T38" fmla="*/ 1 w 1194"/>
                <a:gd name="T39" fmla="*/ 3 h 594"/>
                <a:gd name="T40" fmla="*/ 1 w 1194"/>
                <a:gd name="T41" fmla="*/ 3 h 594"/>
                <a:gd name="T42" fmla="*/ 1 w 1194"/>
                <a:gd name="T43" fmla="*/ 3 h 594"/>
                <a:gd name="T44" fmla="*/ 2 w 1194"/>
                <a:gd name="T45" fmla="*/ 4 h 594"/>
                <a:gd name="T46" fmla="*/ 3 w 1194"/>
                <a:gd name="T47" fmla="*/ 4 h 594"/>
                <a:gd name="T48" fmla="*/ 3 w 1194"/>
                <a:gd name="T49" fmla="*/ 4 h 594"/>
                <a:gd name="T50" fmla="*/ 3 w 1194"/>
                <a:gd name="T51" fmla="*/ 4 h 594"/>
                <a:gd name="T52" fmla="*/ 4 w 1194"/>
                <a:gd name="T53" fmla="*/ 4 h 594"/>
                <a:gd name="T54" fmla="*/ 4 w 1194"/>
                <a:gd name="T55" fmla="*/ 4 h 594"/>
                <a:gd name="T56" fmla="*/ 4 w 1194"/>
                <a:gd name="T57" fmla="*/ 4 h 594"/>
                <a:gd name="T58" fmla="*/ 4 w 1194"/>
                <a:gd name="T59" fmla="*/ 4 h 594"/>
                <a:gd name="T60" fmla="*/ 4 w 1194"/>
                <a:gd name="T61" fmla="*/ 4 h 594"/>
                <a:gd name="T62" fmla="*/ 4 w 1194"/>
                <a:gd name="T63" fmla="*/ 3 h 594"/>
                <a:gd name="T64" fmla="*/ 5 w 1194"/>
                <a:gd name="T65" fmla="*/ 3 h 594"/>
                <a:gd name="T66" fmla="*/ 6 w 1194"/>
                <a:gd name="T67" fmla="*/ 4 h 594"/>
                <a:gd name="T68" fmla="*/ 6 w 1194"/>
                <a:gd name="T69" fmla="*/ 4 h 594"/>
                <a:gd name="T70" fmla="*/ 6 w 1194"/>
                <a:gd name="T71" fmla="*/ 4 h 594"/>
                <a:gd name="T72" fmla="*/ 6 w 1194"/>
                <a:gd name="T73" fmla="*/ 4 h 594"/>
                <a:gd name="T74" fmla="*/ 6 w 1194"/>
                <a:gd name="T75" fmla="*/ 4 h 594"/>
                <a:gd name="T76" fmla="*/ 6 w 1194"/>
                <a:gd name="T77" fmla="*/ 4 h 594"/>
                <a:gd name="T78" fmla="*/ 6 w 1194"/>
                <a:gd name="T79" fmla="*/ 3 h 594"/>
                <a:gd name="T80" fmla="*/ 6 w 1194"/>
                <a:gd name="T81" fmla="*/ 3 h 594"/>
                <a:gd name="T82" fmla="*/ 6 w 1194"/>
                <a:gd name="T83" fmla="*/ 3 h 594"/>
                <a:gd name="T84" fmla="*/ 7 w 1194"/>
                <a:gd name="T85" fmla="*/ 2 h 594"/>
                <a:gd name="T86" fmla="*/ 6 w 1194"/>
                <a:gd name="T87" fmla="*/ 2 h 594"/>
                <a:gd name="T88" fmla="*/ 7 w 1194"/>
                <a:gd name="T89" fmla="*/ 2 h 594"/>
                <a:gd name="T90" fmla="*/ 7 w 1194"/>
                <a:gd name="T91" fmla="*/ 2 h 594"/>
                <a:gd name="T92" fmla="*/ 7 w 1194"/>
                <a:gd name="T93" fmla="*/ 2 h 594"/>
                <a:gd name="T94" fmla="*/ 7 w 1194"/>
                <a:gd name="T95" fmla="*/ 2 h 594"/>
                <a:gd name="T96" fmla="*/ 7 w 1194"/>
                <a:gd name="T97" fmla="*/ 2 h 594"/>
                <a:gd name="T98" fmla="*/ 8 w 1194"/>
                <a:gd name="T99" fmla="*/ 2 h 594"/>
                <a:gd name="T100" fmla="*/ 8 w 1194"/>
                <a:gd name="T101" fmla="*/ 2 h 594"/>
                <a:gd name="T102" fmla="*/ 8 w 1194"/>
                <a:gd name="T103" fmla="*/ 1 h 594"/>
                <a:gd name="T104" fmla="*/ 8 w 1194"/>
                <a:gd name="T105" fmla="*/ 1 h 594"/>
                <a:gd name="T106" fmla="*/ 8 w 1194"/>
                <a:gd name="T107" fmla="*/ 1 h 594"/>
                <a:gd name="T108" fmla="*/ 8 w 1194"/>
                <a:gd name="T109" fmla="*/ 1 h 594"/>
                <a:gd name="T110" fmla="*/ 8 w 1194"/>
                <a:gd name="T111" fmla="*/ 1 h 59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94"/>
                <a:gd name="T169" fmla="*/ 0 h 594"/>
                <a:gd name="T170" fmla="*/ 1194 w 1194"/>
                <a:gd name="T171" fmla="*/ 594 h 59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94" h="594">
                  <a:moveTo>
                    <a:pt x="1192" y="109"/>
                  </a:moveTo>
                  <a:lnTo>
                    <a:pt x="1191" y="100"/>
                  </a:lnTo>
                  <a:lnTo>
                    <a:pt x="1185" y="85"/>
                  </a:lnTo>
                  <a:lnTo>
                    <a:pt x="1194" y="55"/>
                  </a:lnTo>
                  <a:lnTo>
                    <a:pt x="1181" y="50"/>
                  </a:lnTo>
                  <a:lnTo>
                    <a:pt x="1172" y="50"/>
                  </a:lnTo>
                  <a:lnTo>
                    <a:pt x="1170" y="45"/>
                  </a:lnTo>
                  <a:lnTo>
                    <a:pt x="1154" y="63"/>
                  </a:lnTo>
                  <a:lnTo>
                    <a:pt x="1137" y="81"/>
                  </a:lnTo>
                  <a:lnTo>
                    <a:pt x="1118" y="97"/>
                  </a:lnTo>
                  <a:lnTo>
                    <a:pt x="1104" y="104"/>
                  </a:lnTo>
                  <a:lnTo>
                    <a:pt x="1066" y="106"/>
                  </a:lnTo>
                  <a:lnTo>
                    <a:pt x="1028" y="109"/>
                  </a:lnTo>
                  <a:lnTo>
                    <a:pt x="1008" y="123"/>
                  </a:lnTo>
                  <a:lnTo>
                    <a:pt x="988" y="139"/>
                  </a:lnTo>
                  <a:lnTo>
                    <a:pt x="964" y="140"/>
                  </a:lnTo>
                  <a:lnTo>
                    <a:pt x="940" y="142"/>
                  </a:lnTo>
                  <a:lnTo>
                    <a:pt x="938" y="158"/>
                  </a:lnTo>
                  <a:lnTo>
                    <a:pt x="917" y="165"/>
                  </a:lnTo>
                  <a:lnTo>
                    <a:pt x="896" y="172"/>
                  </a:lnTo>
                  <a:lnTo>
                    <a:pt x="875" y="180"/>
                  </a:lnTo>
                  <a:lnTo>
                    <a:pt x="854" y="187"/>
                  </a:lnTo>
                  <a:lnTo>
                    <a:pt x="848" y="177"/>
                  </a:lnTo>
                  <a:lnTo>
                    <a:pt x="872" y="153"/>
                  </a:lnTo>
                  <a:lnTo>
                    <a:pt x="882" y="140"/>
                  </a:lnTo>
                  <a:lnTo>
                    <a:pt x="886" y="118"/>
                  </a:lnTo>
                  <a:lnTo>
                    <a:pt x="891" y="97"/>
                  </a:lnTo>
                  <a:lnTo>
                    <a:pt x="875" y="85"/>
                  </a:lnTo>
                  <a:lnTo>
                    <a:pt x="878" y="78"/>
                  </a:lnTo>
                  <a:lnTo>
                    <a:pt x="870" y="79"/>
                  </a:lnTo>
                  <a:lnTo>
                    <a:pt x="869" y="68"/>
                  </a:lnTo>
                  <a:lnTo>
                    <a:pt x="852" y="58"/>
                  </a:lnTo>
                  <a:lnTo>
                    <a:pt x="836" y="48"/>
                  </a:lnTo>
                  <a:lnTo>
                    <a:pt x="819" y="37"/>
                  </a:lnTo>
                  <a:lnTo>
                    <a:pt x="802" y="26"/>
                  </a:lnTo>
                  <a:lnTo>
                    <a:pt x="776" y="33"/>
                  </a:lnTo>
                  <a:lnTo>
                    <a:pt x="760" y="26"/>
                  </a:lnTo>
                  <a:lnTo>
                    <a:pt x="743" y="30"/>
                  </a:lnTo>
                  <a:lnTo>
                    <a:pt x="714" y="18"/>
                  </a:lnTo>
                  <a:lnTo>
                    <a:pt x="693" y="13"/>
                  </a:lnTo>
                  <a:lnTo>
                    <a:pt x="695" y="0"/>
                  </a:lnTo>
                  <a:lnTo>
                    <a:pt x="687" y="8"/>
                  </a:lnTo>
                  <a:lnTo>
                    <a:pt x="653" y="8"/>
                  </a:lnTo>
                  <a:lnTo>
                    <a:pt x="621" y="8"/>
                  </a:lnTo>
                  <a:lnTo>
                    <a:pt x="587" y="8"/>
                  </a:lnTo>
                  <a:lnTo>
                    <a:pt x="555" y="8"/>
                  </a:lnTo>
                  <a:lnTo>
                    <a:pt x="521" y="8"/>
                  </a:lnTo>
                  <a:lnTo>
                    <a:pt x="489" y="8"/>
                  </a:lnTo>
                  <a:lnTo>
                    <a:pt x="455" y="8"/>
                  </a:lnTo>
                  <a:lnTo>
                    <a:pt x="423" y="8"/>
                  </a:lnTo>
                  <a:lnTo>
                    <a:pt x="389" y="8"/>
                  </a:lnTo>
                  <a:lnTo>
                    <a:pt x="357" y="8"/>
                  </a:lnTo>
                  <a:lnTo>
                    <a:pt x="323" y="8"/>
                  </a:lnTo>
                  <a:lnTo>
                    <a:pt x="289" y="8"/>
                  </a:lnTo>
                  <a:lnTo>
                    <a:pt x="257" y="8"/>
                  </a:lnTo>
                  <a:lnTo>
                    <a:pt x="223" y="8"/>
                  </a:lnTo>
                  <a:lnTo>
                    <a:pt x="191" y="8"/>
                  </a:lnTo>
                  <a:lnTo>
                    <a:pt x="157" y="8"/>
                  </a:lnTo>
                  <a:lnTo>
                    <a:pt x="150" y="28"/>
                  </a:lnTo>
                  <a:lnTo>
                    <a:pt x="142" y="48"/>
                  </a:lnTo>
                  <a:lnTo>
                    <a:pt x="125" y="55"/>
                  </a:lnTo>
                  <a:lnTo>
                    <a:pt x="129" y="49"/>
                  </a:lnTo>
                  <a:lnTo>
                    <a:pt x="130" y="52"/>
                  </a:lnTo>
                  <a:lnTo>
                    <a:pt x="145" y="34"/>
                  </a:lnTo>
                  <a:lnTo>
                    <a:pt x="129" y="48"/>
                  </a:lnTo>
                  <a:lnTo>
                    <a:pt x="126" y="48"/>
                  </a:lnTo>
                  <a:lnTo>
                    <a:pt x="137" y="38"/>
                  </a:lnTo>
                  <a:lnTo>
                    <a:pt x="144" y="30"/>
                  </a:lnTo>
                  <a:lnTo>
                    <a:pt x="113" y="22"/>
                  </a:lnTo>
                  <a:lnTo>
                    <a:pt x="103" y="55"/>
                  </a:lnTo>
                  <a:lnTo>
                    <a:pt x="101" y="60"/>
                  </a:lnTo>
                  <a:lnTo>
                    <a:pt x="100" y="63"/>
                  </a:lnTo>
                  <a:lnTo>
                    <a:pt x="99" y="68"/>
                  </a:lnTo>
                  <a:lnTo>
                    <a:pt x="97" y="64"/>
                  </a:lnTo>
                  <a:lnTo>
                    <a:pt x="91" y="74"/>
                  </a:lnTo>
                  <a:lnTo>
                    <a:pt x="105" y="76"/>
                  </a:lnTo>
                  <a:lnTo>
                    <a:pt x="94" y="76"/>
                  </a:lnTo>
                  <a:lnTo>
                    <a:pt x="84" y="88"/>
                  </a:lnTo>
                  <a:lnTo>
                    <a:pt x="60" y="121"/>
                  </a:lnTo>
                  <a:lnTo>
                    <a:pt x="36" y="153"/>
                  </a:lnTo>
                  <a:lnTo>
                    <a:pt x="29" y="174"/>
                  </a:lnTo>
                  <a:lnTo>
                    <a:pt x="22" y="193"/>
                  </a:lnTo>
                  <a:lnTo>
                    <a:pt x="1" y="217"/>
                  </a:lnTo>
                  <a:lnTo>
                    <a:pt x="4" y="225"/>
                  </a:lnTo>
                  <a:lnTo>
                    <a:pt x="0" y="243"/>
                  </a:lnTo>
                  <a:lnTo>
                    <a:pt x="3" y="259"/>
                  </a:lnTo>
                  <a:lnTo>
                    <a:pt x="6" y="276"/>
                  </a:lnTo>
                  <a:lnTo>
                    <a:pt x="4" y="271"/>
                  </a:lnTo>
                  <a:lnTo>
                    <a:pt x="3" y="276"/>
                  </a:lnTo>
                  <a:lnTo>
                    <a:pt x="12" y="277"/>
                  </a:lnTo>
                  <a:lnTo>
                    <a:pt x="17" y="277"/>
                  </a:lnTo>
                  <a:lnTo>
                    <a:pt x="15" y="289"/>
                  </a:lnTo>
                  <a:lnTo>
                    <a:pt x="10" y="285"/>
                  </a:lnTo>
                  <a:lnTo>
                    <a:pt x="6" y="289"/>
                  </a:lnTo>
                  <a:lnTo>
                    <a:pt x="12" y="303"/>
                  </a:lnTo>
                  <a:lnTo>
                    <a:pt x="6" y="312"/>
                  </a:lnTo>
                  <a:lnTo>
                    <a:pt x="11" y="326"/>
                  </a:lnTo>
                  <a:lnTo>
                    <a:pt x="16" y="340"/>
                  </a:lnTo>
                  <a:lnTo>
                    <a:pt x="12" y="362"/>
                  </a:lnTo>
                  <a:lnTo>
                    <a:pt x="24" y="364"/>
                  </a:lnTo>
                  <a:lnTo>
                    <a:pt x="45" y="375"/>
                  </a:lnTo>
                  <a:lnTo>
                    <a:pt x="66" y="392"/>
                  </a:lnTo>
                  <a:lnTo>
                    <a:pt x="66" y="412"/>
                  </a:lnTo>
                  <a:lnTo>
                    <a:pt x="91" y="411"/>
                  </a:lnTo>
                  <a:lnTo>
                    <a:pt x="117" y="410"/>
                  </a:lnTo>
                  <a:lnTo>
                    <a:pt x="133" y="418"/>
                  </a:lnTo>
                  <a:lnTo>
                    <a:pt x="150" y="426"/>
                  </a:lnTo>
                  <a:lnTo>
                    <a:pt x="166" y="434"/>
                  </a:lnTo>
                  <a:lnTo>
                    <a:pt x="183" y="442"/>
                  </a:lnTo>
                  <a:lnTo>
                    <a:pt x="213" y="442"/>
                  </a:lnTo>
                  <a:lnTo>
                    <a:pt x="243" y="442"/>
                  </a:lnTo>
                  <a:lnTo>
                    <a:pt x="246" y="432"/>
                  </a:lnTo>
                  <a:lnTo>
                    <a:pt x="281" y="432"/>
                  </a:lnTo>
                  <a:lnTo>
                    <a:pt x="299" y="456"/>
                  </a:lnTo>
                  <a:lnTo>
                    <a:pt x="306" y="480"/>
                  </a:lnTo>
                  <a:lnTo>
                    <a:pt x="319" y="490"/>
                  </a:lnTo>
                  <a:lnTo>
                    <a:pt x="331" y="501"/>
                  </a:lnTo>
                  <a:lnTo>
                    <a:pt x="347" y="482"/>
                  </a:lnTo>
                  <a:lnTo>
                    <a:pt x="376" y="484"/>
                  </a:lnTo>
                  <a:lnTo>
                    <a:pt x="385" y="507"/>
                  </a:lnTo>
                  <a:lnTo>
                    <a:pt x="395" y="530"/>
                  </a:lnTo>
                  <a:lnTo>
                    <a:pt x="402" y="559"/>
                  </a:lnTo>
                  <a:lnTo>
                    <a:pt x="417" y="571"/>
                  </a:lnTo>
                  <a:lnTo>
                    <a:pt x="442" y="576"/>
                  </a:lnTo>
                  <a:lnTo>
                    <a:pt x="441" y="547"/>
                  </a:lnTo>
                  <a:lnTo>
                    <a:pt x="438" y="543"/>
                  </a:lnTo>
                  <a:lnTo>
                    <a:pt x="437" y="538"/>
                  </a:lnTo>
                  <a:lnTo>
                    <a:pt x="444" y="542"/>
                  </a:lnTo>
                  <a:lnTo>
                    <a:pt x="448" y="529"/>
                  </a:lnTo>
                  <a:lnTo>
                    <a:pt x="453" y="525"/>
                  </a:lnTo>
                  <a:lnTo>
                    <a:pt x="465" y="517"/>
                  </a:lnTo>
                  <a:lnTo>
                    <a:pt x="471" y="512"/>
                  </a:lnTo>
                  <a:lnTo>
                    <a:pt x="471" y="508"/>
                  </a:lnTo>
                  <a:lnTo>
                    <a:pt x="482" y="510"/>
                  </a:lnTo>
                  <a:lnTo>
                    <a:pt x="476" y="513"/>
                  </a:lnTo>
                  <a:lnTo>
                    <a:pt x="488" y="507"/>
                  </a:lnTo>
                  <a:lnTo>
                    <a:pt x="483" y="507"/>
                  </a:lnTo>
                  <a:lnTo>
                    <a:pt x="508" y="490"/>
                  </a:lnTo>
                  <a:lnTo>
                    <a:pt x="510" y="483"/>
                  </a:lnTo>
                  <a:lnTo>
                    <a:pt x="516" y="487"/>
                  </a:lnTo>
                  <a:lnTo>
                    <a:pt x="514" y="489"/>
                  </a:lnTo>
                  <a:lnTo>
                    <a:pt x="531" y="480"/>
                  </a:lnTo>
                  <a:lnTo>
                    <a:pt x="534" y="480"/>
                  </a:lnTo>
                  <a:lnTo>
                    <a:pt x="551" y="482"/>
                  </a:lnTo>
                  <a:lnTo>
                    <a:pt x="568" y="483"/>
                  </a:lnTo>
                  <a:lnTo>
                    <a:pt x="580" y="482"/>
                  </a:lnTo>
                  <a:lnTo>
                    <a:pt x="586" y="490"/>
                  </a:lnTo>
                  <a:lnTo>
                    <a:pt x="598" y="494"/>
                  </a:lnTo>
                  <a:lnTo>
                    <a:pt x="610" y="495"/>
                  </a:lnTo>
                  <a:lnTo>
                    <a:pt x="609" y="486"/>
                  </a:lnTo>
                  <a:lnTo>
                    <a:pt x="626" y="496"/>
                  </a:lnTo>
                  <a:lnTo>
                    <a:pt x="622" y="502"/>
                  </a:lnTo>
                  <a:lnTo>
                    <a:pt x="629" y="494"/>
                  </a:lnTo>
                  <a:lnTo>
                    <a:pt x="620" y="483"/>
                  </a:lnTo>
                  <a:lnTo>
                    <a:pt x="627" y="478"/>
                  </a:lnTo>
                  <a:lnTo>
                    <a:pt x="624" y="476"/>
                  </a:lnTo>
                  <a:lnTo>
                    <a:pt x="622" y="474"/>
                  </a:lnTo>
                  <a:lnTo>
                    <a:pt x="608" y="470"/>
                  </a:lnTo>
                  <a:lnTo>
                    <a:pt x="622" y="470"/>
                  </a:lnTo>
                  <a:lnTo>
                    <a:pt x="657" y="468"/>
                  </a:lnTo>
                  <a:lnTo>
                    <a:pt x="662" y="457"/>
                  </a:lnTo>
                  <a:lnTo>
                    <a:pt x="660" y="469"/>
                  </a:lnTo>
                  <a:lnTo>
                    <a:pt x="671" y="468"/>
                  </a:lnTo>
                  <a:lnTo>
                    <a:pt x="681" y="463"/>
                  </a:lnTo>
                  <a:lnTo>
                    <a:pt x="676" y="466"/>
                  </a:lnTo>
                  <a:lnTo>
                    <a:pt x="696" y="465"/>
                  </a:lnTo>
                  <a:lnTo>
                    <a:pt x="690" y="465"/>
                  </a:lnTo>
                  <a:lnTo>
                    <a:pt x="704" y="469"/>
                  </a:lnTo>
                  <a:lnTo>
                    <a:pt x="707" y="469"/>
                  </a:lnTo>
                  <a:lnTo>
                    <a:pt x="711" y="475"/>
                  </a:lnTo>
                  <a:lnTo>
                    <a:pt x="707" y="472"/>
                  </a:lnTo>
                  <a:lnTo>
                    <a:pt x="711" y="483"/>
                  </a:lnTo>
                  <a:lnTo>
                    <a:pt x="742" y="472"/>
                  </a:lnTo>
                  <a:lnTo>
                    <a:pt x="753" y="489"/>
                  </a:lnTo>
                  <a:lnTo>
                    <a:pt x="764" y="505"/>
                  </a:lnTo>
                  <a:lnTo>
                    <a:pt x="758" y="534"/>
                  </a:lnTo>
                  <a:lnTo>
                    <a:pt x="756" y="529"/>
                  </a:lnTo>
                  <a:lnTo>
                    <a:pt x="759" y="532"/>
                  </a:lnTo>
                  <a:lnTo>
                    <a:pt x="762" y="526"/>
                  </a:lnTo>
                  <a:lnTo>
                    <a:pt x="759" y="542"/>
                  </a:lnTo>
                  <a:lnTo>
                    <a:pt x="765" y="552"/>
                  </a:lnTo>
                  <a:lnTo>
                    <a:pt x="767" y="553"/>
                  </a:lnTo>
                  <a:lnTo>
                    <a:pt x="768" y="561"/>
                  </a:lnTo>
                  <a:lnTo>
                    <a:pt x="772" y="556"/>
                  </a:lnTo>
                  <a:lnTo>
                    <a:pt x="770" y="562"/>
                  </a:lnTo>
                  <a:lnTo>
                    <a:pt x="773" y="577"/>
                  </a:lnTo>
                  <a:lnTo>
                    <a:pt x="783" y="594"/>
                  </a:lnTo>
                  <a:lnTo>
                    <a:pt x="796" y="591"/>
                  </a:lnTo>
                  <a:lnTo>
                    <a:pt x="803" y="571"/>
                  </a:lnTo>
                  <a:lnTo>
                    <a:pt x="810" y="552"/>
                  </a:lnTo>
                  <a:lnTo>
                    <a:pt x="807" y="530"/>
                  </a:lnTo>
                  <a:lnTo>
                    <a:pt x="803" y="508"/>
                  </a:lnTo>
                  <a:lnTo>
                    <a:pt x="806" y="529"/>
                  </a:lnTo>
                  <a:lnTo>
                    <a:pt x="804" y="508"/>
                  </a:lnTo>
                  <a:lnTo>
                    <a:pt x="802" y="488"/>
                  </a:lnTo>
                  <a:lnTo>
                    <a:pt x="801" y="469"/>
                  </a:lnTo>
                  <a:lnTo>
                    <a:pt x="800" y="448"/>
                  </a:lnTo>
                  <a:lnTo>
                    <a:pt x="807" y="444"/>
                  </a:lnTo>
                  <a:lnTo>
                    <a:pt x="807" y="441"/>
                  </a:lnTo>
                  <a:lnTo>
                    <a:pt x="816" y="429"/>
                  </a:lnTo>
                  <a:lnTo>
                    <a:pt x="822" y="418"/>
                  </a:lnTo>
                  <a:lnTo>
                    <a:pt x="824" y="416"/>
                  </a:lnTo>
                  <a:lnTo>
                    <a:pt x="831" y="414"/>
                  </a:lnTo>
                  <a:lnTo>
                    <a:pt x="860" y="394"/>
                  </a:lnTo>
                  <a:lnTo>
                    <a:pt x="862" y="393"/>
                  </a:lnTo>
                  <a:lnTo>
                    <a:pt x="884" y="379"/>
                  </a:lnTo>
                  <a:lnTo>
                    <a:pt x="892" y="375"/>
                  </a:lnTo>
                  <a:lnTo>
                    <a:pt x="908" y="362"/>
                  </a:lnTo>
                  <a:lnTo>
                    <a:pt x="933" y="352"/>
                  </a:lnTo>
                  <a:lnTo>
                    <a:pt x="917" y="348"/>
                  </a:lnTo>
                  <a:lnTo>
                    <a:pt x="927" y="349"/>
                  </a:lnTo>
                  <a:lnTo>
                    <a:pt x="930" y="344"/>
                  </a:lnTo>
                  <a:lnTo>
                    <a:pt x="921" y="338"/>
                  </a:lnTo>
                  <a:lnTo>
                    <a:pt x="942" y="339"/>
                  </a:lnTo>
                  <a:lnTo>
                    <a:pt x="948" y="328"/>
                  </a:lnTo>
                  <a:lnTo>
                    <a:pt x="942" y="332"/>
                  </a:lnTo>
                  <a:lnTo>
                    <a:pt x="938" y="327"/>
                  </a:lnTo>
                  <a:lnTo>
                    <a:pt x="930" y="324"/>
                  </a:lnTo>
                  <a:lnTo>
                    <a:pt x="932" y="322"/>
                  </a:lnTo>
                  <a:lnTo>
                    <a:pt x="940" y="324"/>
                  </a:lnTo>
                  <a:lnTo>
                    <a:pt x="946" y="322"/>
                  </a:lnTo>
                  <a:lnTo>
                    <a:pt x="951" y="325"/>
                  </a:lnTo>
                  <a:lnTo>
                    <a:pt x="952" y="309"/>
                  </a:lnTo>
                  <a:lnTo>
                    <a:pt x="954" y="332"/>
                  </a:lnTo>
                  <a:lnTo>
                    <a:pt x="947" y="303"/>
                  </a:lnTo>
                  <a:lnTo>
                    <a:pt x="940" y="301"/>
                  </a:lnTo>
                  <a:lnTo>
                    <a:pt x="933" y="294"/>
                  </a:lnTo>
                  <a:lnTo>
                    <a:pt x="946" y="300"/>
                  </a:lnTo>
                  <a:lnTo>
                    <a:pt x="941" y="289"/>
                  </a:lnTo>
                  <a:lnTo>
                    <a:pt x="950" y="294"/>
                  </a:lnTo>
                  <a:lnTo>
                    <a:pt x="939" y="274"/>
                  </a:lnTo>
                  <a:lnTo>
                    <a:pt x="952" y="283"/>
                  </a:lnTo>
                  <a:lnTo>
                    <a:pt x="941" y="267"/>
                  </a:lnTo>
                  <a:lnTo>
                    <a:pt x="936" y="267"/>
                  </a:lnTo>
                  <a:lnTo>
                    <a:pt x="945" y="258"/>
                  </a:lnTo>
                  <a:lnTo>
                    <a:pt x="941" y="266"/>
                  </a:lnTo>
                  <a:lnTo>
                    <a:pt x="954" y="273"/>
                  </a:lnTo>
                  <a:lnTo>
                    <a:pt x="951" y="260"/>
                  </a:lnTo>
                  <a:lnTo>
                    <a:pt x="954" y="268"/>
                  </a:lnTo>
                  <a:lnTo>
                    <a:pt x="958" y="247"/>
                  </a:lnTo>
                  <a:lnTo>
                    <a:pt x="971" y="241"/>
                  </a:lnTo>
                  <a:lnTo>
                    <a:pt x="963" y="254"/>
                  </a:lnTo>
                  <a:lnTo>
                    <a:pt x="962" y="261"/>
                  </a:lnTo>
                  <a:lnTo>
                    <a:pt x="958" y="267"/>
                  </a:lnTo>
                  <a:lnTo>
                    <a:pt x="965" y="271"/>
                  </a:lnTo>
                  <a:lnTo>
                    <a:pt x="962" y="278"/>
                  </a:lnTo>
                  <a:lnTo>
                    <a:pt x="963" y="283"/>
                  </a:lnTo>
                  <a:lnTo>
                    <a:pt x="959" y="286"/>
                  </a:lnTo>
                  <a:lnTo>
                    <a:pt x="954" y="295"/>
                  </a:lnTo>
                  <a:lnTo>
                    <a:pt x="981" y="267"/>
                  </a:lnTo>
                  <a:lnTo>
                    <a:pt x="978" y="241"/>
                  </a:lnTo>
                  <a:lnTo>
                    <a:pt x="990" y="230"/>
                  </a:lnTo>
                  <a:lnTo>
                    <a:pt x="980" y="237"/>
                  </a:lnTo>
                  <a:lnTo>
                    <a:pt x="988" y="247"/>
                  </a:lnTo>
                  <a:lnTo>
                    <a:pt x="987" y="254"/>
                  </a:lnTo>
                  <a:lnTo>
                    <a:pt x="1012" y="230"/>
                  </a:lnTo>
                  <a:lnTo>
                    <a:pt x="1011" y="232"/>
                  </a:lnTo>
                  <a:lnTo>
                    <a:pt x="1016" y="217"/>
                  </a:lnTo>
                  <a:lnTo>
                    <a:pt x="1025" y="199"/>
                  </a:lnTo>
                  <a:lnTo>
                    <a:pt x="1023" y="206"/>
                  </a:lnTo>
                  <a:lnTo>
                    <a:pt x="1030" y="202"/>
                  </a:lnTo>
                  <a:lnTo>
                    <a:pt x="1053" y="198"/>
                  </a:lnTo>
                  <a:lnTo>
                    <a:pt x="1074" y="194"/>
                  </a:lnTo>
                  <a:lnTo>
                    <a:pt x="1079" y="187"/>
                  </a:lnTo>
                  <a:lnTo>
                    <a:pt x="1083" y="187"/>
                  </a:lnTo>
                  <a:lnTo>
                    <a:pt x="1084" y="188"/>
                  </a:lnTo>
                  <a:lnTo>
                    <a:pt x="1092" y="192"/>
                  </a:lnTo>
                  <a:lnTo>
                    <a:pt x="1096" y="193"/>
                  </a:lnTo>
                  <a:lnTo>
                    <a:pt x="1109" y="187"/>
                  </a:lnTo>
                  <a:lnTo>
                    <a:pt x="1109" y="177"/>
                  </a:lnTo>
                  <a:lnTo>
                    <a:pt x="1109" y="183"/>
                  </a:lnTo>
                  <a:lnTo>
                    <a:pt x="1097" y="178"/>
                  </a:lnTo>
                  <a:lnTo>
                    <a:pt x="1100" y="165"/>
                  </a:lnTo>
                  <a:lnTo>
                    <a:pt x="1101" y="160"/>
                  </a:lnTo>
                  <a:lnTo>
                    <a:pt x="1124" y="135"/>
                  </a:lnTo>
                  <a:lnTo>
                    <a:pt x="1131" y="132"/>
                  </a:lnTo>
                  <a:lnTo>
                    <a:pt x="1134" y="133"/>
                  </a:lnTo>
                  <a:lnTo>
                    <a:pt x="1152" y="117"/>
                  </a:lnTo>
                  <a:lnTo>
                    <a:pt x="1152" y="120"/>
                  </a:lnTo>
                  <a:lnTo>
                    <a:pt x="1157" y="118"/>
                  </a:lnTo>
                  <a:lnTo>
                    <a:pt x="1167" y="121"/>
                  </a:lnTo>
                  <a:lnTo>
                    <a:pt x="1192" y="109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500" name="Freeform 256"/>
            <p:cNvSpPr>
              <a:spLocks/>
            </p:cNvSpPr>
            <p:nvPr/>
          </p:nvSpPr>
          <p:spPr bwMode="auto">
            <a:xfrm>
              <a:off x="670" y="886"/>
              <a:ext cx="535" cy="256"/>
            </a:xfrm>
            <a:custGeom>
              <a:avLst/>
              <a:gdLst>
                <a:gd name="T0" fmla="*/ 4 w 760"/>
                <a:gd name="T1" fmla="*/ 2 h 365"/>
                <a:gd name="T2" fmla="*/ 4 w 760"/>
                <a:gd name="T3" fmla="*/ 2 h 365"/>
                <a:gd name="T4" fmla="*/ 4 w 760"/>
                <a:gd name="T5" fmla="*/ 2 h 365"/>
                <a:gd name="T6" fmla="*/ 4 w 760"/>
                <a:gd name="T7" fmla="*/ 1 h 365"/>
                <a:gd name="T8" fmla="*/ 6 w 760"/>
                <a:gd name="T9" fmla="*/ 1 h 365"/>
                <a:gd name="T10" fmla="*/ 6 w 760"/>
                <a:gd name="T11" fmla="*/ 1 h 365"/>
                <a:gd name="T12" fmla="*/ 4 w 760"/>
                <a:gd name="T13" fmla="*/ 1 h 365"/>
                <a:gd name="T14" fmla="*/ 4 w 760"/>
                <a:gd name="T15" fmla="*/ 1 h 365"/>
                <a:gd name="T16" fmla="*/ 4 w 760"/>
                <a:gd name="T17" fmla="*/ 1 h 365"/>
                <a:gd name="T18" fmla="*/ 3 w 760"/>
                <a:gd name="T19" fmla="*/ 1 h 365"/>
                <a:gd name="T20" fmla="*/ 2 w 760"/>
                <a:gd name="T21" fmla="*/ 1 h 365"/>
                <a:gd name="T22" fmla="*/ 3 w 760"/>
                <a:gd name="T23" fmla="*/ 1 h 365"/>
                <a:gd name="T24" fmla="*/ 3 w 760"/>
                <a:gd name="T25" fmla="*/ 1 h 365"/>
                <a:gd name="T26" fmla="*/ 2 w 760"/>
                <a:gd name="T27" fmla="*/ 1 h 365"/>
                <a:gd name="T28" fmla="*/ 1 w 760"/>
                <a:gd name="T29" fmla="*/ 1 h 365"/>
                <a:gd name="T30" fmla="*/ 2 w 760"/>
                <a:gd name="T31" fmla="*/ 1 h 365"/>
                <a:gd name="T32" fmla="*/ 2 w 760"/>
                <a:gd name="T33" fmla="*/ 1 h 365"/>
                <a:gd name="T34" fmla="*/ 1 w 760"/>
                <a:gd name="T35" fmla="*/ 1 h 365"/>
                <a:gd name="T36" fmla="*/ 1 w 760"/>
                <a:gd name="T37" fmla="*/ 1 h 365"/>
                <a:gd name="T38" fmla="*/ 1 w 760"/>
                <a:gd name="T39" fmla="*/ 1 h 365"/>
                <a:gd name="T40" fmla="*/ 1 w 760"/>
                <a:gd name="T41" fmla="*/ 1 h 365"/>
                <a:gd name="T42" fmla="*/ 1 w 760"/>
                <a:gd name="T43" fmla="*/ 1 h 365"/>
                <a:gd name="T44" fmla="*/ 1 w 760"/>
                <a:gd name="T45" fmla="*/ 2 h 365"/>
                <a:gd name="T46" fmla="*/ 1 w 760"/>
                <a:gd name="T47" fmla="*/ 2 h 365"/>
                <a:gd name="T48" fmla="*/ 1 w 760"/>
                <a:gd name="T49" fmla="*/ 2 h 365"/>
                <a:gd name="T50" fmla="*/ 1 w 760"/>
                <a:gd name="T51" fmla="*/ 2 h 365"/>
                <a:gd name="T52" fmla="*/ 1 w 760"/>
                <a:gd name="T53" fmla="*/ 2 h 365"/>
                <a:gd name="T54" fmla="*/ 1 w 760"/>
                <a:gd name="T55" fmla="*/ 3 h 365"/>
                <a:gd name="T56" fmla="*/ 1 w 760"/>
                <a:gd name="T57" fmla="*/ 3 h 365"/>
                <a:gd name="T58" fmla="*/ 1 w 760"/>
                <a:gd name="T59" fmla="*/ 3 h 365"/>
                <a:gd name="T60" fmla="*/ 1 w 760"/>
                <a:gd name="T61" fmla="*/ 3 h 365"/>
                <a:gd name="T62" fmla="*/ 1 w 760"/>
                <a:gd name="T63" fmla="*/ 3 h 365"/>
                <a:gd name="T64" fmla="*/ 2 w 760"/>
                <a:gd name="T65" fmla="*/ 2 h 365"/>
                <a:gd name="T66" fmla="*/ 2 w 760"/>
                <a:gd name="T67" fmla="*/ 2 h 365"/>
                <a:gd name="T68" fmla="*/ 3 w 760"/>
                <a:gd name="T69" fmla="*/ 1 h 365"/>
                <a:gd name="T70" fmla="*/ 3 w 760"/>
                <a:gd name="T71" fmla="*/ 1 h 365"/>
                <a:gd name="T72" fmla="*/ 3 w 760"/>
                <a:gd name="T73" fmla="*/ 2 h 365"/>
                <a:gd name="T74" fmla="*/ 3 w 760"/>
                <a:gd name="T75" fmla="*/ 2 h 365"/>
                <a:gd name="T76" fmla="*/ 3 w 760"/>
                <a:gd name="T77" fmla="*/ 2 h 365"/>
                <a:gd name="T78" fmla="*/ 3 w 760"/>
                <a:gd name="T79" fmla="*/ 1 h 365"/>
                <a:gd name="T80" fmla="*/ 3 w 760"/>
                <a:gd name="T81" fmla="*/ 1 h 365"/>
                <a:gd name="T82" fmla="*/ 3 w 760"/>
                <a:gd name="T83" fmla="*/ 1 h 365"/>
                <a:gd name="T84" fmla="*/ 3 w 760"/>
                <a:gd name="T85" fmla="*/ 2 h 365"/>
                <a:gd name="T86" fmla="*/ 4 w 760"/>
                <a:gd name="T87" fmla="*/ 2 h 365"/>
                <a:gd name="T88" fmla="*/ 4 w 760"/>
                <a:gd name="T89" fmla="*/ 2 h 365"/>
                <a:gd name="T90" fmla="*/ 4 w 760"/>
                <a:gd name="T91" fmla="*/ 2 h 365"/>
                <a:gd name="T92" fmla="*/ 4 w 760"/>
                <a:gd name="T93" fmla="*/ 2 h 365"/>
                <a:gd name="T94" fmla="*/ 4 w 760"/>
                <a:gd name="T95" fmla="*/ 2 h 365"/>
                <a:gd name="T96" fmla="*/ 4 w 760"/>
                <a:gd name="T97" fmla="*/ 2 h 365"/>
                <a:gd name="T98" fmla="*/ 4 w 760"/>
                <a:gd name="T99" fmla="*/ 2 h 365"/>
                <a:gd name="T100" fmla="*/ 4 w 760"/>
                <a:gd name="T101" fmla="*/ 2 h 365"/>
                <a:gd name="T102" fmla="*/ 4 w 760"/>
                <a:gd name="T103" fmla="*/ 2 h 365"/>
                <a:gd name="T104" fmla="*/ 4 w 760"/>
                <a:gd name="T105" fmla="*/ 3 h 365"/>
                <a:gd name="T106" fmla="*/ 4 w 760"/>
                <a:gd name="T107" fmla="*/ 3 h 36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760"/>
                <a:gd name="T163" fmla="*/ 0 h 365"/>
                <a:gd name="T164" fmla="*/ 760 w 760"/>
                <a:gd name="T165" fmla="*/ 365 h 36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760" h="365">
                  <a:moveTo>
                    <a:pt x="616" y="353"/>
                  </a:moveTo>
                  <a:lnTo>
                    <a:pt x="629" y="339"/>
                  </a:lnTo>
                  <a:lnTo>
                    <a:pt x="620" y="328"/>
                  </a:lnTo>
                  <a:lnTo>
                    <a:pt x="611" y="317"/>
                  </a:lnTo>
                  <a:lnTo>
                    <a:pt x="616" y="295"/>
                  </a:lnTo>
                  <a:lnTo>
                    <a:pt x="619" y="274"/>
                  </a:lnTo>
                  <a:lnTo>
                    <a:pt x="613" y="250"/>
                  </a:lnTo>
                  <a:lnTo>
                    <a:pt x="589" y="257"/>
                  </a:lnTo>
                  <a:lnTo>
                    <a:pt x="576" y="264"/>
                  </a:lnTo>
                  <a:lnTo>
                    <a:pt x="559" y="270"/>
                  </a:lnTo>
                  <a:lnTo>
                    <a:pt x="559" y="247"/>
                  </a:lnTo>
                  <a:lnTo>
                    <a:pt x="554" y="243"/>
                  </a:lnTo>
                  <a:lnTo>
                    <a:pt x="563" y="237"/>
                  </a:lnTo>
                  <a:lnTo>
                    <a:pt x="528" y="238"/>
                  </a:lnTo>
                  <a:lnTo>
                    <a:pt x="557" y="211"/>
                  </a:lnTo>
                  <a:lnTo>
                    <a:pt x="584" y="186"/>
                  </a:lnTo>
                  <a:lnTo>
                    <a:pt x="613" y="160"/>
                  </a:lnTo>
                  <a:lnTo>
                    <a:pt x="641" y="133"/>
                  </a:lnTo>
                  <a:lnTo>
                    <a:pt x="671" y="108"/>
                  </a:lnTo>
                  <a:lnTo>
                    <a:pt x="700" y="84"/>
                  </a:lnTo>
                  <a:lnTo>
                    <a:pt x="730" y="59"/>
                  </a:lnTo>
                  <a:lnTo>
                    <a:pt x="760" y="34"/>
                  </a:lnTo>
                  <a:lnTo>
                    <a:pt x="722" y="25"/>
                  </a:lnTo>
                  <a:lnTo>
                    <a:pt x="689" y="22"/>
                  </a:lnTo>
                  <a:lnTo>
                    <a:pt x="655" y="18"/>
                  </a:lnTo>
                  <a:lnTo>
                    <a:pt x="611" y="16"/>
                  </a:lnTo>
                  <a:lnTo>
                    <a:pt x="608" y="12"/>
                  </a:lnTo>
                  <a:lnTo>
                    <a:pt x="592" y="9"/>
                  </a:lnTo>
                  <a:lnTo>
                    <a:pt x="582" y="9"/>
                  </a:lnTo>
                  <a:lnTo>
                    <a:pt x="577" y="6"/>
                  </a:lnTo>
                  <a:lnTo>
                    <a:pt x="560" y="9"/>
                  </a:lnTo>
                  <a:lnTo>
                    <a:pt x="571" y="3"/>
                  </a:lnTo>
                  <a:lnTo>
                    <a:pt x="559" y="0"/>
                  </a:lnTo>
                  <a:lnTo>
                    <a:pt x="515" y="11"/>
                  </a:lnTo>
                  <a:lnTo>
                    <a:pt x="506" y="10"/>
                  </a:lnTo>
                  <a:lnTo>
                    <a:pt x="491" y="13"/>
                  </a:lnTo>
                  <a:lnTo>
                    <a:pt x="488" y="17"/>
                  </a:lnTo>
                  <a:lnTo>
                    <a:pt x="479" y="23"/>
                  </a:lnTo>
                  <a:lnTo>
                    <a:pt x="485" y="15"/>
                  </a:lnTo>
                  <a:lnTo>
                    <a:pt x="448" y="22"/>
                  </a:lnTo>
                  <a:lnTo>
                    <a:pt x="408" y="36"/>
                  </a:lnTo>
                  <a:lnTo>
                    <a:pt x="370" y="49"/>
                  </a:lnTo>
                  <a:lnTo>
                    <a:pt x="337" y="51"/>
                  </a:lnTo>
                  <a:lnTo>
                    <a:pt x="317" y="61"/>
                  </a:lnTo>
                  <a:lnTo>
                    <a:pt x="331" y="83"/>
                  </a:lnTo>
                  <a:lnTo>
                    <a:pt x="325" y="88"/>
                  </a:lnTo>
                  <a:lnTo>
                    <a:pt x="352" y="93"/>
                  </a:lnTo>
                  <a:lnTo>
                    <a:pt x="344" y="101"/>
                  </a:lnTo>
                  <a:lnTo>
                    <a:pt x="365" y="101"/>
                  </a:lnTo>
                  <a:lnTo>
                    <a:pt x="338" y="101"/>
                  </a:lnTo>
                  <a:lnTo>
                    <a:pt x="337" y="93"/>
                  </a:lnTo>
                  <a:lnTo>
                    <a:pt x="332" y="105"/>
                  </a:lnTo>
                  <a:lnTo>
                    <a:pt x="341" y="109"/>
                  </a:lnTo>
                  <a:lnTo>
                    <a:pt x="328" y="111"/>
                  </a:lnTo>
                  <a:lnTo>
                    <a:pt x="290" y="107"/>
                  </a:lnTo>
                  <a:lnTo>
                    <a:pt x="306" y="99"/>
                  </a:lnTo>
                  <a:lnTo>
                    <a:pt x="263" y="107"/>
                  </a:lnTo>
                  <a:lnTo>
                    <a:pt x="208" y="120"/>
                  </a:lnTo>
                  <a:lnTo>
                    <a:pt x="227" y="127"/>
                  </a:lnTo>
                  <a:lnTo>
                    <a:pt x="215" y="130"/>
                  </a:lnTo>
                  <a:lnTo>
                    <a:pt x="211" y="143"/>
                  </a:lnTo>
                  <a:lnTo>
                    <a:pt x="258" y="143"/>
                  </a:lnTo>
                  <a:lnTo>
                    <a:pt x="264" y="147"/>
                  </a:lnTo>
                  <a:lnTo>
                    <a:pt x="304" y="135"/>
                  </a:lnTo>
                  <a:lnTo>
                    <a:pt x="295" y="144"/>
                  </a:lnTo>
                  <a:lnTo>
                    <a:pt x="288" y="147"/>
                  </a:lnTo>
                  <a:lnTo>
                    <a:pt x="278" y="160"/>
                  </a:lnTo>
                  <a:lnTo>
                    <a:pt x="250" y="167"/>
                  </a:lnTo>
                  <a:lnTo>
                    <a:pt x="206" y="178"/>
                  </a:lnTo>
                  <a:lnTo>
                    <a:pt x="214" y="173"/>
                  </a:lnTo>
                  <a:lnTo>
                    <a:pt x="198" y="177"/>
                  </a:lnTo>
                  <a:lnTo>
                    <a:pt x="178" y="186"/>
                  </a:lnTo>
                  <a:lnTo>
                    <a:pt x="181" y="186"/>
                  </a:lnTo>
                  <a:lnTo>
                    <a:pt x="173" y="190"/>
                  </a:lnTo>
                  <a:lnTo>
                    <a:pt x="143" y="202"/>
                  </a:lnTo>
                  <a:lnTo>
                    <a:pt x="133" y="204"/>
                  </a:lnTo>
                  <a:lnTo>
                    <a:pt x="134" y="207"/>
                  </a:lnTo>
                  <a:lnTo>
                    <a:pt x="124" y="210"/>
                  </a:lnTo>
                  <a:lnTo>
                    <a:pt x="127" y="217"/>
                  </a:lnTo>
                  <a:lnTo>
                    <a:pt x="149" y="210"/>
                  </a:lnTo>
                  <a:lnTo>
                    <a:pt x="130" y="220"/>
                  </a:lnTo>
                  <a:lnTo>
                    <a:pt x="130" y="222"/>
                  </a:lnTo>
                  <a:lnTo>
                    <a:pt x="151" y="225"/>
                  </a:lnTo>
                  <a:lnTo>
                    <a:pt x="143" y="226"/>
                  </a:lnTo>
                  <a:lnTo>
                    <a:pt x="148" y="229"/>
                  </a:lnTo>
                  <a:lnTo>
                    <a:pt x="133" y="229"/>
                  </a:lnTo>
                  <a:lnTo>
                    <a:pt x="126" y="226"/>
                  </a:lnTo>
                  <a:lnTo>
                    <a:pt x="112" y="233"/>
                  </a:lnTo>
                  <a:lnTo>
                    <a:pt x="119" y="250"/>
                  </a:lnTo>
                  <a:lnTo>
                    <a:pt x="150" y="240"/>
                  </a:lnTo>
                  <a:lnTo>
                    <a:pt x="170" y="231"/>
                  </a:lnTo>
                  <a:lnTo>
                    <a:pt x="150" y="245"/>
                  </a:lnTo>
                  <a:lnTo>
                    <a:pt x="138" y="259"/>
                  </a:lnTo>
                  <a:lnTo>
                    <a:pt x="132" y="265"/>
                  </a:lnTo>
                  <a:lnTo>
                    <a:pt x="132" y="267"/>
                  </a:lnTo>
                  <a:lnTo>
                    <a:pt x="120" y="276"/>
                  </a:lnTo>
                  <a:lnTo>
                    <a:pt x="157" y="270"/>
                  </a:lnTo>
                  <a:lnTo>
                    <a:pt x="167" y="271"/>
                  </a:lnTo>
                  <a:lnTo>
                    <a:pt x="167" y="281"/>
                  </a:lnTo>
                  <a:lnTo>
                    <a:pt x="190" y="267"/>
                  </a:lnTo>
                  <a:lnTo>
                    <a:pt x="196" y="268"/>
                  </a:lnTo>
                  <a:lnTo>
                    <a:pt x="184" y="273"/>
                  </a:lnTo>
                  <a:lnTo>
                    <a:pt x="185" y="277"/>
                  </a:lnTo>
                  <a:lnTo>
                    <a:pt x="218" y="268"/>
                  </a:lnTo>
                  <a:lnTo>
                    <a:pt x="188" y="286"/>
                  </a:lnTo>
                  <a:lnTo>
                    <a:pt x="193" y="286"/>
                  </a:lnTo>
                  <a:lnTo>
                    <a:pt x="188" y="286"/>
                  </a:lnTo>
                  <a:lnTo>
                    <a:pt x="170" y="300"/>
                  </a:lnTo>
                  <a:lnTo>
                    <a:pt x="161" y="303"/>
                  </a:lnTo>
                  <a:lnTo>
                    <a:pt x="131" y="319"/>
                  </a:lnTo>
                  <a:lnTo>
                    <a:pt x="83" y="333"/>
                  </a:lnTo>
                  <a:lnTo>
                    <a:pt x="78" y="341"/>
                  </a:lnTo>
                  <a:lnTo>
                    <a:pt x="71" y="341"/>
                  </a:lnTo>
                  <a:lnTo>
                    <a:pt x="66" y="343"/>
                  </a:lnTo>
                  <a:lnTo>
                    <a:pt x="66" y="340"/>
                  </a:lnTo>
                  <a:lnTo>
                    <a:pt x="50" y="340"/>
                  </a:lnTo>
                  <a:lnTo>
                    <a:pt x="0" y="361"/>
                  </a:lnTo>
                  <a:lnTo>
                    <a:pt x="2" y="359"/>
                  </a:lnTo>
                  <a:lnTo>
                    <a:pt x="6" y="361"/>
                  </a:lnTo>
                  <a:lnTo>
                    <a:pt x="17" y="357"/>
                  </a:lnTo>
                  <a:lnTo>
                    <a:pt x="20" y="359"/>
                  </a:lnTo>
                  <a:lnTo>
                    <a:pt x="42" y="348"/>
                  </a:lnTo>
                  <a:lnTo>
                    <a:pt x="54" y="348"/>
                  </a:lnTo>
                  <a:lnTo>
                    <a:pt x="45" y="349"/>
                  </a:lnTo>
                  <a:lnTo>
                    <a:pt x="70" y="345"/>
                  </a:lnTo>
                  <a:lnTo>
                    <a:pt x="85" y="343"/>
                  </a:lnTo>
                  <a:lnTo>
                    <a:pt x="89" y="342"/>
                  </a:lnTo>
                  <a:lnTo>
                    <a:pt x="112" y="336"/>
                  </a:lnTo>
                  <a:lnTo>
                    <a:pt x="118" y="335"/>
                  </a:lnTo>
                  <a:lnTo>
                    <a:pt x="122" y="330"/>
                  </a:lnTo>
                  <a:lnTo>
                    <a:pt x="181" y="309"/>
                  </a:lnTo>
                  <a:lnTo>
                    <a:pt x="232" y="291"/>
                  </a:lnTo>
                  <a:lnTo>
                    <a:pt x="277" y="271"/>
                  </a:lnTo>
                  <a:lnTo>
                    <a:pt x="268" y="265"/>
                  </a:lnTo>
                  <a:lnTo>
                    <a:pt x="306" y="249"/>
                  </a:lnTo>
                  <a:lnTo>
                    <a:pt x="314" y="246"/>
                  </a:lnTo>
                  <a:lnTo>
                    <a:pt x="320" y="239"/>
                  </a:lnTo>
                  <a:lnTo>
                    <a:pt x="354" y="226"/>
                  </a:lnTo>
                  <a:lnTo>
                    <a:pt x="386" y="216"/>
                  </a:lnTo>
                  <a:lnTo>
                    <a:pt x="410" y="211"/>
                  </a:lnTo>
                  <a:lnTo>
                    <a:pt x="395" y="217"/>
                  </a:lnTo>
                  <a:lnTo>
                    <a:pt x="398" y="223"/>
                  </a:lnTo>
                  <a:lnTo>
                    <a:pt x="391" y="223"/>
                  </a:lnTo>
                  <a:lnTo>
                    <a:pt x="358" y="228"/>
                  </a:lnTo>
                  <a:lnTo>
                    <a:pt x="325" y="252"/>
                  </a:lnTo>
                  <a:lnTo>
                    <a:pt x="341" y="250"/>
                  </a:lnTo>
                  <a:lnTo>
                    <a:pt x="316" y="259"/>
                  </a:lnTo>
                  <a:lnTo>
                    <a:pt x="329" y="262"/>
                  </a:lnTo>
                  <a:lnTo>
                    <a:pt x="353" y="251"/>
                  </a:lnTo>
                  <a:lnTo>
                    <a:pt x="346" y="256"/>
                  </a:lnTo>
                  <a:lnTo>
                    <a:pt x="354" y="251"/>
                  </a:lnTo>
                  <a:lnTo>
                    <a:pt x="360" y="252"/>
                  </a:lnTo>
                  <a:lnTo>
                    <a:pt x="362" y="249"/>
                  </a:lnTo>
                  <a:lnTo>
                    <a:pt x="364" y="251"/>
                  </a:lnTo>
                  <a:lnTo>
                    <a:pt x="376" y="244"/>
                  </a:lnTo>
                  <a:lnTo>
                    <a:pt x="385" y="246"/>
                  </a:lnTo>
                  <a:lnTo>
                    <a:pt x="408" y="235"/>
                  </a:lnTo>
                  <a:lnTo>
                    <a:pt x="404" y="233"/>
                  </a:lnTo>
                  <a:lnTo>
                    <a:pt x="412" y="231"/>
                  </a:lnTo>
                  <a:lnTo>
                    <a:pt x="407" y="228"/>
                  </a:lnTo>
                  <a:lnTo>
                    <a:pt x="418" y="225"/>
                  </a:lnTo>
                  <a:lnTo>
                    <a:pt x="436" y="216"/>
                  </a:lnTo>
                  <a:lnTo>
                    <a:pt x="421" y="223"/>
                  </a:lnTo>
                  <a:lnTo>
                    <a:pt x="431" y="222"/>
                  </a:lnTo>
                  <a:lnTo>
                    <a:pt x="430" y="225"/>
                  </a:lnTo>
                  <a:lnTo>
                    <a:pt x="456" y="220"/>
                  </a:lnTo>
                  <a:lnTo>
                    <a:pt x="449" y="221"/>
                  </a:lnTo>
                  <a:lnTo>
                    <a:pt x="448" y="226"/>
                  </a:lnTo>
                  <a:lnTo>
                    <a:pt x="443" y="227"/>
                  </a:lnTo>
                  <a:lnTo>
                    <a:pt x="451" y="228"/>
                  </a:lnTo>
                  <a:lnTo>
                    <a:pt x="452" y="229"/>
                  </a:lnTo>
                  <a:lnTo>
                    <a:pt x="446" y="234"/>
                  </a:lnTo>
                  <a:lnTo>
                    <a:pt x="454" y="237"/>
                  </a:lnTo>
                  <a:lnTo>
                    <a:pt x="470" y="231"/>
                  </a:lnTo>
                  <a:lnTo>
                    <a:pt x="464" y="235"/>
                  </a:lnTo>
                  <a:lnTo>
                    <a:pt x="469" y="241"/>
                  </a:lnTo>
                  <a:lnTo>
                    <a:pt x="493" y="243"/>
                  </a:lnTo>
                  <a:lnTo>
                    <a:pt x="517" y="244"/>
                  </a:lnTo>
                  <a:lnTo>
                    <a:pt x="518" y="251"/>
                  </a:lnTo>
                  <a:lnTo>
                    <a:pt x="542" y="246"/>
                  </a:lnTo>
                  <a:lnTo>
                    <a:pt x="553" y="249"/>
                  </a:lnTo>
                  <a:lnTo>
                    <a:pt x="544" y="252"/>
                  </a:lnTo>
                  <a:lnTo>
                    <a:pt x="548" y="246"/>
                  </a:lnTo>
                  <a:lnTo>
                    <a:pt x="538" y="253"/>
                  </a:lnTo>
                  <a:lnTo>
                    <a:pt x="550" y="269"/>
                  </a:lnTo>
                  <a:lnTo>
                    <a:pt x="562" y="285"/>
                  </a:lnTo>
                  <a:lnTo>
                    <a:pt x="571" y="283"/>
                  </a:lnTo>
                  <a:lnTo>
                    <a:pt x="566" y="270"/>
                  </a:lnTo>
                  <a:lnTo>
                    <a:pt x="575" y="271"/>
                  </a:lnTo>
                  <a:lnTo>
                    <a:pt x="583" y="269"/>
                  </a:lnTo>
                  <a:lnTo>
                    <a:pt x="586" y="270"/>
                  </a:lnTo>
                  <a:lnTo>
                    <a:pt x="580" y="277"/>
                  </a:lnTo>
                  <a:lnTo>
                    <a:pt x="581" y="281"/>
                  </a:lnTo>
                  <a:lnTo>
                    <a:pt x="582" y="285"/>
                  </a:lnTo>
                  <a:lnTo>
                    <a:pt x="601" y="263"/>
                  </a:lnTo>
                  <a:lnTo>
                    <a:pt x="599" y="276"/>
                  </a:lnTo>
                  <a:lnTo>
                    <a:pt x="602" y="286"/>
                  </a:lnTo>
                  <a:lnTo>
                    <a:pt x="607" y="285"/>
                  </a:lnTo>
                  <a:lnTo>
                    <a:pt x="607" y="288"/>
                  </a:lnTo>
                  <a:lnTo>
                    <a:pt x="602" y="292"/>
                  </a:lnTo>
                  <a:lnTo>
                    <a:pt x="613" y="293"/>
                  </a:lnTo>
                  <a:lnTo>
                    <a:pt x="607" y="293"/>
                  </a:lnTo>
                  <a:lnTo>
                    <a:pt x="607" y="300"/>
                  </a:lnTo>
                  <a:lnTo>
                    <a:pt x="601" y="298"/>
                  </a:lnTo>
                  <a:lnTo>
                    <a:pt x="602" y="306"/>
                  </a:lnTo>
                  <a:lnTo>
                    <a:pt x="595" y="307"/>
                  </a:lnTo>
                  <a:lnTo>
                    <a:pt x="598" y="310"/>
                  </a:lnTo>
                  <a:lnTo>
                    <a:pt x="600" y="321"/>
                  </a:lnTo>
                  <a:lnTo>
                    <a:pt x="608" y="333"/>
                  </a:lnTo>
                  <a:lnTo>
                    <a:pt x="601" y="333"/>
                  </a:lnTo>
                  <a:lnTo>
                    <a:pt x="582" y="347"/>
                  </a:lnTo>
                  <a:lnTo>
                    <a:pt x="590" y="343"/>
                  </a:lnTo>
                  <a:lnTo>
                    <a:pt x="614" y="335"/>
                  </a:lnTo>
                  <a:lnTo>
                    <a:pt x="600" y="353"/>
                  </a:lnTo>
                  <a:lnTo>
                    <a:pt x="594" y="355"/>
                  </a:lnTo>
                  <a:lnTo>
                    <a:pt x="608" y="353"/>
                  </a:lnTo>
                  <a:lnTo>
                    <a:pt x="599" y="358"/>
                  </a:lnTo>
                  <a:lnTo>
                    <a:pt x="594" y="365"/>
                  </a:lnTo>
                  <a:lnTo>
                    <a:pt x="616" y="353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501" name="Freeform 257"/>
            <p:cNvSpPr>
              <a:spLocks/>
            </p:cNvSpPr>
            <p:nvPr/>
          </p:nvSpPr>
          <p:spPr bwMode="auto">
            <a:xfrm>
              <a:off x="1725" y="1376"/>
              <a:ext cx="34" cy="7"/>
            </a:xfrm>
            <a:custGeom>
              <a:avLst/>
              <a:gdLst>
                <a:gd name="T0" fmla="*/ 1 w 47"/>
                <a:gd name="T1" fmla="*/ 0 h 11"/>
                <a:gd name="T2" fmla="*/ 1 w 47"/>
                <a:gd name="T3" fmla="*/ 1 h 11"/>
                <a:gd name="T4" fmla="*/ 1 w 47"/>
                <a:gd name="T5" fmla="*/ 0 h 11"/>
                <a:gd name="T6" fmla="*/ 0 w 47"/>
                <a:gd name="T7" fmla="*/ 1 h 11"/>
                <a:gd name="T8" fmla="*/ 1 w 47"/>
                <a:gd name="T9" fmla="*/ 1 h 11"/>
                <a:gd name="T10" fmla="*/ 1 w 47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7"/>
                <a:gd name="T19" fmla="*/ 0 h 11"/>
                <a:gd name="T20" fmla="*/ 47 w 47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7" h="11">
                  <a:moveTo>
                    <a:pt x="47" y="0"/>
                  </a:moveTo>
                  <a:lnTo>
                    <a:pt x="34" y="4"/>
                  </a:lnTo>
                  <a:lnTo>
                    <a:pt x="36" y="0"/>
                  </a:lnTo>
                  <a:lnTo>
                    <a:pt x="0" y="11"/>
                  </a:lnTo>
                  <a:lnTo>
                    <a:pt x="23" y="6"/>
                  </a:lnTo>
                  <a:lnTo>
                    <a:pt x="47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502" name="Freeform 258"/>
            <p:cNvSpPr>
              <a:spLocks/>
            </p:cNvSpPr>
            <p:nvPr/>
          </p:nvSpPr>
          <p:spPr bwMode="auto">
            <a:xfrm>
              <a:off x="2353" y="1609"/>
              <a:ext cx="130" cy="120"/>
            </a:xfrm>
            <a:custGeom>
              <a:avLst/>
              <a:gdLst>
                <a:gd name="T0" fmla="*/ 1 w 183"/>
                <a:gd name="T1" fmla="*/ 2 h 170"/>
                <a:gd name="T2" fmla="*/ 0 w 183"/>
                <a:gd name="T3" fmla="*/ 2 h 170"/>
                <a:gd name="T4" fmla="*/ 1 w 183"/>
                <a:gd name="T5" fmla="*/ 2 h 170"/>
                <a:gd name="T6" fmla="*/ 1 w 183"/>
                <a:gd name="T7" fmla="*/ 1 h 170"/>
                <a:gd name="T8" fmla="*/ 1 w 183"/>
                <a:gd name="T9" fmla="*/ 1 h 170"/>
                <a:gd name="T10" fmla="*/ 1 w 183"/>
                <a:gd name="T11" fmla="*/ 1 h 170"/>
                <a:gd name="T12" fmla="*/ 1 w 183"/>
                <a:gd name="T13" fmla="*/ 1 h 170"/>
                <a:gd name="T14" fmla="*/ 1 w 183"/>
                <a:gd name="T15" fmla="*/ 1 h 170"/>
                <a:gd name="T16" fmla="*/ 1 w 183"/>
                <a:gd name="T17" fmla="*/ 1 h 170"/>
                <a:gd name="T18" fmla="*/ 1 w 183"/>
                <a:gd name="T19" fmla="*/ 1 h 170"/>
                <a:gd name="T20" fmla="*/ 1 w 183"/>
                <a:gd name="T21" fmla="*/ 0 h 170"/>
                <a:gd name="T22" fmla="*/ 1 w 183"/>
                <a:gd name="T23" fmla="*/ 0 h 170"/>
                <a:gd name="T24" fmla="*/ 1 w 183"/>
                <a:gd name="T25" fmla="*/ 0 h 170"/>
                <a:gd name="T26" fmla="*/ 2 w 183"/>
                <a:gd name="T27" fmla="*/ 0 h 170"/>
                <a:gd name="T28" fmla="*/ 2 w 183"/>
                <a:gd name="T29" fmla="*/ 0 h 170"/>
                <a:gd name="T30" fmla="*/ 2 w 183"/>
                <a:gd name="T31" fmla="*/ 1 h 170"/>
                <a:gd name="T32" fmla="*/ 2 w 183"/>
                <a:gd name="T33" fmla="*/ 1 h 170"/>
                <a:gd name="T34" fmla="*/ 2 w 183"/>
                <a:gd name="T35" fmla="*/ 1 h 170"/>
                <a:gd name="T36" fmla="*/ 1 w 183"/>
                <a:gd name="T37" fmla="*/ 1 h 170"/>
                <a:gd name="T38" fmla="*/ 1 w 183"/>
                <a:gd name="T39" fmla="*/ 1 h 170"/>
                <a:gd name="T40" fmla="*/ 1 w 183"/>
                <a:gd name="T41" fmla="*/ 1 h 170"/>
                <a:gd name="T42" fmla="*/ 1 w 183"/>
                <a:gd name="T43" fmla="*/ 1 h 170"/>
                <a:gd name="T44" fmla="*/ 1 w 183"/>
                <a:gd name="T45" fmla="*/ 1 h 170"/>
                <a:gd name="T46" fmla="*/ 1 w 183"/>
                <a:gd name="T47" fmla="*/ 1 h 170"/>
                <a:gd name="T48" fmla="*/ 1 w 183"/>
                <a:gd name="T49" fmla="*/ 1 h 170"/>
                <a:gd name="T50" fmla="*/ 1 w 183"/>
                <a:gd name="T51" fmla="*/ 2 h 170"/>
                <a:gd name="T52" fmla="*/ 1 w 183"/>
                <a:gd name="T53" fmla="*/ 2 h 170"/>
                <a:gd name="T54" fmla="*/ 1 w 183"/>
                <a:gd name="T55" fmla="*/ 2 h 170"/>
                <a:gd name="T56" fmla="*/ 1 w 183"/>
                <a:gd name="T57" fmla="*/ 2 h 170"/>
                <a:gd name="T58" fmla="*/ 1 w 183"/>
                <a:gd name="T59" fmla="*/ 2 h 17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83"/>
                <a:gd name="T91" fmla="*/ 0 h 170"/>
                <a:gd name="T92" fmla="*/ 183 w 183"/>
                <a:gd name="T93" fmla="*/ 170 h 170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83" h="170">
                  <a:moveTo>
                    <a:pt x="3" y="157"/>
                  </a:moveTo>
                  <a:lnTo>
                    <a:pt x="0" y="170"/>
                  </a:lnTo>
                  <a:lnTo>
                    <a:pt x="1" y="157"/>
                  </a:lnTo>
                  <a:lnTo>
                    <a:pt x="15" y="126"/>
                  </a:lnTo>
                  <a:lnTo>
                    <a:pt x="30" y="96"/>
                  </a:lnTo>
                  <a:lnTo>
                    <a:pt x="26" y="98"/>
                  </a:lnTo>
                  <a:lnTo>
                    <a:pt x="43" y="79"/>
                  </a:lnTo>
                  <a:lnTo>
                    <a:pt x="50" y="60"/>
                  </a:lnTo>
                  <a:lnTo>
                    <a:pt x="59" y="40"/>
                  </a:lnTo>
                  <a:lnTo>
                    <a:pt x="75" y="25"/>
                  </a:lnTo>
                  <a:lnTo>
                    <a:pt x="87" y="0"/>
                  </a:lnTo>
                  <a:lnTo>
                    <a:pt x="111" y="0"/>
                  </a:lnTo>
                  <a:lnTo>
                    <a:pt x="135" y="0"/>
                  </a:lnTo>
                  <a:lnTo>
                    <a:pt x="159" y="0"/>
                  </a:lnTo>
                  <a:lnTo>
                    <a:pt x="183" y="0"/>
                  </a:lnTo>
                  <a:lnTo>
                    <a:pt x="183" y="9"/>
                  </a:lnTo>
                  <a:lnTo>
                    <a:pt x="182" y="40"/>
                  </a:lnTo>
                  <a:lnTo>
                    <a:pt x="165" y="40"/>
                  </a:lnTo>
                  <a:lnTo>
                    <a:pt x="147" y="40"/>
                  </a:lnTo>
                  <a:lnTo>
                    <a:pt x="129" y="40"/>
                  </a:lnTo>
                  <a:lnTo>
                    <a:pt x="111" y="40"/>
                  </a:lnTo>
                  <a:lnTo>
                    <a:pt x="110" y="73"/>
                  </a:lnTo>
                  <a:lnTo>
                    <a:pt x="110" y="104"/>
                  </a:lnTo>
                  <a:lnTo>
                    <a:pt x="89" y="115"/>
                  </a:lnTo>
                  <a:lnTo>
                    <a:pt x="89" y="135"/>
                  </a:lnTo>
                  <a:lnTo>
                    <a:pt x="87" y="157"/>
                  </a:lnTo>
                  <a:lnTo>
                    <a:pt x="67" y="157"/>
                  </a:lnTo>
                  <a:lnTo>
                    <a:pt x="45" y="157"/>
                  </a:lnTo>
                  <a:lnTo>
                    <a:pt x="24" y="157"/>
                  </a:lnTo>
                  <a:lnTo>
                    <a:pt x="3" y="157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98000"/>
                  </a:srgbClr>
                </a:gs>
                <a:gs pos="100000">
                  <a:schemeClr val="bg1">
                    <a:alpha val="98000"/>
                  </a:schemeClr>
                </a:gs>
              </a:gsLst>
              <a:lin ang="5400000" scaled="1"/>
            </a:gra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0246" name="Freeform 267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606675" y="3263900"/>
            <a:ext cx="2614613" cy="1735138"/>
          </a:xfrm>
          <a:custGeom>
            <a:avLst/>
            <a:gdLst>
              <a:gd name="T0" fmla="*/ 2147483647 w 1647"/>
              <a:gd name="T1" fmla="*/ 2147483647 h 1093"/>
              <a:gd name="T2" fmla="*/ 2147483647 w 1647"/>
              <a:gd name="T3" fmla="*/ 2147483647 h 1093"/>
              <a:gd name="T4" fmla="*/ 2147483647 w 1647"/>
              <a:gd name="T5" fmla="*/ 2147483647 h 1093"/>
              <a:gd name="T6" fmla="*/ 2147483647 w 1647"/>
              <a:gd name="T7" fmla="*/ 2147483647 h 1093"/>
              <a:gd name="T8" fmla="*/ 2147483647 w 1647"/>
              <a:gd name="T9" fmla="*/ 2147483647 h 1093"/>
              <a:gd name="T10" fmla="*/ 2147483647 w 1647"/>
              <a:gd name="T11" fmla="*/ 2147483647 h 1093"/>
              <a:gd name="T12" fmla="*/ 2147483647 w 1647"/>
              <a:gd name="T13" fmla="*/ 2147483647 h 1093"/>
              <a:gd name="T14" fmla="*/ 2147483647 w 1647"/>
              <a:gd name="T15" fmla="*/ 2147483647 h 1093"/>
              <a:gd name="T16" fmla="*/ 2147483647 w 1647"/>
              <a:gd name="T17" fmla="*/ 2147483647 h 1093"/>
              <a:gd name="T18" fmla="*/ 2147483647 w 1647"/>
              <a:gd name="T19" fmla="*/ 2147483647 h 1093"/>
              <a:gd name="T20" fmla="*/ 2147483647 w 1647"/>
              <a:gd name="T21" fmla="*/ 2147483647 h 1093"/>
              <a:gd name="T22" fmla="*/ 2147483647 w 1647"/>
              <a:gd name="T23" fmla="*/ 2147483647 h 1093"/>
              <a:gd name="T24" fmla="*/ 2147483647 w 1647"/>
              <a:gd name="T25" fmla="*/ 2147483647 h 1093"/>
              <a:gd name="T26" fmla="*/ 2147483647 w 1647"/>
              <a:gd name="T27" fmla="*/ 2147483647 h 1093"/>
              <a:gd name="T28" fmla="*/ 2147483647 w 1647"/>
              <a:gd name="T29" fmla="*/ 2147483647 h 1093"/>
              <a:gd name="T30" fmla="*/ 2147483647 w 1647"/>
              <a:gd name="T31" fmla="*/ 2147483647 h 1093"/>
              <a:gd name="T32" fmla="*/ 2147483647 w 1647"/>
              <a:gd name="T33" fmla="*/ 2147483647 h 1093"/>
              <a:gd name="T34" fmla="*/ 2147483647 w 1647"/>
              <a:gd name="T35" fmla="*/ 2147483647 h 1093"/>
              <a:gd name="T36" fmla="*/ 2147483647 w 1647"/>
              <a:gd name="T37" fmla="*/ 2147483647 h 1093"/>
              <a:gd name="T38" fmla="*/ 2147483647 w 1647"/>
              <a:gd name="T39" fmla="*/ 2147483647 h 1093"/>
              <a:gd name="T40" fmla="*/ 2147483647 w 1647"/>
              <a:gd name="T41" fmla="*/ 0 h 1093"/>
              <a:gd name="T42" fmla="*/ 2147483647 w 1647"/>
              <a:gd name="T43" fmla="*/ 0 h 1093"/>
              <a:gd name="T44" fmla="*/ 2147483647 w 1647"/>
              <a:gd name="T45" fmla="*/ 0 h 1093"/>
              <a:gd name="T46" fmla="*/ 2147483647 w 1647"/>
              <a:gd name="T47" fmla="*/ 0 h 1093"/>
              <a:gd name="T48" fmla="*/ 2147483647 w 1647"/>
              <a:gd name="T49" fmla="*/ 0 h 1093"/>
              <a:gd name="T50" fmla="*/ 2147483647 w 1647"/>
              <a:gd name="T51" fmla="*/ 0 h 1093"/>
              <a:gd name="T52" fmla="*/ 2147483647 w 1647"/>
              <a:gd name="T53" fmla="*/ 0 h 1093"/>
              <a:gd name="T54" fmla="*/ 2147483647 w 1647"/>
              <a:gd name="T55" fmla="*/ 0 h 1093"/>
              <a:gd name="T56" fmla="*/ 2147483647 w 1647"/>
              <a:gd name="T57" fmla="*/ 0 h 1093"/>
              <a:gd name="T58" fmla="*/ 2147483647 w 1647"/>
              <a:gd name="T59" fmla="*/ 2147483647 h 1093"/>
              <a:gd name="T60" fmla="*/ 2147483647 w 1647"/>
              <a:gd name="T61" fmla="*/ 2147483647 h 1093"/>
              <a:gd name="T62" fmla="*/ 2147483647 w 1647"/>
              <a:gd name="T63" fmla="*/ 2147483647 h 1093"/>
              <a:gd name="T64" fmla="*/ 2147483647 w 1647"/>
              <a:gd name="T65" fmla="*/ 2147483647 h 1093"/>
              <a:gd name="T66" fmla="*/ 2147483647 w 1647"/>
              <a:gd name="T67" fmla="*/ 2147483647 h 1093"/>
              <a:gd name="T68" fmla="*/ 2147483647 w 1647"/>
              <a:gd name="T69" fmla="*/ 2147483647 h 1093"/>
              <a:gd name="T70" fmla="*/ 2147483647 w 1647"/>
              <a:gd name="T71" fmla="*/ 2147483647 h 1093"/>
              <a:gd name="T72" fmla="*/ 2147483647 w 1647"/>
              <a:gd name="T73" fmla="*/ 2147483647 h 1093"/>
              <a:gd name="T74" fmla="*/ 2147483647 w 1647"/>
              <a:gd name="T75" fmla="*/ 2147483647 h 1093"/>
              <a:gd name="T76" fmla="*/ 2147483647 w 1647"/>
              <a:gd name="T77" fmla="*/ 2147483647 h 1093"/>
              <a:gd name="T78" fmla="*/ 2147483647 w 1647"/>
              <a:gd name="T79" fmla="*/ 2147483647 h 1093"/>
              <a:gd name="T80" fmla="*/ 2147483647 w 1647"/>
              <a:gd name="T81" fmla="*/ 2147483647 h 1093"/>
              <a:gd name="T82" fmla="*/ 2147483647 w 1647"/>
              <a:gd name="T83" fmla="*/ 2147483647 h 1093"/>
              <a:gd name="T84" fmla="*/ 2147483647 w 1647"/>
              <a:gd name="T85" fmla="*/ 2147483647 h 1093"/>
              <a:gd name="T86" fmla="*/ 2147483647 w 1647"/>
              <a:gd name="T87" fmla="*/ 2147483647 h 1093"/>
              <a:gd name="T88" fmla="*/ 2147483647 w 1647"/>
              <a:gd name="T89" fmla="*/ 2147483647 h 1093"/>
              <a:gd name="T90" fmla="*/ 2147483647 w 1647"/>
              <a:gd name="T91" fmla="*/ 2147483647 h 1093"/>
              <a:gd name="T92" fmla="*/ 2147483647 w 1647"/>
              <a:gd name="T93" fmla="*/ 2147483647 h 1093"/>
              <a:gd name="T94" fmla="*/ 2147483647 w 1647"/>
              <a:gd name="T95" fmla="*/ 2147483647 h 1093"/>
              <a:gd name="T96" fmla="*/ 2147483647 w 1647"/>
              <a:gd name="T97" fmla="*/ 2147483647 h 1093"/>
              <a:gd name="T98" fmla="*/ 2147483647 w 1647"/>
              <a:gd name="T99" fmla="*/ 2147483647 h 1093"/>
              <a:gd name="T100" fmla="*/ 2147483647 w 1647"/>
              <a:gd name="T101" fmla="*/ 2147483647 h 1093"/>
              <a:gd name="T102" fmla="*/ 0 w 1647"/>
              <a:gd name="T103" fmla="*/ 2147483647 h 1093"/>
              <a:gd name="T104" fmla="*/ 2147483647 w 1647"/>
              <a:gd name="T105" fmla="*/ 2147483647 h 1093"/>
              <a:gd name="T106" fmla="*/ 2147483647 w 1647"/>
              <a:gd name="T107" fmla="*/ 2147483647 h 1093"/>
              <a:gd name="T108" fmla="*/ 2147483647 w 1647"/>
              <a:gd name="T109" fmla="*/ 2147483647 h 1093"/>
              <a:gd name="T110" fmla="*/ 2147483647 w 1647"/>
              <a:gd name="T111" fmla="*/ 2147483647 h 1093"/>
              <a:gd name="T112" fmla="*/ 2147483647 w 1647"/>
              <a:gd name="T113" fmla="*/ 2147483647 h 1093"/>
              <a:gd name="T114" fmla="*/ 2147483647 w 1647"/>
              <a:gd name="T115" fmla="*/ 2147483647 h 1093"/>
              <a:gd name="T116" fmla="*/ 2147483647 w 1647"/>
              <a:gd name="T117" fmla="*/ 2147483647 h 1093"/>
              <a:gd name="T118" fmla="*/ 2147483647 w 1647"/>
              <a:gd name="T119" fmla="*/ 2147483647 h 1093"/>
              <a:gd name="T120" fmla="*/ 2147483647 w 1647"/>
              <a:gd name="T121" fmla="*/ 2147483647 h 1093"/>
              <a:gd name="T122" fmla="*/ 2147483647 w 1647"/>
              <a:gd name="T123" fmla="*/ 2147483647 h 1093"/>
              <a:gd name="T124" fmla="*/ 2147483647 w 1647"/>
              <a:gd name="T125" fmla="*/ 2147483647 h 109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647"/>
              <a:gd name="T190" fmla="*/ 0 h 1093"/>
              <a:gd name="T191" fmla="*/ 1647 w 1647"/>
              <a:gd name="T192" fmla="*/ 1093 h 1093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647" h="1093">
                <a:moveTo>
                  <a:pt x="1620" y="561"/>
                </a:moveTo>
                <a:lnTo>
                  <a:pt x="1632" y="550"/>
                </a:lnTo>
                <a:lnTo>
                  <a:pt x="1639" y="537"/>
                </a:lnTo>
                <a:lnTo>
                  <a:pt x="1647" y="514"/>
                </a:lnTo>
                <a:lnTo>
                  <a:pt x="1646" y="461"/>
                </a:lnTo>
                <a:lnTo>
                  <a:pt x="1647" y="430"/>
                </a:lnTo>
                <a:lnTo>
                  <a:pt x="1646" y="398"/>
                </a:lnTo>
                <a:lnTo>
                  <a:pt x="1646" y="334"/>
                </a:lnTo>
                <a:lnTo>
                  <a:pt x="1646" y="288"/>
                </a:lnTo>
                <a:lnTo>
                  <a:pt x="1646" y="240"/>
                </a:lnTo>
                <a:lnTo>
                  <a:pt x="1646" y="188"/>
                </a:lnTo>
                <a:lnTo>
                  <a:pt x="1646" y="153"/>
                </a:lnTo>
                <a:lnTo>
                  <a:pt x="1646" y="116"/>
                </a:lnTo>
                <a:lnTo>
                  <a:pt x="1646" y="62"/>
                </a:lnTo>
                <a:lnTo>
                  <a:pt x="1640" y="42"/>
                </a:lnTo>
                <a:lnTo>
                  <a:pt x="1633" y="27"/>
                </a:lnTo>
                <a:lnTo>
                  <a:pt x="1620" y="18"/>
                </a:lnTo>
                <a:lnTo>
                  <a:pt x="1602" y="8"/>
                </a:lnTo>
                <a:lnTo>
                  <a:pt x="1576" y="5"/>
                </a:lnTo>
                <a:lnTo>
                  <a:pt x="1548" y="2"/>
                </a:lnTo>
                <a:lnTo>
                  <a:pt x="1512" y="0"/>
                </a:lnTo>
                <a:lnTo>
                  <a:pt x="1376" y="0"/>
                </a:lnTo>
                <a:lnTo>
                  <a:pt x="1323" y="0"/>
                </a:lnTo>
                <a:lnTo>
                  <a:pt x="1264" y="0"/>
                </a:lnTo>
                <a:lnTo>
                  <a:pt x="1073" y="0"/>
                </a:lnTo>
                <a:lnTo>
                  <a:pt x="989" y="0"/>
                </a:lnTo>
                <a:lnTo>
                  <a:pt x="908" y="0"/>
                </a:lnTo>
                <a:lnTo>
                  <a:pt x="707" y="0"/>
                </a:lnTo>
                <a:lnTo>
                  <a:pt x="563" y="0"/>
                </a:lnTo>
                <a:lnTo>
                  <a:pt x="439" y="1"/>
                </a:lnTo>
                <a:lnTo>
                  <a:pt x="411" y="1"/>
                </a:lnTo>
                <a:lnTo>
                  <a:pt x="385" y="5"/>
                </a:lnTo>
                <a:lnTo>
                  <a:pt x="364" y="13"/>
                </a:lnTo>
                <a:lnTo>
                  <a:pt x="351" y="24"/>
                </a:lnTo>
                <a:lnTo>
                  <a:pt x="342" y="39"/>
                </a:lnTo>
                <a:lnTo>
                  <a:pt x="340" y="63"/>
                </a:lnTo>
                <a:lnTo>
                  <a:pt x="340" y="112"/>
                </a:lnTo>
                <a:lnTo>
                  <a:pt x="340" y="232"/>
                </a:lnTo>
                <a:lnTo>
                  <a:pt x="340" y="285"/>
                </a:lnTo>
                <a:lnTo>
                  <a:pt x="38" y="488"/>
                </a:lnTo>
                <a:lnTo>
                  <a:pt x="340" y="389"/>
                </a:lnTo>
                <a:lnTo>
                  <a:pt x="340" y="430"/>
                </a:lnTo>
                <a:lnTo>
                  <a:pt x="340" y="470"/>
                </a:lnTo>
                <a:lnTo>
                  <a:pt x="340" y="513"/>
                </a:lnTo>
                <a:lnTo>
                  <a:pt x="340" y="535"/>
                </a:lnTo>
                <a:lnTo>
                  <a:pt x="346" y="551"/>
                </a:lnTo>
                <a:lnTo>
                  <a:pt x="360" y="565"/>
                </a:lnTo>
                <a:lnTo>
                  <a:pt x="383" y="574"/>
                </a:lnTo>
                <a:lnTo>
                  <a:pt x="410" y="578"/>
                </a:lnTo>
                <a:lnTo>
                  <a:pt x="438" y="579"/>
                </a:lnTo>
                <a:lnTo>
                  <a:pt x="581" y="579"/>
                </a:lnTo>
                <a:lnTo>
                  <a:pt x="0" y="1093"/>
                </a:lnTo>
                <a:lnTo>
                  <a:pt x="706" y="579"/>
                </a:lnTo>
                <a:lnTo>
                  <a:pt x="899" y="579"/>
                </a:lnTo>
                <a:lnTo>
                  <a:pt x="989" y="579"/>
                </a:lnTo>
                <a:lnTo>
                  <a:pt x="1079" y="579"/>
                </a:lnTo>
                <a:lnTo>
                  <a:pt x="1281" y="579"/>
                </a:lnTo>
                <a:lnTo>
                  <a:pt x="1349" y="579"/>
                </a:lnTo>
                <a:lnTo>
                  <a:pt x="1417" y="579"/>
                </a:lnTo>
                <a:lnTo>
                  <a:pt x="1549" y="579"/>
                </a:lnTo>
                <a:lnTo>
                  <a:pt x="1581" y="575"/>
                </a:lnTo>
                <a:lnTo>
                  <a:pt x="1603" y="570"/>
                </a:lnTo>
                <a:lnTo>
                  <a:pt x="1620" y="561"/>
                </a:lnTo>
                <a:close/>
              </a:path>
            </a:pathLst>
          </a:custGeom>
          <a:solidFill>
            <a:schemeClr val="bg1">
              <a:alpha val="79999"/>
            </a:schemeClr>
          </a:solidFill>
          <a:ln w="12700">
            <a:solidFill>
              <a:schemeClr val="hlink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endParaRPr lang="en-US"/>
          </a:p>
        </p:txBody>
      </p:sp>
      <p:sp>
        <p:nvSpPr>
          <p:cNvPr id="10247" name="Rectangle 26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232150" y="3457575"/>
            <a:ext cx="1863725" cy="55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eaLnBrk="0" hangingPunct="0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s-ES_tradnl" sz="1200" i="1">
                <a:cs typeface="Arial" pitchFamily="34" charset="0"/>
              </a:rPr>
              <a:t>Evolving to Business Accelerator models by 2012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7" name="think-cell Slide" r:id="rId20" imgW="0" imgH="0" progId="TCLayout.ActiveDocument.1">
                  <p:embed/>
                </p:oleObj>
              </mc:Choice>
              <mc:Fallback>
                <p:oleObj name="think-cell Slide" r:id="rId20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7" name="AutoShape 2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914650" y="2247900"/>
            <a:ext cx="1792288" cy="2681288"/>
          </a:xfrm>
          <a:prstGeom prst="roundRect">
            <a:avLst>
              <a:gd name="adj" fmla="val 14542"/>
            </a:avLst>
          </a:prstGeom>
          <a:solidFill>
            <a:srgbClr val="EAEAEA">
              <a:alpha val="50195"/>
            </a:srgbClr>
          </a:soli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defTabSz="933450"/>
            <a:endParaRPr lang="en-US" sz="1400" b="1">
              <a:latin typeface="Calibri" pitchFamily="34" charset="0"/>
            </a:endParaRPr>
          </a:p>
        </p:txBody>
      </p:sp>
      <p:sp>
        <p:nvSpPr>
          <p:cNvPr id="11268" name="AutoShape 2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52475" y="2247900"/>
            <a:ext cx="1792288" cy="2681288"/>
          </a:xfrm>
          <a:prstGeom prst="roundRect">
            <a:avLst>
              <a:gd name="adj" fmla="val 14542"/>
            </a:avLst>
          </a:prstGeom>
          <a:solidFill>
            <a:srgbClr val="EAEAEA">
              <a:alpha val="50195"/>
            </a:srgbClr>
          </a:soli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defTabSz="933450"/>
            <a:endParaRPr lang="en-US" sz="1400" b="1">
              <a:latin typeface="Calibri" pitchFamily="34" charset="0"/>
            </a:endParaRPr>
          </a:p>
        </p:txBody>
      </p:sp>
      <p:sp>
        <p:nvSpPr>
          <p:cNvPr id="195588" name="AutoShape 2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14650" y="2247900"/>
            <a:ext cx="1792288" cy="2681288"/>
          </a:xfrm>
          <a:prstGeom prst="roundRect">
            <a:avLst>
              <a:gd name="adj" fmla="val 14542"/>
            </a:avLst>
          </a:prstGeom>
          <a:solidFill>
            <a:srgbClr val="808080">
              <a:alpha val="50195"/>
            </a:srgbClr>
          </a:solidFill>
          <a:ln w="9525">
            <a:solidFill>
              <a:schemeClr val="accent2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defTabSz="933450"/>
            <a:endParaRPr lang="en-US" sz="1400" b="1">
              <a:latin typeface="Calibri" pitchFamily="34" charset="0"/>
            </a:endParaRPr>
          </a:p>
        </p:txBody>
      </p:sp>
      <p:sp>
        <p:nvSpPr>
          <p:cNvPr id="11270" name="4 Marcador de número de diapositiva"/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153400" y="6648450"/>
            <a:ext cx="885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3E1DC3C8-996E-4BB4-B70B-31C8A862D540}" type="slidenum">
              <a:rPr lang="en-US" sz="900">
                <a:solidFill>
                  <a:srgbClr val="7F329A"/>
                </a:solidFill>
                <a:cs typeface="Arial" pitchFamily="34" charset="0"/>
              </a:rPr>
              <a:pPr algn="r" eaLnBrk="1" hangingPunct="1"/>
              <a:t>7</a:t>
            </a:fld>
            <a:endParaRPr lang="en-US" sz="900">
              <a:solidFill>
                <a:srgbClr val="7F329A"/>
              </a:solidFill>
              <a:cs typeface="Arial" pitchFamily="34" charset="0"/>
            </a:endParaRPr>
          </a:p>
        </p:txBody>
      </p:sp>
      <p:sp>
        <p:nvSpPr>
          <p:cNvPr id="11271" name="Rectangle 2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38200" y="2687638"/>
            <a:ext cx="15954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sz="1400" b="1">
                <a:solidFill>
                  <a:schemeClr val="tx2"/>
                </a:solidFill>
                <a:cs typeface="Arial" pitchFamily="34" charset="0"/>
              </a:rPr>
              <a:t>Who</a:t>
            </a:r>
            <a:r>
              <a:rPr lang="en-US" altLang="ja-JP" sz="1400" b="1">
                <a:solidFill>
                  <a:schemeClr val="tx2"/>
                </a:solidFill>
                <a:cs typeface="Arial" pitchFamily="34" charset="0"/>
              </a:rPr>
              <a:t> we are</a:t>
            </a:r>
            <a:endParaRPr lang="en-US" sz="1400" b="1">
              <a:solidFill>
                <a:schemeClr val="tx2"/>
              </a:solidFill>
              <a:cs typeface="Arial" pitchFamily="34" charset="0"/>
            </a:endParaRPr>
          </a:p>
        </p:txBody>
      </p:sp>
      <p:sp>
        <p:nvSpPr>
          <p:cNvPr id="11272" name="Rectangle 2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079750" y="2687638"/>
            <a:ext cx="1446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sz="1400" b="1">
                <a:solidFill>
                  <a:schemeClr val="tx2"/>
                </a:solidFill>
                <a:cs typeface="Arial" pitchFamily="34" charset="0"/>
              </a:rPr>
              <a:t>Background</a:t>
            </a:r>
          </a:p>
        </p:txBody>
      </p:sp>
      <p:sp>
        <p:nvSpPr>
          <p:cNvPr id="11273" name="Rectangle 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044825" y="3275013"/>
            <a:ext cx="1514475" cy="793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33350" indent="-133350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cs typeface="Arial" pitchFamily="34" charset="0"/>
              </a:rPr>
              <a:t>The role of entrepreneurship in poverty reduction</a:t>
            </a:r>
          </a:p>
        </p:txBody>
      </p:sp>
      <p:sp>
        <p:nvSpPr>
          <p:cNvPr id="11274" name="AutoShape 28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949825" y="2247900"/>
            <a:ext cx="1792288" cy="2681288"/>
          </a:xfrm>
          <a:prstGeom prst="roundRect">
            <a:avLst>
              <a:gd name="adj" fmla="val 14542"/>
            </a:avLst>
          </a:prstGeom>
          <a:solidFill>
            <a:srgbClr val="EAEAEA">
              <a:alpha val="50195"/>
            </a:srgbClr>
          </a:soli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defTabSz="933450"/>
            <a:endParaRPr lang="en-US" sz="1400" b="1">
              <a:latin typeface="Calibri" pitchFamily="34" charset="0"/>
            </a:endParaRPr>
          </a:p>
        </p:txBody>
      </p:sp>
      <p:sp>
        <p:nvSpPr>
          <p:cNvPr id="11275" name="Rectangle 2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113338" y="2368550"/>
            <a:ext cx="1446212" cy="850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sz="1400" b="1">
                <a:solidFill>
                  <a:schemeClr val="tx2"/>
                </a:solidFill>
                <a:cs typeface="Arial" pitchFamily="34" charset="0"/>
              </a:rPr>
              <a:t>The problem at hand and Evaluation of Methodology</a:t>
            </a:r>
          </a:p>
        </p:txBody>
      </p:sp>
      <p:sp>
        <p:nvSpPr>
          <p:cNvPr id="11276" name="Rectangle 2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113338" y="3275013"/>
            <a:ext cx="1446212" cy="146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33350" indent="-133350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cs typeface="Arial" pitchFamily="34" charset="0"/>
              </a:rPr>
              <a:t>Strategic planning</a:t>
            </a:r>
          </a:p>
          <a:p>
            <a:pPr marL="133350" indent="-133350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cs typeface="Arial" pitchFamily="34" charset="0"/>
              </a:rPr>
              <a:t>Access to capital</a:t>
            </a:r>
          </a:p>
          <a:p>
            <a:pPr marL="133350" indent="-133350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cs typeface="Arial" pitchFamily="34" charset="0"/>
              </a:rPr>
              <a:t>Other problems</a:t>
            </a:r>
          </a:p>
          <a:p>
            <a:pPr marL="133350" indent="-133350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cs typeface="Arial" pitchFamily="34" charset="0"/>
              </a:rPr>
              <a:t>Overview of BPC impact study and results</a:t>
            </a:r>
          </a:p>
        </p:txBody>
      </p:sp>
      <p:sp>
        <p:nvSpPr>
          <p:cNvPr id="11277" name="AutoShape 36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999288" y="2247900"/>
            <a:ext cx="1792287" cy="2681288"/>
          </a:xfrm>
          <a:prstGeom prst="roundRect">
            <a:avLst>
              <a:gd name="adj" fmla="val 14542"/>
            </a:avLst>
          </a:prstGeom>
          <a:solidFill>
            <a:srgbClr val="EAEAEA">
              <a:alpha val="50195"/>
            </a:srgbClr>
          </a:soli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defTabSz="933450"/>
            <a:endParaRPr lang="en-US" sz="1400" b="1">
              <a:latin typeface="Calibri" pitchFamily="34" charset="0"/>
            </a:endParaRPr>
          </a:p>
        </p:txBody>
      </p:sp>
      <p:sp>
        <p:nvSpPr>
          <p:cNvPr id="11278" name="Rectangle 2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7143750" y="2687638"/>
            <a:ext cx="14478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sz="1400" b="1">
                <a:solidFill>
                  <a:schemeClr val="tx2"/>
                </a:solidFill>
                <a:cs typeface="Arial" pitchFamily="34" charset="0"/>
              </a:rPr>
              <a:t>Next Steps</a:t>
            </a:r>
          </a:p>
        </p:txBody>
      </p:sp>
      <p:sp>
        <p:nvSpPr>
          <p:cNvPr id="11279" name="Rectangle 2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164388" y="3275013"/>
            <a:ext cx="1444625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33350" indent="-133350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cs typeface="Arial" pitchFamily="34" charset="0"/>
              </a:rPr>
              <a:t>Results</a:t>
            </a:r>
          </a:p>
          <a:p>
            <a:pPr marL="133350" indent="-133350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cs typeface="Arial" pitchFamily="34" charset="0"/>
              </a:rPr>
              <a:t>Lessons learned</a:t>
            </a:r>
          </a:p>
          <a:p>
            <a:pPr marL="133350" indent="-133350" defTabSz="912813"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300">
                <a:cs typeface="Arial" pitchFamily="34" charset="0"/>
              </a:rPr>
              <a:t>Beyond BPC</a:t>
            </a:r>
            <a:r>
              <a:rPr lang="ja-JP" altLang="en-US" sz="1300"/>
              <a:t>’</a:t>
            </a:r>
            <a:r>
              <a:rPr lang="en-US" altLang="ja-JP" sz="1300">
                <a:cs typeface="Arial" pitchFamily="34" charset="0"/>
              </a:rPr>
              <a:t>s</a:t>
            </a:r>
            <a:endParaRPr lang="en-US" sz="1300">
              <a:cs typeface="Arial" pitchFamily="34" charset="0"/>
            </a:endParaRPr>
          </a:p>
        </p:txBody>
      </p:sp>
      <p:sp>
        <p:nvSpPr>
          <p:cNvPr id="11280" name="AutoShape 39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52475" y="5195888"/>
            <a:ext cx="8058150" cy="534987"/>
          </a:xfrm>
          <a:prstGeom prst="roundRect">
            <a:avLst>
              <a:gd name="adj" fmla="val 32120"/>
            </a:avLst>
          </a:prstGeom>
          <a:solidFill>
            <a:srgbClr val="EAEAEA">
              <a:alpha val="50195"/>
            </a:srgbClr>
          </a:soli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algn="ctr" defTabSz="933450"/>
            <a:r>
              <a:rPr lang="en-US" sz="1600" b="1">
                <a:cs typeface="Arial" pitchFamily="34" charset="0"/>
              </a:rPr>
              <a:t>Q and A</a:t>
            </a:r>
          </a:p>
        </p:txBody>
      </p:sp>
      <p:pic>
        <p:nvPicPr>
          <p:cNvPr id="11281" name="Picture 21" descr="TNS_Eng_vertical_logo_RGB_large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67" t="12163" r="6067" b="12163"/>
          <a:stretch>
            <a:fillRect/>
          </a:stretch>
        </p:blipFill>
        <p:spPr bwMode="auto">
          <a:xfrm>
            <a:off x="927100" y="3429000"/>
            <a:ext cx="1417638" cy="757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82" name="Rectangle 1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>
                <a:ea typeface="ＭＳ Ｐゴシック" pitchFamily="34" charset="-128"/>
                <a:cs typeface="Arial" pitchFamily="34" charset="0"/>
              </a:rPr>
              <a:t>Agenda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5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955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955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955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558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Rectangle 2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5" name="think-cell Slide" r:id="rId27" imgW="0" imgH="0" progId="TCLayout.ActiveDocument.1">
                  <p:embed/>
                </p:oleObj>
              </mc:Choice>
              <mc:Fallback>
                <p:oleObj name="think-cell Slide" r:id="rId27" imgW="0" imgH="0" progId="TCLayout.ActiveDocument.1">
                  <p:embed/>
                  <p:pic>
                    <p:nvPicPr>
                      <p:cNvPr id="0" name="Rectangle 25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1" name="Rectangle 26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21049" tIns="0" rIns="21049" bIns="0" anchor="ctr"/>
          <a:lstStyle/>
          <a:p>
            <a:pPr algn="ctr" defTabSz="933450"/>
            <a:r>
              <a:rPr lang="en-US" sz="1200"/>
              <a:t>42,502</a:t>
            </a:r>
          </a:p>
        </p:txBody>
      </p:sp>
      <p:graphicFrame>
        <p:nvGraphicFramePr>
          <p:cNvPr id="12292" name="Object 2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801688" y="3268663"/>
          <a:ext cx="3175000" cy="26749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6" name="Chart" r:id="rId28" imgW="3111500" imgH="2616200" progId="MSGraph.Chart.8">
                  <p:embed followColorScheme="full"/>
                </p:oleObj>
              </mc:Choice>
              <mc:Fallback>
                <p:oleObj name="Chart" r:id="rId28" imgW="3111500" imgH="2616200" progId="MSGraph.Chart.8">
                  <p:embed followColorScheme="full"/>
                  <p:pic>
                    <p:nvPicPr>
                      <p:cNvPr id="0" name="Object 2"/>
                      <p:cNvPicPr>
                        <a:picLocks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White">
                      <a:xfrm>
                        <a:off x="801688" y="3268663"/>
                        <a:ext cx="3175000" cy="26749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3" name="Freeform 27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562225" y="3313113"/>
            <a:ext cx="862013" cy="715962"/>
          </a:xfrm>
          <a:custGeom>
            <a:avLst/>
            <a:gdLst>
              <a:gd name="T0" fmla="*/ 2147483647 w 543"/>
              <a:gd name="T1" fmla="*/ 2147483647 h 451"/>
              <a:gd name="T2" fmla="*/ 2147483647 w 543"/>
              <a:gd name="T3" fmla="*/ 0 h 451"/>
              <a:gd name="T4" fmla="*/ 0 w 543"/>
              <a:gd name="T5" fmla="*/ 0 h 451"/>
              <a:gd name="T6" fmla="*/ 0 w 543"/>
              <a:gd name="T7" fmla="*/ 2147483647 h 451"/>
              <a:gd name="T8" fmla="*/ 0 60000 65536"/>
              <a:gd name="T9" fmla="*/ 0 60000 65536"/>
              <a:gd name="T10" fmla="*/ 0 60000 65536"/>
              <a:gd name="T11" fmla="*/ 0 60000 65536"/>
              <a:gd name="T12" fmla="*/ 0 w 543"/>
              <a:gd name="T13" fmla="*/ 0 h 451"/>
              <a:gd name="T14" fmla="*/ 543 w 543"/>
              <a:gd name="T15" fmla="*/ 451 h 45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43" h="451">
                <a:moveTo>
                  <a:pt x="543" y="451"/>
                </a:moveTo>
                <a:lnTo>
                  <a:pt x="543" y="0"/>
                </a:lnTo>
                <a:lnTo>
                  <a:pt x="0" y="0"/>
                </a:lnTo>
                <a:lnTo>
                  <a:pt x="0" y="228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294" name="Rectangle 2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08038" y="2181225"/>
            <a:ext cx="3370262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defTabSz="931863">
              <a:spcAft>
                <a:spcPts val="200"/>
              </a:spcAft>
              <a:buSzPct val="75000"/>
            </a:pPr>
            <a:r>
              <a:rPr lang="en-US" sz="1400" b="1">
                <a:solidFill>
                  <a:schemeClr val="accent2"/>
                </a:solidFill>
                <a:cs typeface="Arial" pitchFamily="34" charset="0"/>
              </a:rPr>
              <a:t>Increase and decrease in poverty in L.AC between 1999 and 2007 (relative to 1999 figures) *</a:t>
            </a:r>
            <a:endParaRPr lang="en-US" sz="1400" b="1" i="1">
              <a:solidFill>
                <a:schemeClr val="accent2"/>
              </a:solidFill>
              <a:cs typeface="Arial" pitchFamily="34" charset="0"/>
            </a:endParaRPr>
          </a:p>
        </p:txBody>
      </p:sp>
      <p:sp>
        <p:nvSpPr>
          <p:cNvPr id="12295" name="Rectangle 12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003425" y="6000750"/>
            <a:ext cx="7747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33450"/>
            <a:r>
              <a:rPr lang="en-US" sz="1400">
                <a:cs typeface="Arial" pitchFamily="34" charset="0"/>
              </a:rPr>
              <a:t>2004</a:t>
            </a:r>
          </a:p>
        </p:txBody>
      </p:sp>
      <p:sp>
        <p:nvSpPr>
          <p:cNvPr id="12296" name="Rectangle 1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030538" y="6000750"/>
            <a:ext cx="7747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33450"/>
            <a:r>
              <a:rPr lang="en-US" sz="1400">
                <a:cs typeface="Arial" pitchFamily="34" charset="0"/>
              </a:rPr>
              <a:t>2007</a:t>
            </a:r>
          </a:p>
        </p:txBody>
      </p:sp>
      <p:sp>
        <p:nvSpPr>
          <p:cNvPr id="12297" name="Rectangle 16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976313" y="6000750"/>
            <a:ext cx="7747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33450"/>
            <a:r>
              <a:rPr lang="en-US" sz="1400">
                <a:cs typeface="Arial" pitchFamily="34" charset="0"/>
              </a:rPr>
              <a:t>1999</a:t>
            </a:r>
          </a:p>
        </p:txBody>
      </p:sp>
      <p:sp>
        <p:nvSpPr>
          <p:cNvPr id="12298" name="McK Footnote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11138" y="6477000"/>
            <a:ext cx="5324475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530225" indent="-530225" defTabSz="912813" eaLnBrk="0" hangingPunct="0">
              <a:tabLst>
                <a:tab pos="469900" algn="r"/>
              </a:tabLs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tabLst>
                <a:tab pos="469900" algn="r"/>
              </a:tabLs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tabLst>
                <a:tab pos="469900" algn="r"/>
              </a:tabLs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tabLst>
                <a:tab pos="469900" algn="r"/>
              </a:tabLs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tabLst>
                <a:tab pos="469900" algn="r"/>
              </a:tabLs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469900" algn="r"/>
              </a:tabLs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469900" algn="r"/>
              </a:tabLs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469900" algn="r"/>
              </a:tabLs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469900" algn="r"/>
              </a:tabLs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1100" dirty="0">
                <a:cs typeface="Arial" pitchFamily="34" charset="0"/>
              </a:rPr>
              <a:t>	*	In terms of number of people living </a:t>
            </a:r>
            <a:r>
              <a:rPr lang="en-US" sz="1100" dirty="0" smtClean="0">
                <a:cs typeface="Arial" pitchFamily="34" charset="0"/>
              </a:rPr>
              <a:t>on </a:t>
            </a:r>
            <a:r>
              <a:rPr lang="en-US" sz="1100" dirty="0">
                <a:cs typeface="Arial" pitchFamily="34" charset="0"/>
              </a:rPr>
              <a:t>less than $8/day</a:t>
            </a:r>
          </a:p>
          <a:p>
            <a:pPr eaLnBrk="1" hangingPunct="1"/>
            <a:r>
              <a:rPr lang="en-US" sz="1100" dirty="0">
                <a:cs typeface="Arial" pitchFamily="34" charset="0"/>
              </a:rPr>
              <a:t>	Source:	Universidad de los Andes</a:t>
            </a:r>
          </a:p>
        </p:txBody>
      </p:sp>
      <p:graphicFrame>
        <p:nvGraphicFramePr>
          <p:cNvPr id="12299" name="Object 3"/>
          <p:cNvGraphicFramePr>
            <a:graphicFrameLocks/>
          </p:cNvGraphicFramePr>
          <p:nvPr>
            <p:custDataLst>
              <p:tags r:id="rId11"/>
            </p:custDataLst>
          </p:nvPr>
        </p:nvGraphicFramePr>
        <p:xfrm>
          <a:off x="5938838" y="2400300"/>
          <a:ext cx="2698750" cy="30845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7" name="Chart" r:id="rId30" imgW="3225800" imgH="3098800" progId="MSGraph.Chart.8">
                  <p:embed followColorScheme="full"/>
                </p:oleObj>
              </mc:Choice>
              <mc:Fallback>
                <p:oleObj name="Chart" r:id="rId30" imgW="3225800" imgH="3098800" progId="MSGraph.Chart.8">
                  <p:embed followColorScheme="full"/>
                  <p:pic>
                    <p:nvPicPr>
                      <p:cNvPr id="0" name="Object 3"/>
                      <p:cNvPicPr>
                        <a:picLocks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r="16103"/>
                      <a:stretch>
                        <a:fillRect/>
                      </a:stretch>
                    </p:blipFill>
                    <p:spPr bwMode="blackWhite">
                      <a:xfrm>
                        <a:off x="5938838" y="2400300"/>
                        <a:ext cx="2698750" cy="30845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300" name="Rectangle 4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656138" y="2765425"/>
            <a:ext cx="12223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r" defTabSz="912813">
              <a:buSzPct val="120000"/>
            </a:pPr>
            <a:r>
              <a:rPr lang="en-US" sz="1400">
                <a:cs typeface="Arial" pitchFamily="34" charset="0"/>
              </a:rPr>
              <a:t>Conglomerate</a:t>
            </a:r>
          </a:p>
        </p:txBody>
      </p:sp>
      <p:sp>
        <p:nvSpPr>
          <p:cNvPr id="12301" name="Rectangle 2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5929313" y="2181225"/>
            <a:ext cx="29718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defTabSz="931863">
              <a:spcAft>
                <a:spcPts val="200"/>
              </a:spcAft>
              <a:buSzPct val="75000"/>
            </a:pPr>
            <a:r>
              <a:rPr lang="en-US" sz="1400" b="1">
                <a:solidFill>
                  <a:schemeClr val="accent2"/>
                </a:solidFill>
                <a:cs typeface="Arial" pitchFamily="34" charset="0"/>
              </a:rPr>
              <a:t>Businesses by size in LAC</a:t>
            </a:r>
            <a:endParaRPr lang="en-US" sz="1400" b="1" i="1">
              <a:solidFill>
                <a:schemeClr val="accent2"/>
              </a:solidFill>
              <a:cs typeface="Arial" pitchFamily="34" charset="0"/>
            </a:endParaRPr>
          </a:p>
        </p:txBody>
      </p:sp>
      <p:sp>
        <p:nvSpPr>
          <p:cNvPr id="12302" name="Rectangle 4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656138" y="3514725"/>
            <a:ext cx="12223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r" defTabSz="912813">
              <a:buSzPct val="120000"/>
            </a:pPr>
            <a:r>
              <a:rPr lang="en-US" sz="1400">
                <a:cs typeface="Arial" pitchFamily="34" charset="0"/>
              </a:rPr>
              <a:t>Big</a:t>
            </a:r>
          </a:p>
        </p:txBody>
      </p:sp>
      <p:sp>
        <p:nvSpPr>
          <p:cNvPr id="12303" name="Rectangle 4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656138" y="4267200"/>
            <a:ext cx="12223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r" defTabSz="912813">
              <a:buSzPct val="120000"/>
            </a:pPr>
            <a:r>
              <a:rPr lang="en-US" sz="1400">
                <a:cs typeface="Arial" pitchFamily="34" charset="0"/>
              </a:rPr>
              <a:t>MSE</a:t>
            </a:r>
          </a:p>
        </p:txBody>
      </p:sp>
      <p:sp>
        <p:nvSpPr>
          <p:cNvPr id="12304" name="Rectangle 4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4656138" y="5016500"/>
            <a:ext cx="12223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r" defTabSz="912813">
              <a:buSzPct val="120000"/>
            </a:pPr>
            <a:r>
              <a:rPr lang="en-US" sz="1400">
                <a:cs typeface="Arial" pitchFamily="34" charset="0"/>
              </a:rPr>
              <a:t>Micro</a:t>
            </a:r>
          </a:p>
        </p:txBody>
      </p:sp>
      <p:sp>
        <p:nvSpPr>
          <p:cNvPr id="12305" name="Freeform 25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1363663" y="3311525"/>
            <a:ext cx="873125" cy="1174750"/>
          </a:xfrm>
          <a:custGeom>
            <a:avLst/>
            <a:gdLst>
              <a:gd name="T0" fmla="*/ 0 w 550"/>
              <a:gd name="T1" fmla="*/ 2147483647 h 740"/>
              <a:gd name="T2" fmla="*/ 0 w 550"/>
              <a:gd name="T3" fmla="*/ 0 h 740"/>
              <a:gd name="T4" fmla="*/ 2147483647 w 550"/>
              <a:gd name="T5" fmla="*/ 0 h 740"/>
              <a:gd name="T6" fmla="*/ 2147483647 w 550"/>
              <a:gd name="T7" fmla="*/ 2147483647 h 740"/>
              <a:gd name="T8" fmla="*/ 0 60000 65536"/>
              <a:gd name="T9" fmla="*/ 0 60000 65536"/>
              <a:gd name="T10" fmla="*/ 0 60000 65536"/>
              <a:gd name="T11" fmla="*/ 0 60000 65536"/>
              <a:gd name="T12" fmla="*/ 0 w 550"/>
              <a:gd name="T13" fmla="*/ 0 h 740"/>
              <a:gd name="T14" fmla="*/ 512 w 550"/>
              <a:gd name="T15" fmla="*/ 896 h 74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50" h="740">
                <a:moveTo>
                  <a:pt x="0" y="740"/>
                </a:moveTo>
                <a:lnTo>
                  <a:pt x="0" y="0"/>
                </a:lnTo>
                <a:lnTo>
                  <a:pt x="550" y="0"/>
                </a:lnTo>
                <a:lnTo>
                  <a:pt x="550" y="233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306" name="4 Elipse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536700" y="3170238"/>
            <a:ext cx="571500" cy="280987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algn="ctr" defTabSz="952500"/>
            <a:r>
              <a:rPr lang="en-US" sz="1400" b="1">
                <a:cs typeface="Arial" pitchFamily="34" charset="0"/>
              </a:rPr>
              <a:t>27%</a:t>
            </a:r>
          </a:p>
        </p:txBody>
      </p:sp>
      <p:sp>
        <p:nvSpPr>
          <p:cNvPr id="12307" name="4 Elipse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2735263" y="3170238"/>
            <a:ext cx="571500" cy="280987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algn="ctr" defTabSz="952500"/>
            <a:r>
              <a:rPr lang="en-US" sz="1400" b="1">
                <a:cs typeface="Arial" pitchFamily="34" charset="0"/>
              </a:rPr>
              <a:t>4.5%</a:t>
            </a:r>
          </a:p>
        </p:txBody>
      </p:sp>
      <p:sp>
        <p:nvSpPr>
          <p:cNvPr id="12308" name="65 Triángulo isósceles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 rot="10800000">
            <a:off x="6075363" y="5561013"/>
            <a:ext cx="1785937" cy="182562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lIns="93296" tIns="46648" rIns="93296" bIns="46648"/>
          <a:lstStyle/>
          <a:p>
            <a:pPr defTabSz="952500"/>
            <a:endParaRPr lang="es-PE" sz="1400" b="1">
              <a:latin typeface="Tahoma" pitchFamily="34" charset="0"/>
            </a:endParaRPr>
          </a:p>
        </p:txBody>
      </p:sp>
      <p:sp>
        <p:nvSpPr>
          <p:cNvPr id="12309" name="Rectangle 2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6069013" y="5881688"/>
            <a:ext cx="1798637" cy="55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2813">
              <a:spcBef>
                <a:spcPts val="613"/>
              </a:spcBef>
              <a:buSzPct val="70000"/>
            </a:pPr>
            <a:r>
              <a:rPr lang="en-US" sz="1200" b="1">
                <a:cs typeface="Arial" pitchFamily="34" charset="0"/>
              </a:rPr>
              <a:t>Entrepreneurship development is key to effecting change</a:t>
            </a:r>
          </a:p>
        </p:txBody>
      </p:sp>
      <p:sp>
        <p:nvSpPr>
          <p:cNvPr id="12310" name="AutoShape 31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6834188" y="4125913"/>
            <a:ext cx="933450" cy="447675"/>
          </a:xfrm>
          <a:prstGeom prst="leftArrowCallout">
            <a:avLst>
              <a:gd name="adj1" fmla="val 63046"/>
              <a:gd name="adj2" fmla="val 50000"/>
              <a:gd name="adj3" fmla="val 32947"/>
              <a:gd name="adj4" fmla="val 74130"/>
            </a:avLst>
          </a:prstGeom>
          <a:solidFill>
            <a:schemeClr val="accent2"/>
          </a:solidFill>
          <a:ln w="9525">
            <a:solidFill>
              <a:srgbClr val="80808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pPr algn="ctr" defTabSz="933450">
              <a:lnSpc>
                <a:spcPct val="85000"/>
              </a:lnSpc>
            </a:pPr>
            <a:r>
              <a:rPr lang="en-US" sz="1600" b="1">
                <a:solidFill>
                  <a:schemeClr val="bg1"/>
                </a:solidFill>
                <a:cs typeface="Arial" pitchFamily="34" charset="0"/>
              </a:rPr>
              <a:t>TNS</a:t>
            </a:r>
          </a:p>
          <a:p>
            <a:pPr algn="ctr" defTabSz="933450">
              <a:lnSpc>
                <a:spcPct val="85000"/>
              </a:lnSpc>
            </a:pPr>
            <a:r>
              <a:rPr lang="en-US" sz="1600" b="1">
                <a:solidFill>
                  <a:schemeClr val="bg1"/>
                </a:solidFill>
                <a:cs typeface="Arial" pitchFamily="34" charset="0"/>
              </a:rPr>
              <a:t>Focus</a:t>
            </a:r>
          </a:p>
        </p:txBody>
      </p:sp>
      <p:sp>
        <p:nvSpPr>
          <p:cNvPr id="12311" name="4 Marcador de número de diapositiva"/>
          <p:cNvSpPr txBox="1"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8153400" y="6648450"/>
            <a:ext cx="885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12813" eaLnBrk="0" hangingPunct="0"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2000EDF5-D8DA-452A-9C6E-2C608B674E71}" type="slidenum">
              <a:rPr lang="en-US" sz="900">
                <a:solidFill>
                  <a:srgbClr val="7F329A"/>
                </a:solidFill>
                <a:cs typeface="Arial" pitchFamily="34" charset="0"/>
              </a:rPr>
              <a:pPr algn="r" eaLnBrk="1" hangingPunct="1"/>
              <a:t>8</a:t>
            </a:fld>
            <a:endParaRPr lang="en-US" sz="900">
              <a:solidFill>
                <a:srgbClr val="7F329A"/>
              </a:solidFill>
              <a:cs typeface="Arial" pitchFamily="34" charset="0"/>
            </a:endParaRPr>
          </a:p>
        </p:txBody>
      </p:sp>
      <p:sp>
        <p:nvSpPr>
          <p:cNvPr id="12312" name="Rectangle 26"/>
          <p:cNvSpPr>
            <a:spLocks noGrp="1" noChangeArrowheads="1"/>
          </p:cNvSpPr>
          <p:nvPr>
            <p:ph type="title"/>
            <p:custDataLst>
              <p:tags r:id="rId24"/>
            </p:custDataLst>
          </p:nvPr>
        </p:nvSpPr>
        <p:spPr/>
        <p:txBody>
          <a:bodyPr/>
          <a:lstStyle/>
          <a:p>
            <a:r>
              <a:rPr lang="en-US" smtClean="0">
                <a:ea typeface="ＭＳ Ｐゴシック" pitchFamily="34" charset="-128"/>
                <a:cs typeface="Arial" pitchFamily="34" charset="0"/>
              </a:rPr>
              <a:t>Latin America lacks thriving SM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hLG.TZyUmkGgWOkPd14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aAdkWuBkaZFN.onFGVK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CuQ8da8ILU2tWUz7oH7L2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17h2XquEqXiAzy3nZX2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BrgwnVqkuaFWUJWRdTw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YDjzNBE0iL6MaUvt.IK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PdwBDpUEyFARPMejyqA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G95GY1.0uCCK0ipeELM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.tZqac.E6uOb1.fYxQU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1NJ3T45Emo8JstdS0ym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g0qzFZfECsCvdzDfd1q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ytEnY0lE.7KunvJW4W_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d3VD434kWCXnGL.c0Ki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Fwosu8CEqdb3sKZ9D7V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Tu233F90qQS961FIFZ6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4SiCVZdUeID3xCGN2Uk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vzK9xPOUe3T0C4rjmNw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N.NiadfUmI3pXOQCl3w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a1Xa5PaEOfcAazvLgi6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vi6Cz77kqVK.uLDw7L.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vxNE6uiES9h_d6aXcOF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nNHW4UVkGTofgt6of15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O9aMqEhvQEK3hJTuj_9_P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2jH5zkr06.UWS_d2hYw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DBzYWsxU6eTVDngwDWC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IwIAZBM0WKJxv_QbXq5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WjmaBaYEix5MPANOa0M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KcixFdfUepyIw5npXgY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YkwfDZ_UWdWAYlIAoOK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TS1MNRd0.2hJz7kWcjj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w9PsF1QEiUqjj31bDax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.b5LWvuEqvoUPeFHSqn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Uy0lW6UkWdXs9zN3x6X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8mWOEJ9EGrPsbWK1k5D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XAEndcBqEuYPtGkvCZ.X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YDJvcdp0yZr1VbSHBSY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CHqM7VbEy6OwaV4CwVJ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HJ988l4USdeNHNw5mQp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TZbjX0L0iBXhMz5iKgA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8NowiR4kSK4LzAj44kM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7SX5F8oP0qbEj.6nCj3g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cCyybO4U.j35YZ1.uKU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f942EQtEeIHi8959as1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cuN.IvLUWfC0snTNpCX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LjkGi_lESm4.mmSyS44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ms_gUeRkmGWLRJxk4wV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fT1lzjxEifX3Yt3Inda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2.WAtsUUWLc6X1y9QBd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salBQON0Sz5GKJwy39v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297.5"/>
  <p:tag name="ORIGTOP" val="294.375"/>
  <p:tag name="ORIGHEIGHT" val="28.75"/>
  <p:tag name="ORIGWIDTH" val="55.25"/>
  <p:tag name="THINKCELLSHAPEDONOTDELETE" val="pMwLpZNBR_kCiaPX.d2EkU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297.5"/>
  <p:tag name="ORIGTOP" val="294.375"/>
  <p:tag name="ORIGHEIGHT" val="28.75"/>
  <p:tag name="ORIGWIDTH" val="55.25"/>
  <p:tag name="THINKCELLSHAPEDONOTDELETE" val="pc9wsZQiemkC8auar.197X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f942EQtEeIHi8959as1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..zPKTq0e2y.Ru9mhoU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FpQiMVoUaYxNV10bvPE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_nTParKEmWvzYYwBBuV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wBVwQiTkqqbbwnTI6Rc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CoNAz7c0apNBAF1Kn4q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wwSahuakqNMI9dtDsQI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fF8yH2XkKqxhnxD5E9r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BnzJDEWU2wTIHyhpidp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..zPKTq0e2y.Ru9mhoU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4.lvnCT0iEHkIDAt3XH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ytEnY0lE.7KunvJW4W_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4.lvnCT0iEHkIDAt3XH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nNHW4UVkGTofgt6of15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Uy0lW6UkWdXs9zN3x6X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8iH.6u7kWbf.DScz0PR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CuRGMfJ0ur0liYDyARj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X4sqwGa0qyo..AlnUXE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YJEJQe8kSHAIt7L38K0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cUYxtEmkOyBpSXEimus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4n4LlZYUCpA7rVpAK5j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pFOJzm_kGkCqhZbU.n2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FpQiMVoUaYxNV10bvPE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ySNRU4j06qDB0csT9.W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kxEUxWoE6zQq00PXjbr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.7RTAzkmRZLiLeL0RV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0wZvj1RkEu6DPVyhX1r0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10RI8NokKUX5oSHg_2A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UVdzODWkuG5vJCkKdLP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dZ1ctplkCMaHeJUzIIV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YfSOtGpUCm8.yCMyHxh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7iXl4sBEq3Wh3XONK0G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n.axmM70SKfT.EfcbU8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fF8yH2XkKqxhnxD5E9r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fHq8y8r0ySFoHxANpNt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TWJOYvh0qceEFKFnEjU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5uFXN5i0CbvbPFOEimi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Mf.9NkUyJ6g6BK_9tX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qmDOKy3kaaFEawxGIez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9OS0iRFkCtBMf5K8ZMD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AgiDXB_UmyR94ci.5dh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smDrMpX0qVNpIc6ShVj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vfK.U0UurgNp1nbEyL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MpFYL8HUOff1LAh24Tq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BnzJDEWU2wTIHyhpidp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b3ONJc4UmWVFiSUkIBK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YJEJQe8kSHAIt7L38K0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cUYxtEmkOyBpSXEimus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4n4LlZYUCpA7rVpAK5j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pFOJzm_kGkCqhZbU.n2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ySNRU4j06qDB0csT9.W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kxEUxWoE6zQq00PXjbr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.7RTAzkmRZLiLeL0R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_nTParKEmWvzYYwBBuV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0wZvj1RkEu6DPVyhX1r0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10RI8NokKUX5oSHg_2A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UVdzODWkuG5vJCkKdLP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YfSOtGpUCm8.yCMyHxh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n.axmM70SKfT.EfcbU8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5uFXN5i0CbvbPFOEimi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smDrMpX0qVNpIc6ShVj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MpFYL8HUOff1LAh24Tq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3Hhd_4XEm87HVNH86nY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3Hhd_4XEm87HVNH86nY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2R0PedICEq58Lz4OPeTo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3Hhd_4XEm87HVNH86nY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3Hhd_4XEm87HVNH86nY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3Hhd_4XEm87HVNH86nY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pgWVjwl0okKnLGrt__WzR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6UGRyXUX0Eezv7VjZ4eCS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cElZpK9VGUW0NY1p_Yqyd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cElZpK9VGUW0NY1p_Yqyd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rkMA.xWEyuBv0_TDyW2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3Hhd_4XEm87HVNH86nY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3Hhd_4XEm87HVNH86nY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uB8YC9zkaQ1HkGtRKPl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3Hhd_4XEm87HVNH86nY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YJEJQe8kSHAIt7L38K0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cUYxtEmkOyBpSXEimus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4n4LlZYUCpA7rVpAK5j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pFOJzm_kGkCqhZbU.n2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ySNRU4j06qDB0csT9.W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kxEUxWoE6zQq00PXjbr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.7RTAzkmRZLiLeL0RV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0wZvj1RkEu6DPVyhX1r0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10RI8NokKUX5oSHg_2A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UVdzODWkuG5vJCkKdLP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YfSOtGpUCm8.yCMyHxh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23OQqb5kWLRlXvy5a6Z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n.axmM70SKfT.EfcbU8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5uFXN5i0CbvbPFOEimi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smDrMpX0qVNpIc6ShVj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MpFYL8HUOff1LAh24Tq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.b5LWvuEqvoUPeFHSq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.b5LWvuEqvoUPeFHSqn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pVjOfcEkKRPVAMjV5pW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WR8CQcckWu2uiekC_AB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xjvNYOxUCO_3gSM9blo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rmrSArkECesIuEWYf9W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Zbs7.odkiy4jzoR8ha2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ed8JyfJ0iIO6st9kbiH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tXU1eCQ0G7eJnfrnCGT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wZ6weQ2keaf7_WcvSmN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WtdiLdT0SESTZ6m7Jq3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6LGb52o06ZSn.Yjaf_k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rnuzMdVkG2QuBdubrJq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CNLvZTfUmQE9iJUkLll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WfHIxNO0KU1fi90nhag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qTGU.C2EC8hJbILhudI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w4kC7iZ0eWA2h89lVIt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O6YtfWdUuakdcdlTL0E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xJ3NDk6k60qN9QuvVdo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qR6TUE1kSSiAaTimgbQ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p.65o.3ky0LytaCPNyn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MlLG0MD0SdQ2SIxXff2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9dpOBBRpkeGzh0SxWdU2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oCxX6dSEmKe.rs_p4.K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ToKkQ1akealXtCN19rW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UYZs95MUCaT05bsQgzy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o_lmT1GU.IVp91pbOg0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xquFR5MkCde9FsvqPQs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_NZxXI20acdRFNYjbhJ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2QRiYTbEe8vn.YchnAT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TpS1ke1E2YlrhYnrjOb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roFjtq0UCSz8gK8yqlp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dwrEDw20afl1yB1PpKu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0HaRZCt0y40tJajJ_O1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_J9zH0W0WrNIG_nXy5E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svTZj9P0WwUcr09VEp7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sWJiEZ7EqsVxDaIoC27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CfPh0Ac0iiGUMVEakGS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7azhqVPUGLUYt4tbm8.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ytEnY0lE.7KunvJW4W_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f942EQtEeIHi8959as1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FpQiMVoUaYxNV10bvPE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_nTParKEmWvzYYwBBuV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Ayh.Vewk.IDTWcOzL2G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CoNAz7c0apNBAF1Kn4q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wwSahuakqNMI9dtDsQI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fF8yH2XkKqxhnxD5E9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A2gQklV0uu69PgZhBgp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UpTGm.m0KcloAfUdNK6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BnzJDEWU2wTIHyhpidp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..zPKTq0e2y.Ru9mhoU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4.lvnCT0iEHkIDAt3XH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nNHW4UVkGTofgt6of15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Uy0lW6UkWdXs9zN3x6X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8iH.6u7kWbf.DScz0PR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CuRGMfJ0ur0liYDyARj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xUTEjXM0qfJdmjZOhI3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FLHAJOdkGp8SzVuIzOo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IgfSl580yjCiopomvIj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IutPmoWE.uqLKcBIXA4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IgfSl580yjCiopomvIj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IgfSl580yjCiopomvIj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IgfSl580yjCiopomvIj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xUTEjXM0qfJdmjZOhI3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FLHAJOdkGp8SzVuIzOo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IgfSl580yjCiopomvIj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pnSGyQGL6aE2UH9tu_Yxs7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pnSGyQGL6aE2UH9tu_Yxs7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pnSGyQGL6aE2UH9tu_Yxs7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pDp_m0DHUkECbBPuBGrA5s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zZNvB.sa06gWWOBwEu00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IgfSl580yjCiopomvIj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IgfSl580yjCiopomvIj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IgfSl580yjCiopomvIj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xUTEjXM0qfJdmjZOhI3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FLHAJOdkGp8SzVuIzOo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IgfSl580yjCiopomvIj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IgfSl580yjCiopomvIj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IgfSl580yjCiopomvIj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IgfSl580yjCiopomvIj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xUTEjXM0qfJdmjZOhI3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frqBzCu0myYFzFUx_O3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FLHAJOdkGp8SzVuIzOo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rmrSArkECesIuEWYf9W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Zbs7.odkiy4jzoR8ha2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tXU1eCQ0G7eJnfrnCGT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wZ6weQ2keaf7_WcvSmN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WtdiLdT0SESTZ6m7Jq3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6LGb52o06ZSn.Yjaf_k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rnuzMdVkG2QuBdubrJq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CNLvZTfUmQE9iJUkLll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WfHIxNO0KU1fi90nhag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Hyq7_hn0C_0f0niTPdwg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qTGU.C2EC8hJbILhudI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w4kC7iZ0eWA2h89lVIt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GUjvnlbU6h5PTjtVyjm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pgWVjwl0okKnLGrt__WzR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rkMA.xWEyuBv0_TDyW2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pgWVjwl0okKnLGrt__WzR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pgWVjwl0okKnLGrt__WzR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pgWVjwl0okKnLGrt__WzR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YJEJQe8kSHAIt7L38K0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cUYxtEmkOyBpSXEimus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4n4LlZYUCpA7rVpAK5j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pFOJzm_kGkCqhZbU.n2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ySNRU4j06qDB0csT9.W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sTr.NzTEWeynzSxop2M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kxEUxWoE6zQq00PXjbr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.7RTAzkmRZLiLeL0RVw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0wZvj1RkEu6DPVyhX1r0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10RI8NokKUX5oSHg_2Aw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UVdzODWkuG5vJCkKdLP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YfSOtGpUCm8.yCMyHxh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n.axmM70SKfT.EfcbU8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5uFXN5i0CbvbPFOEimi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smDrMpX0qVNpIc6ShVj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MpFYL8HUOff1LAh24Tq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1IiUwdVUOvjg7Ty67Kx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Qrfa_0v0Odn6LfdxGLX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Y56bNn6EWCG8G4V53I2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gpawwwik62Gl9MvTU.U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9FLL.4a0e6PQ0ukccM2g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BnzJDEWU2wTIHyhpidp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9FLL.4a0e6PQ0ukccM2g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BnzJDEWU2wTIHyhpidp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9FLL.4a0e6PQ0ukccM2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BnzJDEWU2wTIHyhpidp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YJEJQe8kSHAIt7L38K0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cUYxtEmkOyBpSXEimusg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4n4LlZYUCpA7rVpAK5jg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pFOJzm_kGkCqhZbU.n2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WchA4_ikyvvAXse7kyV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ySNRU4j06qDB0csT9.W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kxEUxWoE6zQq00PXjbr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.7RTAzkmRZLiLeL0RV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0wZvj1RkEu6DPVyhX1r0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10RI8NokKUX5oSHg_2A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UVdzODWkuG5vJCkKdLP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YfSOtGpUCm8.yCMyHxhw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n.axmM70SKfT.EfcbU8Q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5uFXN5i0CbvbPFOEimi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smDrMpX0qVNpIc6ShV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v1q.OUkkOmJeWl2uJ2J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ZT4ONaZ0iD4TSGcQTzw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MpFYL8HUOff1LAh24TqQ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rkMA.xWEyuBv0_TDyW2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pgWVjwl0okKnLGrt__WzR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pgWVjwl0okKnLGrt__WzR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pgWVjwl0okKnLGrt__WzRg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pgWVjwl0okKnLGrt__WzR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pgWVjwl0okKnLGrt__WzRg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SCLEsPSUWAyYKERv.0ug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IgfSl580yjCiopomvIj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pgWVjwl0okKnLGrt__WzR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dbBUqlmUmzDJUanZzMTw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IgfSl580yjCiopomvIj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IgfSl580yjCiopomvIj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IgfSl580yjCiopomvIj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IgfSl580yjCiopomvIj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YJEJQe8kSHAIt7L38K0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cUYxtEmkOyBpSXEimusg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4n4LlZYUCpA7rVpAK5jg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pFOJzm_kGkCqhZbU.n2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J0otyVQUmgsQTh9hcN4g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ySNRU4j06qDB0csT9.WA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kxEUxWoE6zQq00PXjbrQ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.7RTAzkmRZLiLeL0RVw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0wZvj1RkEu6DPVyhX1r0g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10RI8NokKUX5oSHg_2A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UVdzODWkuG5vJCkKdLP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YfSOtGpUCm8.yCMyHxhw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n.axmM70SKfT.EfcbU8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5uFXN5i0CbvbPFOEimiQ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smDrMpX0qVNpIc6ShVj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mm637o.EW8eEbfXdLWcg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MpFYL8HUOff1LAh24Tq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mAF00RgEOlgeKlKrS1t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6UMzC1Z0yv6ESIlmz7u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shFwk.gkWUsbK5QzV2Q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fUSfirtEWRkmbs2xfE0w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rkMA.xWEyuBv0_TDyW2g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pgWVjwl0okKnLGrt__WzR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rkMA.xWEyuBv0_TDyW2g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YJEJQe8kSHAIt7L38K0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F_mupP7UC7n5Zw0FvX_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cUYxtEmkOyBpSXEimus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4n4LlZYUCpA7rVpAK5jg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pFOJzm_kGkCqhZbU.n2A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ySNRU4j06qDB0csT9.WA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kxEUxWoE6zQq00PXjbrQ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.7RTAzkmRZLiLeL0RVw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0wZvj1RkEu6DPVyhX1r0g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10RI8NokKUX5oSHg_2Aw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UVdzODWkuG5vJCkKdLPQ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YfSOtGpUCm8.yCMyHxh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OMHFyzJkWWzMBFAsDa6A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n.axmM70SKfT.EfcbU8Q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5uFXN5i0CbvbPFOEimiQ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smDrMpX0qVNpIc6ShVj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MpFYL8HUOff1LAh24TqQ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96WUlPjU.K.XJf3Jxryg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ky037Q4kCtuf2rJ46BGw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7SWEQpvi0G4ueGnxJTsMQ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Mrb9Gf9Eed9OgofZ0Uew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CG_YGSWEyUNvROdsnPp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j0E3fYCk2K7ramI4JDt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un7AfLkKb4vJkuWeDAQ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hCBOZiv0COhblO_dinhQ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mywGcXsEmdVAOlgNRKXw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w4ClwXo0u318bgTri2t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JLssHEV0GFqSqZs.HGoA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UorSPz102oU7c7aDXzXQ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VuG89K2ky0XI_IxglQSw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96WUlPjU.K.XJf3Jxryg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96WUlPjU.K.XJf3Jxryg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YJEJQe8kSHAIt7L38K0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9.JBRNOk2FFY0hFnOLew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cUYxtEmkOyBpSXEimusg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4n4LlZYUCpA7rVpAK5jg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pFOJzm_kGkCqhZbU.n2A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ySNRU4j06qDB0csT9.WA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kxEUxWoE6zQq00PXjbrQ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.7RTAzkmRZLiLeL0RVw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0wZvj1RkEu6DPVyhX1r0g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10RI8NokKUX5oSHg_2Aw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UVdzODWkuG5vJCkKdLPQ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YfSOtGpUCm8.yCMyHxh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GqXHgJN0y6i2Rco96B9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n.axmM70SKfT.EfcbU8Q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5uFXN5i0CbvbPFOEimiQ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smDrMpX0qVNpIc6ShVj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MpFYL8HUOff1LAh24TqQ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B9vGCVB06rkpJY6kNTVQ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zru2WVW0Ck1XQUDGeJp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46OPQ9WE6BlvTC2G79ug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GXTSxtr02gzYeXhnfpJA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Axbl0v0US0_JdZlFeW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CoNAz7c0apNBAF1Kn4q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RzG7eoaUiZFzQnaMejrQ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IgfSl580yjCiopomvIjA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IgfSl580yjCiopomvIjA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IgfSl580yjCiopomvIjA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YJEJQe8kSHAIt7L38K0Q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cUYxtEmkOyBpSXEimusg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4n4LlZYUCpA7rVpAK5jg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pFOJzm_kGkCqhZbU.n2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ySNRU4j06qDB0csT9.WA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kxEUxWoE6zQq00PXjbrQ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.7RTAzkmRZLiLeL0RV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Mkpx7O0kqMZGavWuQItA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0wZvj1RkEu6DPVyhX1r0g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10RI8NokKUX5oSHg_2Aw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UVdzODWkuG5vJCkKdLPQ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YfSOtGpUCm8.yCMyHxhw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n.axmM70SKfT.EfcbU8Q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5uFXN5i0CbvbPFOEimiQ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smDrMpX0qVNpIc6ShVjg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MpFYL8HUOff1LAh24TqQ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E2toI940q7RWvOheHVF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AgLIR3r0GnW5dmtJIG5w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GK_vFN5ky1.RmMEOPw5A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5NATJepFUaTQCgIw20vQg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HnoURQn0WEKiAzwSbNUw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HnoURQn0WEKiAzwSbNUw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HnoURQn0WEKiAzwSbNUw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YJEJQe8kSHAIt7L38K0Q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cUYxtEmkOyBpSXEimusg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4n4LlZYUCpA7rVpAK5jg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pFOJzm_kGkCqhZbU.n2A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ySNRU4j06qDB0csT9.W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C2AFWy00qBqSWH6CGW6Q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kxEUxWoE6zQq00PXjbrQ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.7RTAzkmRZLiLeL0RVw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0wZvj1RkEu6DPVyhX1r0g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10RI8NokKUX5oSHg_2Aw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UVdzODWkuG5vJCkKdLPQ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YfSOtGpUCm8.yCMyHxhw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n.axmM70SKfT.EfcbU8Q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5uFXN5i0CbvbPFOEimiQ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smDrMpX0qVNpIc6ShVjg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MpFYL8HUOff1LAh24Tq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vwIniUhEi2vXSH33srJA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ytEnY0lE.7KunvJW4W_g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f942EQtEeIHi8959as1w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FpQiMVoUaYxNV10bvPEw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_nTParKEmWvzYYwBBuVg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Ayh.Vewk.IDTWcOzL2GQ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CoNAz7c0apNBAF1Kn4qg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wwSahuakqNMI9dtDsQI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fF8yH2XkKqxhnxD5E9rg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BnzJDEWU2wTIHyhpidp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1QfKnpDEyqm2dKxLkwMg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..zPKTq0e2y.Ru9mhoUQ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4.lvnCT0iEHkIDAt3XHg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nNHW4UVkGTofgt6of15Q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Uy0lW6UkWdXs9zN3x6XQ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8iH.6u7kWbf.DScz0PRw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CuRGMfJ0ur0liYDyARjw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Of1BruIkmmhhwAzCYZ6Q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Z4HgfLzE2obzsGSwPsPg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D3yRQIwUme0WJv1IYnQ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fcGz8pk6TG_c29DDrEA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MawYMJJ0Sl0tAvvo83Xw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yKFtX_PUKl7BarZiyYIw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kc9hNwPEyiHzf1nFwVNA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2jH5zkr06.UWS_d2hYwg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DBzYWsxU6eTVDngwDWCQ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IwIAZBM0WKJxv_QbXq5A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WjmaBaYEix5MPANOa0Mg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KcixFdfUepyIw5npXgYQ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YkwfDZ_UWdWAYlIAoOK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zvK_iBSES5H2F_ZaMpWw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O9aMqEhvQEK3hJTuj_9_Pg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YkwfDZ_UWdWAYlIAoOKw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YkwfDZ_UWdWAYlIAoOKw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6UMzC1Z0yv6ESIlmz7uw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shFwk.gkWUsbK5QzV2Qg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fUSfirtEWRkmbs2xfE0w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_oUiK.x06TOa3uLOPN8g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tn6Dw9wk2rGrHqlGKj0w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BR5lGfJUugqz3vvXotz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b3ROZZfUCZULK65UCuSA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xundfo1E2e7Q4xsCRM2w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n81xyz3EifSeXMz4o.9A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HVkDSlyUekRNkmSTO1Xw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vu6n6zqUucmDY13HPMYA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5vdSTuRESbXuF1zzJbMw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z0e2a0UkSNAymQgSExHA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0IWrIgGq0O1InFxA6Aj5g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MUNshn6EaMXggjR_NUsA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2Zh2SVlCUGXprDh_DT.ag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Q_c3lqOEWCIiQVS5UFO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TTLMTDtUWwP8olwHsz7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hG1rfpAUKiQEQNT6hxS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.9oiiAw0u.b1bdopHgp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97.375"/>
  <p:tag name="LLEFT" val=" 8.75"/>
  <p:tag name="THINKCELLSHAPEDONOTDELETE" val="pqX38PRXmBE6pIq_lkQr3c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zvK_iBSES5H2F_ZaMpW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b3ROZZfUCZULK65UCuS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.9oiiAw0u.b1bdopHgp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zvK_iBSES5H2F_ZaMpW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b3ROZZfUCZULK65UCuS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.9oiiAw0u.b1bdopHgp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ZrI3GUskq2aE6eOF0JD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97.375"/>
  <p:tag name="LLEFT" val=" 8.75"/>
  <p:tag name="THINKCELLSHAPEDONOTDELETE" val="pqX38PRXmBE6pIq_lkQr3c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zvK_iBSES5H2F_ZaMpW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b3ROZZfUCZULK65UCuS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TTLMTDtUWwP8olwHsz7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ByBbgVUUOO31P69K7J0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97.375"/>
  <p:tag name="LLEFT" val=" 8.75"/>
  <p:tag name="THINKCELLSHAPEDONOTDELETE" val="pc7NpICSgz0ewvL6o1_Liz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FpQiMVoUaYxNV10bvPE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_nTParKEmWvzYYwBBu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68EebIREaL_9YlzHi1y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hlpW4ujUic6_bIbkIrC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CoNAz7c0apNBAF1Kn4q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wwSahuakqNMI9dtDsQI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fF8yH2XkKqxhnxD5E9r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BnzJDEWU2wTIHyhpidp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f942EQtEeIHi8959as1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..zPKTq0e2y.Ru9mhoU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4.lvnCT0iEHkIDAt3XH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ytEnY0lE.7KunvJW4W_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nNHW4UVkGTofgt6of15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8iH.6u7kWbf.DScz0PR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Uy0lW6UkWdXs9zN3x6X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8iH.6u7kWbf.DScz0PR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CuRGMfJ0ur0liYDyARj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a1Xa5PaEOfcAazvLgi6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QbLpUs406uy6XpJKUI.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UeluYbBkCGV9kq1YW4e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j8qr5xnkK364lo5kN.j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1L90skWU6ydxJ4OsZC9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hT5ID_T0iVQTEAfJL7vA"/>
</p:tagLst>
</file>

<file path=ppt/theme/theme1.xml><?xml version="1.0" encoding="utf-8"?>
<a:theme xmlns:a="http://schemas.openxmlformats.org/drawingml/2006/main" name="Blank">
  <a:themeElements>
    <a:clrScheme name="Blank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Blank presentation BOG 6">
    <a:dk1>
      <a:srgbClr val="000000"/>
    </a:dk1>
    <a:lt1>
      <a:srgbClr val="FFFFFF"/>
    </a:lt1>
    <a:dk2>
      <a:srgbClr val="4D4D4D"/>
    </a:dk2>
    <a:lt2>
      <a:srgbClr val="FFFFFF"/>
    </a:lt2>
    <a:accent1>
      <a:srgbClr val="DFCEFE"/>
    </a:accent1>
    <a:accent2>
      <a:srgbClr val="643878"/>
    </a:accent2>
    <a:accent3>
      <a:srgbClr val="FFFFFF"/>
    </a:accent3>
    <a:accent4>
      <a:srgbClr val="000000"/>
    </a:accent4>
    <a:accent5>
      <a:srgbClr val="ECE3FE"/>
    </a:accent5>
    <a:accent6>
      <a:srgbClr val="5A326C"/>
    </a:accent6>
    <a:hlink>
      <a:srgbClr val="A74109"/>
    </a:hlink>
    <a:folHlink>
      <a:srgbClr val="FED1A0"/>
    </a:folHlink>
  </a:clrScheme>
  <a:fontScheme name="Blank presentation BOG">
    <a:majorFont>
      <a:latin typeface="Tahoma"/>
      <a:ea typeface=""/>
      <a:cs typeface=""/>
    </a:majorFont>
    <a:minorFont>
      <a:latin typeface="Trebuchet MS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Blank presentation BOG 6">
    <a:dk1>
      <a:srgbClr val="000000"/>
    </a:dk1>
    <a:lt1>
      <a:srgbClr val="FFFFFF"/>
    </a:lt1>
    <a:dk2>
      <a:srgbClr val="4D4D4D"/>
    </a:dk2>
    <a:lt2>
      <a:srgbClr val="FFFFFF"/>
    </a:lt2>
    <a:accent1>
      <a:srgbClr val="DFCEFE"/>
    </a:accent1>
    <a:accent2>
      <a:srgbClr val="643878"/>
    </a:accent2>
    <a:accent3>
      <a:srgbClr val="FFFFFF"/>
    </a:accent3>
    <a:accent4>
      <a:srgbClr val="000000"/>
    </a:accent4>
    <a:accent5>
      <a:srgbClr val="ECE3FE"/>
    </a:accent5>
    <a:accent6>
      <a:srgbClr val="5A326C"/>
    </a:accent6>
    <a:hlink>
      <a:srgbClr val="A74109"/>
    </a:hlink>
    <a:folHlink>
      <a:srgbClr val="FED1A0"/>
    </a:folHlink>
  </a:clrScheme>
  <a:fontScheme name="Blank presentation BOG">
    <a:majorFont>
      <a:latin typeface="Tahoma"/>
      <a:ea typeface=""/>
      <a:cs typeface=""/>
    </a:majorFont>
    <a:minorFont>
      <a:latin typeface="Trebuchet MS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93</TotalTime>
  <Words>2804</Words>
  <Application>Microsoft Office PowerPoint</Application>
  <PresentationFormat>On-screen Show (4:3)</PresentationFormat>
  <Paragraphs>489</Paragraphs>
  <Slides>42</Slides>
  <Notes>4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2</vt:i4>
      </vt:variant>
    </vt:vector>
  </HeadingPairs>
  <TitlesOfParts>
    <vt:vector size="45" baseType="lpstr">
      <vt:lpstr>Blank</vt:lpstr>
      <vt:lpstr>think-cell Slide</vt:lpstr>
      <vt:lpstr>Chart</vt:lpstr>
      <vt:lpstr>Catalyzing SME Growth Through Business Plan Competitions: Innovative Examples from Latin America</vt:lpstr>
      <vt:lpstr>Introduction</vt:lpstr>
      <vt:lpstr>TechnoServe is an nonprofit international development organization providing business solutions to poverty</vt:lpstr>
      <vt:lpstr>From BPC we evolved to SME Promotion, and then to Business Accelerator</vt:lpstr>
      <vt:lpstr>From BPC we evolved to SME Promotion, and then to Business Accelerator</vt:lpstr>
      <vt:lpstr>From BPC we evolved to SME Promotion, and then to Business Accelerator</vt:lpstr>
      <vt:lpstr>From BPC we evolved to SME Promotion, and then to Business Accelerator</vt:lpstr>
      <vt:lpstr>Agenda</vt:lpstr>
      <vt:lpstr>Latin America lacks thriving SMEs</vt:lpstr>
      <vt:lpstr>Despite strong entrepreneurial activity in Latin America, the region lags in Business Development Training</vt:lpstr>
      <vt:lpstr>TechnoServe focuses its efforts on three key areas</vt:lpstr>
      <vt:lpstr>Agenda</vt:lpstr>
      <vt:lpstr>We continuously evaluate and develop our entrepreneurship programs</vt:lpstr>
      <vt:lpstr>The BPC is a cornerstone of the solution envisioned by TechnoServe</vt:lpstr>
      <vt:lpstr>Study Methodology (Summer 2009)</vt:lpstr>
      <vt:lpstr>Dataset</vt:lpstr>
      <vt:lpstr>The BPCs had a strong impact on sales growth</vt:lpstr>
      <vt:lpstr>Phase I (Business Plan Training) Appears to Have an Impact</vt:lpstr>
      <vt:lpstr>Phase II (Business Plan Improvement) and the Prize Awarding Have a Strong Impact</vt:lpstr>
      <vt:lpstr>Prize Awarding Has a Very Substantial Impact</vt:lpstr>
      <vt:lpstr>TechnoServe’s Original Participant Selection  Methodology was Not a Predictor of Success</vt:lpstr>
      <vt:lpstr>Distribution of Impact was Found to be Extreme</vt:lpstr>
      <vt:lpstr>The BPCs also had a Strong Impact on Success  and Survival Rate</vt:lpstr>
      <vt:lpstr>Agenda</vt:lpstr>
      <vt:lpstr>Following the evaluation insights, we modified our approach</vt:lpstr>
      <vt:lpstr>To improve the primary selection we collaborated with Harvard University’s CID in 2008</vt:lpstr>
      <vt:lpstr>Winner selection made more robust through increased focus on entrepreneur</vt:lpstr>
      <vt:lpstr>Aftercare became a core activity after 2008</vt:lpstr>
      <vt:lpstr>Complemented by market and capital access support after 2010</vt:lpstr>
      <vt:lpstr>Gender equity and outcomes are tracked closely</vt:lpstr>
      <vt:lpstr>The next step in entrepreneurship is to go beyond SME Promotion</vt:lpstr>
      <vt:lpstr>The new model will provide access to capital and markets to promote rapid growth: Business Accelerator</vt:lpstr>
      <vt:lpstr>Agenda</vt:lpstr>
      <vt:lpstr>PowerPoint Presentation</vt:lpstr>
      <vt:lpstr>Key Performance Indicators</vt:lpstr>
      <vt:lpstr>Impact: New and Existing Businesses</vt:lpstr>
      <vt:lpstr>Impact by Age of Existing Businesses</vt:lpstr>
      <vt:lpstr>Overview on Various KPIs</vt:lpstr>
      <vt:lpstr>PowerPoint Presentation</vt:lpstr>
      <vt:lpstr>TechnoServe’s main lines to promote entrepreneurship</vt:lpstr>
      <vt:lpstr>TechnoServe model is based on three critical aspects</vt:lpstr>
      <vt:lpstr>PowerPoint Presentation</vt:lpstr>
    </vt:vector>
  </TitlesOfParts>
  <Company>TN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LiANA SiLVA</dc:creator>
  <cp:lastModifiedBy>Poinsatte, Natasia</cp:lastModifiedBy>
  <cp:revision>186</cp:revision>
  <cp:lastPrinted>2004-09-30T16:41:33Z</cp:lastPrinted>
  <dcterms:created xsi:type="dcterms:W3CDTF">2004-09-17T20:07:42Z</dcterms:created>
  <dcterms:modified xsi:type="dcterms:W3CDTF">2011-03-28T17:22:40Z</dcterms:modified>
  <cp:contentStatus>Final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MarkAsFinal">
    <vt:bool>true</vt:bool>
  </property>
</Properties>
</file>